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Override2.xml" ContentType="application/vnd.openxmlformats-officedocument.themeOverride+xml"/>
  <Override PartName="/ppt/tags/tag8.xml" ContentType="application/vnd.openxmlformats-officedocument.presentationml.tags+xml"/>
  <Override PartName="/ppt/theme/themeOverride3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Override4.xml" ContentType="application/vnd.openxmlformats-officedocument.themeOverride+xml"/>
  <Override PartName="/ppt/tags/tag14.xml" ContentType="application/vnd.openxmlformats-officedocument.presentationml.tags+xml"/>
  <Override PartName="/ppt/theme/themeOverride5.xml" ContentType="application/vnd.openxmlformats-officedocument.themeOverride+xml"/>
  <Override PartName="/ppt/tags/tag15.xml" ContentType="application/vnd.openxmlformats-officedocument.presentationml.tags+xml"/>
  <Override PartName="/ppt/theme/themeOverride6.xml" ContentType="application/vnd.openxmlformats-officedocument.themeOverride+xml"/>
  <Override PartName="/ppt/tags/tag16.xml" ContentType="application/vnd.openxmlformats-officedocument.presentationml.tags+xml"/>
  <Override PartName="/ppt/theme/themeOverride7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Override8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Override9.xml" ContentType="application/vnd.openxmlformats-officedocument.themeOverr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Override10.xml" ContentType="application/vnd.openxmlformats-officedocument.themeOverride+xml"/>
  <Override PartName="/ppt/tags/tag26.xml" ContentType="application/vnd.openxmlformats-officedocument.presentationml.tags+xml"/>
  <Override PartName="/ppt/theme/themeOverride11.xml" ContentType="application/vnd.openxmlformats-officedocument.themeOverride+xml"/>
  <Override PartName="/ppt/tags/tag27.xml" ContentType="application/vnd.openxmlformats-officedocument.presentationml.tags+xml"/>
  <Override PartName="/ppt/theme/themeOverride12.xml" ContentType="application/vnd.openxmlformats-officedocument.themeOverride+xml"/>
  <Override PartName="/ppt/tags/tag28.xml" ContentType="application/vnd.openxmlformats-officedocument.presentationml.tags+xml"/>
  <Override PartName="/ppt/theme/themeOverride13.xml" ContentType="application/vnd.openxmlformats-officedocument.themeOverride+xml"/>
  <Override PartName="/ppt/tags/tag29.xml" ContentType="application/vnd.openxmlformats-officedocument.presentationml.tags+xml"/>
  <Override PartName="/ppt/theme/themeOverride14.xml" ContentType="application/vnd.openxmlformats-officedocument.themeOverr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Override15.xml" ContentType="application/vnd.openxmlformats-officedocument.themeOverr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Override16.xml" ContentType="application/vnd.openxmlformats-officedocument.themeOverride+xml"/>
  <Override PartName="/ppt/tags/tag36.xml" ContentType="application/vnd.openxmlformats-officedocument.presentationml.tags+xml"/>
  <Override PartName="/ppt/theme/themeOverride17.xml" ContentType="application/vnd.openxmlformats-officedocument.themeOverr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Override18.xml" ContentType="application/vnd.openxmlformats-officedocument.themeOverr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Override19.xml" ContentType="application/vnd.openxmlformats-officedocument.themeOverride+xml"/>
  <Override PartName="/ppt/tags/tag48.xml" ContentType="application/vnd.openxmlformats-officedocument.presentationml.tags+xml"/>
  <Override PartName="/ppt/theme/themeOverride20.xml" ContentType="application/vnd.openxmlformats-officedocument.themeOverr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heme/themeOverride21.xml" ContentType="application/vnd.openxmlformats-officedocument.themeOverride+xml"/>
  <Override PartName="/ppt/tags/tag54.xml" ContentType="application/vnd.openxmlformats-officedocument.presentationml.tags+xml"/>
  <Override PartName="/ppt/theme/themeOverride22.xml" ContentType="application/vnd.openxmlformats-officedocument.themeOverride+xml"/>
  <Override PartName="/ppt/tags/tag55.xml" ContentType="application/vnd.openxmlformats-officedocument.presentationml.tags+xml"/>
  <Override PartName="/ppt/theme/themeOverride23.xml" ContentType="application/vnd.openxmlformats-officedocument.themeOverride+xml"/>
  <Override PartName="/ppt/tags/tag56.xml" ContentType="application/vnd.openxmlformats-officedocument.presentationml.tags+xml"/>
  <Override PartName="/ppt/theme/themeOverride24.xml" ContentType="application/vnd.openxmlformats-officedocument.themeOverr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heme/themeOverride25.xml" ContentType="application/vnd.openxmlformats-officedocument.themeOverr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heme/themeOverride26.xml" ContentType="application/vnd.openxmlformats-officedocument.themeOverr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heme/themeOverride27.xml" ContentType="application/vnd.openxmlformats-officedocument.themeOverride+xml"/>
  <Override PartName="/ppt/tags/tag66.xml" ContentType="application/vnd.openxmlformats-officedocument.presentationml.tags+xml"/>
  <Override PartName="/ppt/theme/themeOverride28.xml" ContentType="application/vnd.openxmlformats-officedocument.themeOverride+xml"/>
  <Override PartName="/ppt/tags/tag67.xml" ContentType="application/vnd.openxmlformats-officedocument.presentationml.tags+xml"/>
  <Override PartName="/ppt/theme/themeOverride29.xml" ContentType="application/vnd.openxmlformats-officedocument.themeOverride+xml"/>
  <Override PartName="/ppt/tags/tag68.xml" ContentType="application/vnd.openxmlformats-officedocument.presentationml.tags+xml"/>
  <Override PartName="/ppt/theme/themeOverride30.xml" ContentType="application/vnd.openxmlformats-officedocument.themeOverride+xml"/>
  <Override PartName="/ppt/tags/tag69.xml" ContentType="application/vnd.openxmlformats-officedocument.presentationml.tags+xml"/>
  <Override PartName="/ppt/theme/themeOverride31.xml" ContentType="application/vnd.openxmlformats-officedocument.themeOverr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heme/themeOverride32.xml" ContentType="application/vnd.openxmlformats-officedocument.themeOverr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heme/themeOverride33.xml" ContentType="application/vnd.openxmlformats-officedocument.themeOverride+xml"/>
  <Override PartName="/ppt/tags/tag76.xml" ContentType="application/vnd.openxmlformats-officedocument.presentationml.tags+xml"/>
  <Override PartName="/ppt/theme/themeOverride34.xml" ContentType="application/vnd.openxmlformats-officedocument.themeOverr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  <p:sldMasterId id="2147483668" r:id="rId2"/>
  </p:sldMasterIdLst>
  <p:notesMasterIdLst>
    <p:notesMasterId r:id="rId10"/>
  </p:notesMasterIdLst>
  <p:handoutMasterIdLst>
    <p:handoutMasterId r:id="rId11"/>
  </p:handoutMasterIdLst>
  <p:sldIdLst>
    <p:sldId id="257" r:id="rId3"/>
    <p:sldId id="263" r:id="rId4"/>
    <p:sldId id="271" r:id="rId5"/>
    <p:sldId id="265" r:id="rId6"/>
    <p:sldId id="267" r:id="rId7"/>
    <p:sldId id="261" r:id="rId8"/>
    <p:sldId id="262" r:id="rId9"/>
  </p:sldIdLst>
  <p:sldSz cx="12192000" cy="6858000"/>
  <p:notesSz cx="6858000" cy="9144000"/>
  <p:embeddedFontLst>
    <p:embeddedFont>
      <p:font typeface="SwissReSans" panose="020B0604020202020204" pitchFamily="34" charset="0"/>
      <p:regular r:id="rId12"/>
      <p:bold r:id="rId13"/>
      <p:italic r:id="rId14"/>
      <p:boldItalic r:id="rId15"/>
    </p:embeddedFont>
    <p:embeddedFont>
      <p:font typeface="SwissReSans Light" panose="020B0504020202020204" pitchFamily="34" charset="0"/>
      <p:regular r:id="rId16"/>
      <p:bold r:id="rId17"/>
      <p:italic r:id="rId18"/>
      <p:boldItalic r:id="rId19"/>
    </p:embeddedFont>
  </p:embeddedFontLst>
  <p:custDataLst>
    <p:tags r:id="rId2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C8EDF8"/>
    <a:srgbClr val="73D0ED"/>
    <a:srgbClr val="0B3A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4F870FC3-41F4-4639-9F92-194A608F593C}">
  <a:tblStyle styleId="{4F870FC3-41F4-4639-9F92-194A608F593C}" styleName="Swiss Re - Table 1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  <a:fill>
          <a:solidFill>
            <a:schemeClr val="accent1">
              <a:tint val="36000"/>
            </a:schemeClr>
          </a:solidFill>
        </a:fill>
      </a:tcStyle>
    </a:band2H>
    <a:band1V>
      <a:tcStyle>
        <a:tcBdr/>
        <a:fill>
          <a:solidFill>
            <a:schemeClr val="accent1">
              <a:tint val="36000"/>
            </a:schemeClr>
          </a:solidFill>
        </a:fill>
      </a:tcStyle>
    </a:band1V>
    <a:firstRow>
      <a:tcTxStyle b="on">
        <a:fontRef idx="minor">
          <a:scrgbClr r="255" g="255" b="255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E6E6707-7832-46BE-A3A0-E36881F78559}" styleName="Swiss Re - Table 2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  <a:fill>
          <a:solidFill>
            <a:schemeClr val="accent5">
              <a:tint val="36000"/>
            </a:schemeClr>
          </a:solidFill>
        </a:fill>
      </a:tcStyle>
    </a:band2H>
    <a:band1V>
      <a:tcStyle>
        <a:tcBdr/>
        <a:fill>
          <a:solidFill>
            <a:schemeClr val="accent5">
              <a:tint val="36000"/>
            </a:schemeClr>
          </a:solidFill>
        </a:fill>
      </a:tcStyle>
    </a:band1V>
    <a:firstRow>
      <a:tcTxStyle b="on">
        <a:fontRef idx="minor">
          <a:scrgbClr r="255" g="255" b="255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BE75E58-984F-4F72-8EDD-5C9A88DD35F0}" styleName="Swiss Re - Table 3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  <a:fill>
          <a:solidFill>
            <a:schemeClr val="accent3">
              <a:tint val="36000"/>
            </a:schemeClr>
          </a:solidFill>
        </a:fill>
      </a:tcStyle>
    </a:band2H>
    <a:band1V>
      <a:tcStyle>
        <a:tcBdr/>
        <a:fill>
          <a:solidFill>
            <a:schemeClr val="accent3">
              <a:tint val="36000"/>
            </a:schemeClr>
          </a:solidFill>
        </a:fill>
      </a:tcStyle>
    </a:band1V>
    <a:firstRow>
      <a:tcTxStyle b="on">
        <a:fontRef idx="minor">
          <a:scrgbClr r="255" g="255" b="255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0DF0198-80C8-49AA-8D90-CB580F7814A3}" styleName="Swiss Re - Table 4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879B2AA-A785-4C12-A31E-098CB692474E}" styleName="Swiss Re - Table 5">
    <a:wholeTbl>
      <a:tcTxStyle>
        <a:fontRef idx="minor">
          <a:scrgbClr r="40" g="62" b="54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6" autoAdjust="0"/>
    <p:restoredTop sz="94660"/>
  </p:normalViewPr>
  <p:slideViewPr>
    <p:cSldViewPr showGuides="1">
      <p:cViewPr varScale="1">
        <p:scale>
          <a:sx n="78" d="100"/>
          <a:sy n="78" d="100"/>
        </p:scale>
        <p:origin x="427" y="77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98" d="100"/>
          <a:sy n="98" d="100"/>
        </p:scale>
        <p:origin x="-2778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font" Target="fonts/font2.fntdata"/><Relationship Id="rId18" Type="http://schemas.openxmlformats.org/officeDocument/2006/relationships/font" Target="fonts/font7.fntdata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" Type="http://schemas.openxmlformats.org/officeDocument/2006/relationships/slideMaster" Target="slideMasters/slideMaster2.xml"/><Relationship Id="rId16" Type="http://schemas.openxmlformats.org/officeDocument/2006/relationships/font" Target="fonts/font5.fntdata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font" Target="fonts/font4.fntdata"/><Relationship Id="rId23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19" Type="http://schemas.openxmlformats.org/officeDocument/2006/relationships/font" Target="fonts/font8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font" Target="fonts/font3.fntdata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SwissReSans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B7C786-A259-4FDD-A4C0-BD83D19C2427}" type="datetimeFigureOut">
              <a:rPr lang="en-GB" smtClean="0">
                <a:latin typeface="SwissReSans" pitchFamily="34" charset="0"/>
              </a:rPr>
              <a:pPr/>
              <a:t>17/05/2019</a:t>
            </a:fld>
            <a:endParaRPr lang="en-GB" dirty="0">
              <a:latin typeface="SwissReSans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SwissReSans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ADD15C-2E90-415F-B376-5831ACCDAAD0}" type="slidenum">
              <a:rPr lang="en-GB" smtClean="0">
                <a:latin typeface="SwissReSans" pitchFamily="34" charset="0"/>
              </a:rPr>
              <a:pPr/>
              <a:t>‹#›</a:t>
            </a:fld>
            <a:endParaRPr lang="en-GB" dirty="0">
              <a:latin typeface="SwissRe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963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wissReSans" pitchFamily="34" charset="0"/>
              </a:defRPr>
            </a:lvl1pPr>
          </a:lstStyle>
          <a:p>
            <a:fld id="{3A1CEC75-F9BB-42F0-8E1C-193797F4D4D6}" type="datetimeFigureOut">
              <a:rPr lang="de-DE" smtClean="0"/>
              <a:pPr/>
              <a:t>17.05.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wissReSans" pitchFamily="34" charset="0"/>
              </a:defRPr>
            </a:lvl1pPr>
          </a:lstStyle>
          <a:p>
            <a:fld id="{CF8ED666-4372-485F-9851-ED435EF4ACC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97609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1pPr>
    <a:lvl2pPr marL="34925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2pPr>
    <a:lvl3pPr marL="71755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3pPr>
    <a:lvl4pPr marL="106680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4pPr>
    <a:lvl5pPr marL="143510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hemeOverride" Target="../theme/themeOverride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hemeOverride" Target="../theme/themeOverride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hemeOverride" Target="../theme/themeOverride1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hemeOverride" Target="../theme/themeOverride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hemeOverride" Target="../theme/themeOverride15.x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hemeOverride" Target="../theme/themeOverride16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3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hemeOverride" Target="../theme/themeOverride17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openxmlformats.org/officeDocument/2006/relationships/image" Target="../media/image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themeOverride" Target="../theme/themeOverride18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themeOverride" Target="../theme/themeOverride1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2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3" Type="http://schemas.openxmlformats.org/officeDocument/2006/relationships/tags" Target="../tags/tag5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themeOverride" Target="../theme/themeOverride20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4" Type="http://schemas.openxmlformats.org/officeDocument/2006/relationships/tags" Target="../tags/tag51.xml"/><Relationship Id="rId9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themeOverride" Target="../theme/themeOverride2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themeOverride" Target="../theme/themeOverride2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themeOverride" Target="../theme/themeOverride2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themeOverride" Target="../theme/themeOverride24.xml"/><Relationship Id="rId6" Type="http://schemas.openxmlformats.org/officeDocument/2006/relationships/image" Target="../media/image7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9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themeOverride" Target="../theme/themeOverride25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5.png"/><Relationship Id="rId2" Type="http://schemas.openxmlformats.org/officeDocument/2006/relationships/tags" Target="../tags/tag62.xml"/><Relationship Id="rId1" Type="http://schemas.openxmlformats.org/officeDocument/2006/relationships/themeOverride" Target="../theme/themeOverride2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65.xml"/><Relationship Id="rId4" Type="http://schemas.openxmlformats.org/officeDocument/2006/relationships/tags" Target="../tags/tag6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6.xml"/><Relationship Id="rId1" Type="http://schemas.openxmlformats.org/officeDocument/2006/relationships/themeOverride" Target="../theme/themeOverride27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7.xml"/><Relationship Id="rId1" Type="http://schemas.openxmlformats.org/officeDocument/2006/relationships/themeOverride" Target="../theme/themeOverride28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themeOverride" Target="../theme/themeOverride29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1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hemeOverride" Target="../theme/themeOverride3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1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9.xml"/><Relationship Id="rId1" Type="http://schemas.openxmlformats.org/officeDocument/2006/relationships/themeOverride" Target="../theme/themeOverride30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themeOverride" Target="../theme/themeOverride31.xml"/><Relationship Id="rId6" Type="http://schemas.openxmlformats.org/officeDocument/2006/relationships/image" Target="../media/image7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themeOverride" Target="../theme/themeOverride32.xml"/><Relationship Id="rId6" Type="http://schemas.openxmlformats.org/officeDocument/2006/relationships/image" Target="../media/image7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themeOverride" Target="../theme/themeOverride33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3" Type="http://schemas.openxmlformats.org/officeDocument/2006/relationships/tags" Target="../tags/tag7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77.xml"/><Relationship Id="rId1" Type="http://schemas.openxmlformats.org/officeDocument/2006/relationships/themeOverride" Target="../theme/themeOverride34.xml"/><Relationship Id="rId6" Type="http://schemas.openxmlformats.org/officeDocument/2006/relationships/tags" Target="../tags/tag81.xml"/><Relationship Id="rId5" Type="http://schemas.openxmlformats.org/officeDocument/2006/relationships/tags" Target="../tags/tag80.xml"/><Relationship Id="rId4" Type="http://schemas.openxmlformats.org/officeDocument/2006/relationships/tags" Target="../tags/tag79.xml"/><Relationship Id="rId9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hemeOverride" Target="../theme/themeOverride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hemeOverride" Target="../theme/themeOverride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hemeOverride" Target="../theme/themeOverride8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.png"/><Relationship Id="rId2" Type="http://schemas.openxmlformats.org/officeDocument/2006/relationships/tags" Target="../tags/tag22.xml"/><Relationship Id="rId1" Type="http://schemas.openxmlformats.org/officeDocument/2006/relationships/themeOverride" Target="../theme/themeOverride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bg bwMode="gray"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12192000" cy="6858000"/>
          </a:xfrm>
        </p:spPr>
        <p:txBody>
          <a:bodyPr tIns="576000" anchor="ctr"/>
          <a:lstStyle>
            <a:lvl1pPr algn="ctr"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695325" y="1628776"/>
            <a:ext cx="9913177" cy="1296168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695325" y="2996952"/>
            <a:ext cx="9913177" cy="28803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FFFFFF"/>
                </a:solidFill>
                <a:latin typeface="SwissRe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4012517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A259EA2-E3AE-4A70-B870-03DC5B3FF635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3426" y="301052"/>
            <a:ext cx="1379177" cy="32451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and Image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</p:spPr>
        <p:txBody>
          <a:bodyPr lIns="0" tIns="720000" anchor="ctr"/>
          <a:lstStyle>
            <a:lvl1pPr marL="0" indent="0" algn="ctr"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/>
              <a:t>Select an image </a:t>
            </a:r>
            <a:br>
              <a:rPr lang="en-GB" noProof="1"/>
            </a:br>
            <a:r>
              <a:rPr lang="en-GB" noProof="1"/>
              <a:t>from the Brandic menu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95325" y="1628774"/>
            <a:ext cx="4920624" cy="4392614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95325" y="692151"/>
            <a:ext cx="4920621" cy="69264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5021587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tatement and Image" preserve="1" userDrawn="1">
  <p:cSld name="Statem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</p:spPr>
        <p:txBody>
          <a:bodyPr lIns="4752000" anchor="ctr"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/>
              <a:t>Select an image from the Brandic menu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95325" y="1628773"/>
            <a:ext cx="4920623" cy="4392614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3138428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ircular Messaging Device (large)" preserve="1" userDrawn="1">
  <p:cSld name="Circular Messaging Devic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95326" y="1628774"/>
            <a:ext cx="6120754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 bwMode="gray">
          <a:xfrm>
            <a:off x="7752184" y="1809000"/>
            <a:ext cx="3240000" cy="3240000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  <a:tileRect/>
          </a:gra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2000">
                <a:solidFill>
                  <a:srgbClr val="FFFFFF"/>
                </a:solidFill>
                <a:latin typeface="SwissReSans Light" panose="020B0504020202020204" pitchFamily="34" charset="0"/>
              </a:defRPr>
            </a:lvl1pPr>
            <a:lvl2pPr marL="182562" indent="0" algn="l">
              <a:buFontTx/>
              <a:buNone/>
              <a:defRPr>
                <a:solidFill>
                  <a:srgbClr val="FFFFFF"/>
                </a:solidFill>
              </a:defRPr>
            </a:lvl2pPr>
            <a:lvl3pPr marL="444500" indent="0" algn="l">
              <a:buFontTx/>
              <a:buNone/>
              <a:defRPr>
                <a:solidFill>
                  <a:srgbClr val="FFFFFF"/>
                </a:solidFill>
              </a:defRPr>
            </a:lvl3pPr>
            <a:lvl4pPr marL="715963" indent="0" algn="l">
              <a:buFontTx/>
              <a:buNone/>
              <a:defRPr>
                <a:solidFill>
                  <a:srgbClr val="FFFFFF"/>
                </a:solidFill>
              </a:defRPr>
            </a:lvl4pPr>
            <a:lvl5pPr marL="985838" indent="0" algn="l">
              <a:buFontTx/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005779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ircular Messaging Device (small)" preserve="1" userDrawn="1">
  <p:cSld name="Circular Messaging Devic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95326" y="1628774"/>
            <a:ext cx="7200874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3"/>
          </p:nvPr>
        </p:nvSpPr>
        <p:spPr bwMode="gray">
          <a:xfrm>
            <a:off x="8702581" y="2349000"/>
            <a:ext cx="2160000" cy="2160000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  <a:tileRect/>
          </a:gradFill>
        </p:spPr>
        <p:txBody>
          <a:bodyPr anchor="ctr"/>
          <a:lstStyle>
            <a:lvl1pPr marL="0" indent="0" algn="ctr">
              <a:lnSpc>
                <a:spcPct val="95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  <a:latin typeface="SwissReSans Light" panose="020B0504020202020204" pitchFamily="34" charset="0"/>
              </a:defRPr>
            </a:lvl1pPr>
            <a:lvl2pPr marL="182562" indent="0" algn="l">
              <a:buFontTx/>
              <a:buNone/>
              <a:defRPr sz="1600">
                <a:solidFill>
                  <a:schemeClr val="bg1"/>
                </a:solidFill>
              </a:defRPr>
            </a:lvl2pPr>
            <a:lvl3pPr marL="444500" indent="0" algn="l">
              <a:buFontTx/>
              <a:buNone/>
              <a:defRPr sz="1600">
                <a:solidFill>
                  <a:schemeClr val="bg1"/>
                </a:solidFill>
              </a:defRPr>
            </a:lvl3pPr>
            <a:lvl4pPr marL="715963" indent="0" algn="l">
              <a:buFontTx/>
              <a:buNone/>
              <a:defRPr sz="1600">
                <a:solidFill>
                  <a:schemeClr val="bg1"/>
                </a:solidFill>
              </a:defRPr>
            </a:lvl4pPr>
            <a:lvl5pPr marL="985838" indent="0" algn="l"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2448319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act Persons (4 people)" preserve="1" userDrawn="1">
  <p:cSld name="Contact Persons (4 peo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5A4DEE0-C41B-4076-8B94-57B0E7907B17}"/>
              </a:ext>
            </a:extLst>
          </p:cNvPr>
          <p:cNvSpPr/>
          <p:nvPr userDrawn="1"/>
        </p:nvSpPr>
        <p:spPr bwMode="gray">
          <a:xfrm>
            <a:off x="0" y="0"/>
            <a:ext cx="4064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SwissReSans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692151"/>
            <a:ext cx="3096418" cy="69264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Enter team name her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2C90A8-D632-4D32-AA86-6231D6EA8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325" y="1628774"/>
            <a:ext cx="3096420" cy="4392614"/>
          </a:xfrm>
        </p:spPr>
        <p:txBody>
          <a:bodyPr/>
          <a:lstStyle>
            <a:lvl1pPr marL="108000" indent="-108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1pPr>
            <a:lvl2pPr marL="252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2pPr>
            <a:lvl3pPr marL="396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3pPr>
            <a:lvl4pPr marL="540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4pPr>
            <a:lvl5pPr marL="684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add text, for example team mission and/or capabilities, roles and responsibilities, other info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456FDD83-9066-405C-9C9B-C6012C35E7C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573419" y="727075"/>
            <a:ext cx="1800000" cy="1800000"/>
          </a:xfrm>
          <a:prstGeom prst="ellipse">
            <a:avLst/>
          </a:prstGeom>
        </p:spPr>
        <p:txBody>
          <a:bodyPr tIns="504000" anchor="ctr" anchorCtr="0"/>
          <a:lstStyle>
            <a:lvl1pPr marL="0" indent="0" algn="ctr">
              <a:buNone/>
              <a:defRPr sz="14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38A06944-C2A7-4F21-A4A5-D22B1CF13B5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882581" y="727075"/>
            <a:ext cx="1800000" cy="1800000"/>
          </a:xfrm>
          <a:prstGeom prst="ellipse">
            <a:avLst/>
          </a:prstGeom>
        </p:spPr>
        <p:txBody>
          <a:bodyPr tIns="504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4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9679A695-226D-4550-AC5F-CF13DA1C3EA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50638" y="2641930"/>
            <a:ext cx="2845562" cy="169277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8FFF6C9-8B70-45DC-9C06-54DD5B87AF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50638" y="2827874"/>
            <a:ext cx="2845562" cy="356957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2F9034A3-A308-4153-AEC9-209C0E14C84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61630" y="2641930"/>
            <a:ext cx="2845562" cy="169277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ADD3A46A-9F03-452A-97A6-168C664072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61630" y="2827874"/>
            <a:ext cx="2845562" cy="356957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578C2B07-87F4-489C-A284-3E5878138E7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5573419" y="3430871"/>
            <a:ext cx="1800000" cy="1800000"/>
          </a:xfrm>
          <a:prstGeom prst="ellipse">
            <a:avLst/>
          </a:prstGeom>
        </p:spPr>
        <p:txBody>
          <a:bodyPr tIns="504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4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D418C2AA-7D28-483F-81E1-731AA2580309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882581" y="3430871"/>
            <a:ext cx="1800000" cy="1800000"/>
          </a:xfrm>
          <a:prstGeom prst="ellipse">
            <a:avLst/>
          </a:prstGeom>
        </p:spPr>
        <p:txBody>
          <a:bodyPr tIns="504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4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AFF0E09B-2153-4F77-903B-8AE289C2024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050638" y="5345726"/>
            <a:ext cx="2845562" cy="169277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B6E4CA2D-F663-4612-8211-ABCBF0E3B4F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50638" y="5531670"/>
            <a:ext cx="2845562" cy="356957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4679ECFC-69DE-448E-A790-E6DF1353CC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61630" y="5345726"/>
            <a:ext cx="2845562" cy="169277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A2E08B10-5430-4825-9E65-D8235CD0407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61630" y="5531670"/>
            <a:ext cx="2845562" cy="356957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29" name="Footer">
            <a:extLst>
              <a:ext uri="{FF2B5EF4-FFF2-40B4-BE49-F238E27FC236}">
                <a16:creationId xmlns:a16="http://schemas.microsoft.com/office/drawing/2014/main" id="{0A885EF8-5FBD-475E-BD95-4D0C7488BAE5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Swiss Re sigma NatCat webinar | 14 May 2019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E7FD808-2D35-4CF3-8910-C37D2146FA7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212334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act Persons (9 people)" preserve="1" userDrawn="1">
  <p:cSld name="Contact Persons (9 peo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5A4DEE0-C41B-4076-8B94-57B0E7907B17}"/>
              </a:ext>
            </a:extLst>
          </p:cNvPr>
          <p:cNvSpPr/>
          <p:nvPr userDrawn="1"/>
        </p:nvSpPr>
        <p:spPr bwMode="gray">
          <a:xfrm>
            <a:off x="0" y="0"/>
            <a:ext cx="4064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SwissReSans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692151"/>
            <a:ext cx="3096418" cy="69264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Enter team name her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2C90A8-D632-4D32-AA86-6231D6EA8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325" y="1628774"/>
            <a:ext cx="3096420" cy="4392614"/>
          </a:xfrm>
        </p:spPr>
        <p:txBody>
          <a:bodyPr/>
          <a:lstStyle>
            <a:lvl1pPr marL="108000" indent="-108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1pPr>
            <a:lvl2pPr marL="252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2pPr>
            <a:lvl3pPr marL="396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3pPr>
            <a:lvl4pPr marL="540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4pPr>
            <a:lvl5pPr marL="684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add text, for example team mission and/or capabilities, roles and responsibilities, other info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9682A749-FC1E-4118-9EDD-CE1ABA3E262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283565" y="738628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0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73E640E6-6F1D-478B-91DA-EF27860B8F0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71219" y="1883003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1BD7495-9DC8-424C-9AA0-FAD0EABDAC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71219" y="2049899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F19CD5BF-B691-42A9-9A28-7D982DEDC98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7581323" y="738628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0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F582FA5-0ACC-44FA-AD35-38027A4BC7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68977" y="1883003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34479282-0266-40A5-AD96-427D23FC8E2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68977" y="2049899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A372C913-34DD-415E-8A45-FE2BAAA5AB9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881460" y="738628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134E3D5-1F39-4EBB-AA24-A2FD4F813D1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114" y="1883003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A4699E8E-78EB-413E-9E61-A75A1208CF0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69114" y="2049899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055DF295-2A7B-4334-B97B-ED339BB7034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5283565" y="2557409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86C79598-5718-4B97-9653-C258BACE02E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71219" y="3701784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D1CD186E-C886-499B-8730-86302FB13D6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871219" y="3868680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221F4A5A-8D58-4545-B3A9-1D7286AC7F03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7581323" y="2557409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CAD9D006-676C-4CB9-9E60-67322DE91D1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168977" y="3701784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50A073A5-04E0-4873-B0FB-802CADE3666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68977" y="3868680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44" name="Picture Placeholder 3">
            <a:extLst>
              <a:ext uri="{FF2B5EF4-FFF2-40B4-BE49-F238E27FC236}">
                <a16:creationId xmlns:a16="http://schemas.microsoft.com/office/drawing/2014/main" id="{195DD2A1-427A-429A-9C4E-E51AEBB0E0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9881460" y="2557409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F28B10EF-4A1F-4980-8CD3-519EB5DBC22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469114" y="3701784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E8B1A89-1311-46C8-AABE-49A07C509A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469114" y="3868680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A1132398-8B9A-4B3D-933D-0916342541FD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5283565" y="4379592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60DB6F48-FC4C-4A1D-9535-0E108AAFBE0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871219" y="5523967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A810E96A-A59E-44AE-B57E-8AF75CD1963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871219" y="5690863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198933B9-38C2-482E-AD0B-42A8177C695A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7581323" y="4379592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3A0551C6-CAE2-4890-8760-2733C7FDE73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168977" y="5523967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351C2CEF-8471-4D1A-B51B-ABA769D4AFD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168977" y="5690863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0AAAD490-0511-40C3-A7FD-06F99326BA9B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9881460" y="4379592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57D9887A-55D1-49D2-8675-5240F864DA0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469114" y="5523967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78D2D6D9-E53F-4A0D-BBF5-81D01913CD1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469114" y="5690863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56" name="Footer">
            <a:extLst>
              <a:ext uri="{FF2B5EF4-FFF2-40B4-BE49-F238E27FC236}">
                <a16:creationId xmlns:a16="http://schemas.microsoft.com/office/drawing/2014/main" id="{3D92757B-1122-4A0B-B414-F2DE3CA792C1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Swiss Re sigma NatCat webinar | 14 May 2019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7D89C5A-D5D5-48FA-A74B-C4AD0507D111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033610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ower Symbol" preserve="1" userDrawn="1">
  <p:cSld name="Power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>
            <a:off x="4943872" y="2564904"/>
            <a:ext cx="2304256" cy="1728192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SwissReSans" pitchFamily="34" charset="0"/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4656138" y="1989138"/>
            <a:ext cx="2879725" cy="2879725"/>
            <a:chOff x="3132138" y="1989138"/>
            <a:chExt cx="2879725" cy="28797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3707904" y="2564904"/>
              <a:ext cx="1728192" cy="1728192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SwissReSans" pitchFamily="34" charset="0"/>
              </a:endParaRPr>
            </a:p>
          </p:txBody>
        </p:sp>
        <p:sp>
          <p:nvSpPr>
            <p:cNvPr id="13" name="Freeform 5"/>
            <p:cNvSpPr>
              <a:spLocks noEditPoints="1"/>
            </p:cNvSpPr>
            <p:nvPr userDrawn="1"/>
          </p:nvSpPr>
          <p:spPr bwMode="auto">
            <a:xfrm>
              <a:off x="3132138" y="1989138"/>
              <a:ext cx="2879725" cy="2879725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547 w 1476"/>
                <a:gd name="T11" fmla="*/ 1099 h 1476"/>
                <a:gd name="T12" fmla="*/ 388 w 1476"/>
                <a:gd name="T13" fmla="*/ 1099 h 1476"/>
                <a:gd name="T14" fmla="*/ 388 w 1476"/>
                <a:gd name="T15" fmla="*/ 637 h 1476"/>
                <a:gd name="T16" fmla="*/ 547 w 1476"/>
                <a:gd name="T17" fmla="*/ 637 h 1476"/>
                <a:gd name="T18" fmla="*/ 547 w 1476"/>
                <a:gd name="T19" fmla="*/ 1099 h 1476"/>
                <a:gd name="T20" fmla="*/ 817 w 1476"/>
                <a:gd name="T21" fmla="*/ 1099 h 1476"/>
                <a:gd name="T22" fmla="*/ 658 w 1476"/>
                <a:gd name="T23" fmla="*/ 1099 h 1476"/>
                <a:gd name="T24" fmla="*/ 658 w 1476"/>
                <a:gd name="T25" fmla="*/ 637 h 1476"/>
                <a:gd name="T26" fmla="*/ 817 w 1476"/>
                <a:gd name="T27" fmla="*/ 637 h 1476"/>
                <a:gd name="T28" fmla="*/ 817 w 1476"/>
                <a:gd name="T29" fmla="*/ 1099 h 1476"/>
                <a:gd name="T30" fmla="*/ 1088 w 1476"/>
                <a:gd name="T31" fmla="*/ 1099 h 1476"/>
                <a:gd name="T32" fmla="*/ 929 w 1476"/>
                <a:gd name="T33" fmla="*/ 1099 h 1476"/>
                <a:gd name="T34" fmla="*/ 929 w 1476"/>
                <a:gd name="T35" fmla="*/ 637 h 1476"/>
                <a:gd name="T36" fmla="*/ 1088 w 1476"/>
                <a:gd name="T37" fmla="*/ 637 h 1476"/>
                <a:gd name="T38" fmla="*/ 1088 w 1476"/>
                <a:gd name="T39" fmla="*/ 1099 h 1476"/>
                <a:gd name="T40" fmla="*/ 1094 w 1476"/>
                <a:gd name="T41" fmla="*/ 524 h 1476"/>
                <a:gd name="T42" fmla="*/ 382 w 1476"/>
                <a:gd name="T43" fmla="*/ 524 h 1476"/>
                <a:gd name="T44" fmla="*/ 382 w 1476"/>
                <a:gd name="T45" fmla="*/ 374 h 1476"/>
                <a:gd name="T46" fmla="*/ 1094 w 1476"/>
                <a:gd name="T47" fmla="*/ 374 h 1476"/>
                <a:gd name="T48" fmla="*/ 1094 w 1476"/>
                <a:gd name="T49" fmla="*/ 524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0" y="0"/>
                    <a:pt x="0" y="331"/>
                    <a:pt x="0" y="738"/>
                  </a:cubicBezTo>
                  <a:cubicBezTo>
                    <a:pt x="0" y="1146"/>
                    <a:pt x="330" y="1476"/>
                    <a:pt x="738" y="1476"/>
                  </a:cubicBezTo>
                  <a:cubicBezTo>
                    <a:pt x="1145" y="1476"/>
                    <a:pt x="1476" y="1146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moveTo>
                    <a:pt x="547" y="1099"/>
                  </a:moveTo>
                  <a:cubicBezTo>
                    <a:pt x="388" y="1099"/>
                    <a:pt x="388" y="1099"/>
                    <a:pt x="388" y="1099"/>
                  </a:cubicBezTo>
                  <a:cubicBezTo>
                    <a:pt x="388" y="637"/>
                    <a:pt x="388" y="637"/>
                    <a:pt x="388" y="637"/>
                  </a:cubicBezTo>
                  <a:cubicBezTo>
                    <a:pt x="547" y="637"/>
                    <a:pt x="547" y="637"/>
                    <a:pt x="547" y="637"/>
                  </a:cubicBezTo>
                  <a:lnTo>
                    <a:pt x="547" y="1099"/>
                  </a:lnTo>
                  <a:close/>
                  <a:moveTo>
                    <a:pt x="817" y="1099"/>
                  </a:moveTo>
                  <a:cubicBezTo>
                    <a:pt x="658" y="1099"/>
                    <a:pt x="658" y="1099"/>
                    <a:pt x="658" y="1099"/>
                  </a:cubicBezTo>
                  <a:cubicBezTo>
                    <a:pt x="658" y="637"/>
                    <a:pt x="658" y="637"/>
                    <a:pt x="658" y="637"/>
                  </a:cubicBezTo>
                  <a:cubicBezTo>
                    <a:pt x="817" y="637"/>
                    <a:pt x="817" y="637"/>
                    <a:pt x="817" y="637"/>
                  </a:cubicBezTo>
                  <a:lnTo>
                    <a:pt x="817" y="1099"/>
                  </a:lnTo>
                  <a:close/>
                  <a:moveTo>
                    <a:pt x="1088" y="1099"/>
                  </a:moveTo>
                  <a:cubicBezTo>
                    <a:pt x="929" y="1099"/>
                    <a:pt x="929" y="1099"/>
                    <a:pt x="929" y="1099"/>
                  </a:cubicBezTo>
                  <a:cubicBezTo>
                    <a:pt x="929" y="637"/>
                    <a:pt x="929" y="637"/>
                    <a:pt x="929" y="637"/>
                  </a:cubicBezTo>
                  <a:cubicBezTo>
                    <a:pt x="1088" y="637"/>
                    <a:pt x="1088" y="637"/>
                    <a:pt x="1088" y="637"/>
                  </a:cubicBezTo>
                  <a:lnTo>
                    <a:pt x="1088" y="1099"/>
                  </a:lnTo>
                  <a:close/>
                  <a:moveTo>
                    <a:pt x="1094" y="524"/>
                  </a:moveTo>
                  <a:cubicBezTo>
                    <a:pt x="382" y="524"/>
                    <a:pt x="382" y="524"/>
                    <a:pt x="382" y="524"/>
                  </a:cubicBezTo>
                  <a:cubicBezTo>
                    <a:pt x="382" y="374"/>
                    <a:pt x="382" y="374"/>
                    <a:pt x="382" y="374"/>
                  </a:cubicBezTo>
                  <a:cubicBezTo>
                    <a:pt x="1094" y="374"/>
                    <a:pt x="1094" y="374"/>
                    <a:pt x="1094" y="374"/>
                  </a:cubicBezTo>
                  <a:lnTo>
                    <a:pt x="1094" y="524"/>
                  </a:lnTo>
                  <a:close/>
                </a:path>
              </a:pathLst>
            </a:custGeom>
            <a:solidFill>
              <a:srgbClr val="627D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6C520D35-CCB9-4E70-9662-C4E73E3AFD76}"/>
              </a:ext>
            </a:extLst>
          </p:cNvPr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695325" y="1628775"/>
            <a:ext cx="9913177" cy="1329620"/>
          </a:xfrm>
        </p:spPr>
        <p:txBody>
          <a:bodyPr anchor="t" anchorCtr="0"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95325" y="3573016"/>
            <a:ext cx="9913177" cy="244837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 marL="182562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 marL="44450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 marL="715963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 marL="985838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4022173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3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Swiss Re sigma NatCat webinar | 14 May 2019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7BA8876-977E-46F0-BBD7-B0B14C588F55}"/>
              </a:ext>
            </a:extLst>
          </p:cNvPr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556745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bg bwMode="gray"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12192000" cy="6858000"/>
          </a:xfrm>
        </p:spPr>
        <p:txBody>
          <a:bodyPr tIns="576000" anchor="ctr"/>
          <a:lstStyle>
            <a:lvl1pPr algn="ctr"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695325" y="1628776"/>
            <a:ext cx="9913177" cy="1296168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695325" y="2996952"/>
            <a:ext cx="9913177" cy="28803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FFFFFF"/>
                </a:solidFill>
                <a:latin typeface="SwissRe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4012517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3426" y="301052"/>
            <a:ext cx="1379177" cy="324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2328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black">
          <a:xfrm>
            <a:off x="695325" y="1628776"/>
            <a:ext cx="11017250" cy="4392513"/>
          </a:xfrm>
        </p:spPr>
        <p:txBody>
          <a:bodyPr/>
          <a:lstStyle>
            <a:lvl1pPr>
              <a:defRPr>
                <a:latin typeface="SwissReSans" pitchFamily="34" charset="0"/>
              </a:defRPr>
            </a:lvl1pPr>
            <a:lvl2pPr>
              <a:defRPr>
                <a:latin typeface="SwissReSans" pitchFamily="34" charset="0"/>
              </a:defRPr>
            </a:lvl2pPr>
            <a:lvl3pPr>
              <a:defRPr>
                <a:latin typeface="SwissReSans" pitchFamily="34" charset="0"/>
              </a:defRPr>
            </a:lvl3pPr>
            <a:lvl4pPr>
              <a:defRPr>
                <a:latin typeface="SwissReSans" pitchFamily="34" charset="0"/>
              </a:defRPr>
            </a:lvl4pPr>
            <a:lvl5pPr>
              <a:defRPr>
                <a:latin typeface="SwissReSans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108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black">
          <a:xfrm>
            <a:off x="695325" y="1628776"/>
            <a:ext cx="11017250" cy="4392513"/>
          </a:xfrm>
        </p:spPr>
        <p:txBody>
          <a:bodyPr/>
          <a:lstStyle>
            <a:lvl1pPr>
              <a:defRPr>
                <a:latin typeface="SwissReSans" pitchFamily="34" charset="0"/>
              </a:defRPr>
            </a:lvl1pPr>
            <a:lvl2pPr>
              <a:defRPr>
                <a:latin typeface="SwissReSans" pitchFamily="34" charset="0"/>
              </a:defRPr>
            </a:lvl2pPr>
            <a:lvl3pPr>
              <a:defRPr>
                <a:latin typeface="SwissReSans" pitchFamily="34" charset="0"/>
              </a:defRPr>
            </a:lvl3pPr>
            <a:lvl4pPr>
              <a:defRPr>
                <a:latin typeface="SwissReSans" pitchFamily="34" charset="0"/>
              </a:defRPr>
            </a:lvl4pPr>
            <a:lvl5pPr>
              <a:defRPr>
                <a:latin typeface="SwissReSans" pitchFamily="34" charset="0"/>
              </a:defRPr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95325" y="1628775"/>
            <a:ext cx="9913177" cy="1329620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4800" kern="1200" dirty="0">
                <a:solidFill>
                  <a:srgbClr val="FFFFFF"/>
                </a:solidFill>
                <a:latin typeface="SwissReSans Light" pitchFamily="34" charset="0"/>
                <a:ea typeface="+mj-ea"/>
                <a:cs typeface="+mj-cs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95325" y="3573016"/>
            <a:ext cx="9913177" cy="2448372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3887986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14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endParaRPr lang="en-GB" sz="1000" dirty="0">
              <a:solidFill>
                <a:srgbClr val="283E36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3975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95326" y="1628774"/>
            <a:ext cx="5328000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6384032" y="1628776"/>
            <a:ext cx="5328000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58631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282572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ey Message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20653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Key Message with Gradient" preserve="1" userDrawn="1">
  <p:cSld name="Key Message with Gradient">
    <p:bg>
      <p:bgPr>
        <a:gradFill>
          <a:gsLst>
            <a:gs pos="0">
              <a:schemeClr val="tx2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Footer">
            <a:extLst>
              <a:ext uri="{FF2B5EF4-FFF2-40B4-BE49-F238E27FC236}">
                <a16:creationId xmlns:a16="http://schemas.microsoft.com/office/drawing/2014/main" id="{95A25EDE-8428-429E-BE07-354A88A6623D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endParaRPr lang="en-GB" sz="1000" dirty="0">
              <a:solidFill>
                <a:srgbClr val="FFFFFF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3348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radient, Text and Image" preserve="1" userDrawn="1">
  <p:cSld name="Gradient,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5A4DEE0-C41B-4076-8B94-57B0E7907B17}"/>
              </a:ext>
            </a:extLst>
          </p:cNvPr>
          <p:cNvSpPr/>
          <p:nvPr userDrawn="1"/>
        </p:nvSpPr>
        <p:spPr bwMode="gray">
          <a:xfrm>
            <a:off x="0" y="0"/>
            <a:ext cx="610235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02350" y="0"/>
            <a:ext cx="6089650" cy="6858000"/>
          </a:xfrm>
        </p:spPr>
        <p:txBody>
          <a:bodyPr lIns="0" tIns="900000" anchor="ctr"/>
          <a:lstStyle>
            <a:lvl1pPr algn="ctr">
              <a:spcBef>
                <a:spcPts val="0"/>
              </a:spcBef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/>
              <a:t>Click to browse for an own image.</a:t>
            </a:r>
            <a:br>
              <a:rPr lang="en-GB" noProof="1"/>
            </a:br>
            <a:r>
              <a:rPr lang="en-GB" noProof="1"/>
              <a:t>Be careful to avoid an image that clashes</a:t>
            </a:r>
            <a:br>
              <a:rPr lang="en-GB" noProof="1"/>
            </a:br>
            <a:r>
              <a:rPr lang="en-GB" noProof="1"/>
              <a:t>with the gradient colour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 bwMode="gray">
          <a:xfrm>
            <a:off x="695325" y="692151"/>
            <a:ext cx="4920621" cy="69264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2C90A8-D632-4D32-AA86-6231D6EA8A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95324" y="1628774"/>
            <a:ext cx="4920624" cy="4392614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31396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Image" preserve="1" userDrawn="1">
  <p:cSld name="Imag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 hidden="1"/>
          <p:cNvSpPr>
            <a:spLocks noGrp="1"/>
          </p:cNvSpPr>
          <p:nvPr>
            <p:ph type="pic" idx="1"/>
          </p:nvPr>
        </p:nvSpPr>
        <p:spPr bwMode="gray"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3887986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12" name="Footer"/>
          <p:cNvSpPr txBox="1">
            <a:spLocks/>
          </p:cNvSpPr>
          <p:nvPr userDrawn="1">
            <p:custDataLst>
              <p:tags r:id="rId4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endParaRPr lang="en-GB" sz="1000" dirty="0">
              <a:solidFill>
                <a:srgbClr val="283E36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083896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and Image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</p:spPr>
        <p:txBody>
          <a:bodyPr lIns="0" tIns="720000" anchor="ctr"/>
          <a:lstStyle>
            <a:lvl1pPr marL="0" indent="0" algn="ctr"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/>
              <a:t>Select an image </a:t>
            </a:r>
            <a:br>
              <a:rPr lang="en-GB" noProof="1"/>
            </a:br>
            <a:r>
              <a:rPr lang="en-GB" noProof="1"/>
              <a:t>from the Brandic menu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95325" y="1628774"/>
            <a:ext cx="4920624" cy="4392614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95325" y="692151"/>
            <a:ext cx="4920621" cy="692647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50877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tatement and Image" preserve="1" userDrawn="1">
  <p:cSld name="Statem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</p:spPr>
        <p:txBody>
          <a:bodyPr lIns="4752000" anchor="ctr"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/>
              <a:t>Select an image from the Brandic menu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95325" y="1628773"/>
            <a:ext cx="4920623" cy="4392614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38242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ircular Messaging Device (large)" preserve="1" userDrawn="1">
  <p:cSld name="Circular Messaging Devic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95326" y="1628774"/>
            <a:ext cx="6120754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 bwMode="gray">
          <a:xfrm>
            <a:off x="7752184" y="1809000"/>
            <a:ext cx="3240000" cy="3240000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  <a:tileRect/>
          </a:gra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2000">
                <a:solidFill>
                  <a:srgbClr val="FFFFFF"/>
                </a:solidFill>
                <a:latin typeface="SwissReSans Light" panose="020B0504020202020204" pitchFamily="34" charset="0"/>
              </a:defRPr>
            </a:lvl1pPr>
            <a:lvl2pPr marL="182562" indent="0" algn="l">
              <a:buFontTx/>
              <a:buNone/>
              <a:defRPr>
                <a:solidFill>
                  <a:srgbClr val="FFFFFF"/>
                </a:solidFill>
              </a:defRPr>
            </a:lvl2pPr>
            <a:lvl3pPr marL="444500" indent="0" algn="l">
              <a:buFontTx/>
              <a:buNone/>
              <a:defRPr>
                <a:solidFill>
                  <a:srgbClr val="FFFFFF"/>
                </a:solidFill>
              </a:defRPr>
            </a:lvl3pPr>
            <a:lvl4pPr marL="715963" indent="0" algn="l">
              <a:buFontTx/>
              <a:buNone/>
              <a:defRPr>
                <a:solidFill>
                  <a:srgbClr val="FFFFFF"/>
                </a:solidFill>
              </a:defRPr>
            </a:lvl4pPr>
            <a:lvl5pPr marL="985838" indent="0" algn="l">
              <a:buFontTx/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88255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6D5EE11D-C1A1-4FB7-89C5-9A39789A43B5}"/>
              </a:ext>
            </a:extLst>
          </p:cNvPr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95325" y="1628775"/>
            <a:ext cx="9913177" cy="1329620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4800" kern="1200" dirty="0">
                <a:solidFill>
                  <a:srgbClr val="FFFFFF"/>
                </a:solidFill>
                <a:latin typeface="SwissReSans Light" pitchFamily="34" charset="0"/>
                <a:ea typeface="+mj-ea"/>
                <a:cs typeface="+mj-cs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95325" y="3573016"/>
            <a:ext cx="9913177" cy="2448372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4022173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4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Swiss Re sigma NatCat webinar | 14 May 2019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0C22524-E535-496F-90E3-6FE87E5669AA}"/>
              </a:ext>
            </a:extLst>
          </p:cNvPr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ircular Messaging Device (small)" preserve="1" userDrawn="1">
  <p:cSld name="Circular Messaging Devic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95326" y="1628774"/>
            <a:ext cx="7200874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3"/>
          </p:nvPr>
        </p:nvSpPr>
        <p:spPr bwMode="gray">
          <a:xfrm>
            <a:off x="8702581" y="2349000"/>
            <a:ext cx="2160000" cy="2160000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  <a:tileRect/>
          </a:gradFill>
        </p:spPr>
        <p:txBody>
          <a:bodyPr anchor="ctr"/>
          <a:lstStyle>
            <a:lvl1pPr marL="0" indent="0" algn="ctr">
              <a:lnSpc>
                <a:spcPct val="95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  <a:latin typeface="SwissReSans Light" panose="020B0504020202020204" pitchFamily="34" charset="0"/>
              </a:defRPr>
            </a:lvl1pPr>
            <a:lvl2pPr marL="182562" indent="0" algn="l">
              <a:buFontTx/>
              <a:buNone/>
              <a:defRPr sz="1600">
                <a:solidFill>
                  <a:schemeClr val="bg1"/>
                </a:solidFill>
              </a:defRPr>
            </a:lvl2pPr>
            <a:lvl3pPr marL="444500" indent="0" algn="l">
              <a:buFontTx/>
              <a:buNone/>
              <a:defRPr sz="1600">
                <a:solidFill>
                  <a:schemeClr val="bg1"/>
                </a:solidFill>
              </a:defRPr>
            </a:lvl3pPr>
            <a:lvl4pPr marL="715963" indent="0" algn="l">
              <a:buFontTx/>
              <a:buNone/>
              <a:defRPr sz="1600">
                <a:solidFill>
                  <a:schemeClr val="bg1"/>
                </a:solidFill>
              </a:defRPr>
            </a:lvl4pPr>
            <a:lvl5pPr marL="985838" indent="0" algn="l"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7280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act Persons (4 people)" preserve="1" userDrawn="1">
  <p:cSld name="Contact Persons (4 peo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5A4DEE0-C41B-4076-8B94-57B0E7907B17}"/>
              </a:ext>
            </a:extLst>
          </p:cNvPr>
          <p:cNvSpPr/>
          <p:nvPr userDrawn="1"/>
        </p:nvSpPr>
        <p:spPr bwMode="gray">
          <a:xfrm>
            <a:off x="0" y="0"/>
            <a:ext cx="4064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692151"/>
            <a:ext cx="3096418" cy="69264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Enter team name her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2C90A8-D632-4D32-AA86-6231D6EA8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325" y="1628774"/>
            <a:ext cx="3096420" cy="4392614"/>
          </a:xfrm>
        </p:spPr>
        <p:txBody>
          <a:bodyPr/>
          <a:lstStyle>
            <a:lvl1pPr marL="108000" indent="-108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1pPr>
            <a:lvl2pPr marL="252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2pPr>
            <a:lvl3pPr marL="396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3pPr>
            <a:lvl4pPr marL="540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4pPr>
            <a:lvl5pPr marL="684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 dirty="0"/>
              <a:t>Click to add text, for example team mission and/or capabilities, roles and responsibilities, other info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456FDD83-9066-405C-9C9B-C6012C35E7C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573419" y="727075"/>
            <a:ext cx="1800000" cy="1800000"/>
          </a:xfrm>
          <a:prstGeom prst="ellipse">
            <a:avLst/>
          </a:prstGeom>
        </p:spPr>
        <p:txBody>
          <a:bodyPr tIns="504000" anchor="ctr" anchorCtr="0"/>
          <a:lstStyle>
            <a:lvl1pPr marL="0" indent="0" algn="ctr">
              <a:buNone/>
              <a:defRPr sz="1400">
                <a:solidFill>
                  <a:srgbClr val="A8BAB2"/>
                </a:solidFill>
              </a:defRPr>
            </a:lvl1pPr>
          </a:lstStyle>
          <a:p>
            <a:r>
              <a:rPr lang="en-GB" noProof="0" dirty="0"/>
              <a:t>Add pictur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38A06944-C2A7-4F21-A4A5-D22B1CF13B5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882581" y="727075"/>
            <a:ext cx="1800000" cy="1800000"/>
          </a:xfrm>
          <a:prstGeom prst="ellipse">
            <a:avLst/>
          </a:prstGeom>
        </p:spPr>
        <p:txBody>
          <a:bodyPr tIns="504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4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GB" noProof="0" dirty="0"/>
              <a:t>Add picture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9679A695-226D-4550-AC5F-CF13DA1C3EA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50638" y="2641930"/>
            <a:ext cx="2845562" cy="169277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 dirty="0"/>
              <a:t>Click to add name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8FFF6C9-8B70-45DC-9C06-54DD5B87AF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50638" y="2827874"/>
            <a:ext cx="2845562" cy="356957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 dirty="0"/>
              <a:t>Job title</a:t>
            </a:r>
            <a:br>
              <a:rPr lang="en-GB" noProof="0" dirty="0"/>
            </a:br>
            <a:r>
              <a:rPr lang="en-GB" noProof="0" dirty="0"/>
              <a:t>Contact information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2F9034A3-A308-4153-AEC9-209C0E14C84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61630" y="2641930"/>
            <a:ext cx="2845562" cy="169277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 dirty="0"/>
              <a:t>Click to add name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ADD3A46A-9F03-452A-97A6-168C664072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61630" y="2827874"/>
            <a:ext cx="2845562" cy="356957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 dirty="0"/>
              <a:t>Job title</a:t>
            </a:r>
            <a:br>
              <a:rPr lang="en-GB" noProof="0" dirty="0"/>
            </a:br>
            <a:r>
              <a:rPr lang="en-GB" noProof="0" dirty="0"/>
              <a:t>Contact information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578C2B07-87F4-489C-A284-3E5878138E7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5573419" y="3430871"/>
            <a:ext cx="1800000" cy="1800000"/>
          </a:xfrm>
          <a:prstGeom prst="ellipse">
            <a:avLst/>
          </a:prstGeom>
        </p:spPr>
        <p:txBody>
          <a:bodyPr tIns="504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4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GB" noProof="0" dirty="0"/>
              <a:t>Add picture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D418C2AA-7D28-483F-81E1-731AA2580309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882581" y="3430871"/>
            <a:ext cx="1800000" cy="1800000"/>
          </a:xfrm>
          <a:prstGeom prst="ellipse">
            <a:avLst/>
          </a:prstGeom>
        </p:spPr>
        <p:txBody>
          <a:bodyPr tIns="504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4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GB" noProof="0" dirty="0"/>
              <a:t>Add picture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AFF0E09B-2153-4F77-903B-8AE289C2024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050638" y="5345726"/>
            <a:ext cx="2845562" cy="169277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 dirty="0"/>
              <a:t>Click to add nam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B6E4CA2D-F663-4612-8211-ABCBF0E3B4F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50638" y="5531670"/>
            <a:ext cx="2845562" cy="356957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 dirty="0"/>
              <a:t>Job title</a:t>
            </a:r>
            <a:br>
              <a:rPr lang="en-GB" noProof="0" dirty="0"/>
            </a:br>
            <a:r>
              <a:rPr lang="en-GB" noProof="0" dirty="0"/>
              <a:t>Contact information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4679ECFC-69DE-448E-A790-E6DF1353CC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61630" y="5345726"/>
            <a:ext cx="2845562" cy="169277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 dirty="0"/>
              <a:t>Click to add name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A2E08B10-5430-4825-9E65-D8235CD0407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61630" y="5531670"/>
            <a:ext cx="2845562" cy="356957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 dirty="0"/>
              <a:t>Job title</a:t>
            </a:r>
            <a:br>
              <a:rPr lang="en-GB" noProof="0" dirty="0"/>
            </a:br>
            <a:r>
              <a:rPr lang="en-GB" noProof="0" dirty="0"/>
              <a:t>Contact information</a:t>
            </a:r>
          </a:p>
        </p:txBody>
      </p:sp>
      <p:sp>
        <p:nvSpPr>
          <p:cNvPr id="29" name="Footer">
            <a:extLst>
              <a:ext uri="{FF2B5EF4-FFF2-40B4-BE49-F238E27FC236}">
                <a16:creationId xmlns:a16="http://schemas.microsoft.com/office/drawing/2014/main" id="{0A885EF8-5FBD-475E-BD95-4D0C7488BAE5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endParaRPr lang="en-GB" sz="1000" dirty="0">
              <a:solidFill>
                <a:srgbClr val="283E36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759301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act Persons (9 people)" preserve="1" userDrawn="1">
  <p:cSld name="Contact Persons (9 peo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5A4DEE0-C41B-4076-8B94-57B0E7907B17}"/>
              </a:ext>
            </a:extLst>
          </p:cNvPr>
          <p:cNvSpPr/>
          <p:nvPr userDrawn="1"/>
        </p:nvSpPr>
        <p:spPr bwMode="gray">
          <a:xfrm>
            <a:off x="0" y="0"/>
            <a:ext cx="4064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692151"/>
            <a:ext cx="3096418" cy="69264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Enter team name her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2C90A8-D632-4D32-AA86-6231D6EA8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325" y="1628774"/>
            <a:ext cx="3096420" cy="4392614"/>
          </a:xfrm>
        </p:spPr>
        <p:txBody>
          <a:bodyPr/>
          <a:lstStyle>
            <a:lvl1pPr marL="108000" indent="-108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1pPr>
            <a:lvl2pPr marL="252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2pPr>
            <a:lvl3pPr marL="396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3pPr>
            <a:lvl4pPr marL="540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4pPr>
            <a:lvl5pPr marL="684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 dirty="0"/>
              <a:t>Click to add text, for example team mission and/or capabilities, roles and responsibilities, other info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9682A749-FC1E-4118-9EDD-CE1ABA3E262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283565" y="738628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0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GB" noProof="0" dirty="0"/>
              <a:t>Add picture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73E640E6-6F1D-478B-91DA-EF27860B8F0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71219" y="1883003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 dirty="0"/>
              <a:t>Click to add name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1BD7495-9DC8-424C-9AA0-FAD0EABDAC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71219" y="2049899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 dirty="0"/>
              <a:t>Job title</a:t>
            </a:r>
            <a:br>
              <a:rPr lang="en-GB" noProof="0" dirty="0"/>
            </a:br>
            <a:r>
              <a:rPr lang="en-GB" noProof="0" dirty="0"/>
              <a:t>Contact information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F19CD5BF-B691-42A9-9A28-7D982DEDC98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7581323" y="738628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0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GB" noProof="0" dirty="0"/>
              <a:t>Add pictu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F582FA5-0ACC-44FA-AD35-38027A4BC7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68977" y="1883003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 dirty="0"/>
              <a:t>Click to add nam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34479282-0266-40A5-AD96-427D23FC8E2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68977" y="2049899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 dirty="0"/>
              <a:t>Job title</a:t>
            </a:r>
            <a:br>
              <a:rPr lang="en-GB" noProof="0" dirty="0"/>
            </a:br>
            <a:r>
              <a:rPr lang="en-GB" noProof="0" dirty="0"/>
              <a:t>Contact information</a:t>
            </a:r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A372C913-34DD-415E-8A45-FE2BAAA5AB9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881460" y="738628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 dirty="0"/>
              <a:t>Add pictu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134E3D5-1F39-4EBB-AA24-A2FD4F813D1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114" y="1883003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 dirty="0"/>
              <a:t>Click to add nam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A4699E8E-78EB-413E-9E61-A75A1208CF0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69114" y="2049899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 dirty="0"/>
              <a:t>Job title</a:t>
            </a:r>
            <a:br>
              <a:rPr lang="en-GB" noProof="0" dirty="0"/>
            </a:br>
            <a:r>
              <a:rPr lang="en-GB" noProof="0" dirty="0"/>
              <a:t>Contact information</a:t>
            </a:r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055DF295-2A7B-4334-B97B-ED339BB7034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5283565" y="2557409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 dirty="0"/>
              <a:t>Add picture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86C79598-5718-4B97-9653-C258BACE02E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71219" y="3701784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 dirty="0"/>
              <a:t>Click to add name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D1CD186E-C886-499B-8730-86302FB13D6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871219" y="3868680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 dirty="0"/>
              <a:t>Job title</a:t>
            </a:r>
            <a:br>
              <a:rPr lang="en-GB" noProof="0" dirty="0"/>
            </a:br>
            <a:r>
              <a:rPr lang="en-GB" noProof="0" dirty="0"/>
              <a:t>Contact 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221F4A5A-8D58-4545-B3A9-1D7286AC7F03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7581323" y="2557409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 dirty="0"/>
              <a:t>Add picture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CAD9D006-676C-4CB9-9E60-67322DE91D1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168977" y="3701784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 dirty="0"/>
              <a:t>Click to add name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50A073A5-04E0-4873-B0FB-802CADE3666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68977" y="3868680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 dirty="0"/>
              <a:t>Job title</a:t>
            </a:r>
            <a:br>
              <a:rPr lang="en-GB" noProof="0" dirty="0"/>
            </a:br>
            <a:r>
              <a:rPr lang="en-GB" noProof="0" dirty="0"/>
              <a:t>Contact information</a:t>
            </a:r>
          </a:p>
        </p:txBody>
      </p:sp>
      <p:sp>
        <p:nvSpPr>
          <p:cNvPr id="44" name="Picture Placeholder 3">
            <a:extLst>
              <a:ext uri="{FF2B5EF4-FFF2-40B4-BE49-F238E27FC236}">
                <a16:creationId xmlns:a16="http://schemas.microsoft.com/office/drawing/2014/main" id="{195DD2A1-427A-429A-9C4E-E51AEBB0E0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9881460" y="2557409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 dirty="0"/>
              <a:t>Add pictu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F28B10EF-4A1F-4980-8CD3-519EB5DBC22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469114" y="3701784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 dirty="0"/>
              <a:t>Click to add nam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E8B1A89-1311-46C8-AABE-49A07C509A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469114" y="3868680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 dirty="0"/>
              <a:t>Job title</a:t>
            </a:r>
            <a:br>
              <a:rPr lang="en-GB" noProof="0" dirty="0"/>
            </a:br>
            <a:r>
              <a:rPr lang="en-GB" noProof="0" dirty="0"/>
              <a:t>Contact information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A1132398-8B9A-4B3D-933D-0916342541FD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5283565" y="4379592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 dirty="0"/>
              <a:t>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60DB6F48-FC4C-4A1D-9535-0E108AAFBE0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871219" y="5523967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 dirty="0"/>
              <a:t>Click to add nam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A810E96A-A59E-44AE-B57E-8AF75CD1963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871219" y="5690863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 dirty="0"/>
              <a:t>Job title</a:t>
            </a:r>
            <a:br>
              <a:rPr lang="en-GB" noProof="0" dirty="0"/>
            </a:br>
            <a:r>
              <a:rPr lang="en-GB" noProof="0" dirty="0"/>
              <a:t>Contact information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198933B9-38C2-482E-AD0B-42A8177C695A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7581323" y="4379592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 dirty="0"/>
              <a:t>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3A0551C6-CAE2-4890-8760-2733C7FDE73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168977" y="5523967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 dirty="0"/>
              <a:t>Click to add name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351C2CEF-8471-4D1A-B51B-ABA769D4AFD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168977" y="5690863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 dirty="0"/>
              <a:t>Job title</a:t>
            </a:r>
            <a:br>
              <a:rPr lang="en-GB" noProof="0" dirty="0"/>
            </a:br>
            <a:r>
              <a:rPr lang="en-GB" noProof="0" dirty="0"/>
              <a:t>Contact information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0AAAD490-0511-40C3-A7FD-06F99326BA9B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9881460" y="4379592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 dirty="0"/>
              <a:t>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57D9887A-55D1-49D2-8675-5240F864DA0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469114" y="5523967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 dirty="0"/>
              <a:t>Click to add name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78D2D6D9-E53F-4A0D-BBF5-81D01913CD1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469114" y="5690863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 dirty="0"/>
              <a:t>Job title</a:t>
            </a:r>
            <a:br>
              <a:rPr lang="en-GB" noProof="0" dirty="0"/>
            </a:br>
            <a:r>
              <a:rPr lang="en-GB" noProof="0" dirty="0"/>
              <a:t>Contact information</a:t>
            </a:r>
          </a:p>
        </p:txBody>
      </p:sp>
      <p:sp>
        <p:nvSpPr>
          <p:cNvPr id="56" name="Footer">
            <a:extLst>
              <a:ext uri="{FF2B5EF4-FFF2-40B4-BE49-F238E27FC236}">
                <a16:creationId xmlns:a16="http://schemas.microsoft.com/office/drawing/2014/main" id="{3D92757B-1122-4A0B-B414-F2DE3CA792C1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endParaRPr lang="en-GB" sz="1000" dirty="0">
              <a:solidFill>
                <a:srgbClr val="283E36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33653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ower Symbol" preserve="1" userDrawn="1">
  <p:cSld name="Power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>
            <a:off x="4943872" y="2564904"/>
            <a:ext cx="2304256" cy="1728192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4656138" y="1989138"/>
            <a:ext cx="2879725" cy="2879725"/>
            <a:chOff x="3132138" y="1989138"/>
            <a:chExt cx="2879725" cy="28797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3707904" y="2564904"/>
              <a:ext cx="1728192" cy="1728192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3" name="Freeform 5"/>
            <p:cNvSpPr>
              <a:spLocks noEditPoints="1"/>
            </p:cNvSpPr>
            <p:nvPr userDrawn="1"/>
          </p:nvSpPr>
          <p:spPr bwMode="auto">
            <a:xfrm>
              <a:off x="3132138" y="1989138"/>
              <a:ext cx="2879725" cy="2879725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547 w 1476"/>
                <a:gd name="T11" fmla="*/ 1099 h 1476"/>
                <a:gd name="T12" fmla="*/ 388 w 1476"/>
                <a:gd name="T13" fmla="*/ 1099 h 1476"/>
                <a:gd name="T14" fmla="*/ 388 w 1476"/>
                <a:gd name="T15" fmla="*/ 637 h 1476"/>
                <a:gd name="T16" fmla="*/ 547 w 1476"/>
                <a:gd name="T17" fmla="*/ 637 h 1476"/>
                <a:gd name="T18" fmla="*/ 547 w 1476"/>
                <a:gd name="T19" fmla="*/ 1099 h 1476"/>
                <a:gd name="T20" fmla="*/ 817 w 1476"/>
                <a:gd name="T21" fmla="*/ 1099 h 1476"/>
                <a:gd name="T22" fmla="*/ 658 w 1476"/>
                <a:gd name="T23" fmla="*/ 1099 h 1476"/>
                <a:gd name="T24" fmla="*/ 658 w 1476"/>
                <a:gd name="T25" fmla="*/ 637 h 1476"/>
                <a:gd name="T26" fmla="*/ 817 w 1476"/>
                <a:gd name="T27" fmla="*/ 637 h 1476"/>
                <a:gd name="T28" fmla="*/ 817 w 1476"/>
                <a:gd name="T29" fmla="*/ 1099 h 1476"/>
                <a:gd name="T30" fmla="*/ 1088 w 1476"/>
                <a:gd name="T31" fmla="*/ 1099 h 1476"/>
                <a:gd name="T32" fmla="*/ 929 w 1476"/>
                <a:gd name="T33" fmla="*/ 1099 h 1476"/>
                <a:gd name="T34" fmla="*/ 929 w 1476"/>
                <a:gd name="T35" fmla="*/ 637 h 1476"/>
                <a:gd name="T36" fmla="*/ 1088 w 1476"/>
                <a:gd name="T37" fmla="*/ 637 h 1476"/>
                <a:gd name="T38" fmla="*/ 1088 w 1476"/>
                <a:gd name="T39" fmla="*/ 1099 h 1476"/>
                <a:gd name="T40" fmla="*/ 1094 w 1476"/>
                <a:gd name="T41" fmla="*/ 524 h 1476"/>
                <a:gd name="T42" fmla="*/ 382 w 1476"/>
                <a:gd name="T43" fmla="*/ 524 h 1476"/>
                <a:gd name="T44" fmla="*/ 382 w 1476"/>
                <a:gd name="T45" fmla="*/ 374 h 1476"/>
                <a:gd name="T46" fmla="*/ 1094 w 1476"/>
                <a:gd name="T47" fmla="*/ 374 h 1476"/>
                <a:gd name="T48" fmla="*/ 1094 w 1476"/>
                <a:gd name="T49" fmla="*/ 524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0" y="0"/>
                    <a:pt x="0" y="331"/>
                    <a:pt x="0" y="738"/>
                  </a:cubicBezTo>
                  <a:cubicBezTo>
                    <a:pt x="0" y="1146"/>
                    <a:pt x="330" y="1476"/>
                    <a:pt x="738" y="1476"/>
                  </a:cubicBezTo>
                  <a:cubicBezTo>
                    <a:pt x="1145" y="1476"/>
                    <a:pt x="1476" y="1146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moveTo>
                    <a:pt x="547" y="1099"/>
                  </a:moveTo>
                  <a:cubicBezTo>
                    <a:pt x="388" y="1099"/>
                    <a:pt x="388" y="1099"/>
                    <a:pt x="388" y="1099"/>
                  </a:cubicBezTo>
                  <a:cubicBezTo>
                    <a:pt x="388" y="637"/>
                    <a:pt x="388" y="637"/>
                    <a:pt x="388" y="637"/>
                  </a:cubicBezTo>
                  <a:cubicBezTo>
                    <a:pt x="547" y="637"/>
                    <a:pt x="547" y="637"/>
                    <a:pt x="547" y="637"/>
                  </a:cubicBezTo>
                  <a:lnTo>
                    <a:pt x="547" y="1099"/>
                  </a:lnTo>
                  <a:close/>
                  <a:moveTo>
                    <a:pt x="817" y="1099"/>
                  </a:moveTo>
                  <a:cubicBezTo>
                    <a:pt x="658" y="1099"/>
                    <a:pt x="658" y="1099"/>
                    <a:pt x="658" y="1099"/>
                  </a:cubicBezTo>
                  <a:cubicBezTo>
                    <a:pt x="658" y="637"/>
                    <a:pt x="658" y="637"/>
                    <a:pt x="658" y="637"/>
                  </a:cubicBezTo>
                  <a:cubicBezTo>
                    <a:pt x="817" y="637"/>
                    <a:pt x="817" y="637"/>
                    <a:pt x="817" y="637"/>
                  </a:cubicBezTo>
                  <a:lnTo>
                    <a:pt x="817" y="1099"/>
                  </a:lnTo>
                  <a:close/>
                  <a:moveTo>
                    <a:pt x="1088" y="1099"/>
                  </a:moveTo>
                  <a:cubicBezTo>
                    <a:pt x="929" y="1099"/>
                    <a:pt x="929" y="1099"/>
                    <a:pt x="929" y="1099"/>
                  </a:cubicBezTo>
                  <a:cubicBezTo>
                    <a:pt x="929" y="637"/>
                    <a:pt x="929" y="637"/>
                    <a:pt x="929" y="637"/>
                  </a:cubicBezTo>
                  <a:cubicBezTo>
                    <a:pt x="1088" y="637"/>
                    <a:pt x="1088" y="637"/>
                    <a:pt x="1088" y="637"/>
                  </a:cubicBezTo>
                  <a:lnTo>
                    <a:pt x="1088" y="1099"/>
                  </a:lnTo>
                  <a:close/>
                  <a:moveTo>
                    <a:pt x="1094" y="524"/>
                  </a:moveTo>
                  <a:cubicBezTo>
                    <a:pt x="382" y="524"/>
                    <a:pt x="382" y="524"/>
                    <a:pt x="382" y="524"/>
                  </a:cubicBezTo>
                  <a:cubicBezTo>
                    <a:pt x="382" y="374"/>
                    <a:pt x="382" y="374"/>
                    <a:pt x="382" y="374"/>
                  </a:cubicBezTo>
                  <a:cubicBezTo>
                    <a:pt x="1094" y="374"/>
                    <a:pt x="1094" y="374"/>
                    <a:pt x="1094" y="374"/>
                  </a:cubicBezTo>
                  <a:lnTo>
                    <a:pt x="1094" y="524"/>
                  </a:lnTo>
                  <a:close/>
                </a:path>
              </a:pathLst>
            </a:custGeom>
            <a:solidFill>
              <a:srgbClr val="627D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283E3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4898916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695325" y="1628775"/>
            <a:ext cx="9913177" cy="1329620"/>
          </a:xfrm>
        </p:spPr>
        <p:txBody>
          <a:bodyPr anchor="t" anchorCtr="0"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95325" y="3573016"/>
            <a:ext cx="9913177" cy="244837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 marL="182562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 marL="44450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 marL="715963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 marL="985838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3887986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13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endParaRPr lang="en-GB" sz="1000" dirty="0">
              <a:solidFill>
                <a:srgbClr val="283E36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9511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95326" y="1628774"/>
            <a:ext cx="5328000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6384032" y="1628776"/>
            <a:ext cx="5328000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ey Message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Key Message with Gradient" preserve="1" userDrawn="1">
  <p:cSld name="Key Message with Gradient">
    <p:bg>
      <p:bgPr>
        <a:gradFill>
          <a:gsLst>
            <a:gs pos="0">
              <a:schemeClr val="tx2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Footer">
            <a:extLst>
              <a:ext uri="{FF2B5EF4-FFF2-40B4-BE49-F238E27FC236}">
                <a16:creationId xmlns:a16="http://schemas.microsoft.com/office/drawing/2014/main" id="{95A25EDE-8428-429E-BE07-354A88A6623D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FFFFFF"/>
                </a:solidFill>
                <a:latin typeface="SwissReSans" pitchFamily="34" charset="0"/>
                <a:ea typeface="+mn-ea"/>
                <a:cs typeface="+mn-cs"/>
              </a:rPr>
              <a:t>Swiss Re sigma NatCat webinar | 14 May 2019</a:t>
            </a:r>
            <a:endParaRPr lang="en-GB" sz="1000" b="0" kern="1200" dirty="0">
              <a:solidFill>
                <a:srgbClr val="FFFFFF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0716746-0A67-48D3-98C6-BEF4A1D9DE91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877376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radient, Text and Image" preserve="1" userDrawn="1">
  <p:cSld name="Gradient,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5A4DEE0-C41B-4076-8B94-57B0E7907B17}"/>
              </a:ext>
            </a:extLst>
          </p:cNvPr>
          <p:cNvSpPr/>
          <p:nvPr userDrawn="1"/>
        </p:nvSpPr>
        <p:spPr bwMode="gray">
          <a:xfrm>
            <a:off x="0" y="0"/>
            <a:ext cx="610235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SwissReSans" pitchFamily="34" charset="0"/>
            </a:endParaRPr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02350" y="0"/>
            <a:ext cx="6089650" cy="6858000"/>
          </a:xfrm>
        </p:spPr>
        <p:txBody>
          <a:bodyPr lIns="0" tIns="900000" anchor="ctr"/>
          <a:lstStyle>
            <a:lvl1pPr algn="ctr">
              <a:spcBef>
                <a:spcPts val="0"/>
              </a:spcBef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/>
              <a:t>Click to browse for an own image.</a:t>
            </a:r>
            <a:br>
              <a:rPr lang="en-GB" noProof="1"/>
            </a:br>
            <a:r>
              <a:rPr lang="en-GB" noProof="1"/>
              <a:t>Be careful to avoid an image that clashes</a:t>
            </a:r>
            <a:br>
              <a:rPr lang="en-GB" noProof="1"/>
            </a:br>
            <a:r>
              <a:rPr lang="en-GB" noProof="1"/>
              <a:t>with the gradient colour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 bwMode="gray">
          <a:xfrm>
            <a:off x="695325" y="692151"/>
            <a:ext cx="4920621" cy="69264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2C90A8-D632-4D32-AA86-6231D6EA8A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95324" y="1628774"/>
            <a:ext cx="4920624" cy="4392614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2E9580D-E57E-43DE-99F7-5FECA41DB1FC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1171091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Image" preserve="1" userDrawn="1">
  <p:cSld name="Imag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 hidden="1"/>
          <p:cNvSpPr>
            <a:spLocks noGrp="1"/>
          </p:cNvSpPr>
          <p:nvPr>
            <p:ph type="pic" idx="1"/>
          </p:nvPr>
        </p:nvSpPr>
        <p:spPr bwMode="gray"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4022173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2" name="Footer"/>
          <p:cNvSpPr txBox="1">
            <a:spLocks/>
          </p:cNvSpPr>
          <p:nvPr userDrawn="1">
            <p:custDataLst>
              <p:tags r:id="rId4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Swiss Re sigma NatCat webinar | 14 May 2019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146786E-D677-4947-B631-AC9E9C80FDEF}"/>
              </a:ext>
            </a:extLst>
          </p:cNvPr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21" Type="http://schemas.openxmlformats.org/officeDocument/2006/relationships/tags" Target="../tags/tag44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tags" Target="../tags/tag4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image" Target="../media/image5.png"/><Relationship Id="rId10" Type="http://schemas.openxmlformats.org/officeDocument/2006/relationships/slideLayout" Target="../slideLayouts/slideLayout27.xml"/><Relationship Id="rId19" Type="http://schemas.openxmlformats.org/officeDocument/2006/relationships/tags" Target="../tags/tag42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tags" Target="../tags/tag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695325" y="692151"/>
            <a:ext cx="11017250" cy="6926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695325" y="1628776"/>
            <a:ext cx="11017250" cy="4392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black">
          <a:xfrm>
            <a:off x="4022172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9" name="Footer"/>
          <p:cNvSpPr txBox="1">
            <a:spLocks/>
          </p:cNvSpPr>
          <p:nvPr>
            <p:custDataLst>
              <p:tags r:id="rId20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Swiss Re sigma NatCat webinar | 14 May 2019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 bwMode="black">
          <a:xfrm>
            <a:off x="9782581" y="6918846"/>
            <a:ext cx="1823939" cy="1825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 bwMode="black">
          <a:xfrm>
            <a:off x="1141719" y="6918845"/>
            <a:ext cx="8064500" cy="1825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  <p:custDataLst>
              <p:tags r:id="rId21"/>
            </p:custDataLst>
          </p:nvPr>
        </p:nvSpPr>
        <p:spPr>
          <a:xfrm>
            <a:off x="11414762" y="6472512"/>
            <a:ext cx="287008" cy="18256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rgbClr val="283E36"/>
                </a:solidFill>
                <a:latin typeface="SwissReSans" panose="020B0604020202020204" pitchFamily="34" charset="0"/>
              </a:defRPr>
            </a:lvl1pPr>
          </a:lstStyle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9068741-2497-4823-ADCF-621AA1488228}"/>
              </a:ext>
            </a:extLst>
          </p:cNvPr>
          <p:cNvPicPr>
            <a:picLocks noChangeAspect="1"/>
          </p:cNvPicPr>
          <p:nvPr userDrawn="1">
            <p:custDataLst>
              <p:tags r:id="rId22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  <p:sldLayoutId id="2147483664" r:id="rId7"/>
    <p:sldLayoutId id="2147483665" r:id="rId8"/>
    <p:sldLayoutId id="2147483657" r:id="rId9"/>
    <p:sldLayoutId id="2147483660" r:id="rId10"/>
    <p:sldLayoutId id="2147483661" r:id="rId11"/>
    <p:sldLayoutId id="2147483662" r:id="rId12"/>
    <p:sldLayoutId id="2147483663" r:id="rId13"/>
    <p:sldLayoutId id="2147483666" r:id="rId14"/>
    <p:sldLayoutId id="2147483667" r:id="rId15"/>
    <p:sldLayoutId id="2147483658" r:id="rId16"/>
    <p:sldLayoutId id="2147483659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SwissReSans" pitchFamily="34" charset="0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1200"/>
        </a:spcBef>
        <a:buClrTx/>
        <a:buSzPct val="100000"/>
        <a:buFont typeface="Arial" pitchFamily="34" charset="0"/>
        <a:buChar char="•"/>
        <a:defRPr sz="18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1pPr>
      <a:lvl2pPr marL="444500" indent="-261938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2pPr>
      <a:lvl3pPr marL="715963" indent="-271463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3pPr>
      <a:lvl4pPr marL="985838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4pPr>
      <a:lvl5pPr marL="1255713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38" userDrawn="1">
          <p15:clr>
            <a:srgbClr val="F26B43"/>
          </p15:clr>
        </p15:guide>
        <p15:guide id="2" orient="horz" pos="436" userDrawn="1">
          <p15:clr>
            <a:srgbClr val="F26B43"/>
          </p15:clr>
        </p15:guide>
        <p15:guide id="3" pos="7378" userDrawn="1">
          <p15:clr>
            <a:srgbClr val="F26B43"/>
          </p15:clr>
        </p15:guide>
        <p15:guide id="4" orient="horz" pos="1026" userDrawn="1">
          <p15:clr>
            <a:srgbClr val="F26B43"/>
          </p15:clr>
        </p15:guide>
        <p15:guide id="5" orient="horz" pos="379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695325" y="692151"/>
            <a:ext cx="11017250" cy="6926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695325" y="1628776"/>
            <a:ext cx="11017250" cy="4392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Classification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black">
          <a:xfrm>
            <a:off x="4022172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9" name="Footer"/>
          <p:cNvSpPr txBox="1">
            <a:spLocks/>
          </p:cNvSpPr>
          <p:nvPr>
            <p:custDataLst>
              <p:tags r:id="rId20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endParaRPr lang="en-GB" sz="1000" dirty="0">
              <a:solidFill>
                <a:srgbClr val="283E36"/>
              </a:solidFill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 bwMode="black">
          <a:xfrm>
            <a:off x="9782581" y="6918846"/>
            <a:ext cx="1823939" cy="1825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 bwMode="black">
          <a:xfrm>
            <a:off x="1141719" y="6918845"/>
            <a:ext cx="8064500" cy="1825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  <p:custDataLst>
              <p:tags r:id="rId21"/>
            </p:custDataLst>
          </p:nvPr>
        </p:nvSpPr>
        <p:spPr>
          <a:xfrm>
            <a:off x="11414762" y="6472512"/>
            <a:ext cx="287008" cy="18256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rgbClr val="283E36"/>
                </a:solidFill>
                <a:latin typeface="SwissReSans" panose="020B0604020202020204" pitchFamily="34" charset="0"/>
              </a:defRPr>
            </a:lvl1pPr>
          </a:lstStyle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 userDrawn="1">
            <p:custDataLst>
              <p:tags r:id="rId22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724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684" r:id="rId16"/>
    <p:sldLayoutId id="2147483685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SwissReSans" pitchFamily="34" charset="0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1200"/>
        </a:spcBef>
        <a:buClrTx/>
        <a:buSzPct val="100000"/>
        <a:buFont typeface="Arial" pitchFamily="34" charset="0"/>
        <a:buChar char="•"/>
        <a:defRPr sz="18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1pPr>
      <a:lvl2pPr marL="444500" indent="-261938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2pPr>
      <a:lvl3pPr marL="715963" indent="-271463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3pPr>
      <a:lvl4pPr marL="985838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4pPr>
      <a:lvl5pPr marL="1255713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38">
          <p15:clr>
            <a:srgbClr val="F26B43"/>
          </p15:clr>
        </p15:guide>
        <p15:guide id="2" orient="horz" pos="436">
          <p15:clr>
            <a:srgbClr val="F26B43"/>
          </p15:clr>
        </p15:guide>
        <p15:guide id="3" pos="7378">
          <p15:clr>
            <a:srgbClr val="F26B43"/>
          </p15:clr>
        </p15:guide>
        <p15:guide id="4" orient="horz" pos="1026">
          <p15:clr>
            <a:srgbClr val="F26B43"/>
          </p15:clr>
        </p15:guide>
        <p15:guide id="5" orient="horz" pos="379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image" Target="../media/image2.png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85.xml"/><Relationship Id="rId7" Type="http://schemas.openxmlformats.org/officeDocument/2006/relationships/image" Target="../media/image9.emf"/><Relationship Id="rId2" Type="http://schemas.openxmlformats.org/officeDocument/2006/relationships/tags" Target="../tags/tag84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10.jpg"/><Relationship Id="rId4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13" Type="http://schemas.openxmlformats.org/officeDocument/2006/relationships/image" Target="../media/image11.png"/><Relationship Id="rId3" Type="http://schemas.openxmlformats.org/officeDocument/2006/relationships/tags" Target="../tags/tag87.xml"/><Relationship Id="rId7" Type="http://schemas.openxmlformats.org/officeDocument/2006/relationships/image" Target="../media/image9.emf"/><Relationship Id="rId12" Type="http://schemas.openxmlformats.org/officeDocument/2006/relationships/image" Target="../media/image17.jpeg"/><Relationship Id="rId2" Type="http://schemas.openxmlformats.org/officeDocument/2006/relationships/tags" Target="../tags/tag8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6.png"/><Relationship Id="rId5" Type="http://schemas.openxmlformats.org/officeDocument/2006/relationships/image" Target="../media/image12.jpg"/><Relationship Id="rId10" Type="http://schemas.openxmlformats.org/officeDocument/2006/relationships/image" Target="../media/image15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4.jpeg"/><Relationship Id="rId14" Type="http://schemas.openxmlformats.org/officeDocument/2006/relationships/image" Target="../media/image18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13" Type="http://schemas.openxmlformats.org/officeDocument/2006/relationships/image" Target="../media/image11.png"/><Relationship Id="rId3" Type="http://schemas.openxmlformats.org/officeDocument/2006/relationships/tags" Target="../tags/tag89.xml"/><Relationship Id="rId7" Type="http://schemas.openxmlformats.org/officeDocument/2006/relationships/image" Target="../media/image19.emf"/><Relationship Id="rId12" Type="http://schemas.openxmlformats.org/officeDocument/2006/relationships/image" Target="../media/image24.emf"/><Relationship Id="rId2" Type="http://schemas.openxmlformats.org/officeDocument/2006/relationships/tags" Target="../tags/tag8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emf"/><Relationship Id="rId11" Type="http://schemas.openxmlformats.org/officeDocument/2006/relationships/image" Target="../media/image23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2">
            <a:extLst>
              <a:ext uri="{FF2B5EF4-FFF2-40B4-BE49-F238E27FC236}">
                <a16:creationId xmlns:a16="http://schemas.microsoft.com/office/drawing/2014/main" id="{41259A5F-569B-43E7-ACAC-44B9E7284DF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solidFill>
            <a:srgbClr val="FFFFFF"/>
          </a:solidFill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4B209AE-EE91-407C-BCC7-3ED67ECA472C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gray">
          <a:xfrm>
            <a:off x="0" y="1289050"/>
            <a:ext cx="12192000" cy="2136775"/>
          </a:xfrm>
          <a:prstGeom prst="rect">
            <a:avLst/>
          </a:prstGeom>
          <a:gradFill flip="none" rotWithShape="0">
            <a:gsLst>
              <a:gs pos="0">
                <a:schemeClr val="bg2">
                  <a:alpha val="80000"/>
                </a:schemeClr>
              </a:gs>
              <a:gs pos="100000">
                <a:schemeClr val="tx2">
                  <a:alpha val="80000"/>
                </a:schemeClr>
              </a:gs>
            </a:gsLst>
            <a:lin ang="10800000" scaled="1"/>
            <a:tileRect/>
          </a:gra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Catserver</a:t>
            </a:r>
            <a:r>
              <a:rPr lang="en-US" dirty="0"/>
              <a:t> API - Solutions for Growth</a:t>
            </a:r>
            <a:endParaRPr lang="en-GB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err="1"/>
              <a:t>Dr.</a:t>
            </a:r>
            <a:r>
              <a:rPr lang="en-GB" dirty="0"/>
              <a:t> Angelika Werner, Primary Property Solutions Exper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FF6B1D3-BD33-44B3-A498-B2501E17408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3426" y="301052"/>
            <a:ext cx="1379177" cy="324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91845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84784"/>
            <a:ext cx="12192000" cy="5373216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706179" y="1791889"/>
            <a:ext cx="3456459" cy="4589439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53000">
                <a:srgbClr val="FFFFFF"/>
              </a:gs>
              <a:gs pos="31000">
                <a:schemeClr val="bg1">
                  <a:alpha val="8000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450670" y="1789553"/>
            <a:ext cx="3456384" cy="459177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53000">
                <a:srgbClr val="FFFFFF"/>
              </a:gs>
              <a:gs pos="31000">
                <a:schemeClr val="bg1">
                  <a:alpha val="8000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8195086" y="1789553"/>
            <a:ext cx="3456384" cy="459177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53000">
                <a:srgbClr val="FFFFFF"/>
              </a:gs>
              <a:gs pos="31000">
                <a:schemeClr val="bg1">
                  <a:alpha val="8000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i="1" dirty="0" err="1">
              <a:latin typeface="SwissReSans Light" panose="020B0504020202020204" pitchFamily="34" charset="0"/>
              <a:ea typeface="+mj-ea"/>
              <a:cs typeface="+mj-cs"/>
              <a:sym typeface="SwissReSans Light" panose="020B05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99" y="692151"/>
            <a:ext cx="11017175" cy="692647"/>
          </a:xfrm>
        </p:spPr>
        <p:txBody>
          <a:bodyPr/>
          <a:lstStyle/>
          <a:p>
            <a:r>
              <a:rPr lang="en-US" b="1" dirty="0"/>
              <a:t>Our </a:t>
            </a:r>
            <a:r>
              <a:rPr lang="en-US" b="1" dirty="0" err="1"/>
              <a:t>Catserver</a:t>
            </a:r>
            <a:r>
              <a:rPr lang="en-US" b="1" dirty="0"/>
              <a:t> API solution</a:t>
            </a:r>
            <a:br>
              <a:rPr lang="en-US" b="1" dirty="0"/>
            </a:br>
            <a:r>
              <a:rPr lang="en-US" sz="2000" i="1" dirty="0">
                <a:solidFill>
                  <a:schemeClr val="accent5">
                    <a:lumMod val="75000"/>
                  </a:schemeClr>
                </a:solidFill>
              </a:rPr>
              <a:t>Enabling profitable growth through risk transparency</a:t>
            </a:r>
            <a:br>
              <a:rPr lang="en-US" sz="2000" i="1" dirty="0">
                <a:solidFill>
                  <a:schemeClr val="accent5">
                    <a:lumMod val="75000"/>
                  </a:schemeClr>
                </a:solidFill>
              </a:rPr>
            </a:br>
            <a:endParaRPr lang="en-US" sz="2000" i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06254" y="1968801"/>
            <a:ext cx="21327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  <a:latin typeface="SwissReSans" pitchFamily="34" charset="0"/>
              </a:rPr>
              <a:t>Industry Challenge</a:t>
            </a:r>
          </a:p>
        </p:txBody>
      </p:sp>
      <p:sp>
        <p:nvSpPr>
          <p:cNvPr id="7" name="Rectangle 6"/>
          <p:cNvSpPr/>
          <p:nvPr/>
        </p:nvSpPr>
        <p:spPr>
          <a:xfrm>
            <a:off x="706254" y="2577583"/>
            <a:ext cx="3384376" cy="20544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substantial </a:t>
            </a:r>
            <a:r>
              <a:rPr lang="en-US" sz="1500" b="1" dirty="0" err="1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unmodelled</a:t>
            </a: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 exposures </a:t>
            </a:r>
          </a:p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dirty="0">
                <a:latin typeface="SwissReSans Light" panose="020B0504020202020204" pitchFamily="34" charset="0"/>
              </a:rPr>
              <a:t>underwriting of flood exposure or side perils based mostly on </a:t>
            </a: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hazard maps</a:t>
            </a:r>
            <a:r>
              <a:rPr lang="en-US" sz="1500" dirty="0">
                <a:latin typeface="SwissReSans Light" panose="020B0504020202020204" pitchFamily="34" charset="0"/>
              </a:rPr>
              <a:t> </a:t>
            </a:r>
          </a:p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risk evaluation </a:t>
            </a:r>
            <a:r>
              <a:rPr lang="en-US" sz="1500" dirty="0">
                <a:latin typeface="SwissReSans Light" panose="020B0504020202020204" pitchFamily="34" charset="0"/>
              </a:rPr>
              <a:t>of modelled and </a:t>
            </a:r>
            <a:r>
              <a:rPr lang="en-US" sz="1500" dirty="0" err="1">
                <a:latin typeface="SwissReSans Light" panose="020B0504020202020204" pitchFamily="34" charset="0"/>
              </a:rPr>
              <a:t>unmodelled</a:t>
            </a:r>
            <a:r>
              <a:rPr lang="en-US" sz="1500" dirty="0">
                <a:latin typeface="SwissReSans Light" panose="020B0504020202020204" pitchFamily="34" charset="0"/>
              </a:rPr>
              <a:t> scenarios unconnected</a:t>
            </a:r>
          </a:p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limited accumulation </a:t>
            </a:r>
            <a:r>
              <a:rPr lang="en-US" sz="1500" dirty="0">
                <a:latin typeface="SwissReSans Light" panose="020B0504020202020204" pitchFamily="34" charset="0"/>
              </a:rPr>
              <a:t>control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778262" y="2439961"/>
            <a:ext cx="3312368" cy="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430938" y="1968801"/>
            <a:ext cx="1476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  <a:latin typeface="SwissReSans" pitchFamily="34" charset="0"/>
              </a:rPr>
              <a:t>Our Solution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430938" y="2577583"/>
            <a:ext cx="3384376" cy="26314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world</a:t>
            </a:r>
            <a:r>
              <a:rPr lang="en-US" sz="1500" b="1" dirty="0">
                <a:solidFill>
                  <a:srgbClr val="0B3A8D"/>
                </a:solidFill>
                <a:latin typeface="SwissReSans Light" panose="020B0504020202020204" pitchFamily="34" charset="0"/>
              </a:rPr>
              <a:t>wide</a:t>
            </a: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 proprietary model </a:t>
            </a:r>
            <a:r>
              <a:rPr lang="en-US" sz="1500" dirty="0">
                <a:latin typeface="SwissReSans Light" panose="020B0504020202020204" pitchFamily="34" charset="0"/>
              </a:rPr>
              <a:t>suite </a:t>
            </a:r>
          </a:p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API </a:t>
            </a:r>
            <a:r>
              <a:rPr lang="en-US" sz="1500" dirty="0">
                <a:latin typeface="SwissReSans Light" panose="020B0504020202020204" pitchFamily="34" charset="0"/>
              </a:rPr>
              <a:t>connection to “</a:t>
            </a:r>
            <a:r>
              <a:rPr lang="en-US" sz="1500" dirty="0" err="1">
                <a:latin typeface="SwissReSans Light" panose="020B0504020202020204" pitchFamily="34" charset="0"/>
              </a:rPr>
              <a:t>Catserver</a:t>
            </a:r>
            <a:r>
              <a:rPr lang="en-US" sz="1500" dirty="0">
                <a:latin typeface="SwissReSans Light" panose="020B0504020202020204" pitchFamily="34" charset="0"/>
              </a:rPr>
              <a:t>” for client’s underwriting systems </a:t>
            </a:r>
          </a:p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rate return </a:t>
            </a:r>
            <a:r>
              <a:rPr lang="en-US" sz="1500" dirty="0">
                <a:latin typeface="SwissReSans Light" panose="020B0504020202020204" pitchFamily="34" charset="0"/>
              </a:rPr>
              <a:t>within seconds</a:t>
            </a:r>
          </a:p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multi-locations</a:t>
            </a:r>
            <a:r>
              <a:rPr lang="en-US" sz="1500" dirty="0">
                <a:latin typeface="SwissReSans Light" panose="020B0504020202020204" pitchFamily="34" charset="0"/>
              </a:rPr>
              <a:t> enabled </a:t>
            </a:r>
          </a:p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portfolio specific </a:t>
            </a:r>
            <a:r>
              <a:rPr lang="en-US" sz="1500" dirty="0">
                <a:latin typeface="SwissReSans Light" panose="020B0504020202020204" pitchFamily="34" charset="0"/>
              </a:rPr>
              <a:t>and </a:t>
            </a: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location specific</a:t>
            </a:r>
            <a:r>
              <a:rPr lang="en-US" sz="1500" dirty="0">
                <a:latin typeface="SwissReSans Light" panose="020B0504020202020204" pitchFamily="34" charset="0"/>
              </a:rPr>
              <a:t> expected loss</a:t>
            </a:r>
          </a:p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dirty="0">
                <a:latin typeface="SwissReSans Light" panose="020B0504020202020204" pitchFamily="34" charset="0"/>
              </a:rPr>
              <a:t>provision of </a:t>
            </a: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PMLs</a:t>
            </a:r>
          </a:p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dirty="0">
                <a:latin typeface="SwissReSans Light" panose="020B0504020202020204" pitchFamily="34" charset="0"/>
              </a:rPr>
              <a:t>already numerous </a:t>
            </a: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products launched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4502946" y="2439961"/>
            <a:ext cx="3312368" cy="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8210787" y="1968801"/>
            <a:ext cx="16545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  <a:latin typeface="SwissReSans" pitchFamily="34" charset="0"/>
              </a:rPr>
              <a:t>Impact on You</a:t>
            </a:r>
          </a:p>
        </p:txBody>
      </p:sp>
      <p:sp>
        <p:nvSpPr>
          <p:cNvPr id="15" name="Rectangle 14"/>
          <p:cNvSpPr/>
          <p:nvPr/>
        </p:nvSpPr>
        <p:spPr>
          <a:xfrm>
            <a:off x="8210787" y="2577583"/>
            <a:ext cx="3384376" cy="23237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dirty="0">
                <a:latin typeface="SwissReSans Light" panose="020B0504020202020204" pitchFamily="34" charset="0"/>
              </a:rPr>
              <a:t>enhanced UW </a:t>
            </a: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price accuracy</a:t>
            </a:r>
            <a:endParaRPr lang="en-US" sz="1500" dirty="0">
              <a:latin typeface="SwissReSans Light" panose="020B0504020202020204" pitchFamily="34" charset="0"/>
            </a:endParaRPr>
          </a:p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dirty="0">
                <a:latin typeface="SwissReSans Light" panose="020B0504020202020204" pitchFamily="34" charset="0"/>
              </a:rPr>
              <a:t>improved </a:t>
            </a: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risk selection</a:t>
            </a:r>
          </a:p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dirty="0">
                <a:latin typeface="SwissReSans Light" panose="020B0504020202020204" pitchFamily="34" charset="0"/>
              </a:rPr>
              <a:t>differentiate with </a:t>
            </a: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higher limits </a:t>
            </a:r>
            <a:r>
              <a:rPr lang="en-US" sz="1500" dirty="0">
                <a:latin typeface="SwissReSans Light" panose="020B0504020202020204" pitchFamily="34" charset="0"/>
              </a:rPr>
              <a:t>and/or more competitive prices for side perils</a:t>
            </a:r>
          </a:p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dirty="0">
                <a:latin typeface="SwissReSans Light" panose="020B0504020202020204" pitchFamily="34" charset="0"/>
              </a:rPr>
              <a:t>reach </a:t>
            </a: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new customer base </a:t>
            </a:r>
            <a:r>
              <a:rPr lang="en-US" sz="1500" dirty="0">
                <a:latin typeface="SwissReSans Light" panose="020B0504020202020204" pitchFamily="34" charset="0"/>
              </a:rPr>
              <a:t>with new products</a:t>
            </a:r>
          </a:p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dirty="0">
                <a:latin typeface="SwissReSans Light" panose="020B0504020202020204" pitchFamily="34" charset="0"/>
              </a:rPr>
              <a:t>improved </a:t>
            </a: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portfolio quality </a:t>
            </a:r>
            <a:r>
              <a:rPr lang="en-US" sz="1500" dirty="0">
                <a:latin typeface="SwissReSans Light" panose="020B0504020202020204" pitchFamily="34" charset="0"/>
              </a:rPr>
              <a:t>and enhanced </a:t>
            </a: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transparency</a:t>
            </a:r>
          </a:p>
        </p:txBody>
      </p:sp>
      <p:cxnSp>
        <p:nvCxnSpPr>
          <p:cNvPr id="16" name="Straight Connector 15"/>
          <p:cNvCxnSpPr/>
          <p:nvPr/>
        </p:nvCxnSpPr>
        <p:spPr>
          <a:xfrm>
            <a:off x="8282795" y="2439961"/>
            <a:ext cx="3312368" cy="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8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53848" r="49273"/>
          <a:stretch/>
        </p:blipFill>
        <p:spPr>
          <a:xfrm>
            <a:off x="9984433" y="-27384"/>
            <a:ext cx="2232248" cy="1914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58630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4" grpId="0"/>
      <p:bldP spid="1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106" name="Freeform 3"/>
          <p:cNvSpPr>
            <a:spLocks/>
          </p:cNvSpPr>
          <p:nvPr/>
        </p:nvSpPr>
        <p:spPr bwMode="auto">
          <a:xfrm>
            <a:off x="6676116" y="3197438"/>
            <a:ext cx="17539" cy="40804"/>
          </a:xfrm>
          <a:custGeom>
            <a:avLst/>
            <a:gdLst/>
            <a:ahLst/>
            <a:cxnLst>
              <a:cxn ang="0">
                <a:pos x="8" y="17"/>
              </a:cxn>
              <a:cxn ang="0">
                <a:pos x="8" y="14"/>
              </a:cxn>
              <a:cxn ang="0">
                <a:pos x="9" y="12"/>
              </a:cxn>
              <a:cxn ang="0">
                <a:pos x="8" y="11"/>
              </a:cxn>
              <a:cxn ang="0">
                <a:pos x="9" y="8"/>
              </a:cxn>
              <a:cxn ang="0">
                <a:pos x="9" y="4"/>
              </a:cxn>
              <a:cxn ang="0">
                <a:pos x="9" y="3"/>
              </a:cxn>
              <a:cxn ang="0">
                <a:pos x="9" y="1"/>
              </a:cxn>
              <a:cxn ang="0">
                <a:pos x="8" y="1"/>
              </a:cxn>
              <a:cxn ang="0">
                <a:pos x="6" y="0"/>
              </a:cxn>
              <a:cxn ang="0">
                <a:pos x="5" y="0"/>
              </a:cxn>
              <a:cxn ang="0">
                <a:pos x="4" y="0"/>
              </a:cxn>
              <a:cxn ang="0">
                <a:pos x="2" y="0"/>
              </a:cxn>
              <a:cxn ang="0">
                <a:pos x="1" y="3"/>
              </a:cxn>
              <a:cxn ang="0">
                <a:pos x="0" y="4"/>
              </a:cxn>
              <a:cxn ang="0">
                <a:pos x="0" y="9"/>
              </a:cxn>
              <a:cxn ang="0">
                <a:pos x="1" y="9"/>
              </a:cxn>
              <a:cxn ang="0">
                <a:pos x="0" y="11"/>
              </a:cxn>
              <a:cxn ang="0">
                <a:pos x="4" y="11"/>
              </a:cxn>
              <a:cxn ang="0">
                <a:pos x="4" y="12"/>
              </a:cxn>
              <a:cxn ang="0">
                <a:pos x="2" y="12"/>
              </a:cxn>
              <a:cxn ang="0">
                <a:pos x="1" y="14"/>
              </a:cxn>
              <a:cxn ang="0">
                <a:pos x="0" y="17"/>
              </a:cxn>
              <a:cxn ang="0">
                <a:pos x="0" y="19"/>
              </a:cxn>
              <a:cxn ang="0">
                <a:pos x="0" y="20"/>
              </a:cxn>
              <a:cxn ang="0">
                <a:pos x="4" y="20"/>
              </a:cxn>
              <a:cxn ang="0">
                <a:pos x="6" y="17"/>
              </a:cxn>
              <a:cxn ang="0">
                <a:pos x="8" y="17"/>
              </a:cxn>
            </a:cxnLst>
            <a:rect l="0" t="0" r="r" b="b"/>
            <a:pathLst>
              <a:path w="9" h="20">
                <a:moveTo>
                  <a:pt x="8" y="17"/>
                </a:moveTo>
                <a:lnTo>
                  <a:pt x="8" y="14"/>
                </a:lnTo>
                <a:lnTo>
                  <a:pt x="9" y="12"/>
                </a:lnTo>
                <a:lnTo>
                  <a:pt x="8" y="11"/>
                </a:lnTo>
                <a:lnTo>
                  <a:pt x="9" y="8"/>
                </a:lnTo>
                <a:lnTo>
                  <a:pt x="9" y="4"/>
                </a:lnTo>
                <a:lnTo>
                  <a:pt x="9" y="3"/>
                </a:lnTo>
                <a:lnTo>
                  <a:pt x="9" y="1"/>
                </a:lnTo>
                <a:lnTo>
                  <a:pt x="8" y="1"/>
                </a:lnTo>
                <a:lnTo>
                  <a:pt x="6" y="0"/>
                </a:lnTo>
                <a:lnTo>
                  <a:pt x="5" y="0"/>
                </a:lnTo>
                <a:lnTo>
                  <a:pt x="4" y="0"/>
                </a:lnTo>
                <a:lnTo>
                  <a:pt x="2" y="0"/>
                </a:lnTo>
                <a:lnTo>
                  <a:pt x="1" y="3"/>
                </a:lnTo>
                <a:lnTo>
                  <a:pt x="0" y="4"/>
                </a:lnTo>
                <a:lnTo>
                  <a:pt x="0" y="9"/>
                </a:lnTo>
                <a:lnTo>
                  <a:pt x="1" y="9"/>
                </a:lnTo>
                <a:lnTo>
                  <a:pt x="0" y="11"/>
                </a:lnTo>
                <a:lnTo>
                  <a:pt x="4" y="11"/>
                </a:lnTo>
                <a:lnTo>
                  <a:pt x="4" y="12"/>
                </a:lnTo>
                <a:lnTo>
                  <a:pt x="2" y="12"/>
                </a:lnTo>
                <a:lnTo>
                  <a:pt x="1" y="14"/>
                </a:lnTo>
                <a:lnTo>
                  <a:pt x="0" y="17"/>
                </a:lnTo>
                <a:lnTo>
                  <a:pt x="0" y="19"/>
                </a:lnTo>
                <a:lnTo>
                  <a:pt x="0" y="20"/>
                </a:lnTo>
                <a:lnTo>
                  <a:pt x="4" y="20"/>
                </a:lnTo>
                <a:lnTo>
                  <a:pt x="6" y="17"/>
                </a:lnTo>
                <a:lnTo>
                  <a:pt x="8" y="17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7" name="Freeform 4"/>
          <p:cNvSpPr>
            <a:spLocks/>
          </p:cNvSpPr>
          <p:nvPr/>
        </p:nvSpPr>
        <p:spPr bwMode="auto">
          <a:xfrm>
            <a:off x="6676116" y="3197438"/>
            <a:ext cx="17539" cy="40804"/>
          </a:xfrm>
          <a:custGeom>
            <a:avLst/>
            <a:gdLst/>
            <a:ahLst/>
            <a:cxnLst>
              <a:cxn ang="0">
                <a:pos x="8" y="17"/>
              </a:cxn>
              <a:cxn ang="0">
                <a:pos x="8" y="14"/>
              </a:cxn>
              <a:cxn ang="0">
                <a:pos x="9" y="12"/>
              </a:cxn>
              <a:cxn ang="0">
                <a:pos x="8" y="11"/>
              </a:cxn>
              <a:cxn ang="0">
                <a:pos x="9" y="8"/>
              </a:cxn>
              <a:cxn ang="0">
                <a:pos x="9" y="4"/>
              </a:cxn>
              <a:cxn ang="0">
                <a:pos x="9" y="3"/>
              </a:cxn>
              <a:cxn ang="0">
                <a:pos x="9" y="1"/>
              </a:cxn>
              <a:cxn ang="0">
                <a:pos x="8" y="1"/>
              </a:cxn>
              <a:cxn ang="0">
                <a:pos x="6" y="0"/>
              </a:cxn>
              <a:cxn ang="0">
                <a:pos x="5" y="0"/>
              </a:cxn>
              <a:cxn ang="0">
                <a:pos x="4" y="0"/>
              </a:cxn>
              <a:cxn ang="0">
                <a:pos x="2" y="0"/>
              </a:cxn>
              <a:cxn ang="0">
                <a:pos x="1" y="3"/>
              </a:cxn>
              <a:cxn ang="0">
                <a:pos x="0" y="4"/>
              </a:cxn>
              <a:cxn ang="0">
                <a:pos x="0" y="9"/>
              </a:cxn>
              <a:cxn ang="0">
                <a:pos x="1" y="9"/>
              </a:cxn>
              <a:cxn ang="0">
                <a:pos x="0" y="11"/>
              </a:cxn>
              <a:cxn ang="0">
                <a:pos x="4" y="11"/>
              </a:cxn>
              <a:cxn ang="0">
                <a:pos x="4" y="12"/>
              </a:cxn>
              <a:cxn ang="0">
                <a:pos x="2" y="12"/>
              </a:cxn>
              <a:cxn ang="0">
                <a:pos x="1" y="14"/>
              </a:cxn>
              <a:cxn ang="0">
                <a:pos x="0" y="17"/>
              </a:cxn>
              <a:cxn ang="0">
                <a:pos x="0" y="19"/>
              </a:cxn>
              <a:cxn ang="0">
                <a:pos x="0" y="20"/>
              </a:cxn>
              <a:cxn ang="0">
                <a:pos x="4" y="20"/>
              </a:cxn>
              <a:cxn ang="0">
                <a:pos x="6" y="17"/>
              </a:cxn>
              <a:cxn ang="0">
                <a:pos x="8" y="17"/>
              </a:cxn>
            </a:cxnLst>
            <a:rect l="0" t="0" r="r" b="b"/>
            <a:pathLst>
              <a:path w="9" h="20">
                <a:moveTo>
                  <a:pt x="8" y="17"/>
                </a:moveTo>
                <a:lnTo>
                  <a:pt x="8" y="14"/>
                </a:lnTo>
                <a:lnTo>
                  <a:pt x="9" y="12"/>
                </a:lnTo>
                <a:lnTo>
                  <a:pt x="8" y="11"/>
                </a:lnTo>
                <a:lnTo>
                  <a:pt x="9" y="8"/>
                </a:lnTo>
                <a:lnTo>
                  <a:pt x="9" y="4"/>
                </a:lnTo>
                <a:lnTo>
                  <a:pt x="9" y="3"/>
                </a:lnTo>
                <a:lnTo>
                  <a:pt x="9" y="1"/>
                </a:lnTo>
                <a:lnTo>
                  <a:pt x="8" y="1"/>
                </a:lnTo>
                <a:lnTo>
                  <a:pt x="6" y="0"/>
                </a:lnTo>
                <a:lnTo>
                  <a:pt x="5" y="0"/>
                </a:lnTo>
                <a:lnTo>
                  <a:pt x="4" y="0"/>
                </a:lnTo>
                <a:lnTo>
                  <a:pt x="2" y="0"/>
                </a:lnTo>
                <a:lnTo>
                  <a:pt x="1" y="3"/>
                </a:lnTo>
                <a:lnTo>
                  <a:pt x="0" y="4"/>
                </a:lnTo>
                <a:lnTo>
                  <a:pt x="0" y="9"/>
                </a:lnTo>
                <a:lnTo>
                  <a:pt x="1" y="9"/>
                </a:lnTo>
                <a:lnTo>
                  <a:pt x="0" y="11"/>
                </a:lnTo>
                <a:lnTo>
                  <a:pt x="4" y="11"/>
                </a:lnTo>
                <a:lnTo>
                  <a:pt x="4" y="12"/>
                </a:lnTo>
                <a:lnTo>
                  <a:pt x="2" y="12"/>
                </a:lnTo>
                <a:lnTo>
                  <a:pt x="1" y="14"/>
                </a:lnTo>
                <a:lnTo>
                  <a:pt x="0" y="17"/>
                </a:lnTo>
                <a:lnTo>
                  <a:pt x="0" y="19"/>
                </a:lnTo>
                <a:lnTo>
                  <a:pt x="0" y="20"/>
                </a:lnTo>
                <a:lnTo>
                  <a:pt x="4" y="20"/>
                </a:lnTo>
                <a:lnTo>
                  <a:pt x="6" y="17"/>
                </a:lnTo>
                <a:lnTo>
                  <a:pt x="8" y="17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6652730" y="3231799"/>
            <a:ext cx="9744" cy="12885"/>
          </a:xfrm>
          <a:custGeom>
            <a:avLst/>
            <a:gdLst/>
            <a:ahLst/>
            <a:cxnLst>
              <a:cxn ang="0">
                <a:pos x="1" y="6"/>
              </a:cxn>
              <a:cxn ang="0">
                <a:pos x="2" y="5"/>
              </a:cxn>
              <a:cxn ang="0">
                <a:pos x="5" y="2"/>
              </a:cxn>
              <a:cxn ang="0">
                <a:pos x="4" y="0"/>
              </a:cxn>
              <a:cxn ang="0">
                <a:pos x="0" y="3"/>
              </a:cxn>
              <a:cxn ang="0">
                <a:pos x="1" y="6"/>
              </a:cxn>
            </a:cxnLst>
            <a:rect l="0" t="0" r="r" b="b"/>
            <a:pathLst>
              <a:path w="5" h="6">
                <a:moveTo>
                  <a:pt x="1" y="6"/>
                </a:moveTo>
                <a:lnTo>
                  <a:pt x="2" y="5"/>
                </a:lnTo>
                <a:lnTo>
                  <a:pt x="5" y="2"/>
                </a:lnTo>
                <a:lnTo>
                  <a:pt x="4" y="0"/>
                </a:lnTo>
                <a:lnTo>
                  <a:pt x="0" y="3"/>
                </a:lnTo>
                <a:lnTo>
                  <a:pt x="1" y="6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9" name="Freeform 6"/>
          <p:cNvSpPr>
            <a:spLocks/>
          </p:cNvSpPr>
          <p:nvPr/>
        </p:nvSpPr>
        <p:spPr bwMode="auto">
          <a:xfrm>
            <a:off x="6652730" y="3231799"/>
            <a:ext cx="9744" cy="12885"/>
          </a:xfrm>
          <a:custGeom>
            <a:avLst/>
            <a:gdLst/>
            <a:ahLst/>
            <a:cxnLst>
              <a:cxn ang="0">
                <a:pos x="1" y="6"/>
              </a:cxn>
              <a:cxn ang="0">
                <a:pos x="2" y="5"/>
              </a:cxn>
              <a:cxn ang="0">
                <a:pos x="5" y="2"/>
              </a:cxn>
              <a:cxn ang="0">
                <a:pos x="4" y="0"/>
              </a:cxn>
              <a:cxn ang="0">
                <a:pos x="0" y="3"/>
              </a:cxn>
              <a:cxn ang="0">
                <a:pos x="1" y="6"/>
              </a:cxn>
            </a:cxnLst>
            <a:rect l="0" t="0" r="r" b="b"/>
            <a:pathLst>
              <a:path w="5" h="6">
                <a:moveTo>
                  <a:pt x="1" y="6"/>
                </a:moveTo>
                <a:lnTo>
                  <a:pt x="2" y="5"/>
                </a:lnTo>
                <a:lnTo>
                  <a:pt x="5" y="2"/>
                </a:lnTo>
                <a:lnTo>
                  <a:pt x="4" y="0"/>
                </a:lnTo>
                <a:lnTo>
                  <a:pt x="0" y="3"/>
                </a:lnTo>
                <a:lnTo>
                  <a:pt x="1" y="6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0" name="Freeform 7"/>
          <p:cNvSpPr>
            <a:spLocks/>
          </p:cNvSpPr>
          <p:nvPr/>
        </p:nvSpPr>
        <p:spPr bwMode="auto">
          <a:xfrm>
            <a:off x="3230613" y="3528170"/>
            <a:ext cx="309860" cy="115971"/>
          </a:xfrm>
          <a:custGeom>
            <a:avLst/>
            <a:gdLst/>
            <a:ahLst/>
            <a:cxnLst>
              <a:cxn ang="0">
                <a:pos x="116" y="27"/>
              </a:cxn>
              <a:cxn ang="0">
                <a:pos x="122" y="33"/>
              </a:cxn>
              <a:cxn ang="0">
                <a:pos x="126" y="33"/>
              </a:cxn>
              <a:cxn ang="0">
                <a:pos x="129" y="35"/>
              </a:cxn>
              <a:cxn ang="0">
                <a:pos x="134" y="36"/>
              </a:cxn>
              <a:cxn ang="0">
                <a:pos x="138" y="36"/>
              </a:cxn>
              <a:cxn ang="0">
                <a:pos x="138" y="39"/>
              </a:cxn>
              <a:cxn ang="0">
                <a:pos x="137" y="43"/>
              </a:cxn>
              <a:cxn ang="0">
                <a:pos x="140" y="43"/>
              </a:cxn>
              <a:cxn ang="0">
                <a:pos x="150" y="43"/>
              </a:cxn>
              <a:cxn ang="0">
                <a:pos x="153" y="47"/>
              </a:cxn>
              <a:cxn ang="0">
                <a:pos x="158" y="50"/>
              </a:cxn>
              <a:cxn ang="0">
                <a:pos x="161" y="52"/>
              </a:cxn>
              <a:cxn ang="0">
                <a:pos x="148" y="58"/>
              </a:cxn>
              <a:cxn ang="0">
                <a:pos x="140" y="58"/>
              </a:cxn>
              <a:cxn ang="0">
                <a:pos x="134" y="57"/>
              </a:cxn>
              <a:cxn ang="0">
                <a:pos x="114" y="58"/>
              </a:cxn>
              <a:cxn ang="0">
                <a:pos x="109" y="58"/>
              </a:cxn>
              <a:cxn ang="0">
                <a:pos x="108" y="57"/>
              </a:cxn>
              <a:cxn ang="0">
                <a:pos x="114" y="52"/>
              </a:cxn>
              <a:cxn ang="0">
                <a:pos x="118" y="47"/>
              </a:cxn>
              <a:cxn ang="0">
                <a:pos x="112" y="44"/>
              </a:cxn>
              <a:cxn ang="0">
                <a:pos x="101" y="43"/>
              </a:cxn>
              <a:cxn ang="0">
                <a:pos x="97" y="38"/>
              </a:cxn>
              <a:cxn ang="0">
                <a:pos x="94" y="32"/>
              </a:cxn>
              <a:cxn ang="0">
                <a:pos x="88" y="28"/>
              </a:cxn>
              <a:cxn ang="0">
                <a:pos x="81" y="28"/>
              </a:cxn>
              <a:cxn ang="0">
                <a:pos x="76" y="27"/>
              </a:cxn>
              <a:cxn ang="0">
                <a:pos x="68" y="21"/>
              </a:cxn>
              <a:cxn ang="0">
                <a:pos x="59" y="19"/>
              </a:cxn>
              <a:cxn ang="0">
                <a:pos x="56" y="19"/>
              </a:cxn>
              <a:cxn ang="0">
                <a:pos x="52" y="19"/>
              </a:cxn>
              <a:cxn ang="0">
                <a:pos x="49" y="19"/>
              </a:cxn>
              <a:cxn ang="0">
                <a:pos x="44" y="17"/>
              </a:cxn>
              <a:cxn ang="0">
                <a:pos x="43" y="14"/>
              </a:cxn>
              <a:cxn ang="0">
                <a:pos x="48" y="11"/>
              </a:cxn>
              <a:cxn ang="0">
                <a:pos x="45" y="10"/>
              </a:cxn>
              <a:cxn ang="0">
                <a:pos x="32" y="8"/>
              </a:cxn>
              <a:cxn ang="0">
                <a:pos x="27" y="13"/>
              </a:cxn>
              <a:cxn ang="0">
                <a:pos x="21" y="16"/>
              </a:cxn>
              <a:cxn ang="0">
                <a:pos x="16" y="17"/>
              </a:cxn>
              <a:cxn ang="0">
                <a:pos x="11" y="21"/>
              </a:cxn>
              <a:cxn ang="0">
                <a:pos x="7" y="25"/>
              </a:cxn>
              <a:cxn ang="0">
                <a:pos x="5" y="24"/>
              </a:cxn>
              <a:cxn ang="0">
                <a:pos x="0" y="22"/>
              </a:cxn>
              <a:cxn ang="0">
                <a:pos x="7" y="21"/>
              </a:cxn>
              <a:cxn ang="0">
                <a:pos x="7" y="13"/>
              </a:cxn>
              <a:cxn ang="0">
                <a:pos x="12" y="8"/>
              </a:cxn>
              <a:cxn ang="0">
                <a:pos x="17" y="6"/>
              </a:cxn>
              <a:cxn ang="0">
                <a:pos x="32" y="2"/>
              </a:cxn>
              <a:cxn ang="0">
                <a:pos x="48" y="0"/>
              </a:cxn>
              <a:cxn ang="0">
                <a:pos x="59" y="0"/>
              </a:cxn>
              <a:cxn ang="0">
                <a:pos x="64" y="2"/>
              </a:cxn>
              <a:cxn ang="0">
                <a:pos x="72" y="3"/>
              </a:cxn>
              <a:cxn ang="0">
                <a:pos x="77" y="8"/>
              </a:cxn>
              <a:cxn ang="0">
                <a:pos x="81" y="13"/>
              </a:cxn>
              <a:cxn ang="0">
                <a:pos x="90" y="13"/>
              </a:cxn>
              <a:cxn ang="0">
                <a:pos x="94" y="14"/>
              </a:cxn>
              <a:cxn ang="0">
                <a:pos x="94" y="14"/>
              </a:cxn>
              <a:cxn ang="0">
                <a:pos x="96" y="16"/>
              </a:cxn>
              <a:cxn ang="0">
                <a:pos x="101" y="19"/>
              </a:cxn>
              <a:cxn ang="0">
                <a:pos x="109" y="24"/>
              </a:cxn>
              <a:cxn ang="0">
                <a:pos x="114" y="27"/>
              </a:cxn>
            </a:cxnLst>
            <a:rect l="0" t="0" r="r" b="b"/>
            <a:pathLst>
              <a:path w="161" h="58">
                <a:moveTo>
                  <a:pt x="114" y="27"/>
                </a:moveTo>
                <a:lnTo>
                  <a:pt x="116" y="27"/>
                </a:lnTo>
                <a:lnTo>
                  <a:pt x="120" y="30"/>
                </a:lnTo>
                <a:lnTo>
                  <a:pt x="122" y="33"/>
                </a:lnTo>
                <a:lnTo>
                  <a:pt x="125" y="33"/>
                </a:lnTo>
                <a:lnTo>
                  <a:pt x="126" y="33"/>
                </a:lnTo>
                <a:lnTo>
                  <a:pt x="128" y="33"/>
                </a:lnTo>
                <a:lnTo>
                  <a:pt x="129" y="35"/>
                </a:lnTo>
                <a:lnTo>
                  <a:pt x="132" y="36"/>
                </a:lnTo>
                <a:lnTo>
                  <a:pt x="134" y="36"/>
                </a:lnTo>
                <a:lnTo>
                  <a:pt x="136" y="35"/>
                </a:lnTo>
                <a:lnTo>
                  <a:pt x="138" y="36"/>
                </a:lnTo>
                <a:lnTo>
                  <a:pt x="138" y="38"/>
                </a:lnTo>
                <a:lnTo>
                  <a:pt x="138" y="39"/>
                </a:lnTo>
                <a:lnTo>
                  <a:pt x="137" y="41"/>
                </a:lnTo>
                <a:lnTo>
                  <a:pt x="137" y="43"/>
                </a:lnTo>
                <a:lnTo>
                  <a:pt x="138" y="43"/>
                </a:lnTo>
                <a:lnTo>
                  <a:pt x="140" y="43"/>
                </a:lnTo>
                <a:lnTo>
                  <a:pt x="149" y="43"/>
                </a:lnTo>
                <a:lnTo>
                  <a:pt x="150" y="43"/>
                </a:lnTo>
                <a:lnTo>
                  <a:pt x="152" y="46"/>
                </a:lnTo>
                <a:lnTo>
                  <a:pt x="153" y="47"/>
                </a:lnTo>
                <a:lnTo>
                  <a:pt x="157" y="49"/>
                </a:lnTo>
                <a:lnTo>
                  <a:pt x="158" y="50"/>
                </a:lnTo>
                <a:lnTo>
                  <a:pt x="161" y="50"/>
                </a:lnTo>
                <a:lnTo>
                  <a:pt x="161" y="52"/>
                </a:lnTo>
                <a:lnTo>
                  <a:pt x="150" y="57"/>
                </a:lnTo>
                <a:lnTo>
                  <a:pt x="148" y="58"/>
                </a:lnTo>
                <a:lnTo>
                  <a:pt x="144" y="58"/>
                </a:lnTo>
                <a:lnTo>
                  <a:pt x="140" y="58"/>
                </a:lnTo>
                <a:lnTo>
                  <a:pt x="137" y="57"/>
                </a:lnTo>
                <a:lnTo>
                  <a:pt x="134" y="57"/>
                </a:lnTo>
                <a:lnTo>
                  <a:pt x="121" y="57"/>
                </a:lnTo>
                <a:lnTo>
                  <a:pt x="114" y="58"/>
                </a:lnTo>
                <a:lnTo>
                  <a:pt x="112" y="58"/>
                </a:lnTo>
                <a:lnTo>
                  <a:pt x="109" y="58"/>
                </a:lnTo>
                <a:lnTo>
                  <a:pt x="108" y="58"/>
                </a:lnTo>
                <a:lnTo>
                  <a:pt x="108" y="57"/>
                </a:lnTo>
                <a:lnTo>
                  <a:pt x="112" y="54"/>
                </a:lnTo>
                <a:lnTo>
                  <a:pt x="114" y="52"/>
                </a:lnTo>
                <a:lnTo>
                  <a:pt x="117" y="50"/>
                </a:lnTo>
                <a:lnTo>
                  <a:pt x="118" y="47"/>
                </a:lnTo>
                <a:lnTo>
                  <a:pt x="116" y="46"/>
                </a:lnTo>
                <a:lnTo>
                  <a:pt x="112" y="44"/>
                </a:lnTo>
                <a:lnTo>
                  <a:pt x="102" y="44"/>
                </a:lnTo>
                <a:lnTo>
                  <a:pt x="101" y="43"/>
                </a:lnTo>
                <a:lnTo>
                  <a:pt x="98" y="39"/>
                </a:lnTo>
                <a:lnTo>
                  <a:pt x="97" y="38"/>
                </a:lnTo>
                <a:lnTo>
                  <a:pt x="96" y="35"/>
                </a:lnTo>
                <a:lnTo>
                  <a:pt x="94" y="32"/>
                </a:lnTo>
                <a:lnTo>
                  <a:pt x="93" y="28"/>
                </a:lnTo>
                <a:lnTo>
                  <a:pt x="88" y="28"/>
                </a:lnTo>
                <a:lnTo>
                  <a:pt x="84" y="28"/>
                </a:lnTo>
                <a:lnTo>
                  <a:pt x="81" y="28"/>
                </a:lnTo>
                <a:lnTo>
                  <a:pt x="81" y="27"/>
                </a:lnTo>
                <a:lnTo>
                  <a:pt x="76" y="27"/>
                </a:lnTo>
                <a:lnTo>
                  <a:pt x="71" y="24"/>
                </a:lnTo>
                <a:lnTo>
                  <a:pt x="68" y="21"/>
                </a:lnTo>
                <a:lnTo>
                  <a:pt x="65" y="21"/>
                </a:lnTo>
                <a:lnTo>
                  <a:pt x="59" y="19"/>
                </a:lnTo>
                <a:lnTo>
                  <a:pt x="57" y="19"/>
                </a:lnTo>
                <a:lnTo>
                  <a:pt x="56" y="19"/>
                </a:lnTo>
                <a:lnTo>
                  <a:pt x="55" y="19"/>
                </a:lnTo>
                <a:lnTo>
                  <a:pt x="52" y="19"/>
                </a:lnTo>
                <a:lnTo>
                  <a:pt x="51" y="19"/>
                </a:lnTo>
                <a:lnTo>
                  <a:pt x="49" y="19"/>
                </a:lnTo>
                <a:lnTo>
                  <a:pt x="47" y="17"/>
                </a:lnTo>
                <a:lnTo>
                  <a:pt x="44" y="17"/>
                </a:lnTo>
                <a:lnTo>
                  <a:pt x="43" y="17"/>
                </a:lnTo>
                <a:lnTo>
                  <a:pt x="43" y="14"/>
                </a:lnTo>
                <a:lnTo>
                  <a:pt x="47" y="13"/>
                </a:lnTo>
                <a:lnTo>
                  <a:pt x="48" y="11"/>
                </a:lnTo>
                <a:lnTo>
                  <a:pt x="47" y="11"/>
                </a:lnTo>
                <a:lnTo>
                  <a:pt x="45" y="10"/>
                </a:lnTo>
                <a:lnTo>
                  <a:pt x="35" y="8"/>
                </a:lnTo>
                <a:lnTo>
                  <a:pt x="32" y="8"/>
                </a:lnTo>
                <a:lnTo>
                  <a:pt x="29" y="10"/>
                </a:lnTo>
                <a:lnTo>
                  <a:pt x="27" y="13"/>
                </a:lnTo>
                <a:lnTo>
                  <a:pt x="25" y="16"/>
                </a:lnTo>
                <a:lnTo>
                  <a:pt x="21" y="16"/>
                </a:lnTo>
                <a:lnTo>
                  <a:pt x="19" y="17"/>
                </a:lnTo>
                <a:lnTo>
                  <a:pt x="16" y="17"/>
                </a:lnTo>
                <a:lnTo>
                  <a:pt x="13" y="21"/>
                </a:lnTo>
                <a:lnTo>
                  <a:pt x="11" y="21"/>
                </a:lnTo>
                <a:lnTo>
                  <a:pt x="11" y="22"/>
                </a:lnTo>
                <a:lnTo>
                  <a:pt x="7" y="25"/>
                </a:lnTo>
                <a:lnTo>
                  <a:pt x="5" y="25"/>
                </a:lnTo>
                <a:lnTo>
                  <a:pt x="5" y="24"/>
                </a:lnTo>
                <a:lnTo>
                  <a:pt x="0" y="24"/>
                </a:lnTo>
                <a:lnTo>
                  <a:pt x="0" y="22"/>
                </a:lnTo>
                <a:lnTo>
                  <a:pt x="4" y="21"/>
                </a:lnTo>
                <a:lnTo>
                  <a:pt x="7" y="21"/>
                </a:lnTo>
                <a:lnTo>
                  <a:pt x="7" y="19"/>
                </a:lnTo>
                <a:lnTo>
                  <a:pt x="7" y="13"/>
                </a:lnTo>
                <a:lnTo>
                  <a:pt x="8" y="11"/>
                </a:lnTo>
                <a:lnTo>
                  <a:pt x="12" y="8"/>
                </a:lnTo>
                <a:lnTo>
                  <a:pt x="16" y="6"/>
                </a:lnTo>
                <a:lnTo>
                  <a:pt x="17" y="6"/>
                </a:lnTo>
                <a:lnTo>
                  <a:pt x="23" y="3"/>
                </a:lnTo>
                <a:lnTo>
                  <a:pt x="32" y="2"/>
                </a:lnTo>
                <a:lnTo>
                  <a:pt x="36" y="0"/>
                </a:lnTo>
                <a:lnTo>
                  <a:pt x="48" y="0"/>
                </a:lnTo>
                <a:lnTo>
                  <a:pt x="53" y="0"/>
                </a:lnTo>
                <a:lnTo>
                  <a:pt x="59" y="0"/>
                </a:lnTo>
                <a:lnTo>
                  <a:pt x="63" y="0"/>
                </a:lnTo>
                <a:lnTo>
                  <a:pt x="64" y="2"/>
                </a:lnTo>
                <a:lnTo>
                  <a:pt x="65" y="3"/>
                </a:lnTo>
                <a:lnTo>
                  <a:pt x="72" y="3"/>
                </a:lnTo>
                <a:lnTo>
                  <a:pt x="73" y="3"/>
                </a:lnTo>
                <a:lnTo>
                  <a:pt x="77" y="8"/>
                </a:lnTo>
                <a:lnTo>
                  <a:pt x="79" y="10"/>
                </a:lnTo>
                <a:lnTo>
                  <a:pt x="81" y="13"/>
                </a:lnTo>
                <a:lnTo>
                  <a:pt x="84" y="13"/>
                </a:lnTo>
                <a:lnTo>
                  <a:pt x="90" y="13"/>
                </a:lnTo>
                <a:lnTo>
                  <a:pt x="92" y="14"/>
                </a:lnTo>
                <a:lnTo>
                  <a:pt x="94" y="14"/>
                </a:lnTo>
                <a:lnTo>
                  <a:pt x="96" y="14"/>
                </a:lnTo>
                <a:lnTo>
                  <a:pt x="94" y="14"/>
                </a:lnTo>
                <a:lnTo>
                  <a:pt x="94" y="16"/>
                </a:lnTo>
                <a:lnTo>
                  <a:pt x="96" y="16"/>
                </a:lnTo>
                <a:lnTo>
                  <a:pt x="98" y="17"/>
                </a:lnTo>
                <a:lnTo>
                  <a:pt x="101" y="19"/>
                </a:lnTo>
                <a:lnTo>
                  <a:pt x="104" y="22"/>
                </a:lnTo>
                <a:lnTo>
                  <a:pt x="109" y="24"/>
                </a:lnTo>
                <a:lnTo>
                  <a:pt x="113" y="25"/>
                </a:lnTo>
                <a:lnTo>
                  <a:pt x="114" y="27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1" name="Freeform 8"/>
          <p:cNvSpPr>
            <a:spLocks/>
          </p:cNvSpPr>
          <p:nvPr/>
        </p:nvSpPr>
        <p:spPr bwMode="auto">
          <a:xfrm>
            <a:off x="3230613" y="3528170"/>
            <a:ext cx="309860" cy="115971"/>
          </a:xfrm>
          <a:custGeom>
            <a:avLst/>
            <a:gdLst/>
            <a:ahLst/>
            <a:cxnLst>
              <a:cxn ang="0">
                <a:pos x="116" y="27"/>
              </a:cxn>
              <a:cxn ang="0">
                <a:pos x="122" y="33"/>
              </a:cxn>
              <a:cxn ang="0">
                <a:pos x="126" y="33"/>
              </a:cxn>
              <a:cxn ang="0">
                <a:pos x="129" y="35"/>
              </a:cxn>
              <a:cxn ang="0">
                <a:pos x="134" y="36"/>
              </a:cxn>
              <a:cxn ang="0">
                <a:pos x="138" y="36"/>
              </a:cxn>
              <a:cxn ang="0">
                <a:pos x="138" y="39"/>
              </a:cxn>
              <a:cxn ang="0">
                <a:pos x="137" y="43"/>
              </a:cxn>
              <a:cxn ang="0">
                <a:pos x="140" y="43"/>
              </a:cxn>
              <a:cxn ang="0">
                <a:pos x="150" y="43"/>
              </a:cxn>
              <a:cxn ang="0">
                <a:pos x="153" y="47"/>
              </a:cxn>
              <a:cxn ang="0">
                <a:pos x="158" y="50"/>
              </a:cxn>
              <a:cxn ang="0">
                <a:pos x="161" y="52"/>
              </a:cxn>
              <a:cxn ang="0">
                <a:pos x="148" y="58"/>
              </a:cxn>
              <a:cxn ang="0">
                <a:pos x="140" y="58"/>
              </a:cxn>
              <a:cxn ang="0">
                <a:pos x="134" y="57"/>
              </a:cxn>
              <a:cxn ang="0">
                <a:pos x="114" y="58"/>
              </a:cxn>
              <a:cxn ang="0">
                <a:pos x="109" y="58"/>
              </a:cxn>
              <a:cxn ang="0">
                <a:pos x="108" y="57"/>
              </a:cxn>
              <a:cxn ang="0">
                <a:pos x="114" y="52"/>
              </a:cxn>
              <a:cxn ang="0">
                <a:pos x="118" y="47"/>
              </a:cxn>
              <a:cxn ang="0">
                <a:pos x="112" y="44"/>
              </a:cxn>
              <a:cxn ang="0">
                <a:pos x="101" y="43"/>
              </a:cxn>
              <a:cxn ang="0">
                <a:pos x="97" y="38"/>
              </a:cxn>
              <a:cxn ang="0">
                <a:pos x="94" y="32"/>
              </a:cxn>
              <a:cxn ang="0">
                <a:pos x="88" y="28"/>
              </a:cxn>
              <a:cxn ang="0">
                <a:pos x="81" y="28"/>
              </a:cxn>
              <a:cxn ang="0">
                <a:pos x="76" y="27"/>
              </a:cxn>
              <a:cxn ang="0">
                <a:pos x="68" y="21"/>
              </a:cxn>
              <a:cxn ang="0">
                <a:pos x="59" y="19"/>
              </a:cxn>
              <a:cxn ang="0">
                <a:pos x="56" y="19"/>
              </a:cxn>
              <a:cxn ang="0">
                <a:pos x="52" y="19"/>
              </a:cxn>
              <a:cxn ang="0">
                <a:pos x="49" y="19"/>
              </a:cxn>
              <a:cxn ang="0">
                <a:pos x="44" y="17"/>
              </a:cxn>
              <a:cxn ang="0">
                <a:pos x="43" y="14"/>
              </a:cxn>
              <a:cxn ang="0">
                <a:pos x="48" y="11"/>
              </a:cxn>
              <a:cxn ang="0">
                <a:pos x="45" y="10"/>
              </a:cxn>
              <a:cxn ang="0">
                <a:pos x="32" y="8"/>
              </a:cxn>
              <a:cxn ang="0">
                <a:pos x="27" y="13"/>
              </a:cxn>
              <a:cxn ang="0">
                <a:pos x="21" y="16"/>
              </a:cxn>
              <a:cxn ang="0">
                <a:pos x="16" y="17"/>
              </a:cxn>
              <a:cxn ang="0">
                <a:pos x="11" y="21"/>
              </a:cxn>
              <a:cxn ang="0">
                <a:pos x="7" y="25"/>
              </a:cxn>
              <a:cxn ang="0">
                <a:pos x="5" y="24"/>
              </a:cxn>
              <a:cxn ang="0">
                <a:pos x="0" y="22"/>
              </a:cxn>
              <a:cxn ang="0">
                <a:pos x="7" y="21"/>
              </a:cxn>
              <a:cxn ang="0">
                <a:pos x="7" y="13"/>
              </a:cxn>
              <a:cxn ang="0">
                <a:pos x="12" y="8"/>
              </a:cxn>
              <a:cxn ang="0">
                <a:pos x="17" y="6"/>
              </a:cxn>
              <a:cxn ang="0">
                <a:pos x="32" y="2"/>
              </a:cxn>
              <a:cxn ang="0">
                <a:pos x="48" y="0"/>
              </a:cxn>
              <a:cxn ang="0">
                <a:pos x="59" y="0"/>
              </a:cxn>
              <a:cxn ang="0">
                <a:pos x="64" y="2"/>
              </a:cxn>
              <a:cxn ang="0">
                <a:pos x="72" y="3"/>
              </a:cxn>
              <a:cxn ang="0">
                <a:pos x="77" y="8"/>
              </a:cxn>
              <a:cxn ang="0">
                <a:pos x="81" y="13"/>
              </a:cxn>
              <a:cxn ang="0">
                <a:pos x="90" y="13"/>
              </a:cxn>
              <a:cxn ang="0">
                <a:pos x="94" y="14"/>
              </a:cxn>
              <a:cxn ang="0">
                <a:pos x="94" y="14"/>
              </a:cxn>
              <a:cxn ang="0">
                <a:pos x="96" y="16"/>
              </a:cxn>
              <a:cxn ang="0">
                <a:pos x="101" y="19"/>
              </a:cxn>
              <a:cxn ang="0">
                <a:pos x="109" y="24"/>
              </a:cxn>
              <a:cxn ang="0">
                <a:pos x="114" y="27"/>
              </a:cxn>
            </a:cxnLst>
            <a:rect l="0" t="0" r="r" b="b"/>
            <a:pathLst>
              <a:path w="161" h="58">
                <a:moveTo>
                  <a:pt x="114" y="27"/>
                </a:moveTo>
                <a:lnTo>
                  <a:pt x="116" y="27"/>
                </a:lnTo>
                <a:lnTo>
                  <a:pt x="120" y="30"/>
                </a:lnTo>
                <a:lnTo>
                  <a:pt x="122" y="33"/>
                </a:lnTo>
                <a:lnTo>
                  <a:pt x="125" y="33"/>
                </a:lnTo>
                <a:lnTo>
                  <a:pt x="126" y="33"/>
                </a:lnTo>
                <a:lnTo>
                  <a:pt x="128" y="33"/>
                </a:lnTo>
                <a:lnTo>
                  <a:pt x="129" y="35"/>
                </a:lnTo>
                <a:lnTo>
                  <a:pt x="132" y="36"/>
                </a:lnTo>
                <a:lnTo>
                  <a:pt x="134" y="36"/>
                </a:lnTo>
                <a:lnTo>
                  <a:pt x="136" y="35"/>
                </a:lnTo>
                <a:lnTo>
                  <a:pt x="138" y="36"/>
                </a:lnTo>
                <a:lnTo>
                  <a:pt x="138" y="38"/>
                </a:lnTo>
                <a:lnTo>
                  <a:pt x="138" y="39"/>
                </a:lnTo>
                <a:lnTo>
                  <a:pt x="137" y="41"/>
                </a:lnTo>
                <a:lnTo>
                  <a:pt x="137" y="43"/>
                </a:lnTo>
                <a:lnTo>
                  <a:pt x="138" y="43"/>
                </a:lnTo>
                <a:lnTo>
                  <a:pt x="140" y="43"/>
                </a:lnTo>
                <a:lnTo>
                  <a:pt x="149" y="43"/>
                </a:lnTo>
                <a:lnTo>
                  <a:pt x="150" y="43"/>
                </a:lnTo>
                <a:lnTo>
                  <a:pt x="152" y="46"/>
                </a:lnTo>
                <a:lnTo>
                  <a:pt x="153" y="47"/>
                </a:lnTo>
                <a:lnTo>
                  <a:pt x="157" y="49"/>
                </a:lnTo>
                <a:lnTo>
                  <a:pt x="158" y="50"/>
                </a:lnTo>
                <a:lnTo>
                  <a:pt x="161" y="50"/>
                </a:lnTo>
                <a:lnTo>
                  <a:pt x="161" y="52"/>
                </a:lnTo>
                <a:lnTo>
                  <a:pt x="150" y="57"/>
                </a:lnTo>
                <a:lnTo>
                  <a:pt x="148" y="58"/>
                </a:lnTo>
                <a:lnTo>
                  <a:pt x="144" y="58"/>
                </a:lnTo>
                <a:lnTo>
                  <a:pt x="140" y="58"/>
                </a:lnTo>
                <a:lnTo>
                  <a:pt x="137" y="57"/>
                </a:lnTo>
                <a:lnTo>
                  <a:pt x="134" y="57"/>
                </a:lnTo>
                <a:lnTo>
                  <a:pt x="121" y="57"/>
                </a:lnTo>
                <a:lnTo>
                  <a:pt x="114" y="58"/>
                </a:lnTo>
                <a:lnTo>
                  <a:pt x="112" y="58"/>
                </a:lnTo>
                <a:lnTo>
                  <a:pt x="109" y="58"/>
                </a:lnTo>
                <a:lnTo>
                  <a:pt x="108" y="58"/>
                </a:lnTo>
                <a:lnTo>
                  <a:pt x="108" y="57"/>
                </a:lnTo>
                <a:lnTo>
                  <a:pt x="112" y="54"/>
                </a:lnTo>
                <a:lnTo>
                  <a:pt x="114" y="52"/>
                </a:lnTo>
                <a:lnTo>
                  <a:pt x="117" y="50"/>
                </a:lnTo>
                <a:lnTo>
                  <a:pt x="118" y="47"/>
                </a:lnTo>
                <a:lnTo>
                  <a:pt x="116" y="46"/>
                </a:lnTo>
                <a:lnTo>
                  <a:pt x="112" y="44"/>
                </a:lnTo>
                <a:lnTo>
                  <a:pt x="102" y="44"/>
                </a:lnTo>
                <a:lnTo>
                  <a:pt x="101" y="43"/>
                </a:lnTo>
                <a:lnTo>
                  <a:pt x="98" y="39"/>
                </a:lnTo>
                <a:lnTo>
                  <a:pt x="97" y="38"/>
                </a:lnTo>
                <a:lnTo>
                  <a:pt x="96" y="35"/>
                </a:lnTo>
                <a:lnTo>
                  <a:pt x="94" y="32"/>
                </a:lnTo>
                <a:lnTo>
                  <a:pt x="93" y="28"/>
                </a:lnTo>
                <a:lnTo>
                  <a:pt x="88" y="28"/>
                </a:lnTo>
                <a:lnTo>
                  <a:pt x="84" y="28"/>
                </a:lnTo>
                <a:lnTo>
                  <a:pt x="81" y="28"/>
                </a:lnTo>
                <a:lnTo>
                  <a:pt x="81" y="27"/>
                </a:lnTo>
                <a:lnTo>
                  <a:pt x="76" y="27"/>
                </a:lnTo>
                <a:lnTo>
                  <a:pt x="71" y="24"/>
                </a:lnTo>
                <a:lnTo>
                  <a:pt x="68" y="21"/>
                </a:lnTo>
                <a:lnTo>
                  <a:pt x="65" y="21"/>
                </a:lnTo>
                <a:lnTo>
                  <a:pt x="59" y="19"/>
                </a:lnTo>
                <a:lnTo>
                  <a:pt x="57" y="19"/>
                </a:lnTo>
                <a:lnTo>
                  <a:pt x="56" y="19"/>
                </a:lnTo>
                <a:lnTo>
                  <a:pt x="55" y="19"/>
                </a:lnTo>
                <a:lnTo>
                  <a:pt x="52" y="19"/>
                </a:lnTo>
                <a:lnTo>
                  <a:pt x="51" y="19"/>
                </a:lnTo>
                <a:lnTo>
                  <a:pt x="49" y="19"/>
                </a:lnTo>
                <a:lnTo>
                  <a:pt x="47" y="17"/>
                </a:lnTo>
                <a:lnTo>
                  <a:pt x="44" y="17"/>
                </a:lnTo>
                <a:lnTo>
                  <a:pt x="43" y="17"/>
                </a:lnTo>
                <a:lnTo>
                  <a:pt x="43" y="14"/>
                </a:lnTo>
                <a:lnTo>
                  <a:pt x="47" y="13"/>
                </a:lnTo>
                <a:lnTo>
                  <a:pt x="48" y="11"/>
                </a:lnTo>
                <a:lnTo>
                  <a:pt x="47" y="11"/>
                </a:lnTo>
                <a:lnTo>
                  <a:pt x="45" y="10"/>
                </a:lnTo>
                <a:lnTo>
                  <a:pt x="35" y="8"/>
                </a:lnTo>
                <a:lnTo>
                  <a:pt x="32" y="8"/>
                </a:lnTo>
                <a:lnTo>
                  <a:pt x="29" y="10"/>
                </a:lnTo>
                <a:lnTo>
                  <a:pt x="27" y="13"/>
                </a:lnTo>
                <a:lnTo>
                  <a:pt x="25" y="16"/>
                </a:lnTo>
                <a:lnTo>
                  <a:pt x="21" y="16"/>
                </a:lnTo>
                <a:lnTo>
                  <a:pt x="19" y="17"/>
                </a:lnTo>
                <a:lnTo>
                  <a:pt x="16" y="17"/>
                </a:lnTo>
                <a:lnTo>
                  <a:pt x="13" y="21"/>
                </a:lnTo>
                <a:lnTo>
                  <a:pt x="11" y="21"/>
                </a:lnTo>
                <a:lnTo>
                  <a:pt x="11" y="22"/>
                </a:lnTo>
                <a:lnTo>
                  <a:pt x="7" y="25"/>
                </a:lnTo>
                <a:lnTo>
                  <a:pt x="5" y="25"/>
                </a:lnTo>
                <a:lnTo>
                  <a:pt x="5" y="24"/>
                </a:lnTo>
                <a:lnTo>
                  <a:pt x="0" y="24"/>
                </a:lnTo>
                <a:lnTo>
                  <a:pt x="0" y="22"/>
                </a:lnTo>
                <a:lnTo>
                  <a:pt x="4" y="21"/>
                </a:lnTo>
                <a:lnTo>
                  <a:pt x="7" y="21"/>
                </a:lnTo>
                <a:lnTo>
                  <a:pt x="7" y="19"/>
                </a:lnTo>
                <a:lnTo>
                  <a:pt x="7" y="13"/>
                </a:lnTo>
                <a:lnTo>
                  <a:pt x="8" y="11"/>
                </a:lnTo>
                <a:lnTo>
                  <a:pt x="12" y="8"/>
                </a:lnTo>
                <a:lnTo>
                  <a:pt x="16" y="6"/>
                </a:lnTo>
                <a:lnTo>
                  <a:pt x="17" y="6"/>
                </a:lnTo>
                <a:lnTo>
                  <a:pt x="23" y="3"/>
                </a:lnTo>
                <a:lnTo>
                  <a:pt x="32" y="2"/>
                </a:lnTo>
                <a:lnTo>
                  <a:pt x="36" y="0"/>
                </a:lnTo>
                <a:lnTo>
                  <a:pt x="48" y="0"/>
                </a:lnTo>
                <a:lnTo>
                  <a:pt x="53" y="0"/>
                </a:lnTo>
                <a:lnTo>
                  <a:pt x="59" y="0"/>
                </a:lnTo>
                <a:lnTo>
                  <a:pt x="63" y="0"/>
                </a:lnTo>
                <a:lnTo>
                  <a:pt x="64" y="2"/>
                </a:lnTo>
                <a:lnTo>
                  <a:pt x="65" y="3"/>
                </a:lnTo>
                <a:lnTo>
                  <a:pt x="72" y="3"/>
                </a:lnTo>
                <a:lnTo>
                  <a:pt x="73" y="3"/>
                </a:lnTo>
                <a:lnTo>
                  <a:pt x="77" y="8"/>
                </a:lnTo>
                <a:lnTo>
                  <a:pt x="79" y="10"/>
                </a:lnTo>
                <a:lnTo>
                  <a:pt x="81" y="13"/>
                </a:lnTo>
                <a:lnTo>
                  <a:pt x="84" y="13"/>
                </a:lnTo>
                <a:lnTo>
                  <a:pt x="90" y="13"/>
                </a:lnTo>
                <a:lnTo>
                  <a:pt x="92" y="14"/>
                </a:lnTo>
                <a:lnTo>
                  <a:pt x="94" y="14"/>
                </a:lnTo>
                <a:lnTo>
                  <a:pt x="96" y="14"/>
                </a:lnTo>
                <a:lnTo>
                  <a:pt x="94" y="14"/>
                </a:lnTo>
                <a:lnTo>
                  <a:pt x="94" y="16"/>
                </a:lnTo>
                <a:lnTo>
                  <a:pt x="96" y="16"/>
                </a:lnTo>
                <a:lnTo>
                  <a:pt x="98" y="17"/>
                </a:lnTo>
                <a:lnTo>
                  <a:pt x="101" y="19"/>
                </a:lnTo>
                <a:lnTo>
                  <a:pt x="104" y="22"/>
                </a:lnTo>
                <a:lnTo>
                  <a:pt x="109" y="24"/>
                </a:lnTo>
                <a:lnTo>
                  <a:pt x="113" y="25"/>
                </a:lnTo>
                <a:lnTo>
                  <a:pt x="114" y="27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2" name="Freeform 9"/>
          <p:cNvSpPr>
            <a:spLocks/>
          </p:cNvSpPr>
          <p:nvPr/>
        </p:nvSpPr>
        <p:spPr bwMode="auto">
          <a:xfrm>
            <a:off x="3279332" y="3571122"/>
            <a:ext cx="15591" cy="17181"/>
          </a:xfrm>
          <a:custGeom>
            <a:avLst/>
            <a:gdLst/>
            <a:ahLst/>
            <a:cxnLst>
              <a:cxn ang="0">
                <a:pos x="7" y="0"/>
              </a:cxn>
              <a:cxn ang="0">
                <a:pos x="7" y="2"/>
              </a:cxn>
              <a:cxn ang="0">
                <a:pos x="8" y="3"/>
              </a:cxn>
              <a:cxn ang="0">
                <a:pos x="8" y="6"/>
              </a:cxn>
              <a:cxn ang="0">
                <a:pos x="4" y="8"/>
              </a:cxn>
              <a:cxn ang="0">
                <a:pos x="3" y="8"/>
              </a:cxn>
              <a:cxn ang="0">
                <a:pos x="2" y="8"/>
              </a:cxn>
              <a:cxn ang="0">
                <a:pos x="0" y="6"/>
              </a:cxn>
              <a:cxn ang="0">
                <a:pos x="0" y="5"/>
              </a:cxn>
              <a:cxn ang="0">
                <a:pos x="3" y="6"/>
              </a:cxn>
              <a:cxn ang="0">
                <a:pos x="3" y="5"/>
              </a:cxn>
              <a:cxn ang="0">
                <a:pos x="3" y="3"/>
              </a:cxn>
              <a:cxn ang="0">
                <a:pos x="3" y="2"/>
              </a:cxn>
              <a:cxn ang="0">
                <a:pos x="3" y="0"/>
              </a:cxn>
              <a:cxn ang="0">
                <a:pos x="4" y="0"/>
              </a:cxn>
              <a:cxn ang="0">
                <a:pos x="6" y="0"/>
              </a:cxn>
              <a:cxn ang="0">
                <a:pos x="7" y="2"/>
              </a:cxn>
              <a:cxn ang="0">
                <a:pos x="7" y="0"/>
              </a:cxn>
            </a:cxnLst>
            <a:rect l="0" t="0" r="r" b="b"/>
            <a:pathLst>
              <a:path w="8" h="8">
                <a:moveTo>
                  <a:pt x="7" y="0"/>
                </a:moveTo>
                <a:lnTo>
                  <a:pt x="7" y="2"/>
                </a:lnTo>
                <a:lnTo>
                  <a:pt x="8" y="3"/>
                </a:lnTo>
                <a:lnTo>
                  <a:pt x="8" y="6"/>
                </a:lnTo>
                <a:lnTo>
                  <a:pt x="4" y="8"/>
                </a:lnTo>
                <a:lnTo>
                  <a:pt x="3" y="8"/>
                </a:lnTo>
                <a:lnTo>
                  <a:pt x="2" y="8"/>
                </a:lnTo>
                <a:lnTo>
                  <a:pt x="0" y="6"/>
                </a:lnTo>
                <a:lnTo>
                  <a:pt x="0" y="5"/>
                </a:lnTo>
                <a:lnTo>
                  <a:pt x="3" y="6"/>
                </a:lnTo>
                <a:lnTo>
                  <a:pt x="3" y="5"/>
                </a:lnTo>
                <a:lnTo>
                  <a:pt x="3" y="3"/>
                </a:lnTo>
                <a:lnTo>
                  <a:pt x="3" y="2"/>
                </a:lnTo>
                <a:lnTo>
                  <a:pt x="3" y="0"/>
                </a:lnTo>
                <a:lnTo>
                  <a:pt x="4" y="0"/>
                </a:lnTo>
                <a:lnTo>
                  <a:pt x="6" y="0"/>
                </a:lnTo>
                <a:lnTo>
                  <a:pt x="7" y="2"/>
                </a:lnTo>
                <a:lnTo>
                  <a:pt x="7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3" name="Freeform 10"/>
          <p:cNvSpPr>
            <a:spLocks/>
          </p:cNvSpPr>
          <p:nvPr/>
        </p:nvSpPr>
        <p:spPr bwMode="auto">
          <a:xfrm>
            <a:off x="3279332" y="3571122"/>
            <a:ext cx="15591" cy="17181"/>
          </a:xfrm>
          <a:custGeom>
            <a:avLst/>
            <a:gdLst/>
            <a:ahLst/>
            <a:cxnLst>
              <a:cxn ang="0">
                <a:pos x="7" y="0"/>
              </a:cxn>
              <a:cxn ang="0">
                <a:pos x="7" y="2"/>
              </a:cxn>
              <a:cxn ang="0">
                <a:pos x="8" y="3"/>
              </a:cxn>
              <a:cxn ang="0">
                <a:pos x="8" y="6"/>
              </a:cxn>
              <a:cxn ang="0">
                <a:pos x="4" y="8"/>
              </a:cxn>
              <a:cxn ang="0">
                <a:pos x="3" y="8"/>
              </a:cxn>
              <a:cxn ang="0">
                <a:pos x="2" y="8"/>
              </a:cxn>
              <a:cxn ang="0">
                <a:pos x="0" y="6"/>
              </a:cxn>
              <a:cxn ang="0">
                <a:pos x="0" y="5"/>
              </a:cxn>
              <a:cxn ang="0">
                <a:pos x="3" y="6"/>
              </a:cxn>
              <a:cxn ang="0">
                <a:pos x="3" y="5"/>
              </a:cxn>
              <a:cxn ang="0">
                <a:pos x="3" y="3"/>
              </a:cxn>
              <a:cxn ang="0">
                <a:pos x="3" y="2"/>
              </a:cxn>
              <a:cxn ang="0">
                <a:pos x="3" y="0"/>
              </a:cxn>
              <a:cxn ang="0">
                <a:pos x="4" y="0"/>
              </a:cxn>
              <a:cxn ang="0">
                <a:pos x="6" y="0"/>
              </a:cxn>
              <a:cxn ang="0">
                <a:pos x="7" y="2"/>
              </a:cxn>
              <a:cxn ang="0">
                <a:pos x="7" y="0"/>
              </a:cxn>
            </a:cxnLst>
            <a:rect l="0" t="0" r="r" b="b"/>
            <a:pathLst>
              <a:path w="8" h="8">
                <a:moveTo>
                  <a:pt x="7" y="0"/>
                </a:moveTo>
                <a:lnTo>
                  <a:pt x="7" y="2"/>
                </a:lnTo>
                <a:lnTo>
                  <a:pt x="8" y="3"/>
                </a:lnTo>
                <a:lnTo>
                  <a:pt x="8" y="6"/>
                </a:lnTo>
                <a:lnTo>
                  <a:pt x="4" y="8"/>
                </a:lnTo>
                <a:lnTo>
                  <a:pt x="3" y="8"/>
                </a:lnTo>
                <a:lnTo>
                  <a:pt x="2" y="8"/>
                </a:lnTo>
                <a:lnTo>
                  <a:pt x="0" y="6"/>
                </a:lnTo>
                <a:lnTo>
                  <a:pt x="0" y="5"/>
                </a:lnTo>
                <a:lnTo>
                  <a:pt x="3" y="6"/>
                </a:lnTo>
                <a:lnTo>
                  <a:pt x="3" y="5"/>
                </a:lnTo>
                <a:lnTo>
                  <a:pt x="3" y="3"/>
                </a:lnTo>
                <a:lnTo>
                  <a:pt x="3" y="2"/>
                </a:lnTo>
                <a:lnTo>
                  <a:pt x="3" y="0"/>
                </a:lnTo>
                <a:lnTo>
                  <a:pt x="4" y="0"/>
                </a:lnTo>
                <a:lnTo>
                  <a:pt x="6" y="0"/>
                </a:lnTo>
                <a:lnTo>
                  <a:pt x="7" y="2"/>
                </a:lnTo>
                <a:lnTo>
                  <a:pt x="7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4" name="Freeform 11"/>
          <p:cNvSpPr>
            <a:spLocks/>
          </p:cNvSpPr>
          <p:nvPr/>
        </p:nvSpPr>
        <p:spPr bwMode="auto">
          <a:xfrm>
            <a:off x="3407954" y="3549646"/>
            <a:ext cx="31181" cy="21476"/>
          </a:xfrm>
          <a:custGeom>
            <a:avLst/>
            <a:gdLst/>
            <a:ahLst/>
            <a:cxnLst>
              <a:cxn ang="0">
                <a:pos x="11" y="5"/>
              </a:cxn>
              <a:cxn ang="0">
                <a:pos x="15" y="6"/>
              </a:cxn>
              <a:cxn ang="0">
                <a:pos x="15" y="8"/>
              </a:cxn>
              <a:cxn ang="0">
                <a:pos x="16" y="11"/>
              </a:cxn>
              <a:cxn ang="0">
                <a:pos x="13" y="10"/>
              </a:cxn>
              <a:cxn ang="0">
                <a:pos x="11" y="8"/>
              </a:cxn>
              <a:cxn ang="0">
                <a:pos x="8" y="5"/>
              </a:cxn>
              <a:cxn ang="0">
                <a:pos x="7" y="3"/>
              </a:cxn>
              <a:cxn ang="0">
                <a:pos x="3" y="3"/>
              </a:cxn>
              <a:cxn ang="0">
                <a:pos x="3" y="2"/>
              </a:cxn>
              <a:cxn ang="0">
                <a:pos x="1" y="2"/>
              </a:cxn>
              <a:cxn ang="0">
                <a:pos x="0" y="0"/>
              </a:cxn>
              <a:cxn ang="0">
                <a:pos x="4" y="0"/>
              </a:cxn>
              <a:cxn ang="0">
                <a:pos x="11" y="5"/>
              </a:cxn>
            </a:cxnLst>
            <a:rect l="0" t="0" r="r" b="b"/>
            <a:pathLst>
              <a:path w="16" h="11">
                <a:moveTo>
                  <a:pt x="11" y="5"/>
                </a:moveTo>
                <a:lnTo>
                  <a:pt x="15" y="6"/>
                </a:lnTo>
                <a:lnTo>
                  <a:pt x="15" y="8"/>
                </a:lnTo>
                <a:lnTo>
                  <a:pt x="16" y="11"/>
                </a:lnTo>
                <a:lnTo>
                  <a:pt x="13" y="10"/>
                </a:lnTo>
                <a:lnTo>
                  <a:pt x="11" y="8"/>
                </a:lnTo>
                <a:lnTo>
                  <a:pt x="8" y="5"/>
                </a:lnTo>
                <a:lnTo>
                  <a:pt x="7" y="3"/>
                </a:lnTo>
                <a:lnTo>
                  <a:pt x="3" y="3"/>
                </a:lnTo>
                <a:lnTo>
                  <a:pt x="3" y="2"/>
                </a:lnTo>
                <a:lnTo>
                  <a:pt x="1" y="2"/>
                </a:lnTo>
                <a:lnTo>
                  <a:pt x="0" y="0"/>
                </a:lnTo>
                <a:lnTo>
                  <a:pt x="4" y="0"/>
                </a:lnTo>
                <a:lnTo>
                  <a:pt x="11" y="5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5" name="Freeform 12"/>
          <p:cNvSpPr>
            <a:spLocks/>
          </p:cNvSpPr>
          <p:nvPr/>
        </p:nvSpPr>
        <p:spPr bwMode="auto">
          <a:xfrm>
            <a:off x="3407954" y="3549646"/>
            <a:ext cx="31181" cy="21476"/>
          </a:xfrm>
          <a:custGeom>
            <a:avLst/>
            <a:gdLst/>
            <a:ahLst/>
            <a:cxnLst>
              <a:cxn ang="0">
                <a:pos x="11" y="5"/>
              </a:cxn>
              <a:cxn ang="0">
                <a:pos x="15" y="6"/>
              </a:cxn>
              <a:cxn ang="0">
                <a:pos x="15" y="8"/>
              </a:cxn>
              <a:cxn ang="0">
                <a:pos x="16" y="11"/>
              </a:cxn>
              <a:cxn ang="0">
                <a:pos x="13" y="10"/>
              </a:cxn>
              <a:cxn ang="0">
                <a:pos x="11" y="8"/>
              </a:cxn>
              <a:cxn ang="0">
                <a:pos x="8" y="5"/>
              </a:cxn>
              <a:cxn ang="0">
                <a:pos x="7" y="3"/>
              </a:cxn>
              <a:cxn ang="0">
                <a:pos x="3" y="3"/>
              </a:cxn>
              <a:cxn ang="0">
                <a:pos x="3" y="2"/>
              </a:cxn>
              <a:cxn ang="0">
                <a:pos x="1" y="2"/>
              </a:cxn>
              <a:cxn ang="0">
                <a:pos x="0" y="0"/>
              </a:cxn>
              <a:cxn ang="0">
                <a:pos x="4" y="0"/>
              </a:cxn>
              <a:cxn ang="0">
                <a:pos x="11" y="5"/>
              </a:cxn>
            </a:cxnLst>
            <a:rect l="0" t="0" r="r" b="b"/>
            <a:pathLst>
              <a:path w="16" h="11">
                <a:moveTo>
                  <a:pt x="11" y="5"/>
                </a:moveTo>
                <a:lnTo>
                  <a:pt x="15" y="6"/>
                </a:lnTo>
                <a:lnTo>
                  <a:pt x="15" y="8"/>
                </a:lnTo>
                <a:lnTo>
                  <a:pt x="16" y="11"/>
                </a:lnTo>
                <a:lnTo>
                  <a:pt x="13" y="10"/>
                </a:lnTo>
                <a:lnTo>
                  <a:pt x="11" y="8"/>
                </a:lnTo>
                <a:lnTo>
                  <a:pt x="8" y="5"/>
                </a:lnTo>
                <a:lnTo>
                  <a:pt x="7" y="3"/>
                </a:lnTo>
                <a:lnTo>
                  <a:pt x="3" y="3"/>
                </a:lnTo>
                <a:lnTo>
                  <a:pt x="3" y="2"/>
                </a:lnTo>
                <a:lnTo>
                  <a:pt x="1" y="2"/>
                </a:lnTo>
                <a:lnTo>
                  <a:pt x="0" y="0"/>
                </a:lnTo>
                <a:lnTo>
                  <a:pt x="4" y="0"/>
                </a:lnTo>
                <a:lnTo>
                  <a:pt x="11" y="5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6" name="Freeform 13"/>
          <p:cNvSpPr>
            <a:spLocks/>
          </p:cNvSpPr>
          <p:nvPr/>
        </p:nvSpPr>
        <p:spPr bwMode="auto">
          <a:xfrm>
            <a:off x="3817204" y="6274959"/>
            <a:ext cx="25335" cy="6444"/>
          </a:xfrm>
          <a:custGeom>
            <a:avLst/>
            <a:gdLst/>
            <a:ahLst/>
            <a:cxnLst>
              <a:cxn ang="0">
                <a:pos x="3" y="2"/>
              </a:cxn>
              <a:cxn ang="0">
                <a:pos x="7" y="0"/>
              </a:cxn>
              <a:cxn ang="0">
                <a:pos x="9" y="0"/>
              </a:cxn>
              <a:cxn ang="0">
                <a:pos x="13" y="0"/>
              </a:cxn>
              <a:cxn ang="0">
                <a:pos x="14" y="0"/>
              </a:cxn>
              <a:cxn ang="0">
                <a:pos x="13" y="2"/>
              </a:cxn>
              <a:cxn ang="0">
                <a:pos x="10" y="2"/>
              </a:cxn>
              <a:cxn ang="0">
                <a:pos x="8" y="2"/>
              </a:cxn>
              <a:cxn ang="0">
                <a:pos x="8" y="3"/>
              </a:cxn>
              <a:cxn ang="0">
                <a:pos x="5" y="2"/>
              </a:cxn>
              <a:cxn ang="0">
                <a:pos x="3" y="3"/>
              </a:cxn>
              <a:cxn ang="0">
                <a:pos x="0" y="3"/>
              </a:cxn>
              <a:cxn ang="0">
                <a:pos x="1" y="2"/>
              </a:cxn>
              <a:cxn ang="0">
                <a:pos x="1" y="0"/>
              </a:cxn>
              <a:cxn ang="0">
                <a:pos x="3" y="2"/>
              </a:cxn>
            </a:cxnLst>
            <a:rect l="0" t="0" r="r" b="b"/>
            <a:pathLst>
              <a:path w="14" h="3">
                <a:moveTo>
                  <a:pt x="3" y="2"/>
                </a:moveTo>
                <a:lnTo>
                  <a:pt x="7" y="0"/>
                </a:lnTo>
                <a:lnTo>
                  <a:pt x="9" y="0"/>
                </a:lnTo>
                <a:lnTo>
                  <a:pt x="13" y="0"/>
                </a:lnTo>
                <a:lnTo>
                  <a:pt x="14" y="0"/>
                </a:lnTo>
                <a:lnTo>
                  <a:pt x="13" y="2"/>
                </a:lnTo>
                <a:lnTo>
                  <a:pt x="10" y="2"/>
                </a:lnTo>
                <a:lnTo>
                  <a:pt x="8" y="2"/>
                </a:lnTo>
                <a:lnTo>
                  <a:pt x="8" y="3"/>
                </a:lnTo>
                <a:lnTo>
                  <a:pt x="5" y="2"/>
                </a:lnTo>
                <a:lnTo>
                  <a:pt x="3" y="3"/>
                </a:lnTo>
                <a:lnTo>
                  <a:pt x="0" y="3"/>
                </a:lnTo>
                <a:lnTo>
                  <a:pt x="1" y="2"/>
                </a:lnTo>
                <a:lnTo>
                  <a:pt x="1" y="0"/>
                </a:lnTo>
                <a:lnTo>
                  <a:pt x="3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7" name="Freeform 14"/>
          <p:cNvSpPr>
            <a:spLocks/>
          </p:cNvSpPr>
          <p:nvPr/>
        </p:nvSpPr>
        <p:spPr bwMode="auto">
          <a:xfrm>
            <a:off x="3817204" y="6274959"/>
            <a:ext cx="25335" cy="6444"/>
          </a:xfrm>
          <a:custGeom>
            <a:avLst/>
            <a:gdLst/>
            <a:ahLst/>
            <a:cxnLst>
              <a:cxn ang="0">
                <a:pos x="3" y="2"/>
              </a:cxn>
              <a:cxn ang="0">
                <a:pos x="7" y="0"/>
              </a:cxn>
              <a:cxn ang="0">
                <a:pos x="9" y="0"/>
              </a:cxn>
              <a:cxn ang="0">
                <a:pos x="13" y="0"/>
              </a:cxn>
              <a:cxn ang="0">
                <a:pos x="14" y="0"/>
              </a:cxn>
              <a:cxn ang="0">
                <a:pos x="13" y="2"/>
              </a:cxn>
              <a:cxn ang="0">
                <a:pos x="10" y="2"/>
              </a:cxn>
              <a:cxn ang="0">
                <a:pos x="8" y="2"/>
              </a:cxn>
              <a:cxn ang="0">
                <a:pos x="8" y="3"/>
              </a:cxn>
              <a:cxn ang="0">
                <a:pos x="5" y="2"/>
              </a:cxn>
              <a:cxn ang="0">
                <a:pos x="3" y="3"/>
              </a:cxn>
              <a:cxn ang="0">
                <a:pos x="0" y="3"/>
              </a:cxn>
              <a:cxn ang="0">
                <a:pos x="1" y="2"/>
              </a:cxn>
              <a:cxn ang="0">
                <a:pos x="1" y="0"/>
              </a:cxn>
              <a:cxn ang="0">
                <a:pos x="3" y="2"/>
              </a:cxn>
            </a:cxnLst>
            <a:rect l="0" t="0" r="r" b="b"/>
            <a:pathLst>
              <a:path w="14" h="3">
                <a:moveTo>
                  <a:pt x="3" y="2"/>
                </a:moveTo>
                <a:lnTo>
                  <a:pt x="7" y="0"/>
                </a:lnTo>
                <a:lnTo>
                  <a:pt x="9" y="0"/>
                </a:lnTo>
                <a:lnTo>
                  <a:pt x="13" y="0"/>
                </a:lnTo>
                <a:lnTo>
                  <a:pt x="14" y="0"/>
                </a:lnTo>
                <a:lnTo>
                  <a:pt x="13" y="2"/>
                </a:lnTo>
                <a:lnTo>
                  <a:pt x="10" y="2"/>
                </a:lnTo>
                <a:lnTo>
                  <a:pt x="8" y="2"/>
                </a:lnTo>
                <a:lnTo>
                  <a:pt x="8" y="3"/>
                </a:lnTo>
                <a:lnTo>
                  <a:pt x="5" y="2"/>
                </a:lnTo>
                <a:lnTo>
                  <a:pt x="3" y="3"/>
                </a:lnTo>
                <a:lnTo>
                  <a:pt x="0" y="3"/>
                </a:lnTo>
                <a:lnTo>
                  <a:pt x="1" y="2"/>
                </a:lnTo>
                <a:lnTo>
                  <a:pt x="1" y="0"/>
                </a:lnTo>
                <a:lnTo>
                  <a:pt x="3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8" name="Freeform 15"/>
          <p:cNvSpPr>
            <a:spLocks/>
          </p:cNvSpPr>
          <p:nvPr/>
        </p:nvSpPr>
        <p:spPr bwMode="auto">
          <a:xfrm>
            <a:off x="8278042" y="3538907"/>
            <a:ext cx="7795" cy="19329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1" y="8"/>
              </a:cxn>
              <a:cxn ang="0">
                <a:pos x="2" y="10"/>
              </a:cxn>
              <a:cxn ang="0">
                <a:pos x="4" y="7"/>
              </a:cxn>
              <a:cxn ang="0">
                <a:pos x="4" y="5"/>
              </a:cxn>
              <a:cxn ang="0">
                <a:pos x="2" y="2"/>
              </a:cxn>
              <a:cxn ang="0">
                <a:pos x="1" y="0"/>
              </a:cxn>
              <a:cxn ang="0">
                <a:pos x="0" y="2"/>
              </a:cxn>
            </a:cxnLst>
            <a:rect l="0" t="0" r="r" b="b"/>
            <a:pathLst>
              <a:path w="4" h="10">
                <a:moveTo>
                  <a:pt x="0" y="2"/>
                </a:moveTo>
                <a:lnTo>
                  <a:pt x="1" y="8"/>
                </a:lnTo>
                <a:lnTo>
                  <a:pt x="2" y="10"/>
                </a:lnTo>
                <a:lnTo>
                  <a:pt x="4" y="7"/>
                </a:lnTo>
                <a:lnTo>
                  <a:pt x="4" y="5"/>
                </a:lnTo>
                <a:lnTo>
                  <a:pt x="2" y="2"/>
                </a:lnTo>
                <a:lnTo>
                  <a:pt x="1" y="0"/>
                </a:lnTo>
                <a:lnTo>
                  <a:pt x="0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9" name="Freeform 16"/>
          <p:cNvSpPr>
            <a:spLocks/>
          </p:cNvSpPr>
          <p:nvPr/>
        </p:nvSpPr>
        <p:spPr bwMode="auto">
          <a:xfrm>
            <a:off x="8278042" y="3538907"/>
            <a:ext cx="7795" cy="19329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1" y="8"/>
              </a:cxn>
              <a:cxn ang="0">
                <a:pos x="2" y="10"/>
              </a:cxn>
              <a:cxn ang="0">
                <a:pos x="4" y="7"/>
              </a:cxn>
              <a:cxn ang="0">
                <a:pos x="4" y="5"/>
              </a:cxn>
              <a:cxn ang="0">
                <a:pos x="2" y="2"/>
              </a:cxn>
              <a:cxn ang="0">
                <a:pos x="1" y="0"/>
              </a:cxn>
              <a:cxn ang="0">
                <a:pos x="0" y="2"/>
              </a:cxn>
            </a:cxnLst>
            <a:rect l="0" t="0" r="r" b="b"/>
            <a:pathLst>
              <a:path w="4" h="10">
                <a:moveTo>
                  <a:pt x="0" y="2"/>
                </a:moveTo>
                <a:lnTo>
                  <a:pt x="1" y="8"/>
                </a:lnTo>
                <a:lnTo>
                  <a:pt x="2" y="10"/>
                </a:lnTo>
                <a:lnTo>
                  <a:pt x="4" y="7"/>
                </a:lnTo>
                <a:lnTo>
                  <a:pt x="4" y="5"/>
                </a:lnTo>
                <a:lnTo>
                  <a:pt x="2" y="2"/>
                </a:lnTo>
                <a:lnTo>
                  <a:pt x="1" y="0"/>
                </a:lnTo>
                <a:lnTo>
                  <a:pt x="0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0" name="Freeform 17"/>
          <p:cNvSpPr>
            <a:spLocks/>
          </p:cNvSpPr>
          <p:nvPr/>
        </p:nvSpPr>
        <p:spPr bwMode="auto">
          <a:xfrm>
            <a:off x="10384710" y="5057267"/>
            <a:ext cx="83800" cy="81609"/>
          </a:xfrm>
          <a:custGeom>
            <a:avLst/>
            <a:gdLst/>
            <a:ahLst/>
            <a:cxnLst>
              <a:cxn ang="0">
                <a:pos x="17" y="22"/>
              </a:cxn>
              <a:cxn ang="0">
                <a:pos x="12" y="19"/>
              </a:cxn>
              <a:cxn ang="0">
                <a:pos x="8" y="13"/>
              </a:cxn>
              <a:cxn ang="0">
                <a:pos x="7" y="11"/>
              </a:cxn>
              <a:cxn ang="0">
                <a:pos x="5" y="8"/>
              </a:cxn>
              <a:cxn ang="0">
                <a:pos x="3" y="5"/>
              </a:cxn>
              <a:cxn ang="0">
                <a:pos x="3" y="3"/>
              </a:cxn>
              <a:cxn ang="0">
                <a:pos x="0" y="0"/>
              </a:cxn>
              <a:cxn ang="0">
                <a:pos x="3" y="0"/>
              </a:cxn>
              <a:cxn ang="0">
                <a:pos x="4" y="2"/>
              </a:cxn>
              <a:cxn ang="0">
                <a:pos x="5" y="2"/>
              </a:cxn>
              <a:cxn ang="0">
                <a:pos x="9" y="5"/>
              </a:cxn>
              <a:cxn ang="0">
                <a:pos x="12" y="5"/>
              </a:cxn>
              <a:cxn ang="0">
                <a:pos x="12" y="6"/>
              </a:cxn>
              <a:cxn ang="0">
                <a:pos x="13" y="8"/>
              </a:cxn>
              <a:cxn ang="0">
                <a:pos x="15" y="8"/>
              </a:cxn>
              <a:cxn ang="0">
                <a:pos x="17" y="10"/>
              </a:cxn>
              <a:cxn ang="0">
                <a:pos x="19" y="13"/>
              </a:cxn>
              <a:cxn ang="0">
                <a:pos x="20" y="14"/>
              </a:cxn>
              <a:cxn ang="0">
                <a:pos x="21" y="17"/>
              </a:cxn>
              <a:cxn ang="0">
                <a:pos x="23" y="17"/>
              </a:cxn>
              <a:cxn ang="0">
                <a:pos x="23" y="19"/>
              </a:cxn>
              <a:cxn ang="0">
                <a:pos x="25" y="21"/>
              </a:cxn>
              <a:cxn ang="0">
                <a:pos x="27" y="22"/>
              </a:cxn>
              <a:cxn ang="0">
                <a:pos x="28" y="22"/>
              </a:cxn>
              <a:cxn ang="0">
                <a:pos x="28" y="25"/>
              </a:cxn>
              <a:cxn ang="0">
                <a:pos x="31" y="25"/>
              </a:cxn>
              <a:cxn ang="0">
                <a:pos x="35" y="27"/>
              </a:cxn>
              <a:cxn ang="0">
                <a:pos x="39" y="32"/>
              </a:cxn>
              <a:cxn ang="0">
                <a:pos x="40" y="33"/>
              </a:cxn>
              <a:cxn ang="0">
                <a:pos x="41" y="33"/>
              </a:cxn>
              <a:cxn ang="0">
                <a:pos x="44" y="35"/>
              </a:cxn>
              <a:cxn ang="0">
                <a:pos x="44" y="38"/>
              </a:cxn>
              <a:cxn ang="0">
                <a:pos x="43" y="38"/>
              </a:cxn>
              <a:cxn ang="0">
                <a:pos x="43" y="41"/>
              </a:cxn>
              <a:cxn ang="0">
                <a:pos x="41" y="39"/>
              </a:cxn>
              <a:cxn ang="0">
                <a:pos x="41" y="38"/>
              </a:cxn>
              <a:cxn ang="0">
                <a:pos x="39" y="38"/>
              </a:cxn>
              <a:cxn ang="0">
                <a:pos x="39" y="36"/>
              </a:cxn>
              <a:cxn ang="0">
                <a:pos x="36" y="36"/>
              </a:cxn>
              <a:cxn ang="0">
                <a:pos x="35" y="35"/>
              </a:cxn>
              <a:cxn ang="0">
                <a:pos x="32" y="35"/>
              </a:cxn>
              <a:cxn ang="0">
                <a:pos x="32" y="32"/>
              </a:cxn>
              <a:cxn ang="0">
                <a:pos x="31" y="32"/>
              </a:cxn>
              <a:cxn ang="0">
                <a:pos x="29" y="32"/>
              </a:cxn>
              <a:cxn ang="0">
                <a:pos x="28" y="32"/>
              </a:cxn>
              <a:cxn ang="0">
                <a:pos x="28" y="30"/>
              </a:cxn>
              <a:cxn ang="0">
                <a:pos x="27" y="30"/>
              </a:cxn>
              <a:cxn ang="0">
                <a:pos x="25" y="28"/>
              </a:cxn>
              <a:cxn ang="0">
                <a:pos x="24" y="28"/>
              </a:cxn>
              <a:cxn ang="0">
                <a:pos x="21" y="27"/>
              </a:cxn>
              <a:cxn ang="0">
                <a:pos x="20" y="27"/>
              </a:cxn>
              <a:cxn ang="0">
                <a:pos x="19" y="25"/>
              </a:cxn>
              <a:cxn ang="0">
                <a:pos x="19" y="24"/>
              </a:cxn>
              <a:cxn ang="0">
                <a:pos x="17" y="22"/>
              </a:cxn>
            </a:cxnLst>
            <a:rect l="0" t="0" r="r" b="b"/>
            <a:pathLst>
              <a:path w="44" h="41">
                <a:moveTo>
                  <a:pt x="17" y="22"/>
                </a:moveTo>
                <a:lnTo>
                  <a:pt x="12" y="19"/>
                </a:lnTo>
                <a:lnTo>
                  <a:pt x="8" y="13"/>
                </a:lnTo>
                <a:lnTo>
                  <a:pt x="7" y="11"/>
                </a:lnTo>
                <a:lnTo>
                  <a:pt x="5" y="8"/>
                </a:lnTo>
                <a:lnTo>
                  <a:pt x="3" y="5"/>
                </a:lnTo>
                <a:lnTo>
                  <a:pt x="3" y="3"/>
                </a:lnTo>
                <a:lnTo>
                  <a:pt x="0" y="0"/>
                </a:lnTo>
                <a:lnTo>
                  <a:pt x="3" y="0"/>
                </a:lnTo>
                <a:lnTo>
                  <a:pt x="4" y="2"/>
                </a:lnTo>
                <a:lnTo>
                  <a:pt x="5" y="2"/>
                </a:lnTo>
                <a:lnTo>
                  <a:pt x="9" y="5"/>
                </a:lnTo>
                <a:lnTo>
                  <a:pt x="12" y="5"/>
                </a:lnTo>
                <a:lnTo>
                  <a:pt x="12" y="6"/>
                </a:lnTo>
                <a:lnTo>
                  <a:pt x="13" y="8"/>
                </a:lnTo>
                <a:lnTo>
                  <a:pt x="15" y="8"/>
                </a:lnTo>
                <a:lnTo>
                  <a:pt x="17" y="10"/>
                </a:lnTo>
                <a:lnTo>
                  <a:pt x="19" y="13"/>
                </a:lnTo>
                <a:lnTo>
                  <a:pt x="20" y="14"/>
                </a:lnTo>
                <a:lnTo>
                  <a:pt x="21" y="17"/>
                </a:lnTo>
                <a:lnTo>
                  <a:pt x="23" y="17"/>
                </a:lnTo>
                <a:lnTo>
                  <a:pt x="23" y="19"/>
                </a:lnTo>
                <a:lnTo>
                  <a:pt x="25" y="21"/>
                </a:lnTo>
                <a:lnTo>
                  <a:pt x="27" y="22"/>
                </a:lnTo>
                <a:lnTo>
                  <a:pt x="28" y="22"/>
                </a:lnTo>
                <a:lnTo>
                  <a:pt x="28" y="25"/>
                </a:lnTo>
                <a:lnTo>
                  <a:pt x="31" y="25"/>
                </a:lnTo>
                <a:lnTo>
                  <a:pt x="35" y="27"/>
                </a:lnTo>
                <a:lnTo>
                  <a:pt x="39" y="32"/>
                </a:lnTo>
                <a:lnTo>
                  <a:pt x="40" y="33"/>
                </a:lnTo>
                <a:lnTo>
                  <a:pt x="41" y="33"/>
                </a:lnTo>
                <a:lnTo>
                  <a:pt x="44" y="35"/>
                </a:lnTo>
                <a:lnTo>
                  <a:pt x="44" y="38"/>
                </a:lnTo>
                <a:lnTo>
                  <a:pt x="43" y="38"/>
                </a:lnTo>
                <a:lnTo>
                  <a:pt x="43" y="41"/>
                </a:lnTo>
                <a:lnTo>
                  <a:pt x="41" y="39"/>
                </a:lnTo>
                <a:lnTo>
                  <a:pt x="41" y="38"/>
                </a:lnTo>
                <a:lnTo>
                  <a:pt x="39" y="38"/>
                </a:lnTo>
                <a:lnTo>
                  <a:pt x="39" y="36"/>
                </a:lnTo>
                <a:lnTo>
                  <a:pt x="36" y="36"/>
                </a:lnTo>
                <a:lnTo>
                  <a:pt x="35" y="35"/>
                </a:lnTo>
                <a:lnTo>
                  <a:pt x="32" y="35"/>
                </a:lnTo>
                <a:lnTo>
                  <a:pt x="32" y="32"/>
                </a:lnTo>
                <a:lnTo>
                  <a:pt x="31" y="32"/>
                </a:lnTo>
                <a:lnTo>
                  <a:pt x="29" y="32"/>
                </a:lnTo>
                <a:lnTo>
                  <a:pt x="28" y="32"/>
                </a:lnTo>
                <a:lnTo>
                  <a:pt x="28" y="30"/>
                </a:lnTo>
                <a:lnTo>
                  <a:pt x="27" y="30"/>
                </a:lnTo>
                <a:lnTo>
                  <a:pt x="25" y="28"/>
                </a:lnTo>
                <a:lnTo>
                  <a:pt x="24" y="28"/>
                </a:lnTo>
                <a:lnTo>
                  <a:pt x="21" y="27"/>
                </a:lnTo>
                <a:lnTo>
                  <a:pt x="20" y="27"/>
                </a:lnTo>
                <a:lnTo>
                  <a:pt x="19" y="25"/>
                </a:lnTo>
                <a:lnTo>
                  <a:pt x="19" y="24"/>
                </a:lnTo>
                <a:lnTo>
                  <a:pt x="17" y="2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1" name="Freeform 18"/>
          <p:cNvSpPr>
            <a:spLocks/>
          </p:cNvSpPr>
          <p:nvPr/>
        </p:nvSpPr>
        <p:spPr bwMode="auto">
          <a:xfrm>
            <a:off x="10384710" y="5057267"/>
            <a:ext cx="83800" cy="81609"/>
          </a:xfrm>
          <a:custGeom>
            <a:avLst/>
            <a:gdLst/>
            <a:ahLst/>
            <a:cxnLst>
              <a:cxn ang="0">
                <a:pos x="17" y="22"/>
              </a:cxn>
              <a:cxn ang="0">
                <a:pos x="12" y="19"/>
              </a:cxn>
              <a:cxn ang="0">
                <a:pos x="8" y="13"/>
              </a:cxn>
              <a:cxn ang="0">
                <a:pos x="7" y="11"/>
              </a:cxn>
              <a:cxn ang="0">
                <a:pos x="5" y="8"/>
              </a:cxn>
              <a:cxn ang="0">
                <a:pos x="3" y="5"/>
              </a:cxn>
              <a:cxn ang="0">
                <a:pos x="3" y="3"/>
              </a:cxn>
              <a:cxn ang="0">
                <a:pos x="0" y="0"/>
              </a:cxn>
              <a:cxn ang="0">
                <a:pos x="3" y="0"/>
              </a:cxn>
              <a:cxn ang="0">
                <a:pos x="4" y="2"/>
              </a:cxn>
              <a:cxn ang="0">
                <a:pos x="5" y="2"/>
              </a:cxn>
              <a:cxn ang="0">
                <a:pos x="9" y="5"/>
              </a:cxn>
              <a:cxn ang="0">
                <a:pos x="12" y="5"/>
              </a:cxn>
              <a:cxn ang="0">
                <a:pos x="12" y="6"/>
              </a:cxn>
              <a:cxn ang="0">
                <a:pos x="13" y="8"/>
              </a:cxn>
              <a:cxn ang="0">
                <a:pos x="15" y="8"/>
              </a:cxn>
              <a:cxn ang="0">
                <a:pos x="17" y="10"/>
              </a:cxn>
              <a:cxn ang="0">
                <a:pos x="19" y="13"/>
              </a:cxn>
              <a:cxn ang="0">
                <a:pos x="20" y="14"/>
              </a:cxn>
              <a:cxn ang="0">
                <a:pos x="21" y="17"/>
              </a:cxn>
              <a:cxn ang="0">
                <a:pos x="23" y="17"/>
              </a:cxn>
              <a:cxn ang="0">
                <a:pos x="23" y="19"/>
              </a:cxn>
              <a:cxn ang="0">
                <a:pos x="25" y="21"/>
              </a:cxn>
              <a:cxn ang="0">
                <a:pos x="27" y="22"/>
              </a:cxn>
              <a:cxn ang="0">
                <a:pos x="28" y="22"/>
              </a:cxn>
              <a:cxn ang="0">
                <a:pos x="28" y="25"/>
              </a:cxn>
              <a:cxn ang="0">
                <a:pos x="31" y="25"/>
              </a:cxn>
              <a:cxn ang="0">
                <a:pos x="35" y="27"/>
              </a:cxn>
              <a:cxn ang="0">
                <a:pos x="39" y="32"/>
              </a:cxn>
              <a:cxn ang="0">
                <a:pos x="40" y="33"/>
              </a:cxn>
              <a:cxn ang="0">
                <a:pos x="41" y="33"/>
              </a:cxn>
              <a:cxn ang="0">
                <a:pos x="44" y="35"/>
              </a:cxn>
              <a:cxn ang="0">
                <a:pos x="44" y="38"/>
              </a:cxn>
              <a:cxn ang="0">
                <a:pos x="43" y="38"/>
              </a:cxn>
              <a:cxn ang="0">
                <a:pos x="43" y="41"/>
              </a:cxn>
              <a:cxn ang="0">
                <a:pos x="41" y="39"/>
              </a:cxn>
              <a:cxn ang="0">
                <a:pos x="41" y="38"/>
              </a:cxn>
              <a:cxn ang="0">
                <a:pos x="39" y="38"/>
              </a:cxn>
              <a:cxn ang="0">
                <a:pos x="39" y="36"/>
              </a:cxn>
              <a:cxn ang="0">
                <a:pos x="36" y="36"/>
              </a:cxn>
              <a:cxn ang="0">
                <a:pos x="35" y="35"/>
              </a:cxn>
              <a:cxn ang="0">
                <a:pos x="32" y="35"/>
              </a:cxn>
              <a:cxn ang="0">
                <a:pos x="32" y="32"/>
              </a:cxn>
              <a:cxn ang="0">
                <a:pos x="31" y="32"/>
              </a:cxn>
              <a:cxn ang="0">
                <a:pos x="29" y="32"/>
              </a:cxn>
              <a:cxn ang="0">
                <a:pos x="28" y="32"/>
              </a:cxn>
              <a:cxn ang="0">
                <a:pos x="28" y="30"/>
              </a:cxn>
              <a:cxn ang="0">
                <a:pos x="27" y="30"/>
              </a:cxn>
              <a:cxn ang="0">
                <a:pos x="25" y="28"/>
              </a:cxn>
              <a:cxn ang="0">
                <a:pos x="24" y="28"/>
              </a:cxn>
              <a:cxn ang="0">
                <a:pos x="21" y="27"/>
              </a:cxn>
              <a:cxn ang="0">
                <a:pos x="20" y="27"/>
              </a:cxn>
              <a:cxn ang="0">
                <a:pos x="19" y="25"/>
              </a:cxn>
              <a:cxn ang="0">
                <a:pos x="19" y="24"/>
              </a:cxn>
              <a:cxn ang="0">
                <a:pos x="17" y="22"/>
              </a:cxn>
            </a:cxnLst>
            <a:rect l="0" t="0" r="r" b="b"/>
            <a:pathLst>
              <a:path w="44" h="41">
                <a:moveTo>
                  <a:pt x="17" y="22"/>
                </a:moveTo>
                <a:lnTo>
                  <a:pt x="12" y="19"/>
                </a:lnTo>
                <a:lnTo>
                  <a:pt x="8" y="13"/>
                </a:lnTo>
                <a:lnTo>
                  <a:pt x="7" y="11"/>
                </a:lnTo>
                <a:lnTo>
                  <a:pt x="5" y="8"/>
                </a:lnTo>
                <a:lnTo>
                  <a:pt x="3" y="5"/>
                </a:lnTo>
                <a:lnTo>
                  <a:pt x="3" y="3"/>
                </a:lnTo>
                <a:lnTo>
                  <a:pt x="0" y="0"/>
                </a:lnTo>
                <a:lnTo>
                  <a:pt x="3" y="0"/>
                </a:lnTo>
                <a:lnTo>
                  <a:pt x="4" y="2"/>
                </a:lnTo>
                <a:lnTo>
                  <a:pt x="5" y="2"/>
                </a:lnTo>
                <a:lnTo>
                  <a:pt x="9" y="5"/>
                </a:lnTo>
                <a:lnTo>
                  <a:pt x="12" y="5"/>
                </a:lnTo>
                <a:lnTo>
                  <a:pt x="12" y="6"/>
                </a:lnTo>
                <a:lnTo>
                  <a:pt x="13" y="8"/>
                </a:lnTo>
                <a:lnTo>
                  <a:pt x="15" y="8"/>
                </a:lnTo>
                <a:lnTo>
                  <a:pt x="17" y="10"/>
                </a:lnTo>
                <a:lnTo>
                  <a:pt x="19" y="13"/>
                </a:lnTo>
                <a:lnTo>
                  <a:pt x="20" y="14"/>
                </a:lnTo>
                <a:lnTo>
                  <a:pt x="21" y="17"/>
                </a:lnTo>
                <a:lnTo>
                  <a:pt x="23" y="17"/>
                </a:lnTo>
                <a:lnTo>
                  <a:pt x="23" y="19"/>
                </a:lnTo>
                <a:lnTo>
                  <a:pt x="25" y="21"/>
                </a:lnTo>
                <a:lnTo>
                  <a:pt x="27" y="22"/>
                </a:lnTo>
                <a:lnTo>
                  <a:pt x="28" y="22"/>
                </a:lnTo>
                <a:lnTo>
                  <a:pt x="28" y="25"/>
                </a:lnTo>
                <a:lnTo>
                  <a:pt x="31" y="25"/>
                </a:lnTo>
                <a:lnTo>
                  <a:pt x="35" y="27"/>
                </a:lnTo>
                <a:lnTo>
                  <a:pt x="39" y="32"/>
                </a:lnTo>
                <a:lnTo>
                  <a:pt x="40" y="33"/>
                </a:lnTo>
                <a:lnTo>
                  <a:pt x="41" y="33"/>
                </a:lnTo>
                <a:lnTo>
                  <a:pt x="44" y="35"/>
                </a:lnTo>
                <a:lnTo>
                  <a:pt x="44" y="38"/>
                </a:lnTo>
                <a:lnTo>
                  <a:pt x="43" y="38"/>
                </a:lnTo>
                <a:lnTo>
                  <a:pt x="43" y="41"/>
                </a:lnTo>
                <a:lnTo>
                  <a:pt x="41" y="39"/>
                </a:lnTo>
                <a:lnTo>
                  <a:pt x="41" y="38"/>
                </a:lnTo>
                <a:lnTo>
                  <a:pt x="39" y="38"/>
                </a:lnTo>
                <a:lnTo>
                  <a:pt x="39" y="36"/>
                </a:lnTo>
                <a:lnTo>
                  <a:pt x="36" y="36"/>
                </a:lnTo>
                <a:lnTo>
                  <a:pt x="35" y="35"/>
                </a:lnTo>
                <a:lnTo>
                  <a:pt x="32" y="35"/>
                </a:lnTo>
                <a:lnTo>
                  <a:pt x="32" y="32"/>
                </a:lnTo>
                <a:lnTo>
                  <a:pt x="31" y="32"/>
                </a:lnTo>
                <a:lnTo>
                  <a:pt x="29" y="32"/>
                </a:lnTo>
                <a:lnTo>
                  <a:pt x="28" y="32"/>
                </a:lnTo>
                <a:lnTo>
                  <a:pt x="28" y="30"/>
                </a:lnTo>
                <a:lnTo>
                  <a:pt x="27" y="30"/>
                </a:lnTo>
                <a:lnTo>
                  <a:pt x="25" y="28"/>
                </a:lnTo>
                <a:lnTo>
                  <a:pt x="24" y="28"/>
                </a:lnTo>
                <a:lnTo>
                  <a:pt x="21" y="27"/>
                </a:lnTo>
                <a:lnTo>
                  <a:pt x="20" y="27"/>
                </a:lnTo>
                <a:lnTo>
                  <a:pt x="19" y="25"/>
                </a:lnTo>
                <a:lnTo>
                  <a:pt x="19" y="24"/>
                </a:lnTo>
                <a:lnTo>
                  <a:pt x="17" y="2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2" name="Freeform 19"/>
          <p:cNvSpPr>
            <a:spLocks/>
          </p:cNvSpPr>
          <p:nvPr/>
        </p:nvSpPr>
        <p:spPr bwMode="auto">
          <a:xfrm>
            <a:off x="3101990" y="3779439"/>
            <a:ext cx="173443" cy="103085"/>
          </a:xfrm>
          <a:custGeom>
            <a:avLst/>
            <a:gdLst/>
            <a:ahLst/>
            <a:cxnLst>
              <a:cxn ang="0">
                <a:pos x="89" y="18"/>
              </a:cxn>
              <a:cxn ang="0">
                <a:pos x="84" y="21"/>
              </a:cxn>
              <a:cxn ang="0">
                <a:pos x="80" y="22"/>
              </a:cxn>
              <a:cxn ang="0">
                <a:pos x="73" y="24"/>
              </a:cxn>
              <a:cxn ang="0">
                <a:pos x="71" y="22"/>
              </a:cxn>
              <a:cxn ang="0">
                <a:pos x="69" y="22"/>
              </a:cxn>
              <a:cxn ang="0">
                <a:pos x="67" y="24"/>
              </a:cxn>
              <a:cxn ang="0">
                <a:pos x="65" y="30"/>
              </a:cxn>
              <a:cxn ang="0">
                <a:pos x="61" y="32"/>
              </a:cxn>
              <a:cxn ang="0">
                <a:pos x="59" y="33"/>
              </a:cxn>
              <a:cxn ang="0">
                <a:pos x="56" y="36"/>
              </a:cxn>
              <a:cxn ang="0">
                <a:pos x="53" y="38"/>
              </a:cxn>
              <a:cxn ang="0">
                <a:pos x="49" y="35"/>
              </a:cxn>
              <a:cxn ang="0">
                <a:pos x="47" y="41"/>
              </a:cxn>
              <a:cxn ang="0">
                <a:pos x="40" y="43"/>
              </a:cxn>
              <a:cxn ang="0">
                <a:pos x="39" y="47"/>
              </a:cxn>
              <a:cxn ang="0">
                <a:pos x="38" y="52"/>
              </a:cxn>
              <a:cxn ang="0">
                <a:pos x="31" y="52"/>
              </a:cxn>
              <a:cxn ang="0">
                <a:pos x="30" y="49"/>
              </a:cxn>
              <a:cxn ang="0">
                <a:pos x="27" y="46"/>
              </a:cxn>
              <a:cxn ang="0">
                <a:pos x="24" y="46"/>
              </a:cxn>
              <a:cxn ang="0">
                <a:pos x="23" y="38"/>
              </a:cxn>
              <a:cxn ang="0">
                <a:pos x="18" y="36"/>
              </a:cxn>
              <a:cxn ang="0">
                <a:pos x="15" y="38"/>
              </a:cxn>
              <a:cxn ang="0">
                <a:pos x="14" y="36"/>
              </a:cxn>
              <a:cxn ang="0">
                <a:pos x="11" y="33"/>
              </a:cxn>
              <a:cxn ang="0">
                <a:pos x="7" y="32"/>
              </a:cxn>
              <a:cxn ang="0">
                <a:pos x="6" y="29"/>
              </a:cxn>
              <a:cxn ang="0">
                <a:pos x="0" y="27"/>
              </a:cxn>
              <a:cxn ang="0">
                <a:pos x="3" y="24"/>
              </a:cxn>
              <a:cxn ang="0">
                <a:pos x="3" y="21"/>
              </a:cxn>
              <a:cxn ang="0">
                <a:pos x="6" y="16"/>
              </a:cxn>
              <a:cxn ang="0">
                <a:pos x="11" y="13"/>
              </a:cxn>
              <a:cxn ang="0">
                <a:pos x="16" y="7"/>
              </a:cxn>
              <a:cxn ang="0">
                <a:pos x="20" y="5"/>
              </a:cxn>
              <a:cxn ang="0">
                <a:pos x="26" y="3"/>
              </a:cxn>
              <a:cxn ang="0">
                <a:pos x="34" y="3"/>
              </a:cxn>
              <a:cxn ang="0">
                <a:pos x="45" y="3"/>
              </a:cxn>
              <a:cxn ang="0">
                <a:pos x="51" y="2"/>
              </a:cxn>
              <a:cxn ang="0">
                <a:pos x="55" y="0"/>
              </a:cxn>
              <a:cxn ang="0">
                <a:pos x="57" y="2"/>
              </a:cxn>
              <a:cxn ang="0">
                <a:pos x="63" y="2"/>
              </a:cxn>
              <a:cxn ang="0">
                <a:pos x="67" y="2"/>
              </a:cxn>
              <a:cxn ang="0">
                <a:pos x="73" y="3"/>
              </a:cxn>
              <a:cxn ang="0">
                <a:pos x="80" y="5"/>
              </a:cxn>
              <a:cxn ang="0">
                <a:pos x="89" y="13"/>
              </a:cxn>
              <a:cxn ang="0">
                <a:pos x="92" y="16"/>
              </a:cxn>
            </a:cxnLst>
            <a:rect l="0" t="0" r="r" b="b"/>
            <a:pathLst>
              <a:path w="92" h="52">
                <a:moveTo>
                  <a:pt x="92" y="18"/>
                </a:moveTo>
                <a:lnTo>
                  <a:pt x="89" y="18"/>
                </a:lnTo>
                <a:lnTo>
                  <a:pt x="85" y="19"/>
                </a:lnTo>
                <a:lnTo>
                  <a:pt x="84" y="21"/>
                </a:lnTo>
                <a:lnTo>
                  <a:pt x="83" y="22"/>
                </a:lnTo>
                <a:lnTo>
                  <a:pt x="80" y="22"/>
                </a:lnTo>
                <a:lnTo>
                  <a:pt x="77" y="24"/>
                </a:lnTo>
                <a:lnTo>
                  <a:pt x="73" y="24"/>
                </a:lnTo>
                <a:lnTo>
                  <a:pt x="72" y="24"/>
                </a:lnTo>
                <a:lnTo>
                  <a:pt x="71" y="22"/>
                </a:lnTo>
                <a:lnTo>
                  <a:pt x="69" y="21"/>
                </a:lnTo>
                <a:lnTo>
                  <a:pt x="69" y="22"/>
                </a:lnTo>
                <a:lnTo>
                  <a:pt x="68" y="24"/>
                </a:lnTo>
                <a:lnTo>
                  <a:pt x="67" y="24"/>
                </a:lnTo>
                <a:lnTo>
                  <a:pt x="67" y="25"/>
                </a:lnTo>
                <a:lnTo>
                  <a:pt x="65" y="30"/>
                </a:lnTo>
                <a:lnTo>
                  <a:pt x="64" y="30"/>
                </a:lnTo>
                <a:lnTo>
                  <a:pt x="61" y="32"/>
                </a:lnTo>
                <a:lnTo>
                  <a:pt x="60" y="33"/>
                </a:lnTo>
                <a:lnTo>
                  <a:pt x="59" y="33"/>
                </a:lnTo>
                <a:lnTo>
                  <a:pt x="59" y="35"/>
                </a:lnTo>
                <a:lnTo>
                  <a:pt x="56" y="36"/>
                </a:lnTo>
                <a:lnTo>
                  <a:pt x="55" y="38"/>
                </a:lnTo>
                <a:lnTo>
                  <a:pt x="53" y="38"/>
                </a:lnTo>
                <a:lnTo>
                  <a:pt x="51" y="35"/>
                </a:lnTo>
                <a:lnTo>
                  <a:pt x="49" y="35"/>
                </a:lnTo>
                <a:lnTo>
                  <a:pt x="48" y="38"/>
                </a:lnTo>
                <a:lnTo>
                  <a:pt x="47" y="41"/>
                </a:lnTo>
                <a:lnTo>
                  <a:pt x="42" y="41"/>
                </a:lnTo>
                <a:lnTo>
                  <a:pt x="40" y="43"/>
                </a:lnTo>
                <a:lnTo>
                  <a:pt x="40" y="47"/>
                </a:lnTo>
                <a:lnTo>
                  <a:pt x="39" y="47"/>
                </a:lnTo>
                <a:lnTo>
                  <a:pt x="38" y="49"/>
                </a:lnTo>
                <a:lnTo>
                  <a:pt x="38" y="52"/>
                </a:lnTo>
                <a:lnTo>
                  <a:pt x="36" y="52"/>
                </a:lnTo>
                <a:lnTo>
                  <a:pt x="31" y="52"/>
                </a:lnTo>
                <a:lnTo>
                  <a:pt x="30" y="51"/>
                </a:lnTo>
                <a:lnTo>
                  <a:pt x="30" y="49"/>
                </a:lnTo>
                <a:lnTo>
                  <a:pt x="28" y="47"/>
                </a:lnTo>
                <a:lnTo>
                  <a:pt x="27" y="46"/>
                </a:lnTo>
                <a:lnTo>
                  <a:pt x="26" y="46"/>
                </a:lnTo>
                <a:lnTo>
                  <a:pt x="24" y="46"/>
                </a:lnTo>
                <a:lnTo>
                  <a:pt x="24" y="40"/>
                </a:lnTo>
                <a:lnTo>
                  <a:pt x="23" y="38"/>
                </a:lnTo>
                <a:lnTo>
                  <a:pt x="20" y="36"/>
                </a:lnTo>
                <a:lnTo>
                  <a:pt x="18" y="36"/>
                </a:lnTo>
                <a:lnTo>
                  <a:pt x="18" y="38"/>
                </a:lnTo>
                <a:lnTo>
                  <a:pt x="15" y="38"/>
                </a:lnTo>
                <a:lnTo>
                  <a:pt x="14" y="38"/>
                </a:lnTo>
                <a:lnTo>
                  <a:pt x="14" y="36"/>
                </a:lnTo>
                <a:lnTo>
                  <a:pt x="11" y="35"/>
                </a:lnTo>
                <a:lnTo>
                  <a:pt x="11" y="33"/>
                </a:lnTo>
                <a:lnTo>
                  <a:pt x="10" y="33"/>
                </a:lnTo>
                <a:lnTo>
                  <a:pt x="7" y="32"/>
                </a:lnTo>
                <a:lnTo>
                  <a:pt x="7" y="30"/>
                </a:lnTo>
                <a:lnTo>
                  <a:pt x="6" y="29"/>
                </a:lnTo>
                <a:lnTo>
                  <a:pt x="2" y="29"/>
                </a:lnTo>
                <a:lnTo>
                  <a:pt x="0" y="27"/>
                </a:lnTo>
                <a:lnTo>
                  <a:pt x="2" y="25"/>
                </a:lnTo>
                <a:lnTo>
                  <a:pt x="3" y="24"/>
                </a:lnTo>
                <a:lnTo>
                  <a:pt x="3" y="22"/>
                </a:lnTo>
                <a:lnTo>
                  <a:pt x="3" y="21"/>
                </a:lnTo>
                <a:lnTo>
                  <a:pt x="3" y="19"/>
                </a:lnTo>
                <a:lnTo>
                  <a:pt x="6" y="16"/>
                </a:lnTo>
                <a:lnTo>
                  <a:pt x="7" y="16"/>
                </a:lnTo>
                <a:lnTo>
                  <a:pt x="11" y="13"/>
                </a:lnTo>
                <a:lnTo>
                  <a:pt x="15" y="8"/>
                </a:lnTo>
                <a:lnTo>
                  <a:pt x="16" y="7"/>
                </a:lnTo>
                <a:lnTo>
                  <a:pt x="16" y="5"/>
                </a:lnTo>
                <a:lnTo>
                  <a:pt x="20" y="5"/>
                </a:lnTo>
                <a:lnTo>
                  <a:pt x="23" y="3"/>
                </a:lnTo>
                <a:lnTo>
                  <a:pt x="26" y="3"/>
                </a:lnTo>
                <a:lnTo>
                  <a:pt x="30" y="3"/>
                </a:lnTo>
                <a:lnTo>
                  <a:pt x="34" y="3"/>
                </a:lnTo>
                <a:lnTo>
                  <a:pt x="40" y="3"/>
                </a:lnTo>
                <a:lnTo>
                  <a:pt x="45" y="3"/>
                </a:lnTo>
                <a:lnTo>
                  <a:pt x="49" y="2"/>
                </a:lnTo>
                <a:lnTo>
                  <a:pt x="51" y="2"/>
                </a:lnTo>
                <a:lnTo>
                  <a:pt x="52" y="2"/>
                </a:lnTo>
                <a:lnTo>
                  <a:pt x="55" y="0"/>
                </a:lnTo>
                <a:lnTo>
                  <a:pt x="56" y="2"/>
                </a:lnTo>
                <a:lnTo>
                  <a:pt x="57" y="2"/>
                </a:lnTo>
                <a:lnTo>
                  <a:pt x="61" y="2"/>
                </a:lnTo>
                <a:lnTo>
                  <a:pt x="63" y="2"/>
                </a:lnTo>
                <a:lnTo>
                  <a:pt x="65" y="2"/>
                </a:lnTo>
                <a:lnTo>
                  <a:pt x="67" y="2"/>
                </a:lnTo>
                <a:lnTo>
                  <a:pt x="71" y="3"/>
                </a:lnTo>
                <a:lnTo>
                  <a:pt x="73" y="3"/>
                </a:lnTo>
                <a:lnTo>
                  <a:pt x="77" y="3"/>
                </a:lnTo>
                <a:lnTo>
                  <a:pt x="80" y="5"/>
                </a:lnTo>
                <a:lnTo>
                  <a:pt x="83" y="10"/>
                </a:lnTo>
                <a:lnTo>
                  <a:pt x="89" y="13"/>
                </a:lnTo>
                <a:lnTo>
                  <a:pt x="91" y="14"/>
                </a:lnTo>
                <a:lnTo>
                  <a:pt x="92" y="16"/>
                </a:lnTo>
                <a:lnTo>
                  <a:pt x="92" y="18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3" name="Freeform 20"/>
          <p:cNvSpPr>
            <a:spLocks/>
          </p:cNvSpPr>
          <p:nvPr/>
        </p:nvSpPr>
        <p:spPr bwMode="auto">
          <a:xfrm>
            <a:off x="3101990" y="3779439"/>
            <a:ext cx="173443" cy="103085"/>
          </a:xfrm>
          <a:custGeom>
            <a:avLst/>
            <a:gdLst/>
            <a:ahLst/>
            <a:cxnLst>
              <a:cxn ang="0">
                <a:pos x="89" y="18"/>
              </a:cxn>
              <a:cxn ang="0">
                <a:pos x="84" y="21"/>
              </a:cxn>
              <a:cxn ang="0">
                <a:pos x="80" y="22"/>
              </a:cxn>
              <a:cxn ang="0">
                <a:pos x="73" y="24"/>
              </a:cxn>
              <a:cxn ang="0">
                <a:pos x="71" y="22"/>
              </a:cxn>
              <a:cxn ang="0">
                <a:pos x="69" y="22"/>
              </a:cxn>
              <a:cxn ang="0">
                <a:pos x="67" y="24"/>
              </a:cxn>
              <a:cxn ang="0">
                <a:pos x="65" y="30"/>
              </a:cxn>
              <a:cxn ang="0">
                <a:pos x="61" y="32"/>
              </a:cxn>
              <a:cxn ang="0">
                <a:pos x="59" y="33"/>
              </a:cxn>
              <a:cxn ang="0">
                <a:pos x="56" y="36"/>
              </a:cxn>
              <a:cxn ang="0">
                <a:pos x="53" y="38"/>
              </a:cxn>
              <a:cxn ang="0">
                <a:pos x="49" y="35"/>
              </a:cxn>
              <a:cxn ang="0">
                <a:pos x="47" y="41"/>
              </a:cxn>
              <a:cxn ang="0">
                <a:pos x="40" y="43"/>
              </a:cxn>
              <a:cxn ang="0">
                <a:pos x="39" y="47"/>
              </a:cxn>
              <a:cxn ang="0">
                <a:pos x="38" y="52"/>
              </a:cxn>
              <a:cxn ang="0">
                <a:pos x="31" y="52"/>
              </a:cxn>
              <a:cxn ang="0">
                <a:pos x="30" y="49"/>
              </a:cxn>
              <a:cxn ang="0">
                <a:pos x="27" y="46"/>
              </a:cxn>
              <a:cxn ang="0">
                <a:pos x="24" y="46"/>
              </a:cxn>
              <a:cxn ang="0">
                <a:pos x="23" y="38"/>
              </a:cxn>
              <a:cxn ang="0">
                <a:pos x="18" y="36"/>
              </a:cxn>
              <a:cxn ang="0">
                <a:pos x="15" y="38"/>
              </a:cxn>
              <a:cxn ang="0">
                <a:pos x="14" y="36"/>
              </a:cxn>
              <a:cxn ang="0">
                <a:pos x="11" y="33"/>
              </a:cxn>
              <a:cxn ang="0">
                <a:pos x="7" y="32"/>
              </a:cxn>
              <a:cxn ang="0">
                <a:pos x="6" y="29"/>
              </a:cxn>
              <a:cxn ang="0">
                <a:pos x="0" y="27"/>
              </a:cxn>
              <a:cxn ang="0">
                <a:pos x="3" y="24"/>
              </a:cxn>
              <a:cxn ang="0">
                <a:pos x="3" y="21"/>
              </a:cxn>
              <a:cxn ang="0">
                <a:pos x="6" y="16"/>
              </a:cxn>
              <a:cxn ang="0">
                <a:pos x="11" y="13"/>
              </a:cxn>
              <a:cxn ang="0">
                <a:pos x="16" y="7"/>
              </a:cxn>
              <a:cxn ang="0">
                <a:pos x="20" y="5"/>
              </a:cxn>
              <a:cxn ang="0">
                <a:pos x="26" y="3"/>
              </a:cxn>
              <a:cxn ang="0">
                <a:pos x="34" y="3"/>
              </a:cxn>
              <a:cxn ang="0">
                <a:pos x="45" y="3"/>
              </a:cxn>
              <a:cxn ang="0">
                <a:pos x="51" y="2"/>
              </a:cxn>
              <a:cxn ang="0">
                <a:pos x="55" y="0"/>
              </a:cxn>
              <a:cxn ang="0">
                <a:pos x="57" y="2"/>
              </a:cxn>
              <a:cxn ang="0">
                <a:pos x="63" y="2"/>
              </a:cxn>
              <a:cxn ang="0">
                <a:pos x="67" y="2"/>
              </a:cxn>
              <a:cxn ang="0">
                <a:pos x="73" y="3"/>
              </a:cxn>
              <a:cxn ang="0">
                <a:pos x="80" y="5"/>
              </a:cxn>
              <a:cxn ang="0">
                <a:pos x="89" y="13"/>
              </a:cxn>
              <a:cxn ang="0">
                <a:pos x="92" y="16"/>
              </a:cxn>
            </a:cxnLst>
            <a:rect l="0" t="0" r="r" b="b"/>
            <a:pathLst>
              <a:path w="92" h="52">
                <a:moveTo>
                  <a:pt x="92" y="18"/>
                </a:moveTo>
                <a:lnTo>
                  <a:pt x="89" y="18"/>
                </a:lnTo>
                <a:lnTo>
                  <a:pt x="85" y="19"/>
                </a:lnTo>
                <a:lnTo>
                  <a:pt x="84" y="21"/>
                </a:lnTo>
                <a:lnTo>
                  <a:pt x="83" y="22"/>
                </a:lnTo>
                <a:lnTo>
                  <a:pt x="80" y="22"/>
                </a:lnTo>
                <a:lnTo>
                  <a:pt x="77" y="24"/>
                </a:lnTo>
                <a:lnTo>
                  <a:pt x="73" y="24"/>
                </a:lnTo>
                <a:lnTo>
                  <a:pt x="72" y="24"/>
                </a:lnTo>
                <a:lnTo>
                  <a:pt x="71" y="22"/>
                </a:lnTo>
                <a:lnTo>
                  <a:pt x="69" y="21"/>
                </a:lnTo>
                <a:lnTo>
                  <a:pt x="69" y="22"/>
                </a:lnTo>
                <a:lnTo>
                  <a:pt x="68" y="24"/>
                </a:lnTo>
                <a:lnTo>
                  <a:pt x="67" y="24"/>
                </a:lnTo>
                <a:lnTo>
                  <a:pt x="67" y="25"/>
                </a:lnTo>
                <a:lnTo>
                  <a:pt x="65" y="30"/>
                </a:lnTo>
                <a:lnTo>
                  <a:pt x="64" y="30"/>
                </a:lnTo>
                <a:lnTo>
                  <a:pt x="61" y="32"/>
                </a:lnTo>
                <a:lnTo>
                  <a:pt x="60" y="33"/>
                </a:lnTo>
                <a:lnTo>
                  <a:pt x="59" y="33"/>
                </a:lnTo>
                <a:lnTo>
                  <a:pt x="59" y="35"/>
                </a:lnTo>
                <a:lnTo>
                  <a:pt x="56" y="36"/>
                </a:lnTo>
                <a:lnTo>
                  <a:pt x="55" y="38"/>
                </a:lnTo>
                <a:lnTo>
                  <a:pt x="53" y="38"/>
                </a:lnTo>
                <a:lnTo>
                  <a:pt x="51" y="35"/>
                </a:lnTo>
                <a:lnTo>
                  <a:pt x="49" y="35"/>
                </a:lnTo>
                <a:lnTo>
                  <a:pt x="48" y="38"/>
                </a:lnTo>
                <a:lnTo>
                  <a:pt x="47" y="41"/>
                </a:lnTo>
                <a:lnTo>
                  <a:pt x="42" y="41"/>
                </a:lnTo>
                <a:lnTo>
                  <a:pt x="40" y="43"/>
                </a:lnTo>
                <a:lnTo>
                  <a:pt x="40" y="47"/>
                </a:lnTo>
                <a:lnTo>
                  <a:pt x="39" y="47"/>
                </a:lnTo>
                <a:lnTo>
                  <a:pt x="38" y="49"/>
                </a:lnTo>
                <a:lnTo>
                  <a:pt x="38" y="52"/>
                </a:lnTo>
                <a:lnTo>
                  <a:pt x="36" y="52"/>
                </a:lnTo>
                <a:lnTo>
                  <a:pt x="31" y="52"/>
                </a:lnTo>
                <a:lnTo>
                  <a:pt x="30" y="51"/>
                </a:lnTo>
                <a:lnTo>
                  <a:pt x="30" y="49"/>
                </a:lnTo>
                <a:lnTo>
                  <a:pt x="28" y="47"/>
                </a:lnTo>
                <a:lnTo>
                  <a:pt x="27" y="46"/>
                </a:lnTo>
                <a:lnTo>
                  <a:pt x="26" y="46"/>
                </a:lnTo>
                <a:lnTo>
                  <a:pt x="24" y="46"/>
                </a:lnTo>
                <a:lnTo>
                  <a:pt x="24" y="40"/>
                </a:lnTo>
                <a:lnTo>
                  <a:pt x="23" y="38"/>
                </a:lnTo>
                <a:lnTo>
                  <a:pt x="20" y="36"/>
                </a:lnTo>
                <a:lnTo>
                  <a:pt x="18" y="36"/>
                </a:lnTo>
                <a:lnTo>
                  <a:pt x="18" y="38"/>
                </a:lnTo>
                <a:lnTo>
                  <a:pt x="15" y="38"/>
                </a:lnTo>
                <a:lnTo>
                  <a:pt x="14" y="38"/>
                </a:lnTo>
                <a:lnTo>
                  <a:pt x="14" y="36"/>
                </a:lnTo>
                <a:lnTo>
                  <a:pt x="11" y="35"/>
                </a:lnTo>
                <a:lnTo>
                  <a:pt x="11" y="33"/>
                </a:lnTo>
                <a:lnTo>
                  <a:pt x="10" y="33"/>
                </a:lnTo>
                <a:lnTo>
                  <a:pt x="7" y="32"/>
                </a:lnTo>
                <a:lnTo>
                  <a:pt x="7" y="30"/>
                </a:lnTo>
                <a:lnTo>
                  <a:pt x="6" y="29"/>
                </a:lnTo>
                <a:lnTo>
                  <a:pt x="2" y="29"/>
                </a:lnTo>
                <a:lnTo>
                  <a:pt x="0" y="27"/>
                </a:lnTo>
                <a:lnTo>
                  <a:pt x="2" y="25"/>
                </a:lnTo>
                <a:lnTo>
                  <a:pt x="3" y="24"/>
                </a:lnTo>
                <a:lnTo>
                  <a:pt x="3" y="22"/>
                </a:lnTo>
                <a:lnTo>
                  <a:pt x="3" y="21"/>
                </a:lnTo>
                <a:lnTo>
                  <a:pt x="3" y="19"/>
                </a:lnTo>
                <a:lnTo>
                  <a:pt x="6" y="16"/>
                </a:lnTo>
                <a:lnTo>
                  <a:pt x="7" y="16"/>
                </a:lnTo>
                <a:lnTo>
                  <a:pt x="11" y="13"/>
                </a:lnTo>
                <a:lnTo>
                  <a:pt x="15" y="8"/>
                </a:lnTo>
                <a:lnTo>
                  <a:pt x="16" y="7"/>
                </a:lnTo>
                <a:lnTo>
                  <a:pt x="16" y="5"/>
                </a:lnTo>
                <a:lnTo>
                  <a:pt x="20" y="5"/>
                </a:lnTo>
                <a:lnTo>
                  <a:pt x="23" y="3"/>
                </a:lnTo>
                <a:lnTo>
                  <a:pt x="26" y="3"/>
                </a:lnTo>
                <a:lnTo>
                  <a:pt x="30" y="3"/>
                </a:lnTo>
                <a:lnTo>
                  <a:pt x="34" y="3"/>
                </a:lnTo>
                <a:lnTo>
                  <a:pt x="40" y="3"/>
                </a:lnTo>
                <a:lnTo>
                  <a:pt x="45" y="3"/>
                </a:lnTo>
                <a:lnTo>
                  <a:pt x="49" y="2"/>
                </a:lnTo>
                <a:lnTo>
                  <a:pt x="51" y="2"/>
                </a:lnTo>
                <a:lnTo>
                  <a:pt x="52" y="2"/>
                </a:lnTo>
                <a:lnTo>
                  <a:pt x="55" y="0"/>
                </a:lnTo>
                <a:lnTo>
                  <a:pt x="56" y="2"/>
                </a:lnTo>
                <a:lnTo>
                  <a:pt x="57" y="2"/>
                </a:lnTo>
                <a:lnTo>
                  <a:pt x="61" y="2"/>
                </a:lnTo>
                <a:lnTo>
                  <a:pt x="63" y="2"/>
                </a:lnTo>
                <a:lnTo>
                  <a:pt x="65" y="2"/>
                </a:lnTo>
                <a:lnTo>
                  <a:pt x="67" y="2"/>
                </a:lnTo>
                <a:lnTo>
                  <a:pt x="71" y="3"/>
                </a:lnTo>
                <a:lnTo>
                  <a:pt x="73" y="3"/>
                </a:lnTo>
                <a:lnTo>
                  <a:pt x="77" y="3"/>
                </a:lnTo>
                <a:lnTo>
                  <a:pt x="80" y="5"/>
                </a:lnTo>
                <a:lnTo>
                  <a:pt x="83" y="10"/>
                </a:lnTo>
                <a:lnTo>
                  <a:pt x="89" y="13"/>
                </a:lnTo>
                <a:lnTo>
                  <a:pt x="91" y="14"/>
                </a:lnTo>
                <a:lnTo>
                  <a:pt x="92" y="16"/>
                </a:lnTo>
                <a:lnTo>
                  <a:pt x="92" y="18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4" name="Freeform 21"/>
          <p:cNvSpPr>
            <a:spLocks/>
          </p:cNvSpPr>
          <p:nvPr/>
        </p:nvSpPr>
        <p:spPr bwMode="auto">
          <a:xfrm>
            <a:off x="3335848" y="4346408"/>
            <a:ext cx="358581" cy="639987"/>
          </a:xfrm>
          <a:custGeom>
            <a:avLst/>
            <a:gdLst/>
            <a:ahLst/>
            <a:cxnLst>
              <a:cxn ang="0">
                <a:pos x="87" y="5"/>
              </a:cxn>
              <a:cxn ang="0">
                <a:pos x="87" y="22"/>
              </a:cxn>
              <a:cxn ang="0">
                <a:pos x="73" y="43"/>
              </a:cxn>
              <a:cxn ang="0">
                <a:pos x="49" y="55"/>
              </a:cxn>
              <a:cxn ang="0">
                <a:pos x="43" y="61"/>
              </a:cxn>
              <a:cxn ang="0">
                <a:pos x="38" y="82"/>
              </a:cxn>
              <a:cxn ang="0">
                <a:pos x="28" y="88"/>
              </a:cxn>
              <a:cxn ang="0">
                <a:pos x="20" y="80"/>
              </a:cxn>
              <a:cxn ang="0">
                <a:pos x="12" y="80"/>
              </a:cxn>
              <a:cxn ang="0">
                <a:pos x="12" y="71"/>
              </a:cxn>
              <a:cxn ang="0">
                <a:pos x="14" y="61"/>
              </a:cxn>
              <a:cxn ang="0">
                <a:pos x="1" y="76"/>
              </a:cxn>
              <a:cxn ang="0">
                <a:pos x="2" y="88"/>
              </a:cxn>
              <a:cxn ang="0">
                <a:pos x="5" y="101"/>
              </a:cxn>
              <a:cxn ang="0">
                <a:pos x="13" y="115"/>
              </a:cxn>
              <a:cxn ang="0">
                <a:pos x="26" y="135"/>
              </a:cxn>
              <a:cxn ang="0">
                <a:pos x="38" y="157"/>
              </a:cxn>
              <a:cxn ang="0">
                <a:pos x="51" y="190"/>
              </a:cxn>
              <a:cxn ang="0">
                <a:pos x="59" y="207"/>
              </a:cxn>
              <a:cxn ang="0">
                <a:pos x="74" y="236"/>
              </a:cxn>
              <a:cxn ang="0">
                <a:pos x="74" y="251"/>
              </a:cxn>
              <a:cxn ang="0">
                <a:pos x="86" y="267"/>
              </a:cxn>
              <a:cxn ang="0">
                <a:pos x="113" y="288"/>
              </a:cxn>
              <a:cxn ang="0">
                <a:pos x="134" y="297"/>
              </a:cxn>
              <a:cxn ang="0">
                <a:pos x="151" y="313"/>
              </a:cxn>
              <a:cxn ang="0">
                <a:pos x="162" y="322"/>
              </a:cxn>
              <a:cxn ang="0">
                <a:pos x="174" y="313"/>
              </a:cxn>
              <a:cxn ang="0">
                <a:pos x="178" y="300"/>
              </a:cxn>
              <a:cxn ang="0">
                <a:pos x="182" y="286"/>
              </a:cxn>
              <a:cxn ang="0">
                <a:pos x="179" y="278"/>
              </a:cxn>
              <a:cxn ang="0">
                <a:pos x="182" y="267"/>
              </a:cxn>
              <a:cxn ang="0">
                <a:pos x="184" y="250"/>
              </a:cxn>
              <a:cxn ang="0">
                <a:pos x="186" y="223"/>
              </a:cxn>
              <a:cxn ang="0">
                <a:pos x="174" y="193"/>
              </a:cxn>
              <a:cxn ang="0">
                <a:pos x="163" y="193"/>
              </a:cxn>
              <a:cxn ang="0">
                <a:pos x="162" y="163"/>
              </a:cxn>
              <a:cxn ang="0">
                <a:pos x="145" y="176"/>
              </a:cxn>
              <a:cxn ang="0">
                <a:pos x="135" y="168"/>
              </a:cxn>
              <a:cxn ang="0">
                <a:pos x="126" y="159"/>
              </a:cxn>
              <a:cxn ang="0">
                <a:pos x="115" y="145"/>
              </a:cxn>
              <a:cxn ang="0">
                <a:pos x="115" y="124"/>
              </a:cxn>
              <a:cxn ang="0">
                <a:pos x="123" y="105"/>
              </a:cxn>
              <a:cxn ang="0">
                <a:pos x="135" y="87"/>
              </a:cxn>
              <a:cxn ang="0">
                <a:pos x="168" y="76"/>
              </a:cxn>
              <a:cxn ang="0">
                <a:pos x="164" y="68"/>
              </a:cxn>
              <a:cxn ang="0">
                <a:pos x="160" y="63"/>
              </a:cxn>
              <a:cxn ang="0">
                <a:pos x="168" y="49"/>
              </a:cxn>
              <a:cxn ang="0">
                <a:pos x="154" y="39"/>
              </a:cxn>
              <a:cxn ang="0">
                <a:pos x="143" y="39"/>
              </a:cxn>
              <a:cxn ang="0">
                <a:pos x="138" y="43"/>
              </a:cxn>
              <a:cxn ang="0">
                <a:pos x="127" y="43"/>
              </a:cxn>
              <a:cxn ang="0">
                <a:pos x="121" y="32"/>
              </a:cxn>
              <a:cxn ang="0">
                <a:pos x="115" y="27"/>
              </a:cxn>
              <a:cxn ang="0">
                <a:pos x="110" y="19"/>
              </a:cxn>
              <a:cxn ang="0">
                <a:pos x="103" y="8"/>
              </a:cxn>
              <a:cxn ang="0">
                <a:pos x="94" y="2"/>
              </a:cxn>
            </a:cxnLst>
            <a:rect l="0" t="0" r="r" b="b"/>
            <a:pathLst>
              <a:path w="188" h="322">
                <a:moveTo>
                  <a:pt x="90" y="0"/>
                </a:moveTo>
                <a:lnTo>
                  <a:pt x="89" y="2"/>
                </a:lnTo>
                <a:lnTo>
                  <a:pt x="86" y="2"/>
                </a:lnTo>
                <a:lnTo>
                  <a:pt x="86" y="3"/>
                </a:lnTo>
                <a:lnTo>
                  <a:pt x="87" y="5"/>
                </a:lnTo>
                <a:lnTo>
                  <a:pt x="89" y="10"/>
                </a:lnTo>
                <a:lnTo>
                  <a:pt x="89" y="11"/>
                </a:lnTo>
                <a:lnTo>
                  <a:pt x="91" y="16"/>
                </a:lnTo>
                <a:lnTo>
                  <a:pt x="89" y="16"/>
                </a:lnTo>
                <a:lnTo>
                  <a:pt x="87" y="22"/>
                </a:lnTo>
                <a:lnTo>
                  <a:pt x="83" y="30"/>
                </a:lnTo>
                <a:lnTo>
                  <a:pt x="79" y="35"/>
                </a:lnTo>
                <a:lnTo>
                  <a:pt x="78" y="36"/>
                </a:lnTo>
                <a:lnTo>
                  <a:pt x="75" y="39"/>
                </a:lnTo>
                <a:lnTo>
                  <a:pt x="73" y="43"/>
                </a:lnTo>
                <a:lnTo>
                  <a:pt x="70" y="46"/>
                </a:lnTo>
                <a:lnTo>
                  <a:pt x="66" y="47"/>
                </a:lnTo>
                <a:lnTo>
                  <a:pt x="55" y="50"/>
                </a:lnTo>
                <a:lnTo>
                  <a:pt x="50" y="54"/>
                </a:lnTo>
                <a:lnTo>
                  <a:pt x="49" y="55"/>
                </a:lnTo>
                <a:lnTo>
                  <a:pt x="47" y="57"/>
                </a:lnTo>
                <a:lnTo>
                  <a:pt x="46" y="60"/>
                </a:lnTo>
                <a:lnTo>
                  <a:pt x="46" y="63"/>
                </a:lnTo>
                <a:lnTo>
                  <a:pt x="45" y="63"/>
                </a:lnTo>
                <a:lnTo>
                  <a:pt x="43" y="61"/>
                </a:lnTo>
                <a:lnTo>
                  <a:pt x="43" y="63"/>
                </a:lnTo>
                <a:lnTo>
                  <a:pt x="39" y="69"/>
                </a:lnTo>
                <a:lnTo>
                  <a:pt x="38" y="74"/>
                </a:lnTo>
                <a:lnTo>
                  <a:pt x="38" y="80"/>
                </a:lnTo>
                <a:lnTo>
                  <a:pt x="38" y="82"/>
                </a:lnTo>
                <a:lnTo>
                  <a:pt x="37" y="83"/>
                </a:lnTo>
                <a:lnTo>
                  <a:pt x="35" y="83"/>
                </a:lnTo>
                <a:lnTo>
                  <a:pt x="33" y="87"/>
                </a:lnTo>
                <a:lnTo>
                  <a:pt x="30" y="88"/>
                </a:lnTo>
                <a:lnTo>
                  <a:pt x="28" y="88"/>
                </a:lnTo>
                <a:lnTo>
                  <a:pt x="26" y="85"/>
                </a:lnTo>
                <a:lnTo>
                  <a:pt x="26" y="83"/>
                </a:lnTo>
                <a:lnTo>
                  <a:pt x="25" y="80"/>
                </a:lnTo>
                <a:lnTo>
                  <a:pt x="22" y="80"/>
                </a:lnTo>
                <a:lnTo>
                  <a:pt x="20" y="80"/>
                </a:lnTo>
                <a:lnTo>
                  <a:pt x="20" y="79"/>
                </a:lnTo>
                <a:lnTo>
                  <a:pt x="18" y="79"/>
                </a:lnTo>
                <a:lnTo>
                  <a:pt x="16" y="77"/>
                </a:lnTo>
                <a:lnTo>
                  <a:pt x="13" y="80"/>
                </a:lnTo>
                <a:lnTo>
                  <a:pt x="12" y="80"/>
                </a:lnTo>
                <a:lnTo>
                  <a:pt x="12" y="79"/>
                </a:lnTo>
                <a:lnTo>
                  <a:pt x="12" y="76"/>
                </a:lnTo>
                <a:lnTo>
                  <a:pt x="10" y="74"/>
                </a:lnTo>
                <a:lnTo>
                  <a:pt x="10" y="72"/>
                </a:lnTo>
                <a:lnTo>
                  <a:pt x="12" y="71"/>
                </a:lnTo>
                <a:lnTo>
                  <a:pt x="14" y="69"/>
                </a:lnTo>
                <a:lnTo>
                  <a:pt x="16" y="68"/>
                </a:lnTo>
                <a:lnTo>
                  <a:pt x="16" y="66"/>
                </a:lnTo>
                <a:lnTo>
                  <a:pt x="14" y="65"/>
                </a:lnTo>
                <a:lnTo>
                  <a:pt x="14" y="61"/>
                </a:lnTo>
                <a:lnTo>
                  <a:pt x="14" y="60"/>
                </a:lnTo>
                <a:lnTo>
                  <a:pt x="12" y="63"/>
                </a:lnTo>
                <a:lnTo>
                  <a:pt x="9" y="66"/>
                </a:lnTo>
                <a:lnTo>
                  <a:pt x="5" y="71"/>
                </a:lnTo>
                <a:lnTo>
                  <a:pt x="1" y="76"/>
                </a:lnTo>
                <a:lnTo>
                  <a:pt x="0" y="77"/>
                </a:lnTo>
                <a:lnTo>
                  <a:pt x="0" y="80"/>
                </a:lnTo>
                <a:lnTo>
                  <a:pt x="1" y="85"/>
                </a:lnTo>
                <a:lnTo>
                  <a:pt x="1" y="87"/>
                </a:lnTo>
                <a:lnTo>
                  <a:pt x="2" y="88"/>
                </a:lnTo>
                <a:lnTo>
                  <a:pt x="2" y="93"/>
                </a:lnTo>
                <a:lnTo>
                  <a:pt x="5" y="96"/>
                </a:lnTo>
                <a:lnTo>
                  <a:pt x="6" y="98"/>
                </a:lnTo>
                <a:lnTo>
                  <a:pt x="6" y="99"/>
                </a:lnTo>
                <a:lnTo>
                  <a:pt x="5" y="101"/>
                </a:lnTo>
                <a:lnTo>
                  <a:pt x="2" y="104"/>
                </a:lnTo>
                <a:lnTo>
                  <a:pt x="4" y="105"/>
                </a:lnTo>
                <a:lnTo>
                  <a:pt x="8" y="108"/>
                </a:lnTo>
                <a:lnTo>
                  <a:pt x="10" y="112"/>
                </a:lnTo>
                <a:lnTo>
                  <a:pt x="13" y="115"/>
                </a:lnTo>
                <a:lnTo>
                  <a:pt x="16" y="116"/>
                </a:lnTo>
                <a:lnTo>
                  <a:pt x="20" y="119"/>
                </a:lnTo>
                <a:lnTo>
                  <a:pt x="22" y="124"/>
                </a:lnTo>
                <a:lnTo>
                  <a:pt x="24" y="126"/>
                </a:lnTo>
                <a:lnTo>
                  <a:pt x="26" y="135"/>
                </a:lnTo>
                <a:lnTo>
                  <a:pt x="28" y="138"/>
                </a:lnTo>
                <a:lnTo>
                  <a:pt x="35" y="148"/>
                </a:lnTo>
                <a:lnTo>
                  <a:pt x="38" y="152"/>
                </a:lnTo>
                <a:lnTo>
                  <a:pt x="38" y="156"/>
                </a:lnTo>
                <a:lnTo>
                  <a:pt x="38" y="157"/>
                </a:lnTo>
                <a:lnTo>
                  <a:pt x="42" y="165"/>
                </a:lnTo>
                <a:lnTo>
                  <a:pt x="43" y="170"/>
                </a:lnTo>
                <a:lnTo>
                  <a:pt x="46" y="179"/>
                </a:lnTo>
                <a:lnTo>
                  <a:pt x="51" y="189"/>
                </a:lnTo>
                <a:lnTo>
                  <a:pt x="51" y="190"/>
                </a:lnTo>
                <a:lnTo>
                  <a:pt x="53" y="198"/>
                </a:lnTo>
                <a:lnTo>
                  <a:pt x="54" y="203"/>
                </a:lnTo>
                <a:lnTo>
                  <a:pt x="55" y="204"/>
                </a:lnTo>
                <a:lnTo>
                  <a:pt x="58" y="206"/>
                </a:lnTo>
                <a:lnTo>
                  <a:pt x="59" y="207"/>
                </a:lnTo>
                <a:lnTo>
                  <a:pt x="61" y="214"/>
                </a:lnTo>
                <a:lnTo>
                  <a:pt x="65" y="220"/>
                </a:lnTo>
                <a:lnTo>
                  <a:pt x="67" y="225"/>
                </a:lnTo>
                <a:lnTo>
                  <a:pt x="70" y="231"/>
                </a:lnTo>
                <a:lnTo>
                  <a:pt x="74" y="236"/>
                </a:lnTo>
                <a:lnTo>
                  <a:pt x="75" y="240"/>
                </a:lnTo>
                <a:lnTo>
                  <a:pt x="75" y="244"/>
                </a:lnTo>
                <a:lnTo>
                  <a:pt x="74" y="245"/>
                </a:lnTo>
                <a:lnTo>
                  <a:pt x="73" y="247"/>
                </a:lnTo>
                <a:lnTo>
                  <a:pt x="74" y="251"/>
                </a:lnTo>
                <a:lnTo>
                  <a:pt x="74" y="253"/>
                </a:lnTo>
                <a:lnTo>
                  <a:pt x="77" y="256"/>
                </a:lnTo>
                <a:lnTo>
                  <a:pt x="79" y="259"/>
                </a:lnTo>
                <a:lnTo>
                  <a:pt x="82" y="261"/>
                </a:lnTo>
                <a:lnTo>
                  <a:pt x="86" y="267"/>
                </a:lnTo>
                <a:lnTo>
                  <a:pt x="89" y="270"/>
                </a:lnTo>
                <a:lnTo>
                  <a:pt x="91" y="272"/>
                </a:lnTo>
                <a:lnTo>
                  <a:pt x="98" y="277"/>
                </a:lnTo>
                <a:lnTo>
                  <a:pt x="107" y="281"/>
                </a:lnTo>
                <a:lnTo>
                  <a:pt x="113" y="288"/>
                </a:lnTo>
                <a:lnTo>
                  <a:pt x="114" y="288"/>
                </a:lnTo>
                <a:lnTo>
                  <a:pt x="125" y="292"/>
                </a:lnTo>
                <a:lnTo>
                  <a:pt x="131" y="297"/>
                </a:lnTo>
                <a:lnTo>
                  <a:pt x="133" y="297"/>
                </a:lnTo>
                <a:lnTo>
                  <a:pt x="134" y="297"/>
                </a:lnTo>
                <a:lnTo>
                  <a:pt x="141" y="303"/>
                </a:lnTo>
                <a:lnTo>
                  <a:pt x="143" y="305"/>
                </a:lnTo>
                <a:lnTo>
                  <a:pt x="146" y="308"/>
                </a:lnTo>
                <a:lnTo>
                  <a:pt x="148" y="309"/>
                </a:lnTo>
                <a:lnTo>
                  <a:pt x="151" y="313"/>
                </a:lnTo>
                <a:lnTo>
                  <a:pt x="154" y="317"/>
                </a:lnTo>
                <a:lnTo>
                  <a:pt x="158" y="319"/>
                </a:lnTo>
                <a:lnTo>
                  <a:pt x="159" y="322"/>
                </a:lnTo>
                <a:lnTo>
                  <a:pt x="160" y="322"/>
                </a:lnTo>
                <a:lnTo>
                  <a:pt x="162" y="322"/>
                </a:lnTo>
                <a:lnTo>
                  <a:pt x="164" y="320"/>
                </a:lnTo>
                <a:lnTo>
                  <a:pt x="170" y="319"/>
                </a:lnTo>
                <a:lnTo>
                  <a:pt x="171" y="319"/>
                </a:lnTo>
                <a:lnTo>
                  <a:pt x="172" y="316"/>
                </a:lnTo>
                <a:lnTo>
                  <a:pt x="174" y="313"/>
                </a:lnTo>
                <a:lnTo>
                  <a:pt x="175" y="311"/>
                </a:lnTo>
                <a:lnTo>
                  <a:pt x="175" y="309"/>
                </a:lnTo>
                <a:lnTo>
                  <a:pt x="174" y="309"/>
                </a:lnTo>
                <a:lnTo>
                  <a:pt x="174" y="306"/>
                </a:lnTo>
                <a:lnTo>
                  <a:pt x="178" y="300"/>
                </a:lnTo>
                <a:lnTo>
                  <a:pt x="180" y="297"/>
                </a:lnTo>
                <a:lnTo>
                  <a:pt x="184" y="292"/>
                </a:lnTo>
                <a:lnTo>
                  <a:pt x="184" y="289"/>
                </a:lnTo>
                <a:lnTo>
                  <a:pt x="184" y="288"/>
                </a:lnTo>
                <a:lnTo>
                  <a:pt x="182" y="286"/>
                </a:lnTo>
                <a:lnTo>
                  <a:pt x="180" y="286"/>
                </a:lnTo>
                <a:lnTo>
                  <a:pt x="180" y="284"/>
                </a:lnTo>
                <a:lnTo>
                  <a:pt x="179" y="284"/>
                </a:lnTo>
                <a:lnTo>
                  <a:pt x="179" y="281"/>
                </a:lnTo>
                <a:lnTo>
                  <a:pt x="179" y="278"/>
                </a:lnTo>
                <a:lnTo>
                  <a:pt x="179" y="275"/>
                </a:lnTo>
                <a:lnTo>
                  <a:pt x="180" y="272"/>
                </a:lnTo>
                <a:lnTo>
                  <a:pt x="182" y="270"/>
                </a:lnTo>
                <a:lnTo>
                  <a:pt x="182" y="269"/>
                </a:lnTo>
                <a:lnTo>
                  <a:pt x="182" y="267"/>
                </a:lnTo>
                <a:lnTo>
                  <a:pt x="182" y="266"/>
                </a:lnTo>
                <a:lnTo>
                  <a:pt x="179" y="261"/>
                </a:lnTo>
                <a:lnTo>
                  <a:pt x="180" y="258"/>
                </a:lnTo>
                <a:lnTo>
                  <a:pt x="184" y="256"/>
                </a:lnTo>
                <a:lnTo>
                  <a:pt x="184" y="250"/>
                </a:lnTo>
                <a:lnTo>
                  <a:pt x="183" y="244"/>
                </a:lnTo>
                <a:lnTo>
                  <a:pt x="183" y="240"/>
                </a:lnTo>
                <a:lnTo>
                  <a:pt x="184" y="234"/>
                </a:lnTo>
                <a:lnTo>
                  <a:pt x="184" y="226"/>
                </a:lnTo>
                <a:lnTo>
                  <a:pt x="186" y="223"/>
                </a:lnTo>
                <a:lnTo>
                  <a:pt x="187" y="220"/>
                </a:lnTo>
                <a:lnTo>
                  <a:pt x="188" y="220"/>
                </a:lnTo>
                <a:lnTo>
                  <a:pt x="188" y="218"/>
                </a:lnTo>
                <a:lnTo>
                  <a:pt x="184" y="212"/>
                </a:lnTo>
                <a:lnTo>
                  <a:pt x="174" y="193"/>
                </a:lnTo>
                <a:lnTo>
                  <a:pt x="170" y="193"/>
                </a:lnTo>
                <a:lnTo>
                  <a:pt x="167" y="195"/>
                </a:lnTo>
                <a:lnTo>
                  <a:pt x="166" y="195"/>
                </a:lnTo>
                <a:lnTo>
                  <a:pt x="164" y="195"/>
                </a:lnTo>
                <a:lnTo>
                  <a:pt x="163" y="193"/>
                </a:lnTo>
                <a:lnTo>
                  <a:pt x="162" y="193"/>
                </a:lnTo>
                <a:lnTo>
                  <a:pt x="162" y="184"/>
                </a:lnTo>
                <a:lnTo>
                  <a:pt x="162" y="182"/>
                </a:lnTo>
                <a:lnTo>
                  <a:pt x="162" y="165"/>
                </a:lnTo>
                <a:lnTo>
                  <a:pt x="162" y="163"/>
                </a:lnTo>
                <a:lnTo>
                  <a:pt x="160" y="165"/>
                </a:lnTo>
                <a:lnTo>
                  <a:pt x="158" y="168"/>
                </a:lnTo>
                <a:lnTo>
                  <a:pt x="152" y="173"/>
                </a:lnTo>
                <a:lnTo>
                  <a:pt x="147" y="176"/>
                </a:lnTo>
                <a:lnTo>
                  <a:pt x="145" y="176"/>
                </a:lnTo>
                <a:lnTo>
                  <a:pt x="141" y="176"/>
                </a:lnTo>
                <a:lnTo>
                  <a:pt x="138" y="174"/>
                </a:lnTo>
                <a:lnTo>
                  <a:pt x="137" y="173"/>
                </a:lnTo>
                <a:lnTo>
                  <a:pt x="135" y="170"/>
                </a:lnTo>
                <a:lnTo>
                  <a:pt x="135" y="168"/>
                </a:lnTo>
                <a:lnTo>
                  <a:pt x="134" y="167"/>
                </a:lnTo>
                <a:lnTo>
                  <a:pt x="129" y="167"/>
                </a:lnTo>
                <a:lnTo>
                  <a:pt x="125" y="165"/>
                </a:lnTo>
                <a:lnTo>
                  <a:pt x="126" y="160"/>
                </a:lnTo>
                <a:lnTo>
                  <a:pt x="126" y="159"/>
                </a:lnTo>
                <a:lnTo>
                  <a:pt x="123" y="157"/>
                </a:lnTo>
                <a:lnTo>
                  <a:pt x="119" y="152"/>
                </a:lnTo>
                <a:lnTo>
                  <a:pt x="119" y="149"/>
                </a:lnTo>
                <a:lnTo>
                  <a:pt x="117" y="146"/>
                </a:lnTo>
                <a:lnTo>
                  <a:pt x="115" y="145"/>
                </a:lnTo>
                <a:lnTo>
                  <a:pt x="115" y="141"/>
                </a:lnTo>
                <a:lnTo>
                  <a:pt x="113" y="134"/>
                </a:lnTo>
                <a:lnTo>
                  <a:pt x="113" y="132"/>
                </a:lnTo>
                <a:lnTo>
                  <a:pt x="113" y="130"/>
                </a:lnTo>
                <a:lnTo>
                  <a:pt x="115" y="124"/>
                </a:lnTo>
                <a:lnTo>
                  <a:pt x="117" y="118"/>
                </a:lnTo>
                <a:lnTo>
                  <a:pt x="118" y="116"/>
                </a:lnTo>
                <a:lnTo>
                  <a:pt x="121" y="116"/>
                </a:lnTo>
                <a:lnTo>
                  <a:pt x="123" y="115"/>
                </a:lnTo>
                <a:lnTo>
                  <a:pt x="123" y="105"/>
                </a:lnTo>
                <a:lnTo>
                  <a:pt x="123" y="104"/>
                </a:lnTo>
                <a:lnTo>
                  <a:pt x="126" y="99"/>
                </a:lnTo>
                <a:lnTo>
                  <a:pt x="129" y="94"/>
                </a:lnTo>
                <a:lnTo>
                  <a:pt x="133" y="90"/>
                </a:lnTo>
                <a:lnTo>
                  <a:pt x="135" y="87"/>
                </a:lnTo>
                <a:lnTo>
                  <a:pt x="139" y="83"/>
                </a:lnTo>
                <a:lnTo>
                  <a:pt x="145" y="80"/>
                </a:lnTo>
                <a:lnTo>
                  <a:pt x="159" y="76"/>
                </a:lnTo>
                <a:lnTo>
                  <a:pt x="162" y="74"/>
                </a:lnTo>
                <a:lnTo>
                  <a:pt x="168" y="76"/>
                </a:lnTo>
                <a:lnTo>
                  <a:pt x="170" y="74"/>
                </a:lnTo>
                <a:lnTo>
                  <a:pt x="170" y="72"/>
                </a:lnTo>
                <a:lnTo>
                  <a:pt x="168" y="72"/>
                </a:lnTo>
                <a:lnTo>
                  <a:pt x="166" y="69"/>
                </a:lnTo>
                <a:lnTo>
                  <a:pt x="164" y="68"/>
                </a:lnTo>
                <a:lnTo>
                  <a:pt x="163" y="68"/>
                </a:lnTo>
                <a:lnTo>
                  <a:pt x="162" y="68"/>
                </a:lnTo>
                <a:lnTo>
                  <a:pt x="160" y="68"/>
                </a:lnTo>
                <a:lnTo>
                  <a:pt x="160" y="66"/>
                </a:lnTo>
                <a:lnTo>
                  <a:pt x="160" y="63"/>
                </a:lnTo>
                <a:lnTo>
                  <a:pt x="162" y="60"/>
                </a:lnTo>
                <a:lnTo>
                  <a:pt x="166" y="55"/>
                </a:lnTo>
                <a:lnTo>
                  <a:pt x="167" y="54"/>
                </a:lnTo>
                <a:lnTo>
                  <a:pt x="168" y="50"/>
                </a:lnTo>
                <a:lnTo>
                  <a:pt x="168" y="49"/>
                </a:lnTo>
                <a:lnTo>
                  <a:pt x="166" y="46"/>
                </a:lnTo>
                <a:lnTo>
                  <a:pt x="160" y="43"/>
                </a:lnTo>
                <a:lnTo>
                  <a:pt x="156" y="39"/>
                </a:lnTo>
                <a:lnTo>
                  <a:pt x="155" y="39"/>
                </a:lnTo>
                <a:lnTo>
                  <a:pt x="154" y="39"/>
                </a:lnTo>
                <a:lnTo>
                  <a:pt x="151" y="41"/>
                </a:lnTo>
                <a:lnTo>
                  <a:pt x="150" y="43"/>
                </a:lnTo>
                <a:lnTo>
                  <a:pt x="147" y="41"/>
                </a:lnTo>
                <a:lnTo>
                  <a:pt x="146" y="39"/>
                </a:lnTo>
                <a:lnTo>
                  <a:pt x="143" y="39"/>
                </a:lnTo>
                <a:lnTo>
                  <a:pt x="142" y="39"/>
                </a:lnTo>
                <a:lnTo>
                  <a:pt x="141" y="39"/>
                </a:lnTo>
                <a:lnTo>
                  <a:pt x="139" y="41"/>
                </a:lnTo>
                <a:lnTo>
                  <a:pt x="138" y="41"/>
                </a:lnTo>
                <a:lnTo>
                  <a:pt x="138" y="43"/>
                </a:lnTo>
                <a:lnTo>
                  <a:pt x="137" y="44"/>
                </a:lnTo>
                <a:lnTo>
                  <a:pt x="135" y="44"/>
                </a:lnTo>
                <a:lnTo>
                  <a:pt x="134" y="44"/>
                </a:lnTo>
                <a:lnTo>
                  <a:pt x="131" y="43"/>
                </a:lnTo>
                <a:lnTo>
                  <a:pt x="127" y="43"/>
                </a:lnTo>
                <a:lnTo>
                  <a:pt x="126" y="43"/>
                </a:lnTo>
                <a:lnTo>
                  <a:pt x="123" y="43"/>
                </a:lnTo>
                <a:lnTo>
                  <a:pt x="122" y="41"/>
                </a:lnTo>
                <a:lnTo>
                  <a:pt x="121" y="39"/>
                </a:lnTo>
                <a:lnTo>
                  <a:pt x="121" y="32"/>
                </a:lnTo>
                <a:lnTo>
                  <a:pt x="119" y="32"/>
                </a:lnTo>
                <a:lnTo>
                  <a:pt x="118" y="32"/>
                </a:lnTo>
                <a:lnTo>
                  <a:pt x="117" y="30"/>
                </a:lnTo>
                <a:lnTo>
                  <a:pt x="115" y="30"/>
                </a:lnTo>
                <a:lnTo>
                  <a:pt x="115" y="27"/>
                </a:lnTo>
                <a:lnTo>
                  <a:pt x="115" y="22"/>
                </a:lnTo>
                <a:lnTo>
                  <a:pt x="114" y="21"/>
                </a:lnTo>
                <a:lnTo>
                  <a:pt x="113" y="19"/>
                </a:lnTo>
                <a:lnTo>
                  <a:pt x="111" y="19"/>
                </a:lnTo>
                <a:lnTo>
                  <a:pt x="110" y="19"/>
                </a:lnTo>
                <a:lnTo>
                  <a:pt x="107" y="19"/>
                </a:lnTo>
                <a:lnTo>
                  <a:pt x="107" y="17"/>
                </a:lnTo>
                <a:lnTo>
                  <a:pt x="106" y="16"/>
                </a:lnTo>
                <a:lnTo>
                  <a:pt x="103" y="13"/>
                </a:lnTo>
                <a:lnTo>
                  <a:pt x="103" y="8"/>
                </a:lnTo>
                <a:lnTo>
                  <a:pt x="101" y="6"/>
                </a:lnTo>
                <a:lnTo>
                  <a:pt x="99" y="6"/>
                </a:lnTo>
                <a:lnTo>
                  <a:pt x="98" y="3"/>
                </a:lnTo>
                <a:lnTo>
                  <a:pt x="97" y="2"/>
                </a:lnTo>
                <a:lnTo>
                  <a:pt x="94" y="2"/>
                </a:lnTo>
                <a:lnTo>
                  <a:pt x="91" y="0"/>
                </a:lnTo>
                <a:lnTo>
                  <a:pt x="90" y="0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5" name="Freeform 22"/>
          <p:cNvSpPr>
            <a:spLocks/>
          </p:cNvSpPr>
          <p:nvPr/>
        </p:nvSpPr>
        <p:spPr bwMode="auto">
          <a:xfrm>
            <a:off x="3335848" y="4346408"/>
            <a:ext cx="358581" cy="639987"/>
          </a:xfrm>
          <a:custGeom>
            <a:avLst/>
            <a:gdLst/>
            <a:ahLst/>
            <a:cxnLst>
              <a:cxn ang="0">
                <a:pos x="86" y="3"/>
              </a:cxn>
              <a:cxn ang="0">
                <a:pos x="91" y="16"/>
              </a:cxn>
              <a:cxn ang="0">
                <a:pos x="79" y="35"/>
              </a:cxn>
              <a:cxn ang="0">
                <a:pos x="70" y="46"/>
              </a:cxn>
              <a:cxn ang="0">
                <a:pos x="49" y="55"/>
              </a:cxn>
              <a:cxn ang="0">
                <a:pos x="45" y="63"/>
              </a:cxn>
              <a:cxn ang="0">
                <a:pos x="38" y="74"/>
              </a:cxn>
              <a:cxn ang="0">
                <a:pos x="35" y="83"/>
              </a:cxn>
              <a:cxn ang="0">
                <a:pos x="26" y="85"/>
              </a:cxn>
              <a:cxn ang="0">
                <a:pos x="20" y="80"/>
              </a:cxn>
              <a:cxn ang="0">
                <a:pos x="13" y="80"/>
              </a:cxn>
              <a:cxn ang="0">
                <a:pos x="10" y="74"/>
              </a:cxn>
              <a:cxn ang="0">
                <a:pos x="16" y="68"/>
              </a:cxn>
              <a:cxn ang="0">
                <a:pos x="14" y="60"/>
              </a:cxn>
              <a:cxn ang="0">
                <a:pos x="1" y="76"/>
              </a:cxn>
              <a:cxn ang="0">
                <a:pos x="1" y="87"/>
              </a:cxn>
              <a:cxn ang="0">
                <a:pos x="6" y="98"/>
              </a:cxn>
              <a:cxn ang="0">
                <a:pos x="4" y="105"/>
              </a:cxn>
              <a:cxn ang="0">
                <a:pos x="16" y="116"/>
              </a:cxn>
              <a:cxn ang="0">
                <a:pos x="26" y="135"/>
              </a:cxn>
              <a:cxn ang="0">
                <a:pos x="38" y="156"/>
              </a:cxn>
              <a:cxn ang="0">
                <a:pos x="46" y="179"/>
              </a:cxn>
              <a:cxn ang="0">
                <a:pos x="54" y="203"/>
              </a:cxn>
              <a:cxn ang="0">
                <a:pos x="61" y="214"/>
              </a:cxn>
              <a:cxn ang="0">
                <a:pos x="74" y="236"/>
              </a:cxn>
              <a:cxn ang="0">
                <a:pos x="73" y="247"/>
              </a:cxn>
              <a:cxn ang="0">
                <a:pos x="79" y="259"/>
              </a:cxn>
              <a:cxn ang="0">
                <a:pos x="91" y="272"/>
              </a:cxn>
              <a:cxn ang="0">
                <a:pos x="114" y="288"/>
              </a:cxn>
              <a:cxn ang="0">
                <a:pos x="134" y="297"/>
              </a:cxn>
              <a:cxn ang="0">
                <a:pos x="148" y="309"/>
              </a:cxn>
              <a:cxn ang="0">
                <a:pos x="159" y="322"/>
              </a:cxn>
              <a:cxn ang="0">
                <a:pos x="170" y="319"/>
              </a:cxn>
              <a:cxn ang="0">
                <a:pos x="175" y="311"/>
              </a:cxn>
              <a:cxn ang="0">
                <a:pos x="178" y="300"/>
              </a:cxn>
              <a:cxn ang="0">
                <a:pos x="184" y="288"/>
              </a:cxn>
              <a:cxn ang="0">
                <a:pos x="179" y="284"/>
              </a:cxn>
              <a:cxn ang="0">
                <a:pos x="180" y="272"/>
              </a:cxn>
              <a:cxn ang="0">
                <a:pos x="182" y="266"/>
              </a:cxn>
              <a:cxn ang="0">
                <a:pos x="184" y="250"/>
              </a:cxn>
              <a:cxn ang="0">
                <a:pos x="184" y="226"/>
              </a:cxn>
              <a:cxn ang="0">
                <a:pos x="188" y="218"/>
              </a:cxn>
              <a:cxn ang="0">
                <a:pos x="167" y="195"/>
              </a:cxn>
              <a:cxn ang="0">
                <a:pos x="162" y="193"/>
              </a:cxn>
              <a:cxn ang="0">
                <a:pos x="162" y="163"/>
              </a:cxn>
              <a:cxn ang="0">
                <a:pos x="147" y="176"/>
              </a:cxn>
              <a:cxn ang="0">
                <a:pos x="137" y="173"/>
              </a:cxn>
              <a:cxn ang="0">
                <a:pos x="129" y="167"/>
              </a:cxn>
              <a:cxn ang="0">
                <a:pos x="123" y="157"/>
              </a:cxn>
            </a:cxnLst>
            <a:rect l="0" t="0" r="r" b="b"/>
            <a:pathLst>
              <a:path w="188" h="322">
                <a:moveTo>
                  <a:pt x="90" y="0"/>
                </a:moveTo>
                <a:lnTo>
                  <a:pt x="89" y="2"/>
                </a:lnTo>
                <a:lnTo>
                  <a:pt x="86" y="2"/>
                </a:lnTo>
                <a:lnTo>
                  <a:pt x="86" y="3"/>
                </a:lnTo>
                <a:lnTo>
                  <a:pt x="87" y="5"/>
                </a:lnTo>
                <a:lnTo>
                  <a:pt x="89" y="10"/>
                </a:lnTo>
                <a:lnTo>
                  <a:pt x="89" y="11"/>
                </a:lnTo>
                <a:lnTo>
                  <a:pt x="91" y="16"/>
                </a:lnTo>
                <a:lnTo>
                  <a:pt x="89" y="16"/>
                </a:lnTo>
                <a:lnTo>
                  <a:pt x="87" y="22"/>
                </a:lnTo>
                <a:lnTo>
                  <a:pt x="83" y="30"/>
                </a:lnTo>
                <a:lnTo>
                  <a:pt x="79" y="35"/>
                </a:lnTo>
                <a:lnTo>
                  <a:pt x="78" y="36"/>
                </a:lnTo>
                <a:lnTo>
                  <a:pt x="75" y="39"/>
                </a:lnTo>
                <a:lnTo>
                  <a:pt x="73" y="43"/>
                </a:lnTo>
                <a:lnTo>
                  <a:pt x="70" y="46"/>
                </a:lnTo>
                <a:lnTo>
                  <a:pt x="66" y="47"/>
                </a:lnTo>
                <a:lnTo>
                  <a:pt x="55" y="50"/>
                </a:lnTo>
                <a:lnTo>
                  <a:pt x="50" y="54"/>
                </a:lnTo>
                <a:lnTo>
                  <a:pt x="49" y="55"/>
                </a:lnTo>
                <a:lnTo>
                  <a:pt x="47" y="57"/>
                </a:lnTo>
                <a:lnTo>
                  <a:pt x="46" y="60"/>
                </a:lnTo>
                <a:lnTo>
                  <a:pt x="46" y="63"/>
                </a:lnTo>
                <a:lnTo>
                  <a:pt x="45" y="63"/>
                </a:lnTo>
                <a:lnTo>
                  <a:pt x="43" y="61"/>
                </a:lnTo>
                <a:lnTo>
                  <a:pt x="43" y="63"/>
                </a:lnTo>
                <a:lnTo>
                  <a:pt x="39" y="69"/>
                </a:lnTo>
                <a:lnTo>
                  <a:pt x="38" y="74"/>
                </a:lnTo>
                <a:lnTo>
                  <a:pt x="38" y="80"/>
                </a:lnTo>
                <a:lnTo>
                  <a:pt x="38" y="82"/>
                </a:lnTo>
                <a:lnTo>
                  <a:pt x="37" y="83"/>
                </a:lnTo>
                <a:lnTo>
                  <a:pt x="35" y="83"/>
                </a:lnTo>
                <a:lnTo>
                  <a:pt x="33" y="87"/>
                </a:lnTo>
                <a:lnTo>
                  <a:pt x="30" y="88"/>
                </a:lnTo>
                <a:lnTo>
                  <a:pt x="28" y="88"/>
                </a:lnTo>
                <a:lnTo>
                  <a:pt x="26" y="85"/>
                </a:lnTo>
                <a:lnTo>
                  <a:pt x="26" y="83"/>
                </a:lnTo>
                <a:lnTo>
                  <a:pt x="25" y="80"/>
                </a:lnTo>
                <a:lnTo>
                  <a:pt x="22" y="80"/>
                </a:lnTo>
                <a:lnTo>
                  <a:pt x="20" y="80"/>
                </a:lnTo>
                <a:lnTo>
                  <a:pt x="20" y="79"/>
                </a:lnTo>
                <a:lnTo>
                  <a:pt x="18" y="79"/>
                </a:lnTo>
                <a:lnTo>
                  <a:pt x="16" y="77"/>
                </a:lnTo>
                <a:lnTo>
                  <a:pt x="13" y="80"/>
                </a:lnTo>
                <a:lnTo>
                  <a:pt x="12" y="80"/>
                </a:lnTo>
                <a:lnTo>
                  <a:pt x="12" y="79"/>
                </a:lnTo>
                <a:lnTo>
                  <a:pt x="12" y="76"/>
                </a:lnTo>
                <a:lnTo>
                  <a:pt x="10" y="74"/>
                </a:lnTo>
                <a:lnTo>
                  <a:pt x="10" y="72"/>
                </a:lnTo>
                <a:lnTo>
                  <a:pt x="12" y="71"/>
                </a:lnTo>
                <a:lnTo>
                  <a:pt x="14" y="69"/>
                </a:lnTo>
                <a:lnTo>
                  <a:pt x="16" y="68"/>
                </a:lnTo>
                <a:lnTo>
                  <a:pt x="16" y="66"/>
                </a:lnTo>
                <a:lnTo>
                  <a:pt x="14" y="65"/>
                </a:lnTo>
                <a:lnTo>
                  <a:pt x="14" y="61"/>
                </a:lnTo>
                <a:lnTo>
                  <a:pt x="14" y="60"/>
                </a:lnTo>
                <a:lnTo>
                  <a:pt x="12" y="63"/>
                </a:lnTo>
                <a:lnTo>
                  <a:pt x="9" y="66"/>
                </a:lnTo>
                <a:lnTo>
                  <a:pt x="5" y="71"/>
                </a:lnTo>
                <a:lnTo>
                  <a:pt x="1" y="76"/>
                </a:lnTo>
                <a:lnTo>
                  <a:pt x="0" y="77"/>
                </a:lnTo>
                <a:lnTo>
                  <a:pt x="0" y="80"/>
                </a:lnTo>
                <a:lnTo>
                  <a:pt x="1" y="85"/>
                </a:lnTo>
                <a:lnTo>
                  <a:pt x="1" y="87"/>
                </a:lnTo>
                <a:lnTo>
                  <a:pt x="2" y="88"/>
                </a:lnTo>
                <a:lnTo>
                  <a:pt x="2" y="93"/>
                </a:lnTo>
                <a:lnTo>
                  <a:pt x="5" y="96"/>
                </a:lnTo>
                <a:lnTo>
                  <a:pt x="6" y="98"/>
                </a:lnTo>
                <a:lnTo>
                  <a:pt x="6" y="99"/>
                </a:lnTo>
                <a:lnTo>
                  <a:pt x="5" y="101"/>
                </a:lnTo>
                <a:lnTo>
                  <a:pt x="2" y="104"/>
                </a:lnTo>
                <a:lnTo>
                  <a:pt x="4" y="105"/>
                </a:lnTo>
                <a:lnTo>
                  <a:pt x="8" y="108"/>
                </a:lnTo>
                <a:lnTo>
                  <a:pt x="10" y="112"/>
                </a:lnTo>
                <a:lnTo>
                  <a:pt x="13" y="115"/>
                </a:lnTo>
                <a:lnTo>
                  <a:pt x="16" y="116"/>
                </a:lnTo>
                <a:lnTo>
                  <a:pt x="20" y="119"/>
                </a:lnTo>
                <a:lnTo>
                  <a:pt x="22" y="124"/>
                </a:lnTo>
                <a:lnTo>
                  <a:pt x="24" y="126"/>
                </a:lnTo>
                <a:lnTo>
                  <a:pt x="26" y="135"/>
                </a:lnTo>
                <a:lnTo>
                  <a:pt x="28" y="138"/>
                </a:lnTo>
                <a:lnTo>
                  <a:pt x="35" y="148"/>
                </a:lnTo>
                <a:lnTo>
                  <a:pt x="38" y="152"/>
                </a:lnTo>
                <a:lnTo>
                  <a:pt x="38" y="156"/>
                </a:lnTo>
                <a:lnTo>
                  <a:pt x="38" y="157"/>
                </a:lnTo>
                <a:lnTo>
                  <a:pt x="42" y="165"/>
                </a:lnTo>
                <a:lnTo>
                  <a:pt x="43" y="170"/>
                </a:lnTo>
                <a:lnTo>
                  <a:pt x="46" y="179"/>
                </a:lnTo>
                <a:lnTo>
                  <a:pt x="51" y="189"/>
                </a:lnTo>
                <a:lnTo>
                  <a:pt x="51" y="190"/>
                </a:lnTo>
                <a:lnTo>
                  <a:pt x="53" y="198"/>
                </a:lnTo>
                <a:lnTo>
                  <a:pt x="54" y="203"/>
                </a:lnTo>
                <a:lnTo>
                  <a:pt x="55" y="204"/>
                </a:lnTo>
                <a:lnTo>
                  <a:pt x="58" y="206"/>
                </a:lnTo>
                <a:lnTo>
                  <a:pt x="59" y="207"/>
                </a:lnTo>
                <a:lnTo>
                  <a:pt x="61" y="214"/>
                </a:lnTo>
                <a:lnTo>
                  <a:pt x="65" y="220"/>
                </a:lnTo>
                <a:lnTo>
                  <a:pt x="67" y="225"/>
                </a:lnTo>
                <a:lnTo>
                  <a:pt x="70" y="231"/>
                </a:lnTo>
                <a:lnTo>
                  <a:pt x="74" y="236"/>
                </a:lnTo>
                <a:lnTo>
                  <a:pt x="75" y="240"/>
                </a:lnTo>
                <a:lnTo>
                  <a:pt x="75" y="244"/>
                </a:lnTo>
                <a:lnTo>
                  <a:pt x="74" y="245"/>
                </a:lnTo>
                <a:lnTo>
                  <a:pt x="73" y="247"/>
                </a:lnTo>
                <a:lnTo>
                  <a:pt x="74" y="251"/>
                </a:lnTo>
                <a:lnTo>
                  <a:pt x="74" y="253"/>
                </a:lnTo>
                <a:lnTo>
                  <a:pt x="77" y="256"/>
                </a:lnTo>
                <a:lnTo>
                  <a:pt x="79" y="259"/>
                </a:lnTo>
                <a:lnTo>
                  <a:pt x="82" y="261"/>
                </a:lnTo>
                <a:lnTo>
                  <a:pt x="86" y="267"/>
                </a:lnTo>
                <a:lnTo>
                  <a:pt x="89" y="270"/>
                </a:lnTo>
                <a:lnTo>
                  <a:pt x="91" y="272"/>
                </a:lnTo>
                <a:lnTo>
                  <a:pt x="98" y="277"/>
                </a:lnTo>
                <a:lnTo>
                  <a:pt x="107" y="281"/>
                </a:lnTo>
                <a:lnTo>
                  <a:pt x="113" y="288"/>
                </a:lnTo>
                <a:lnTo>
                  <a:pt x="114" y="288"/>
                </a:lnTo>
                <a:lnTo>
                  <a:pt x="125" y="292"/>
                </a:lnTo>
                <a:lnTo>
                  <a:pt x="131" y="297"/>
                </a:lnTo>
                <a:lnTo>
                  <a:pt x="133" y="297"/>
                </a:lnTo>
                <a:lnTo>
                  <a:pt x="134" y="297"/>
                </a:lnTo>
                <a:lnTo>
                  <a:pt x="141" y="303"/>
                </a:lnTo>
                <a:lnTo>
                  <a:pt x="143" y="305"/>
                </a:lnTo>
                <a:lnTo>
                  <a:pt x="146" y="308"/>
                </a:lnTo>
                <a:lnTo>
                  <a:pt x="148" y="309"/>
                </a:lnTo>
                <a:lnTo>
                  <a:pt x="151" y="313"/>
                </a:lnTo>
                <a:lnTo>
                  <a:pt x="154" y="317"/>
                </a:lnTo>
                <a:lnTo>
                  <a:pt x="158" y="319"/>
                </a:lnTo>
                <a:lnTo>
                  <a:pt x="159" y="322"/>
                </a:lnTo>
                <a:lnTo>
                  <a:pt x="160" y="322"/>
                </a:lnTo>
                <a:lnTo>
                  <a:pt x="162" y="322"/>
                </a:lnTo>
                <a:lnTo>
                  <a:pt x="164" y="320"/>
                </a:lnTo>
                <a:lnTo>
                  <a:pt x="170" y="319"/>
                </a:lnTo>
                <a:lnTo>
                  <a:pt x="171" y="319"/>
                </a:lnTo>
                <a:lnTo>
                  <a:pt x="172" y="316"/>
                </a:lnTo>
                <a:lnTo>
                  <a:pt x="174" y="313"/>
                </a:lnTo>
                <a:lnTo>
                  <a:pt x="175" y="311"/>
                </a:lnTo>
                <a:lnTo>
                  <a:pt x="175" y="309"/>
                </a:lnTo>
                <a:lnTo>
                  <a:pt x="174" y="309"/>
                </a:lnTo>
                <a:lnTo>
                  <a:pt x="174" y="306"/>
                </a:lnTo>
                <a:lnTo>
                  <a:pt x="178" y="300"/>
                </a:lnTo>
                <a:lnTo>
                  <a:pt x="180" y="297"/>
                </a:lnTo>
                <a:lnTo>
                  <a:pt x="184" y="292"/>
                </a:lnTo>
                <a:lnTo>
                  <a:pt x="184" y="289"/>
                </a:lnTo>
                <a:lnTo>
                  <a:pt x="184" y="288"/>
                </a:lnTo>
                <a:lnTo>
                  <a:pt x="182" y="286"/>
                </a:lnTo>
                <a:lnTo>
                  <a:pt x="180" y="286"/>
                </a:lnTo>
                <a:lnTo>
                  <a:pt x="180" y="284"/>
                </a:lnTo>
                <a:lnTo>
                  <a:pt x="179" y="284"/>
                </a:lnTo>
                <a:lnTo>
                  <a:pt x="179" y="281"/>
                </a:lnTo>
                <a:lnTo>
                  <a:pt x="179" y="278"/>
                </a:lnTo>
                <a:lnTo>
                  <a:pt x="179" y="275"/>
                </a:lnTo>
                <a:lnTo>
                  <a:pt x="180" y="272"/>
                </a:lnTo>
                <a:lnTo>
                  <a:pt x="182" y="270"/>
                </a:lnTo>
                <a:lnTo>
                  <a:pt x="182" y="269"/>
                </a:lnTo>
                <a:lnTo>
                  <a:pt x="182" y="267"/>
                </a:lnTo>
                <a:lnTo>
                  <a:pt x="182" y="266"/>
                </a:lnTo>
                <a:lnTo>
                  <a:pt x="179" y="261"/>
                </a:lnTo>
                <a:lnTo>
                  <a:pt x="180" y="258"/>
                </a:lnTo>
                <a:lnTo>
                  <a:pt x="184" y="256"/>
                </a:lnTo>
                <a:lnTo>
                  <a:pt x="184" y="250"/>
                </a:lnTo>
                <a:lnTo>
                  <a:pt x="183" y="244"/>
                </a:lnTo>
                <a:lnTo>
                  <a:pt x="183" y="240"/>
                </a:lnTo>
                <a:lnTo>
                  <a:pt x="184" y="234"/>
                </a:lnTo>
                <a:lnTo>
                  <a:pt x="184" y="226"/>
                </a:lnTo>
                <a:lnTo>
                  <a:pt x="186" y="223"/>
                </a:lnTo>
                <a:lnTo>
                  <a:pt x="187" y="220"/>
                </a:lnTo>
                <a:lnTo>
                  <a:pt x="188" y="220"/>
                </a:lnTo>
                <a:lnTo>
                  <a:pt x="188" y="218"/>
                </a:lnTo>
                <a:lnTo>
                  <a:pt x="184" y="212"/>
                </a:lnTo>
                <a:lnTo>
                  <a:pt x="174" y="193"/>
                </a:lnTo>
                <a:lnTo>
                  <a:pt x="170" y="193"/>
                </a:lnTo>
                <a:lnTo>
                  <a:pt x="167" y="195"/>
                </a:lnTo>
                <a:lnTo>
                  <a:pt x="166" y="195"/>
                </a:lnTo>
                <a:lnTo>
                  <a:pt x="164" y="195"/>
                </a:lnTo>
                <a:lnTo>
                  <a:pt x="163" y="193"/>
                </a:lnTo>
                <a:lnTo>
                  <a:pt x="162" y="193"/>
                </a:lnTo>
                <a:lnTo>
                  <a:pt x="162" y="184"/>
                </a:lnTo>
                <a:lnTo>
                  <a:pt x="162" y="182"/>
                </a:lnTo>
                <a:lnTo>
                  <a:pt x="162" y="165"/>
                </a:lnTo>
                <a:lnTo>
                  <a:pt x="162" y="163"/>
                </a:lnTo>
                <a:lnTo>
                  <a:pt x="160" y="165"/>
                </a:lnTo>
                <a:lnTo>
                  <a:pt x="158" y="168"/>
                </a:lnTo>
                <a:lnTo>
                  <a:pt x="152" y="173"/>
                </a:lnTo>
                <a:lnTo>
                  <a:pt x="147" y="176"/>
                </a:lnTo>
                <a:lnTo>
                  <a:pt x="145" y="176"/>
                </a:lnTo>
                <a:lnTo>
                  <a:pt x="141" y="176"/>
                </a:lnTo>
                <a:lnTo>
                  <a:pt x="138" y="174"/>
                </a:lnTo>
                <a:lnTo>
                  <a:pt x="137" y="173"/>
                </a:lnTo>
                <a:lnTo>
                  <a:pt x="135" y="170"/>
                </a:lnTo>
                <a:lnTo>
                  <a:pt x="135" y="168"/>
                </a:lnTo>
                <a:lnTo>
                  <a:pt x="134" y="167"/>
                </a:lnTo>
                <a:lnTo>
                  <a:pt x="129" y="167"/>
                </a:lnTo>
                <a:lnTo>
                  <a:pt x="125" y="165"/>
                </a:lnTo>
                <a:lnTo>
                  <a:pt x="126" y="160"/>
                </a:lnTo>
                <a:lnTo>
                  <a:pt x="126" y="159"/>
                </a:lnTo>
                <a:lnTo>
                  <a:pt x="123" y="157"/>
                </a:lnTo>
                <a:lnTo>
                  <a:pt x="119" y="15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6" name="Freeform 23"/>
          <p:cNvSpPr>
            <a:spLocks/>
          </p:cNvSpPr>
          <p:nvPr/>
        </p:nvSpPr>
        <p:spPr bwMode="auto">
          <a:xfrm>
            <a:off x="3509292" y="4346407"/>
            <a:ext cx="150059" cy="302813"/>
          </a:xfrm>
          <a:custGeom>
            <a:avLst/>
            <a:gdLst/>
            <a:ahLst/>
            <a:cxnLst>
              <a:cxn ang="0">
                <a:pos x="29" y="149"/>
              </a:cxn>
              <a:cxn ang="0">
                <a:pos x="25" y="145"/>
              </a:cxn>
              <a:cxn ang="0">
                <a:pos x="23" y="134"/>
              </a:cxn>
              <a:cxn ang="0">
                <a:pos x="23" y="130"/>
              </a:cxn>
              <a:cxn ang="0">
                <a:pos x="27" y="118"/>
              </a:cxn>
              <a:cxn ang="0">
                <a:pos x="31" y="116"/>
              </a:cxn>
              <a:cxn ang="0">
                <a:pos x="33" y="105"/>
              </a:cxn>
              <a:cxn ang="0">
                <a:pos x="36" y="99"/>
              </a:cxn>
              <a:cxn ang="0">
                <a:pos x="43" y="90"/>
              </a:cxn>
              <a:cxn ang="0">
                <a:pos x="49" y="83"/>
              </a:cxn>
              <a:cxn ang="0">
                <a:pos x="69" y="76"/>
              </a:cxn>
              <a:cxn ang="0">
                <a:pos x="78" y="76"/>
              </a:cxn>
              <a:cxn ang="0">
                <a:pos x="80" y="72"/>
              </a:cxn>
              <a:cxn ang="0">
                <a:pos x="76" y="69"/>
              </a:cxn>
              <a:cxn ang="0">
                <a:pos x="73" y="68"/>
              </a:cxn>
              <a:cxn ang="0">
                <a:pos x="70" y="68"/>
              </a:cxn>
              <a:cxn ang="0">
                <a:pos x="70" y="63"/>
              </a:cxn>
              <a:cxn ang="0">
                <a:pos x="76" y="55"/>
              </a:cxn>
              <a:cxn ang="0">
                <a:pos x="78" y="50"/>
              </a:cxn>
              <a:cxn ang="0">
                <a:pos x="76" y="46"/>
              </a:cxn>
              <a:cxn ang="0">
                <a:pos x="66" y="39"/>
              </a:cxn>
              <a:cxn ang="0">
                <a:pos x="64" y="39"/>
              </a:cxn>
              <a:cxn ang="0">
                <a:pos x="60" y="43"/>
              </a:cxn>
              <a:cxn ang="0">
                <a:pos x="56" y="39"/>
              </a:cxn>
              <a:cxn ang="0">
                <a:pos x="52" y="39"/>
              </a:cxn>
              <a:cxn ang="0">
                <a:pos x="49" y="41"/>
              </a:cxn>
              <a:cxn ang="0">
                <a:pos x="48" y="43"/>
              </a:cxn>
              <a:cxn ang="0">
                <a:pos x="45" y="44"/>
              </a:cxn>
              <a:cxn ang="0">
                <a:pos x="41" y="43"/>
              </a:cxn>
              <a:cxn ang="0">
                <a:pos x="36" y="43"/>
              </a:cxn>
              <a:cxn ang="0">
                <a:pos x="32" y="41"/>
              </a:cxn>
              <a:cxn ang="0">
                <a:pos x="31" y="32"/>
              </a:cxn>
              <a:cxn ang="0">
                <a:pos x="28" y="32"/>
              </a:cxn>
              <a:cxn ang="0">
                <a:pos x="25" y="30"/>
              </a:cxn>
              <a:cxn ang="0">
                <a:pos x="25" y="22"/>
              </a:cxn>
              <a:cxn ang="0">
                <a:pos x="23" y="19"/>
              </a:cxn>
              <a:cxn ang="0">
                <a:pos x="20" y="19"/>
              </a:cxn>
              <a:cxn ang="0">
                <a:pos x="17" y="17"/>
              </a:cxn>
              <a:cxn ang="0">
                <a:pos x="13" y="13"/>
              </a:cxn>
              <a:cxn ang="0">
                <a:pos x="11" y="6"/>
              </a:cxn>
              <a:cxn ang="0">
                <a:pos x="8" y="3"/>
              </a:cxn>
              <a:cxn ang="0">
                <a:pos x="4" y="2"/>
              </a:cxn>
              <a:cxn ang="0">
                <a:pos x="0" y="0"/>
              </a:cxn>
            </a:cxnLst>
            <a:rect l="0" t="0" r="r" b="b"/>
            <a:pathLst>
              <a:path w="80" h="152">
                <a:moveTo>
                  <a:pt x="29" y="152"/>
                </a:moveTo>
                <a:lnTo>
                  <a:pt x="29" y="149"/>
                </a:lnTo>
                <a:lnTo>
                  <a:pt x="27" y="146"/>
                </a:lnTo>
                <a:lnTo>
                  <a:pt x="25" y="145"/>
                </a:lnTo>
                <a:lnTo>
                  <a:pt x="25" y="141"/>
                </a:lnTo>
                <a:lnTo>
                  <a:pt x="23" y="134"/>
                </a:lnTo>
                <a:lnTo>
                  <a:pt x="23" y="132"/>
                </a:lnTo>
                <a:lnTo>
                  <a:pt x="23" y="130"/>
                </a:lnTo>
                <a:lnTo>
                  <a:pt x="25" y="124"/>
                </a:lnTo>
                <a:lnTo>
                  <a:pt x="27" y="118"/>
                </a:lnTo>
                <a:lnTo>
                  <a:pt x="28" y="116"/>
                </a:lnTo>
                <a:lnTo>
                  <a:pt x="31" y="116"/>
                </a:lnTo>
                <a:lnTo>
                  <a:pt x="33" y="115"/>
                </a:lnTo>
                <a:lnTo>
                  <a:pt x="33" y="105"/>
                </a:lnTo>
                <a:lnTo>
                  <a:pt x="33" y="104"/>
                </a:lnTo>
                <a:lnTo>
                  <a:pt x="36" y="99"/>
                </a:lnTo>
                <a:lnTo>
                  <a:pt x="39" y="94"/>
                </a:lnTo>
                <a:lnTo>
                  <a:pt x="43" y="90"/>
                </a:lnTo>
                <a:lnTo>
                  <a:pt x="45" y="87"/>
                </a:lnTo>
                <a:lnTo>
                  <a:pt x="49" y="83"/>
                </a:lnTo>
                <a:lnTo>
                  <a:pt x="55" y="80"/>
                </a:lnTo>
                <a:lnTo>
                  <a:pt x="69" y="76"/>
                </a:lnTo>
                <a:lnTo>
                  <a:pt x="72" y="74"/>
                </a:lnTo>
                <a:lnTo>
                  <a:pt x="78" y="76"/>
                </a:lnTo>
                <a:lnTo>
                  <a:pt x="80" y="74"/>
                </a:lnTo>
                <a:lnTo>
                  <a:pt x="80" y="72"/>
                </a:lnTo>
                <a:lnTo>
                  <a:pt x="78" y="72"/>
                </a:lnTo>
                <a:lnTo>
                  <a:pt x="76" y="69"/>
                </a:lnTo>
                <a:lnTo>
                  <a:pt x="74" y="68"/>
                </a:lnTo>
                <a:lnTo>
                  <a:pt x="73" y="68"/>
                </a:lnTo>
                <a:lnTo>
                  <a:pt x="72" y="68"/>
                </a:lnTo>
                <a:lnTo>
                  <a:pt x="70" y="68"/>
                </a:lnTo>
                <a:lnTo>
                  <a:pt x="70" y="66"/>
                </a:lnTo>
                <a:lnTo>
                  <a:pt x="70" y="63"/>
                </a:lnTo>
                <a:lnTo>
                  <a:pt x="72" y="60"/>
                </a:lnTo>
                <a:lnTo>
                  <a:pt x="76" y="55"/>
                </a:lnTo>
                <a:lnTo>
                  <a:pt x="77" y="54"/>
                </a:lnTo>
                <a:lnTo>
                  <a:pt x="78" y="50"/>
                </a:lnTo>
                <a:lnTo>
                  <a:pt x="78" y="49"/>
                </a:lnTo>
                <a:lnTo>
                  <a:pt x="76" y="46"/>
                </a:lnTo>
                <a:lnTo>
                  <a:pt x="70" y="43"/>
                </a:lnTo>
                <a:lnTo>
                  <a:pt x="66" y="39"/>
                </a:lnTo>
                <a:lnTo>
                  <a:pt x="65" y="39"/>
                </a:lnTo>
                <a:lnTo>
                  <a:pt x="64" y="39"/>
                </a:lnTo>
                <a:lnTo>
                  <a:pt x="61" y="41"/>
                </a:lnTo>
                <a:lnTo>
                  <a:pt x="60" y="43"/>
                </a:lnTo>
                <a:lnTo>
                  <a:pt x="57" y="41"/>
                </a:lnTo>
                <a:lnTo>
                  <a:pt x="56" y="39"/>
                </a:lnTo>
                <a:lnTo>
                  <a:pt x="53" y="39"/>
                </a:lnTo>
                <a:lnTo>
                  <a:pt x="52" y="39"/>
                </a:lnTo>
                <a:lnTo>
                  <a:pt x="51" y="39"/>
                </a:lnTo>
                <a:lnTo>
                  <a:pt x="49" y="41"/>
                </a:lnTo>
                <a:lnTo>
                  <a:pt x="48" y="41"/>
                </a:lnTo>
                <a:lnTo>
                  <a:pt x="48" y="43"/>
                </a:lnTo>
                <a:lnTo>
                  <a:pt x="47" y="44"/>
                </a:lnTo>
                <a:lnTo>
                  <a:pt x="45" y="44"/>
                </a:lnTo>
                <a:lnTo>
                  <a:pt x="44" y="44"/>
                </a:lnTo>
                <a:lnTo>
                  <a:pt x="41" y="43"/>
                </a:lnTo>
                <a:lnTo>
                  <a:pt x="37" y="43"/>
                </a:lnTo>
                <a:lnTo>
                  <a:pt x="36" y="43"/>
                </a:lnTo>
                <a:lnTo>
                  <a:pt x="33" y="43"/>
                </a:lnTo>
                <a:lnTo>
                  <a:pt x="32" y="41"/>
                </a:lnTo>
                <a:lnTo>
                  <a:pt x="31" y="39"/>
                </a:lnTo>
                <a:lnTo>
                  <a:pt x="31" y="32"/>
                </a:lnTo>
                <a:lnTo>
                  <a:pt x="29" y="32"/>
                </a:lnTo>
                <a:lnTo>
                  <a:pt x="28" y="32"/>
                </a:lnTo>
                <a:lnTo>
                  <a:pt x="27" y="30"/>
                </a:lnTo>
                <a:lnTo>
                  <a:pt x="25" y="30"/>
                </a:lnTo>
                <a:lnTo>
                  <a:pt x="25" y="27"/>
                </a:lnTo>
                <a:lnTo>
                  <a:pt x="25" y="22"/>
                </a:lnTo>
                <a:lnTo>
                  <a:pt x="24" y="21"/>
                </a:lnTo>
                <a:lnTo>
                  <a:pt x="23" y="19"/>
                </a:lnTo>
                <a:lnTo>
                  <a:pt x="21" y="19"/>
                </a:lnTo>
                <a:lnTo>
                  <a:pt x="20" y="19"/>
                </a:lnTo>
                <a:lnTo>
                  <a:pt x="17" y="19"/>
                </a:lnTo>
                <a:lnTo>
                  <a:pt x="17" y="17"/>
                </a:lnTo>
                <a:lnTo>
                  <a:pt x="16" y="16"/>
                </a:lnTo>
                <a:lnTo>
                  <a:pt x="13" y="13"/>
                </a:lnTo>
                <a:lnTo>
                  <a:pt x="13" y="8"/>
                </a:lnTo>
                <a:lnTo>
                  <a:pt x="11" y="6"/>
                </a:lnTo>
                <a:lnTo>
                  <a:pt x="9" y="6"/>
                </a:lnTo>
                <a:lnTo>
                  <a:pt x="8" y="3"/>
                </a:lnTo>
                <a:lnTo>
                  <a:pt x="7" y="2"/>
                </a:lnTo>
                <a:lnTo>
                  <a:pt x="4" y="2"/>
                </a:lnTo>
                <a:lnTo>
                  <a:pt x="1" y="0"/>
                </a:lnTo>
                <a:lnTo>
                  <a:pt x="0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7" name="Freeform 24"/>
          <p:cNvSpPr>
            <a:spLocks/>
          </p:cNvSpPr>
          <p:nvPr/>
        </p:nvSpPr>
        <p:spPr bwMode="auto">
          <a:xfrm>
            <a:off x="3563859" y="5113104"/>
            <a:ext cx="567105" cy="1080246"/>
          </a:xfrm>
          <a:custGeom>
            <a:avLst/>
            <a:gdLst/>
            <a:ahLst/>
            <a:cxnLst>
              <a:cxn ang="0">
                <a:pos x="41" y="539"/>
              </a:cxn>
              <a:cxn ang="0">
                <a:pos x="16" y="522"/>
              </a:cxn>
              <a:cxn ang="0">
                <a:pos x="3" y="517"/>
              </a:cxn>
              <a:cxn ang="0">
                <a:pos x="4" y="492"/>
              </a:cxn>
              <a:cxn ang="0">
                <a:pos x="15" y="468"/>
              </a:cxn>
              <a:cxn ang="0">
                <a:pos x="22" y="450"/>
              </a:cxn>
              <a:cxn ang="0">
                <a:pos x="26" y="421"/>
              </a:cxn>
              <a:cxn ang="0">
                <a:pos x="27" y="410"/>
              </a:cxn>
              <a:cxn ang="0">
                <a:pos x="24" y="395"/>
              </a:cxn>
              <a:cxn ang="0">
                <a:pos x="20" y="365"/>
              </a:cxn>
              <a:cxn ang="0">
                <a:pos x="24" y="330"/>
              </a:cxn>
              <a:cxn ang="0">
                <a:pos x="35" y="299"/>
              </a:cxn>
              <a:cxn ang="0">
                <a:pos x="37" y="260"/>
              </a:cxn>
              <a:cxn ang="0">
                <a:pos x="45" y="238"/>
              </a:cxn>
              <a:cxn ang="0">
                <a:pos x="51" y="205"/>
              </a:cxn>
              <a:cxn ang="0">
                <a:pos x="43" y="168"/>
              </a:cxn>
              <a:cxn ang="0">
                <a:pos x="52" y="145"/>
              </a:cxn>
              <a:cxn ang="0">
                <a:pos x="64" y="106"/>
              </a:cxn>
              <a:cxn ang="0">
                <a:pos x="73" y="82"/>
              </a:cxn>
              <a:cxn ang="0">
                <a:pos x="73" y="52"/>
              </a:cxn>
              <a:cxn ang="0">
                <a:pos x="93" y="19"/>
              </a:cxn>
              <a:cxn ang="0">
                <a:pos x="104" y="5"/>
              </a:cxn>
              <a:cxn ang="0">
                <a:pos x="124" y="7"/>
              </a:cxn>
              <a:cxn ang="0">
                <a:pos x="139" y="5"/>
              </a:cxn>
              <a:cxn ang="0">
                <a:pos x="160" y="10"/>
              </a:cxn>
              <a:cxn ang="0">
                <a:pos x="185" y="33"/>
              </a:cxn>
              <a:cxn ang="0">
                <a:pos x="208" y="44"/>
              </a:cxn>
              <a:cxn ang="0">
                <a:pos x="234" y="63"/>
              </a:cxn>
              <a:cxn ang="0">
                <a:pos x="225" y="93"/>
              </a:cxn>
              <a:cxn ang="0">
                <a:pos x="253" y="101"/>
              </a:cxn>
              <a:cxn ang="0">
                <a:pos x="267" y="96"/>
              </a:cxn>
              <a:cxn ang="0">
                <a:pos x="282" y="76"/>
              </a:cxn>
              <a:cxn ang="0">
                <a:pos x="295" y="93"/>
              </a:cxn>
              <a:cxn ang="0">
                <a:pos x="275" y="109"/>
              </a:cxn>
              <a:cxn ang="0">
                <a:pos x="242" y="145"/>
              </a:cxn>
              <a:cxn ang="0">
                <a:pos x="233" y="168"/>
              </a:cxn>
              <a:cxn ang="0">
                <a:pos x="225" y="206"/>
              </a:cxn>
              <a:cxn ang="0">
                <a:pos x="234" y="234"/>
              </a:cxn>
              <a:cxn ang="0">
                <a:pos x="250" y="260"/>
              </a:cxn>
              <a:cxn ang="0">
                <a:pos x="234" y="294"/>
              </a:cxn>
              <a:cxn ang="0">
                <a:pos x="194" y="305"/>
              </a:cxn>
              <a:cxn ang="0">
                <a:pos x="169" y="315"/>
              </a:cxn>
              <a:cxn ang="0">
                <a:pos x="166" y="338"/>
              </a:cxn>
              <a:cxn ang="0">
                <a:pos x="133" y="340"/>
              </a:cxn>
              <a:cxn ang="0">
                <a:pos x="129" y="363"/>
              </a:cxn>
              <a:cxn ang="0">
                <a:pos x="144" y="362"/>
              </a:cxn>
              <a:cxn ang="0">
                <a:pos x="137" y="371"/>
              </a:cxn>
              <a:cxn ang="0">
                <a:pos x="131" y="376"/>
              </a:cxn>
              <a:cxn ang="0">
                <a:pos x="123" y="388"/>
              </a:cxn>
              <a:cxn ang="0">
                <a:pos x="117" y="409"/>
              </a:cxn>
              <a:cxn ang="0">
                <a:pos x="99" y="418"/>
              </a:cxn>
              <a:cxn ang="0">
                <a:pos x="91" y="442"/>
              </a:cxn>
              <a:cxn ang="0">
                <a:pos x="116" y="459"/>
              </a:cxn>
              <a:cxn ang="0">
                <a:pos x="108" y="470"/>
              </a:cxn>
              <a:cxn ang="0">
                <a:pos x="87" y="490"/>
              </a:cxn>
              <a:cxn ang="0">
                <a:pos x="71" y="503"/>
              </a:cxn>
              <a:cxn ang="0">
                <a:pos x="63" y="520"/>
              </a:cxn>
              <a:cxn ang="0">
                <a:pos x="65" y="533"/>
              </a:cxn>
            </a:cxnLst>
            <a:rect l="0" t="0" r="r" b="b"/>
            <a:pathLst>
              <a:path w="297" h="544">
                <a:moveTo>
                  <a:pt x="75" y="544"/>
                </a:moveTo>
                <a:lnTo>
                  <a:pt x="73" y="544"/>
                </a:lnTo>
                <a:lnTo>
                  <a:pt x="69" y="542"/>
                </a:lnTo>
                <a:lnTo>
                  <a:pt x="61" y="541"/>
                </a:lnTo>
                <a:lnTo>
                  <a:pt x="55" y="539"/>
                </a:lnTo>
                <a:lnTo>
                  <a:pt x="51" y="539"/>
                </a:lnTo>
                <a:lnTo>
                  <a:pt x="47" y="539"/>
                </a:lnTo>
                <a:lnTo>
                  <a:pt x="41" y="539"/>
                </a:lnTo>
                <a:lnTo>
                  <a:pt x="40" y="539"/>
                </a:lnTo>
                <a:lnTo>
                  <a:pt x="39" y="539"/>
                </a:lnTo>
                <a:lnTo>
                  <a:pt x="23" y="539"/>
                </a:lnTo>
                <a:lnTo>
                  <a:pt x="19" y="537"/>
                </a:lnTo>
                <a:lnTo>
                  <a:pt x="18" y="536"/>
                </a:lnTo>
                <a:lnTo>
                  <a:pt x="16" y="534"/>
                </a:lnTo>
                <a:lnTo>
                  <a:pt x="16" y="533"/>
                </a:lnTo>
                <a:lnTo>
                  <a:pt x="16" y="522"/>
                </a:lnTo>
                <a:lnTo>
                  <a:pt x="16" y="519"/>
                </a:lnTo>
                <a:lnTo>
                  <a:pt x="15" y="514"/>
                </a:lnTo>
                <a:lnTo>
                  <a:pt x="14" y="514"/>
                </a:lnTo>
                <a:lnTo>
                  <a:pt x="12" y="516"/>
                </a:lnTo>
                <a:lnTo>
                  <a:pt x="7" y="514"/>
                </a:lnTo>
                <a:lnTo>
                  <a:pt x="4" y="516"/>
                </a:lnTo>
                <a:lnTo>
                  <a:pt x="4" y="517"/>
                </a:lnTo>
                <a:lnTo>
                  <a:pt x="3" y="517"/>
                </a:lnTo>
                <a:lnTo>
                  <a:pt x="2" y="517"/>
                </a:lnTo>
                <a:lnTo>
                  <a:pt x="0" y="516"/>
                </a:lnTo>
                <a:lnTo>
                  <a:pt x="0" y="512"/>
                </a:lnTo>
                <a:lnTo>
                  <a:pt x="0" y="506"/>
                </a:lnTo>
                <a:lnTo>
                  <a:pt x="0" y="505"/>
                </a:lnTo>
                <a:lnTo>
                  <a:pt x="0" y="501"/>
                </a:lnTo>
                <a:lnTo>
                  <a:pt x="2" y="495"/>
                </a:lnTo>
                <a:lnTo>
                  <a:pt x="4" y="492"/>
                </a:lnTo>
                <a:lnTo>
                  <a:pt x="8" y="486"/>
                </a:lnTo>
                <a:lnTo>
                  <a:pt x="11" y="483"/>
                </a:lnTo>
                <a:lnTo>
                  <a:pt x="12" y="481"/>
                </a:lnTo>
                <a:lnTo>
                  <a:pt x="14" y="479"/>
                </a:lnTo>
                <a:lnTo>
                  <a:pt x="14" y="475"/>
                </a:lnTo>
                <a:lnTo>
                  <a:pt x="15" y="473"/>
                </a:lnTo>
                <a:lnTo>
                  <a:pt x="15" y="472"/>
                </a:lnTo>
                <a:lnTo>
                  <a:pt x="15" y="468"/>
                </a:lnTo>
                <a:lnTo>
                  <a:pt x="14" y="467"/>
                </a:lnTo>
                <a:lnTo>
                  <a:pt x="14" y="465"/>
                </a:lnTo>
                <a:lnTo>
                  <a:pt x="14" y="462"/>
                </a:lnTo>
                <a:lnTo>
                  <a:pt x="15" y="461"/>
                </a:lnTo>
                <a:lnTo>
                  <a:pt x="15" y="459"/>
                </a:lnTo>
                <a:lnTo>
                  <a:pt x="19" y="456"/>
                </a:lnTo>
                <a:lnTo>
                  <a:pt x="22" y="451"/>
                </a:lnTo>
                <a:lnTo>
                  <a:pt x="22" y="450"/>
                </a:lnTo>
                <a:lnTo>
                  <a:pt x="24" y="446"/>
                </a:lnTo>
                <a:lnTo>
                  <a:pt x="26" y="443"/>
                </a:lnTo>
                <a:lnTo>
                  <a:pt x="26" y="434"/>
                </a:lnTo>
                <a:lnTo>
                  <a:pt x="26" y="432"/>
                </a:lnTo>
                <a:lnTo>
                  <a:pt x="26" y="431"/>
                </a:lnTo>
                <a:lnTo>
                  <a:pt x="26" y="429"/>
                </a:lnTo>
                <a:lnTo>
                  <a:pt x="26" y="423"/>
                </a:lnTo>
                <a:lnTo>
                  <a:pt x="26" y="421"/>
                </a:lnTo>
                <a:lnTo>
                  <a:pt x="27" y="420"/>
                </a:lnTo>
                <a:lnTo>
                  <a:pt x="28" y="418"/>
                </a:lnTo>
                <a:lnTo>
                  <a:pt x="28" y="417"/>
                </a:lnTo>
                <a:lnTo>
                  <a:pt x="26" y="413"/>
                </a:lnTo>
                <a:lnTo>
                  <a:pt x="22" y="412"/>
                </a:lnTo>
                <a:lnTo>
                  <a:pt x="22" y="410"/>
                </a:lnTo>
                <a:lnTo>
                  <a:pt x="22" y="409"/>
                </a:lnTo>
                <a:lnTo>
                  <a:pt x="27" y="410"/>
                </a:lnTo>
                <a:lnTo>
                  <a:pt x="29" y="409"/>
                </a:lnTo>
                <a:lnTo>
                  <a:pt x="31" y="407"/>
                </a:lnTo>
                <a:lnTo>
                  <a:pt x="31" y="406"/>
                </a:lnTo>
                <a:lnTo>
                  <a:pt x="28" y="404"/>
                </a:lnTo>
                <a:lnTo>
                  <a:pt x="24" y="402"/>
                </a:lnTo>
                <a:lnTo>
                  <a:pt x="23" y="402"/>
                </a:lnTo>
                <a:lnTo>
                  <a:pt x="23" y="401"/>
                </a:lnTo>
                <a:lnTo>
                  <a:pt x="24" y="395"/>
                </a:lnTo>
                <a:lnTo>
                  <a:pt x="23" y="391"/>
                </a:lnTo>
                <a:lnTo>
                  <a:pt x="22" y="388"/>
                </a:lnTo>
                <a:lnTo>
                  <a:pt x="22" y="387"/>
                </a:lnTo>
                <a:lnTo>
                  <a:pt x="22" y="380"/>
                </a:lnTo>
                <a:lnTo>
                  <a:pt x="20" y="379"/>
                </a:lnTo>
                <a:lnTo>
                  <a:pt x="19" y="377"/>
                </a:lnTo>
                <a:lnTo>
                  <a:pt x="19" y="369"/>
                </a:lnTo>
                <a:lnTo>
                  <a:pt x="20" y="365"/>
                </a:lnTo>
                <a:lnTo>
                  <a:pt x="24" y="360"/>
                </a:lnTo>
                <a:lnTo>
                  <a:pt x="24" y="358"/>
                </a:lnTo>
                <a:lnTo>
                  <a:pt x="24" y="355"/>
                </a:lnTo>
                <a:lnTo>
                  <a:pt x="24" y="354"/>
                </a:lnTo>
                <a:lnTo>
                  <a:pt x="22" y="352"/>
                </a:lnTo>
                <a:lnTo>
                  <a:pt x="22" y="347"/>
                </a:lnTo>
                <a:lnTo>
                  <a:pt x="22" y="341"/>
                </a:lnTo>
                <a:lnTo>
                  <a:pt x="24" y="330"/>
                </a:lnTo>
                <a:lnTo>
                  <a:pt x="24" y="327"/>
                </a:lnTo>
                <a:lnTo>
                  <a:pt x="24" y="325"/>
                </a:lnTo>
                <a:lnTo>
                  <a:pt x="28" y="310"/>
                </a:lnTo>
                <a:lnTo>
                  <a:pt x="29" y="307"/>
                </a:lnTo>
                <a:lnTo>
                  <a:pt x="31" y="305"/>
                </a:lnTo>
                <a:lnTo>
                  <a:pt x="31" y="304"/>
                </a:lnTo>
                <a:lnTo>
                  <a:pt x="33" y="302"/>
                </a:lnTo>
                <a:lnTo>
                  <a:pt x="35" y="299"/>
                </a:lnTo>
                <a:lnTo>
                  <a:pt x="35" y="296"/>
                </a:lnTo>
                <a:lnTo>
                  <a:pt x="33" y="293"/>
                </a:lnTo>
                <a:lnTo>
                  <a:pt x="32" y="286"/>
                </a:lnTo>
                <a:lnTo>
                  <a:pt x="32" y="277"/>
                </a:lnTo>
                <a:lnTo>
                  <a:pt x="33" y="266"/>
                </a:lnTo>
                <a:lnTo>
                  <a:pt x="35" y="263"/>
                </a:lnTo>
                <a:lnTo>
                  <a:pt x="36" y="260"/>
                </a:lnTo>
                <a:lnTo>
                  <a:pt x="37" y="260"/>
                </a:lnTo>
                <a:lnTo>
                  <a:pt x="39" y="260"/>
                </a:lnTo>
                <a:lnTo>
                  <a:pt x="40" y="260"/>
                </a:lnTo>
                <a:lnTo>
                  <a:pt x="40" y="256"/>
                </a:lnTo>
                <a:lnTo>
                  <a:pt x="43" y="255"/>
                </a:lnTo>
                <a:lnTo>
                  <a:pt x="43" y="253"/>
                </a:lnTo>
                <a:lnTo>
                  <a:pt x="43" y="249"/>
                </a:lnTo>
                <a:lnTo>
                  <a:pt x="43" y="241"/>
                </a:lnTo>
                <a:lnTo>
                  <a:pt x="45" y="238"/>
                </a:lnTo>
                <a:lnTo>
                  <a:pt x="47" y="231"/>
                </a:lnTo>
                <a:lnTo>
                  <a:pt x="47" y="228"/>
                </a:lnTo>
                <a:lnTo>
                  <a:pt x="49" y="225"/>
                </a:lnTo>
                <a:lnTo>
                  <a:pt x="52" y="220"/>
                </a:lnTo>
                <a:lnTo>
                  <a:pt x="52" y="216"/>
                </a:lnTo>
                <a:lnTo>
                  <a:pt x="52" y="211"/>
                </a:lnTo>
                <a:lnTo>
                  <a:pt x="51" y="206"/>
                </a:lnTo>
                <a:lnTo>
                  <a:pt x="51" y="205"/>
                </a:lnTo>
                <a:lnTo>
                  <a:pt x="48" y="203"/>
                </a:lnTo>
                <a:lnTo>
                  <a:pt x="48" y="200"/>
                </a:lnTo>
                <a:lnTo>
                  <a:pt x="48" y="197"/>
                </a:lnTo>
                <a:lnTo>
                  <a:pt x="45" y="187"/>
                </a:lnTo>
                <a:lnTo>
                  <a:pt x="45" y="179"/>
                </a:lnTo>
                <a:lnTo>
                  <a:pt x="43" y="176"/>
                </a:lnTo>
                <a:lnTo>
                  <a:pt x="43" y="173"/>
                </a:lnTo>
                <a:lnTo>
                  <a:pt x="43" y="168"/>
                </a:lnTo>
                <a:lnTo>
                  <a:pt x="44" y="165"/>
                </a:lnTo>
                <a:lnTo>
                  <a:pt x="47" y="161"/>
                </a:lnTo>
                <a:lnTo>
                  <a:pt x="47" y="157"/>
                </a:lnTo>
                <a:lnTo>
                  <a:pt x="49" y="154"/>
                </a:lnTo>
                <a:lnTo>
                  <a:pt x="49" y="153"/>
                </a:lnTo>
                <a:lnTo>
                  <a:pt x="51" y="151"/>
                </a:lnTo>
                <a:lnTo>
                  <a:pt x="52" y="148"/>
                </a:lnTo>
                <a:lnTo>
                  <a:pt x="52" y="145"/>
                </a:lnTo>
                <a:lnTo>
                  <a:pt x="51" y="142"/>
                </a:lnTo>
                <a:lnTo>
                  <a:pt x="52" y="135"/>
                </a:lnTo>
                <a:lnTo>
                  <a:pt x="52" y="132"/>
                </a:lnTo>
                <a:lnTo>
                  <a:pt x="53" y="129"/>
                </a:lnTo>
                <a:lnTo>
                  <a:pt x="55" y="126"/>
                </a:lnTo>
                <a:lnTo>
                  <a:pt x="56" y="120"/>
                </a:lnTo>
                <a:lnTo>
                  <a:pt x="57" y="114"/>
                </a:lnTo>
                <a:lnTo>
                  <a:pt x="64" y="106"/>
                </a:lnTo>
                <a:lnTo>
                  <a:pt x="67" y="98"/>
                </a:lnTo>
                <a:lnTo>
                  <a:pt x="67" y="96"/>
                </a:lnTo>
                <a:lnTo>
                  <a:pt x="71" y="93"/>
                </a:lnTo>
                <a:lnTo>
                  <a:pt x="73" y="92"/>
                </a:lnTo>
                <a:lnTo>
                  <a:pt x="75" y="92"/>
                </a:lnTo>
                <a:lnTo>
                  <a:pt x="76" y="90"/>
                </a:lnTo>
                <a:lnTo>
                  <a:pt x="75" y="85"/>
                </a:lnTo>
                <a:lnTo>
                  <a:pt x="73" y="82"/>
                </a:lnTo>
                <a:lnTo>
                  <a:pt x="73" y="77"/>
                </a:lnTo>
                <a:lnTo>
                  <a:pt x="73" y="71"/>
                </a:lnTo>
                <a:lnTo>
                  <a:pt x="72" y="66"/>
                </a:lnTo>
                <a:lnTo>
                  <a:pt x="72" y="62"/>
                </a:lnTo>
                <a:lnTo>
                  <a:pt x="72" y="60"/>
                </a:lnTo>
                <a:lnTo>
                  <a:pt x="73" y="59"/>
                </a:lnTo>
                <a:lnTo>
                  <a:pt x="73" y="55"/>
                </a:lnTo>
                <a:lnTo>
                  <a:pt x="73" y="52"/>
                </a:lnTo>
                <a:lnTo>
                  <a:pt x="73" y="51"/>
                </a:lnTo>
                <a:lnTo>
                  <a:pt x="73" y="49"/>
                </a:lnTo>
                <a:lnTo>
                  <a:pt x="87" y="43"/>
                </a:lnTo>
                <a:lnTo>
                  <a:pt x="92" y="40"/>
                </a:lnTo>
                <a:lnTo>
                  <a:pt x="95" y="26"/>
                </a:lnTo>
                <a:lnTo>
                  <a:pt x="95" y="22"/>
                </a:lnTo>
                <a:lnTo>
                  <a:pt x="93" y="21"/>
                </a:lnTo>
                <a:lnTo>
                  <a:pt x="93" y="19"/>
                </a:lnTo>
                <a:lnTo>
                  <a:pt x="92" y="19"/>
                </a:lnTo>
                <a:lnTo>
                  <a:pt x="93" y="19"/>
                </a:lnTo>
                <a:lnTo>
                  <a:pt x="95" y="18"/>
                </a:lnTo>
                <a:lnTo>
                  <a:pt x="96" y="15"/>
                </a:lnTo>
                <a:lnTo>
                  <a:pt x="96" y="13"/>
                </a:lnTo>
                <a:lnTo>
                  <a:pt x="99" y="11"/>
                </a:lnTo>
                <a:lnTo>
                  <a:pt x="100" y="8"/>
                </a:lnTo>
                <a:lnTo>
                  <a:pt x="104" y="5"/>
                </a:lnTo>
                <a:lnTo>
                  <a:pt x="107" y="0"/>
                </a:lnTo>
                <a:lnTo>
                  <a:pt x="108" y="0"/>
                </a:lnTo>
                <a:lnTo>
                  <a:pt x="109" y="0"/>
                </a:lnTo>
                <a:lnTo>
                  <a:pt x="111" y="2"/>
                </a:lnTo>
                <a:lnTo>
                  <a:pt x="113" y="5"/>
                </a:lnTo>
                <a:lnTo>
                  <a:pt x="120" y="5"/>
                </a:lnTo>
                <a:lnTo>
                  <a:pt x="123" y="7"/>
                </a:lnTo>
                <a:lnTo>
                  <a:pt x="124" y="7"/>
                </a:lnTo>
                <a:lnTo>
                  <a:pt x="129" y="8"/>
                </a:lnTo>
                <a:lnTo>
                  <a:pt x="131" y="8"/>
                </a:lnTo>
                <a:lnTo>
                  <a:pt x="132" y="11"/>
                </a:lnTo>
                <a:lnTo>
                  <a:pt x="133" y="13"/>
                </a:lnTo>
                <a:lnTo>
                  <a:pt x="136" y="16"/>
                </a:lnTo>
                <a:lnTo>
                  <a:pt x="137" y="15"/>
                </a:lnTo>
                <a:lnTo>
                  <a:pt x="139" y="11"/>
                </a:lnTo>
                <a:lnTo>
                  <a:pt x="139" y="5"/>
                </a:lnTo>
                <a:lnTo>
                  <a:pt x="140" y="4"/>
                </a:lnTo>
                <a:lnTo>
                  <a:pt x="141" y="4"/>
                </a:lnTo>
                <a:lnTo>
                  <a:pt x="146" y="5"/>
                </a:lnTo>
                <a:lnTo>
                  <a:pt x="152" y="5"/>
                </a:lnTo>
                <a:lnTo>
                  <a:pt x="154" y="5"/>
                </a:lnTo>
                <a:lnTo>
                  <a:pt x="157" y="7"/>
                </a:lnTo>
                <a:lnTo>
                  <a:pt x="158" y="8"/>
                </a:lnTo>
                <a:lnTo>
                  <a:pt x="160" y="10"/>
                </a:lnTo>
                <a:lnTo>
                  <a:pt x="165" y="11"/>
                </a:lnTo>
                <a:lnTo>
                  <a:pt x="166" y="13"/>
                </a:lnTo>
                <a:lnTo>
                  <a:pt x="169" y="19"/>
                </a:lnTo>
                <a:lnTo>
                  <a:pt x="173" y="22"/>
                </a:lnTo>
                <a:lnTo>
                  <a:pt x="174" y="24"/>
                </a:lnTo>
                <a:lnTo>
                  <a:pt x="181" y="30"/>
                </a:lnTo>
                <a:lnTo>
                  <a:pt x="184" y="32"/>
                </a:lnTo>
                <a:lnTo>
                  <a:pt x="185" y="33"/>
                </a:lnTo>
                <a:lnTo>
                  <a:pt x="188" y="38"/>
                </a:lnTo>
                <a:lnTo>
                  <a:pt x="189" y="38"/>
                </a:lnTo>
                <a:lnTo>
                  <a:pt x="189" y="40"/>
                </a:lnTo>
                <a:lnTo>
                  <a:pt x="193" y="41"/>
                </a:lnTo>
                <a:lnTo>
                  <a:pt x="196" y="41"/>
                </a:lnTo>
                <a:lnTo>
                  <a:pt x="202" y="41"/>
                </a:lnTo>
                <a:lnTo>
                  <a:pt x="206" y="43"/>
                </a:lnTo>
                <a:lnTo>
                  <a:pt x="208" y="44"/>
                </a:lnTo>
                <a:lnTo>
                  <a:pt x="214" y="49"/>
                </a:lnTo>
                <a:lnTo>
                  <a:pt x="220" y="51"/>
                </a:lnTo>
                <a:lnTo>
                  <a:pt x="224" y="54"/>
                </a:lnTo>
                <a:lnTo>
                  <a:pt x="226" y="57"/>
                </a:lnTo>
                <a:lnTo>
                  <a:pt x="230" y="59"/>
                </a:lnTo>
                <a:lnTo>
                  <a:pt x="232" y="60"/>
                </a:lnTo>
                <a:lnTo>
                  <a:pt x="233" y="63"/>
                </a:lnTo>
                <a:lnTo>
                  <a:pt x="234" y="63"/>
                </a:lnTo>
                <a:lnTo>
                  <a:pt x="234" y="65"/>
                </a:lnTo>
                <a:lnTo>
                  <a:pt x="236" y="66"/>
                </a:lnTo>
                <a:lnTo>
                  <a:pt x="236" y="70"/>
                </a:lnTo>
                <a:lnTo>
                  <a:pt x="233" y="74"/>
                </a:lnTo>
                <a:lnTo>
                  <a:pt x="229" y="81"/>
                </a:lnTo>
                <a:lnTo>
                  <a:pt x="226" y="87"/>
                </a:lnTo>
                <a:lnTo>
                  <a:pt x="225" y="90"/>
                </a:lnTo>
                <a:lnTo>
                  <a:pt x="225" y="93"/>
                </a:lnTo>
                <a:lnTo>
                  <a:pt x="225" y="95"/>
                </a:lnTo>
                <a:lnTo>
                  <a:pt x="232" y="95"/>
                </a:lnTo>
                <a:lnTo>
                  <a:pt x="240" y="96"/>
                </a:lnTo>
                <a:lnTo>
                  <a:pt x="241" y="98"/>
                </a:lnTo>
                <a:lnTo>
                  <a:pt x="246" y="101"/>
                </a:lnTo>
                <a:lnTo>
                  <a:pt x="249" y="101"/>
                </a:lnTo>
                <a:lnTo>
                  <a:pt x="252" y="101"/>
                </a:lnTo>
                <a:lnTo>
                  <a:pt x="253" y="101"/>
                </a:lnTo>
                <a:lnTo>
                  <a:pt x="255" y="101"/>
                </a:lnTo>
                <a:lnTo>
                  <a:pt x="257" y="101"/>
                </a:lnTo>
                <a:lnTo>
                  <a:pt x="258" y="99"/>
                </a:lnTo>
                <a:lnTo>
                  <a:pt x="261" y="99"/>
                </a:lnTo>
                <a:lnTo>
                  <a:pt x="263" y="99"/>
                </a:lnTo>
                <a:lnTo>
                  <a:pt x="266" y="98"/>
                </a:lnTo>
                <a:lnTo>
                  <a:pt x="267" y="98"/>
                </a:lnTo>
                <a:lnTo>
                  <a:pt x="267" y="96"/>
                </a:lnTo>
                <a:lnTo>
                  <a:pt x="271" y="93"/>
                </a:lnTo>
                <a:lnTo>
                  <a:pt x="273" y="93"/>
                </a:lnTo>
                <a:lnTo>
                  <a:pt x="273" y="92"/>
                </a:lnTo>
                <a:lnTo>
                  <a:pt x="277" y="88"/>
                </a:lnTo>
                <a:lnTo>
                  <a:pt x="279" y="87"/>
                </a:lnTo>
                <a:lnTo>
                  <a:pt x="281" y="84"/>
                </a:lnTo>
                <a:lnTo>
                  <a:pt x="282" y="81"/>
                </a:lnTo>
                <a:lnTo>
                  <a:pt x="282" y="76"/>
                </a:lnTo>
                <a:lnTo>
                  <a:pt x="283" y="68"/>
                </a:lnTo>
                <a:lnTo>
                  <a:pt x="286" y="68"/>
                </a:lnTo>
                <a:lnTo>
                  <a:pt x="287" y="66"/>
                </a:lnTo>
                <a:lnTo>
                  <a:pt x="291" y="66"/>
                </a:lnTo>
                <a:lnTo>
                  <a:pt x="293" y="70"/>
                </a:lnTo>
                <a:lnTo>
                  <a:pt x="297" y="81"/>
                </a:lnTo>
                <a:lnTo>
                  <a:pt x="297" y="90"/>
                </a:lnTo>
                <a:lnTo>
                  <a:pt x="295" y="93"/>
                </a:lnTo>
                <a:lnTo>
                  <a:pt x="295" y="95"/>
                </a:lnTo>
                <a:lnTo>
                  <a:pt x="294" y="95"/>
                </a:lnTo>
                <a:lnTo>
                  <a:pt x="289" y="99"/>
                </a:lnTo>
                <a:lnTo>
                  <a:pt x="286" y="101"/>
                </a:lnTo>
                <a:lnTo>
                  <a:pt x="282" y="101"/>
                </a:lnTo>
                <a:lnTo>
                  <a:pt x="281" y="103"/>
                </a:lnTo>
                <a:lnTo>
                  <a:pt x="278" y="106"/>
                </a:lnTo>
                <a:lnTo>
                  <a:pt x="275" y="109"/>
                </a:lnTo>
                <a:lnTo>
                  <a:pt x="263" y="120"/>
                </a:lnTo>
                <a:lnTo>
                  <a:pt x="262" y="123"/>
                </a:lnTo>
                <a:lnTo>
                  <a:pt x="257" y="129"/>
                </a:lnTo>
                <a:lnTo>
                  <a:pt x="255" y="131"/>
                </a:lnTo>
                <a:lnTo>
                  <a:pt x="250" y="137"/>
                </a:lnTo>
                <a:lnTo>
                  <a:pt x="246" y="140"/>
                </a:lnTo>
                <a:lnTo>
                  <a:pt x="245" y="143"/>
                </a:lnTo>
                <a:lnTo>
                  <a:pt x="242" y="145"/>
                </a:lnTo>
                <a:lnTo>
                  <a:pt x="241" y="146"/>
                </a:lnTo>
                <a:lnTo>
                  <a:pt x="240" y="150"/>
                </a:lnTo>
                <a:lnTo>
                  <a:pt x="237" y="151"/>
                </a:lnTo>
                <a:lnTo>
                  <a:pt x="236" y="153"/>
                </a:lnTo>
                <a:lnTo>
                  <a:pt x="233" y="154"/>
                </a:lnTo>
                <a:lnTo>
                  <a:pt x="233" y="156"/>
                </a:lnTo>
                <a:lnTo>
                  <a:pt x="234" y="162"/>
                </a:lnTo>
                <a:lnTo>
                  <a:pt x="233" y="168"/>
                </a:lnTo>
                <a:lnTo>
                  <a:pt x="233" y="172"/>
                </a:lnTo>
                <a:lnTo>
                  <a:pt x="232" y="175"/>
                </a:lnTo>
                <a:lnTo>
                  <a:pt x="230" y="181"/>
                </a:lnTo>
                <a:lnTo>
                  <a:pt x="230" y="195"/>
                </a:lnTo>
                <a:lnTo>
                  <a:pt x="229" y="198"/>
                </a:lnTo>
                <a:lnTo>
                  <a:pt x="229" y="200"/>
                </a:lnTo>
                <a:lnTo>
                  <a:pt x="226" y="203"/>
                </a:lnTo>
                <a:lnTo>
                  <a:pt x="225" y="206"/>
                </a:lnTo>
                <a:lnTo>
                  <a:pt x="225" y="212"/>
                </a:lnTo>
                <a:lnTo>
                  <a:pt x="224" y="217"/>
                </a:lnTo>
                <a:lnTo>
                  <a:pt x="225" y="220"/>
                </a:lnTo>
                <a:lnTo>
                  <a:pt x="224" y="222"/>
                </a:lnTo>
                <a:lnTo>
                  <a:pt x="224" y="223"/>
                </a:lnTo>
                <a:lnTo>
                  <a:pt x="225" y="228"/>
                </a:lnTo>
                <a:lnTo>
                  <a:pt x="232" y="231"/>
                </a:lnTo>
                <a:lnTo>
                  <a:pt x="234" y="234"/>
                </a:lnTo>
                <a:lnTo>
                  <a:pt x="238" y="236"/>
                </a:lnTo>
                <a:lnTo>
                  <a:pt x="242" y="241"/>
                </a:lnTo>
                <a:lnTo>
                  <a:pt x="242" y="244"/>
                </a:lnTo>
                <a:lnTo>
                  <a:pt x="240" y="250"/>
                </a:lnTo>
                <a:lnTo>
                  <a:pt x="241" y="253"/>
                </a:lnTo>
                <a:lnTo>
                  <a:pt x="244" y="258"/>
                </a:lnTo>
                <a:lnTo>
                  <a:pt x="248" y="260"/>
                </a:lnTo>
                <a:lnTo>
                  <a:pt x="250" y="260"/>
                </a:lnTo>
                <a:lnTo>
                  <a:pt x="250" y="261"/>
                </a:lnTo>
                <a:lnTo>
                  <a:pt x="250" y="269"/>
                </a:lnTo>
                <a:lnTo>
                  <a:pt x="249" y="272"/>
                </a:lnTo>
                <a:lnTo>
                  <a:pt x="244" y="280"/>
                </a:lnTo>
                <a:lnTo>
                  <a:pt x="241" y="283"/>
                </a:lnTo>
                <a:lnTo>
                  <a:pt x="238" y="286"/>
                </a:lnTo>
                <a:lnTo>
                  <a:pt x="237" y="293"/>
                </a:lnTo>
                <a:lnTo>
                  <a:pt x="234" y="294"/>
                </a:lnTo>
                <a:lnTo>
                  <a:pt x="230" y="296"/>
                </a:lnTo>
                <a:lnTo>
                  <a:pt x="224" y="299"/>
                </a:lnTo>
                <a:lnTo>
                  <a:pt x="221" y="299"/>
                </a:lnTo>
                <a:lnTo>
                  <a:pt x="217" y="300"/>
                </a:lnTo>
                <a:lnTo>
                  <a:pt x="210" y="302"/>
                </a:lnTo>
                <a:lnTo>
                  <a:pt x="206" y="304"/>
                </a:lnTo>
                <a:lnTo>
                  <a:pt x="201" y="304"/>
                </a:lnTo>
                <a:lnTo>
                  <a:pt x="194" y="305"/>
                </a:lnTo>
                <a:lnTo>
                  <a:pt x="185" y="307"/>
                </a:lnTo>
                <a:lnTo>
                  <a:pt x="178" y="307"/>
                </a:lnTo>
                <a:lnTo>
                  <a:pt x="170" y="305"/>
                </a:lnTo>
                <a:lnTo>
                  <a:pt x="166" y="302"/>
                </a:lnTo>
                <a:lnTo>
                  <a:pt x="166" y="305"/>
                </a:lnTo>
                <a:lnTo>
                  <a:pt x="166" y="311"/>
                </a:lnTo>
                <a:lnTo>
                  <a:pt x="169" y="313"/>
                </a:lnTo>
                <a:lnTo>
                  <a:pt x="169" y="315"/>
                </a:lnTo>
                <a:lnTo>
                  <a:pt x="169" y="319"/>
                </a:lnTo>
                <a:lnTo>
                  <a:pt x="169" y="321"/>
                </a:lnTo>
                <a:lnTo>
                  <a:pt x="168" y="322"/>
                </a:lnTo>
                <a:lnTo>
                  <a:pt x="166" y="321"/>
                </a:lnTo>
                <a:lnTo>
                  <a:pt x="165" y="325"/>
                </a:lnTo>
                <a:lnTo>
                  <a:pt x="165" y="329"/>
                </a:lnTo>
                <a:lnTo>
                  <a:pt x="166" y="335"/>
                </a:lnTo>
                <a:lnTo>
                  <a:pt x="166" y="338"/>
                </a:lnTo>
                <a:lnTo>
                  <a:pt x="165" y="340"/>
                </a:lnTo>
                <a:lnTo>
                  <a:pt x="164" y="341"/>
                </a:lnTo>
                <a:lnTo>
                  <a:pt x="158" y="343"/>
                </a:lnTo>
                <a:lnTo>
                  <a:pt x="154" y="344"/>
                </a:lnTo>
                <a:lnTo>
                  <a:pt x="144" y="344"/>
                </a:lnTo>
                <a:lnTo>
                  <a:pt x="141" y="344"/>
                </a:lnTo>
                <a:lnTo>
                  <a:pt x="139" y="343"/>
                </a:lnTo>
                <a:lnTo>
                  <a:pt x="133" y="340"/>
                </a:lnTo>
                <a:lnTo>
                  <a:pt x="129" y="340"/>
                </a:lnTo>
                <a:lnTo>
                  <a:pt x="127" y="336"/>
                </a:lnTo>
                <a:lnTo>
                  <a:pt x="124" y="340"/>
                </a:lnTo>
                <a:lnTo>
                  <a:pt x="124" y="344"/>
                </a:lnTo>
                <a:lnTo>
                  <a:pt x="125" y="349"/>
                </a:lnTo>
                <a:lnTo>
                  <a:pt x="125" y="357"/>
                </a:lnTo>
                <a:lnTo>
                  <a:pt x="125" y="360"/>
                </a:lnTo>
                <a:lnTo>
                  <a:pt x="129" y="363"/>
                </a:lnTo>
                <a:lnTo>
                  <a:pt x="133" y="365"/>
                </a:lnTo>
                <a:lnTo>
                  <a:pt x="132" y="366"/>
                </a:lnTo>
                <a:lnTo>
                  <a:pt x="133" y="368"/>
                </a:lnTo>
                <a:lnTo>
                  <a:pt x="140" y="366"/>
                </a:lnTo>
                <a:lnTo>
                  <a:pt x="139" y="365"/>
                </a:lnTo>
                <a:lnTo>
                  <a:pt x="137" y="363"/>
                </a:lnTo>
                <a:lnTo>
                  <a:pt x="141" y="363"/>
                </a:lnTo>
                <a:lnTo>
                  <a:pt x="144" y="362"/>
                </a:lnTo>
                <a:lnTo>
                  <a:pt x="146" y="365"/>
                </a:lnTo>
                <a:lnTo>
                  <a:pt x="148" y="369"/>
                </a:lnTo>
                <a:lnTo>
                  <a:pt x="146" y="373"/>
                </a:lnTo>
                <a:lnTo>
                  <a:pt x="145" y="374"/>
                </a:lnTo>
                <a:lnTo>
                  <a:pt x="142" y="376"/>
                </a:lnTo>
                <a:lnTo>
                  <a:pt x="140" y="376"/>
                </a:lnTo>
                <a:lnTo>
                  <a:pt x="137" y="374"/>
                </a:lnTo>
                <a:lnTo>
                  <a:pt x="137" y="371"/>
                </a:lnTo>
                <a:lnTo>
                  <a:pt x="136" y="369"/>
                </a:lnTo>
                <a:lnTo>
                  <a:pt x="133" y="369"/>
                </a:lnTo>
                <a:lnTo>
                  <a:pt x="131" y="369"/>
                </a:lnTo>
                <a:lnTo>
                  <a:pt x="128" y="371"/>
                </a:lnTo>
                <a:lnTo>
                  <a:pt x="127" y="371"/>
                </a:lnTo>
                <a:lnTo>
                  <a:pt x="125" y="373"/>
                </a:lnTo>
                <a:lnTo>
                  <a:pt x="125" y="374"/>
                </a:lnTo>
                <a:lnTo>
                  <a:pt x="131" y="376"/>
                </a:lnTo>
                <a:lnTo>
                  <a:pt x="133" y="376"/>
                </a:lnTo>
                <a:lnTo>
                  <a:pt x="136" y="377"/>
                </a:lnTo>
                <a:lnTo>
                  <a:pt x="137" y="377"/>
                </a:lnTo>
                <a:lnTo>
                  <a:pt x="137" y="379"/>
                </a:lnTo>
                <a:lnTo>
                  <a:pt x="128" y="382"/>
                </a:lnTo>
                <a:lnTo>
                  <a:pt x="127" y="384"/>
                </a:lnTo>
                <a:lnTo>
                  <a:pt x="125" y="387"/>
                </a:lnTo>
                <a:lnTo>
                  <a:pt x="123" y="388"/>
                </a:lnTo>
                <a:lnTo>
                  <a:pt x="123" y="391"/>
                </a:lnTo>
                <a:lnTo>
                  <a:pt x="124" y="395"/>
                </a:lnTo>
                <a:lnTo>
                  <a:pt x="123" y="398"/>
                </a:lnTo>
                <a:lnTo>
                  <a:pt x="123" y="402"/>
                </a:lnTo>
                <a:lnTo>
                  <a:pt x="121" y="404"/>
                </a:lnTo>
                <a:lnTo>
                  <a:pt x="120" y="406"/>
                </a:lnTo>
                <a:lnTo>
                  <a:pt x="119" y="407"/>
                </a:lnTo>
                <a:lnTo>
                  <a:pt x="117" y="409"/>
                </a:lnTo>
                <a:lnTo>
                  <a:pt x="119" y="412"/>
                </a:lnTo>
                <a:lnTo>
                  <a:pt x="119" y="413"/>
                </a:lnTo>
                <a:lnTo>
                  <a:pt x="117" y="415"/>
                </a:lnTo>
                <a:lnTo>
                  <a:pt x="108" y="413"/>
                </a:lnTo>
                <a:lnTo>
                  <a:pt x="105" y="415"/>
                </a:lnTo>
                <a:lnTo>
                  <a:pt x="104" y="417"/>
                </a:lnTo>
                <a:lnTo>
                  <a:pt x="101" y="417"/>
                </a:lnTo>
                <a:lnTo>
                  <a:pt x="99" y="418"/>
                </a:lnTo>
                <a:lnTo>
                  <a:pt x="93" y="423"/>
                </a:lnTo>
                <a:lnTo>
                  <a:pt x="92" y="424"/>
                </a:lnTo>
                <a:lnTo>
                  <a:pt x="91" y="426"/>
                </a:lnTo>
                <a:lnTo>
                  <a:pt x="88" y="431"/>
                </a:lnTo>
                <a:lnTo>
                  <a:pt x="87" y="434"/>
                </a:lnTo>
                <a:lnTo>
                  <a:pt x="88" y="435"/>
                </a:lnTo>
                <a:lnTo>
                  <a:pt x="89" y="439"/>
                </a:lnTo>
                <a:lnTo>
                  <a:pt x="91" y="442"/>
                </a:lnTo>
                <a:lnTo>
                  <a:pt x="93" y="443"/>
                </a:lnTo>
                <a:lnTo>
                  <a:pt x="100" y="450"/>
                </a:lnTo>
                <a:lnTo>
                  <a:pt x="107" y="451"/>
                </a:lnTo>
                <a:lnTo>
                  <a:pt x="111" y="451"/>
                </a:lnTo>
                <a:lnTo>
                  <a:pt x="113" y="451"/>
                </a:lnTo>
                <a:lnTo>
                  <a:pt x="116" y="453"/>
                </a:lnTo>
                <a:lnTo>
                  <a:pt x="116" y="454"/>
                </a:lnTo>
                <a:lnTo>
                  <a:pt x="116" y="459"/>
                </a:lnTo>
                <a:lnTo>
                  <a:pt x="115" y="461"/>
                </a:lnTo>
                <a:lnTo>
                  <a:pt x="113" y="462"/>
                </a:lnTo>
                <a:lnTo>
                  <a:pt x="115" y="464"/>
                </a:lnTo>
                <a:lnTo>
                  <a:pt x="115" y="467"/>
                </a:lnTo>
                <a:lnTo>
                  <a:pt x="112" y="467"/>
                </a:lnTo>
                <a:lnTo>
                  <a:pt x="112" y="470"/>
                </a:lnTo>
                <a:lnTo>
                  <a:pt x="109" y="470"/>
                </a:lnTo>
                <a:lnTo>
                  <a:pt x="108" y="470"/>
                </a:lnTo>
                <a:lnTo>
                  <a:pt x="103" y="475"/>
                </a:lnTo>
                <a:lnTo>
                  <a:pt x="97" y="478"/>
                </a:lnTo>
                <a:lnTo>
                  <a:pt x="96" y="478"/>
                </a:lnTo>
                <a:lnTo>
                  <a:pt x="92" y="483"/>
                </a:lnTo>
                <a:lnTo>
                  <a:pt x="88" y="484"/>
                </a:lnTo>
                <a:lnTo>
                  <a:pt x="85" y="489"/>
                </a:lnTo>
                <a:lnTo>
                  <a:pt x="84" y="492"/>
                </a:lnTo>
                <a:lnTo>
                  <a:pt x="87" y="490"/>
                </a:lnTo>
                <a:lnTo>
                  <a:pt x="84" y="498"/>
                </a:lnTo>
                <a:lnTo>
                  <a:pt x="84" y="501"/>
                </a:lnTo>
                <a:lnTo>
                  <a:pt x="81" y="503"/>
                </a:lnTo>
                <a:lnTo>
                  <a:pt x="79" y="505"/>
                </a:lnTo>
                <a:lnTo>
                  <a:pt x="76" y="505"/>
                </a:lnTo>
                <a:lnTo>
                  <a:pt x="73" y="503"/>
                </a:lnTo>
                <a:lnTo>
                  <a:pt x="71" y="498"/>
                </a:lnTo>
                <a:lnTo>
                  <a:pt x="71" y="503"/>
                </a:lnTo>
                <a:lnTo>
                  <a:pt x="73" y="503"/>
                </a:lnTo>
                <a:lnTo>
                  <a:pt x="75" y="505"/>
                </a:lnTo>
                <a:lnTo>
                  <a:pt x="68" y="509"/>
                </a:lnTo>
                <a:lnTo>
                  <a:pt x="65" y="511"/>
                </a:lnTo>
                <a:lnTo>
                  <a:pt x="61" y="519"/>
                </a:lnTo>
                <a:lnTo>
                  <a:pt x="60" y="522"/>
                </a:lnTo>
                <a:lnTo>
                  <a:pt x="61" y="522"/>
                </a:lnTo>
                <a:lnTo>
                  <a:pt x="63" y="520"/>
                </a:lnTo>
                <a:lnTo>
                  <a:pt x="65" y="525"/>
                </a:lnTo>
                <a:lnTo>
                  <a:pt x="65" y="528"/>
                </a:lnTo>
                <a:lnTo>
                  <a:pt x="65" y="530"/>
                </a:lnTo>
                <a:lnTo>
                  <a:pt x="61" y="530"/>
                </a:lnTo>
                <a:lnTo>
                  <a:pt x="60" y="531"/>
                </a:lnTo>
                <a:lnTo>
                  <a:pt x="63" y="531"/>
                </a:lnTo>
                <a:lnTo>
                  <a:pt x="64" y="531"/>
                </a:lnTo>
                <a:lnTo>
                  <a:pt x="65" y="533"/>
                </a:lnTo>
                <a:lnTo>
                  <a:pt x="69" y="537"/>
                </a:lnTo>
                <a:lnTo>
                  <a:pt x="76" y="542"/>
                </a:lnTo>
                <a:lnTo>
                  <a:pt x="75" y="544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8" name="Freeform 25"/>
          <p:cNvSpPr>
            <a:spLocks/>
          </p:cNvSpPr>
          <p:nvPr/>
        </p:nvSpPr>
        <p:spPr bwMode="auto">
          <a:xfrm>
            <a:off x="3563859" y="5113104"/>
            <a:ext cx="294271" cy="1080246"/>
          </a:xfrm>
          <a:custGeom>
            <a:avLst/>
            <a:gdLst/>
            <a:ahLst/>
            <a:cxnLst>
              <a:cxn ang="0">
                <a:pos x="61" y="541"/>
              </a:cxn>
              <a:cxn ang="0">
                <a:pos x="41" y="539"/>
              </a:cxn>
              <a:cxn ang="0">
                <a:pos x="19" y="537"/>
              </a:cxn>
              <a:cxn ang="0">
                <a:pos x="16" y="522"/>
              </a:cxn>
              <a:cxn ang="0">
                <a:pos x="12" y="516"/>
              </a:cxn>
              <a:cxn ang="0">
                <a:pos x="3" y="517"/>
              </a:cxn>
              <a:cxn ang="0">
                <a:pos x="0" y="506"/>
              </a:cxn>
              <a:cxn ang="0">
                <a:pos x="4" y="492"/>
              </a:cxn>
              <a:cxn ang="0">
                <a:pos x="14" y="479"/>
              </a:cxn>
              <a:cxn ang="0">
                <a:pos x="15" y="468"/>
              </a:cxn>
              <a:cxn ang="0">
                <a:pos x="15" y="461"/>
              </a:cxn>
              <a:cxn ang="0">
                <a:pos x="22" y="450"/>
              </a:cxn>
              <a:cxn ang="0">
                <a:pos x="26" y="432"/>
              </a:cxn>
              <a:cxn ang="0">
                <a:pos x="26" y="421"/>
              </a:cxn>
              <a:cxn ang="0">
                <a:pos x="26" y="413"/>
              </a:cxn>
              <a:cxn ang="0">
                <a:pos x="27" y="410"/>
              </a:cxn>
              <a:cxn ang="0">
                <a:pos x="28" y="404"/>
              </a:cxn>
              <a:cxn ang="0">
                <a:pos x="24" y="395"/>
              </a:cxn>
              <a:cxn ang="0">
                <a:pos x="22" y="380"/>
              </a:cxn>
              <a:cxn ang="0">
                <a:pos x="20" y="365"/>
              </a:cxn>
              <a:cxn ang="0">
                <a:pos x="24" y="354"/>
              </a:cxn>
              <a:cxn ang="0">
                <a:pos x="24" y="330"/>
              </a:cxn>
              <a:cxn ang="0">
                <a:pos x="29" y="307"/>
              </a:cxn>
              <a:cxn ang="0">
                <a:pos x="35" y="299"/>
              </a:cxn>
              <a:cxn ang="0">
                <a:pos x="32" y="277"/>
              </a:cxn>
              <a:cxn ang="0">
                <a:pos x="37" y="260"/>
              </a:cxn>
              <a:cxn ang="0">
                <a:pos x="43" y="255"/>
              </a:cxn>
              <a:cxn ang="0">
                <a:pos x="45" y="238"/>
              </a:cxn>
              <a:cxn ang="0">
                <a:pos x="52" y="220"/>
              </a:cxn>
              <a:cxn ang="0">
                <a:pos x="51" y="205"/>
              </a:cxn>
              <a:cxn ang="0">
                <a:pos x="45" y="187"/>
              </a:cxn>
              <a:cxn ang="0">
                <a:pos x="43" y="168"/>
              </a:cxn>
              <a:cxn ang="0">
                <a:pos x="49" y="154"/>
              </a:cxn>
              <a:cxn ang="0">
                <a:pos x="52" y="145"/>
              </a:cxn>
              <a:cxn ang="0">
                <a:pos x="53" y="129"/>
              </a:cxn>
              <a:cxn ang="0">
                <a:pos x="64" y="106"/>
              </a:cxn>
              <a:cxn ang="0">
                <a:pos x="73" y="92"/>
              </a:cxn>
              <a:cxn ang="0">
                <a:pos x="73" y="82"/>
              </a:cxn>
              <a:cxn ang="0">
                <a:pos x="72" y="62"/>
              </a:cxn>
              <a:cxn ang="0">
                <a:pos x="73" y="52"/>
              </a:cxn>
              <a:cxn ang="0">
                <a:pos x="92" y="40"/>
              </a:cxn>
              <a:cxn ang="0">
                <a:pos x="93" y="19"/>
              </a:cxn>
              <a:cxn ang="0">
                <a:pos x="96" y="15"/>
              </a:cxn>
              <a:cxn ang="0">
                <a:pos x="104" y="5"/>
              </a:cxn>
              <a:cxn ang="0">
                <a:pos x="111" y="2"/>
              </a:cxn>
              <a:cxn ang="0">
                <a:pos x="124" y="7"/>
              </a:cxn>
              <a:cxn ang="0">
                <a:pos x="133" y="13"/>
              </a:cxn>
              <a:cxn ang="0">
                <a:pos x="139" y="5"/>
              </a:cxn>
              <a:cxn ang="0">
                <a:pos x="152" y="5"/>
              </a:cxn>
            </a:cxnLst>
            <a:rect l="0" t="0" r="r" b="b"/>
            <a:pathLst>
              <a:path w="154" h="544">
                <a:moveTo>
                  <a:pt x="75" y="544"/>
                </a:moveTo>
                <a:lnTo>
                  <a:pt x="73" y="544"/>
                </a:lnTo>
                <a:lnTo>
                  <a:pt x="69" y="542"/>
                </a:lnTo>
                <a:lnTo>
                  <a:pt x="61" y="541"/>
                </a:lnTo>
                <a:lnTo>
                  <a:pt x="55" y="539"/>
                </a:lnTo>
                <a:lnTo>
                  <a:pt x="51" y="539"/>
                </a:lnTo>
                <a:lnTo>
                  <a:pt x="47" y="539"/>
                </a:lnTo>
                <a:lnTo>
                  <a:pt x="41" y="539"/>
                </a:lnTo>
                <a:lnTo>
                  <a:pt x="40" y="539"/>
                </a:lnTo>
                <a:lnTo>
                  <a:pt x="39" y="539"/>
                </a:lnTo>
                <a:lnTo>
                  <a:pt x="23" y="539"/>
                </a:lnTo>
                <a:lnTo>
                  <a:pt x="19" y="537"/>
                </a:lnTo>
                <a:lnTo>
                  <a:pt x="18" y="536"/>
                </a:lnTo>
                <a:lnTo>
                  <a:pt x="16" y="534"/>
                </a:lnTo>
                <a:lnTo>
                  <a:pt x="16" y="533"/>
                </a:lnTo>
                <a:lnTo>
                  <a:pt x="16" y="522"/>
                </a:lnTo>
                <a:lnTo>
                  <a:pt x="16" y="519"/>
                </a:lnTo>
                <a:lnTo>
                  <a:pt x="15" y="514"/>
                </a:lnTo>
                <a:lnTo>
                  <a:pt x="14" y="514"/>
                </a:lnTo>
                <a:lnTo>
                  <a:pt x="12" y="516"/>
                </a:lnTo>
                <a:lnTo>
                  <a:pt x="7" y="514"/>
                </a:lnTo>
                <a:lnTo>
                  <a:pt x="4" y="516"/>
                </a:lnTo>
                <a:lnTo>
                  <a:pt x="4" y="517"/>
                </a:lnTo>
                <a:lnTo>
                  <a:pt x="3" y="517"/>
                </a:lnTo>
                <a:lnTo>
                  <a:pt x="2" y="517"/>
                </a:lnTo>
                <a:lnTo>
                  <a:pt x="0" y="516"/>
                </a:lnTo>
                <a:lnTo>
                  <a:pt x="0" y="512"/>
                </a:lnTo>
                <a:lnTo>
                  <a:pt x="0" y="506"/>
                </a:lnTo>
                <a:lnTo>
                  <a:pt x="0" y="505"/>
                </a:lnTo>
                <a:lnTo>
                  <a:pt x="0" y="501"/>
                </a:lnTo>
                <a:lnTo>
                  <a:pt x="2" y="495"/>
                </a:lnTo>
                <a:lnTo>
                  <a:pt x="4" y="492"/>
                </a:lnTo>
                <a:lnTo>
                  <a:pt x="8" y="486"/>
                </a:lnTo>
                <a:lnTo>
                  <a:pt x="11" y="483"/>
                </a:lnTo>
                <a:lnTo>
                  <a:pt x="12" y="481"/>
                </a:lnTo>
                <a:lnTo>
                  <a:pt x="14" y="479"/>
                </a:lnTo>
                <a:lnTo>
                  <a:pt x="14" y="475"/>
                </a:lnTo>
                <a:lnTo>
                  <a:pt x="15" y="473"/>
                </a:lnTo>
                <a:lnTo>
                  <a:pt x="15" y="472"/>
                </a:lnTo>
                <a:lnTo>
                  <a:pt x="15" y="468"/>
                </a:lnTo>
                <a:lnTo>
                  <a:pt x="14" y="467"/>
                </a:lnTo>
                <a:lnTo>
                  <a:pt x="14" y="465"/>
                </a:lnTo>
                <a:lnTo>
                  <a:pt x="14" y="462"/>
                </a:lnTo>
                <a:lnTo>
                  <a:pt x="15" y="461"/>
                </a:lnTo>
                <a:lnTo>
                  <a:pt x="15" y="459"/>
                </a:lnTo>
                <a:lnTo>
                  <a:pt x="19" y="456"/>
                </a:lnTo>
                <a:lnTo>
                  <a:pt x="22" y="451"/>
                </a:lnTo>
                <a:lnTo>
                  <a:pt x="22" y="450"/>
                </a:lnTo>
                <a:lnTo>
                  <a:pt x="24" y="446"/>
                </a:lnTo>
                <a:lnTo>
                  <a:pt x="26" y="443"/>
                </a:lnTo>
                <a:lnTo>
                  <a:pt x="26" y="434"/>
                </a:lnTo>
                <a:lnTo>
                  <a:pt x="26" y="432"/>
                </a:lnTo>
                <a:lnTo>
                  <a:pt x="26" y="431"/>
                </a:lnTo>
                <a:lnTo>
                  <a:pt x="26" y="429"/>
                </a:lnTo>
                <a:lnTo>
                  <a:pt x="26" y="423"/>
                </a:lnTo>
                <a:lnTo>
                  <a:pt x="26" y="421"/>
                </a:lnTo>
                <a:lnTo>
                  <a:pt x="27" y="420"/>
                </a:lnTo>
                <a:lnTo>
                  <a:pt x="28" y="418"/>
                </a:lnTo>
                <a:lnTo>
                  <a:pt x="28" y="417"/>
                </a:lnTo>
                <a:lnTo>
                  <a:pt x="26" y="413"/>
                </a:lnTo>
                <a:lnTo>
                  <a:pt x="22" y="412"/>
                </a:lnTo>
                <a:lnTo>
                  <a:pt x="22" y="410"/>
                </a:lnTo>
                <a:lnTo>
                  <a:pt x="22" y="409"/>
                </a:lnTo>
                <a:lnTo>
                  <a:pt x="27" y="410"/>
                </a:lnTo>
                <a:lnTo>
                  <a:pt x="29" y="409"/>
                </a:lnTo>
                <a:lnTo>
                  <a:pt x="31" y="407"/>
                </a:lnTo>
                <a:lnTo>
                  <a:pt x="31" y="406"/>
                </a:lnTo>
                <a:lnTo>
                  <a:pt x="28" y="404"/>
                </a:lnTo>
                <a:lnTo>
                  <a:pt x="24" y="402"/>
                </a:lnTo>
                <a:lnTo>
                  <a:pt x="23" y="402"/>
                </a:lnTo>
                <a:lnTo>
                  <a:pt x="23" y="401"/>
                </a:lnTo>
                <a:lnTo>
                  <a:pt x="24" y="395"/>
                </a:lnTo>
                <a:lnTo>
                  <a:pt x="23" y="391"/>
                </a:lnTo>
                <a:lnTo>
                  <a:pt x="22" y="388"/>
                </a:lnTo>
                <a:lnTo>
                  <a:pt x="22" y="387"/>
                </a:lnTo>
                <a:lnTo>
                  <a:pt x="22" y="380"/>
                </a:lnTo>
                <a:lnTo>
                  <a:pt x="20" y="379"/>
                </a:lnTo>
                <a:lnTo>
                  <a:pt x="19" y="377"/>
                </a:lnTo>
                <a:lnTo>
                  <a:pt x="19" y="369"/>
                </a:lnTo>
                <a:lnTo>
                  <a:pt x="20" y="365"/>
                </a:lnTo>
                <a:lnTo>
                  <a:pt x="24" y="360"/>
                </a:lnTo>
                <a:lnTo>
                  <a:pt x="24" y="358"/>
                </a:lnTo>
                <a:lnTo>
                  <a:pt x="24" y="355"/>
                </a:lnTo>
                <a:lnTo>
                  <a:pt x="24" y="354"/>
                </a:lnTo>
                <a:lnTo>
                  <a:pt x="22" y="352"/>
                </a:lnTo>
                <a:lnTo>
                  <a:pt x="22" y="347"/>
                </a:lnTo>
                <a:lnTo>
                  <a:pt x="22" y="341"/>
                </a:lnTo>
                <a:lnTo>
                  <a:pt x="24" y="330"/>
                </a:lnTo>
                <a:lnTo>
                  <a:pt x="24" y="327"/>
                </a:lnTo>
                <a:lnTo>
                  <a:pt x="24" y="325"/>
                </a:lnTo>
                <a:lnTo>
                  <a:pt x="28" y="310"/>
                </a:lnTo>
                <a:lnTo>
                  <a:pt x="29" y="307"/>
                </a:lnTo>
                <a:lnTo>
                  <a:pt x="31" y="305"/>
                </a:lnTo>
                <a:lnTo>
                  <a:pt x="31" y="304"/>
                </a:lnTo>
                <a:lnTo>
                  <a:pt x="33" y="302"/>
                </a:lnTo>
                <a:lnTo>
                  <a:pt x="35" y="299"/>
                </a:lnTo>
                <a:lnTo>
                  <a:pt x="35" y="296"/>
                </a:lnTo>
                <a:lnTo>
                  <a:pt x="33" y="293"/>
                </a:lnTo>
                <a:lnTo>
                  <a:pt x="32" y="286"/>
                </a:lnTo>
                <a:lnTo>
                  <a:pt x="32" y="277"/>
                </a:lnTo>
                <a:lnTo>
                  <a:pt x="33" y="266"/>
                </a:lnTo>
                <a:lnTo>
                  <a:pt x="35" y="263"/>
                </a:lnTo>
                <a:lnTo>
                  <a:pt x="36" y="260"/>
                </a:lnTo>
                <a:lnTo>
                  <a:pt x="37" y="260"/>
                </a:lnTo>
                <a:lnTo>
                  <a:pt x="39" y="260"/>
                </a:lnTo>
                <a:lnTo>
                  <a:pt x="40" y="260"/>
                </a:lnTo>
                <a:lnTo>
                  <a:pt x="40" y="256"/>
                </a:lnTo>
                <a:lnTo>
                  <a:pt x="43" y="255"/>
                </a:lnTo>
                <a:lnTo>
                  <a:pt x="43" y="253"/>
                </a:lnTo>
                <a:lnTo>
                  <a:pt x="43" y="249"/>
                </a:lnTo>
                <a:lnTo>
                  <a:pt x="43" y="241"/>
                </a:lnTo>
                <a:lnTo>
                  <a:pt x="45" y="238"/>
                </a:lnTo>
                <a:lnTo>
                  <a:pt x="47" y="231"/>
                </a:lnTo>
                <a:lnTo>
                  <a:pt x="47" y="228"/>
                </a:lnTo>
                <a:lnTo>
                  <a:pt x="49" y="225"/>
                </a:lnTo>
                <a:lnTo>
                  <a:pt x="52" y="220"/>
                </a:lnTo>
                <a:lnTo>
                  <a:pt x="52" y="216"/>
                </a:lnTo>
                <a:lnTo>
                  <a:pt x="52" y="211"/>
                </a:lnTo>
                <a:lnTo>
                  <a:pt x="51" y="206"/>
                </a:lnTo>
                <a:lnTo>
                  <a:pt x="51" y="205"/>
                </a:lnTo>
                <a:lnTo>
                  <a:pt x="48" y="203"/>
                </a:lnTo>
                <a:lnTo>
                  <a:pt x="48" y="200"/>
                </a:lnTo>
                <a:lnTo>
                  <a:pt x="48" y="197"/>
                </a:lnTo>
                <a:lnTo>
                  <a:pt x="45" y="187"/>
                </a:lnTo>
                <a:lnTo>
                  <a:pt x="45" y="179"/>
                </a:lnTo>
                <a:lnTo>
                  <a:pt x="43" y="176"/>
                </a:lnTo>
                <a:lnTo>
                  <a:pt x="43" y="173"/>
                </a:lnTo>
                <a:lnTo>
                  <a:pt x="43" y="168"/>
                </a:lnTo>
                <a:lnTo>
                  <a:pt x="44" y="165"/>
                </a:lnTo>
                <a:lnTo>
                  <a:pt x="47" y="161"/>
                </a:lnTo>
                <a:lnTo>
                  <a:pt x="47" y="157"/>
                </a:lnTo>
                <a:lnTo>
                  <a:pt x="49" y="154"/>
                </a:lnTo>
                <a:lnTo>
                  <a:pt x="49" y="153"/>
                </a:lnTo>
                <a:lnTo>
                  <a:pt x="51" y="151"/>
                </a:lnTo>
                <a:lnTo>
                  <a:pt x="52" y="148"/>
                </a:lnTo>
                <a:lnTo>
                  <a:pt x="52" y="145"/>
                </a:lnTo>
                <a:lnTo>
                  <a:pt x="51" y="142"/>
                </a:lnTo>
                <a:lnTo>
                  <a:pt x="52" y="135"/>
                </a:lnTo>
                <a:lnTo>
                  <a:pt x="52" y="132"/>
                </a:lnTo>
                <a:lnTo>
                  <a:pt x="53" y="129"/>
                </a:lnTo>
                <a:lnTo>
                  <a:pt x="55" y="126"/>
                </a:lnTo>
                <a:lnTo>
                  <a:pt x="56" y="120"/>
                </a:lnTo>
                <a:lnTo>
                  <a:pt x="57" y="114"/>
                </a:lnTo>
                <a:lnTo>
                  <a:pt x="64" y="106"/>
                </a:lnTo>
                <a:lnTo>
                  <a:pt x="67" y="98"/>
                </a:lnTo>
                <a:lnTo>
                  <a:pt x="67" y="96"/>
                </a:lnTo>
                <a:lnTo>
                  <a:pt x="71" y="93"/>
                </a:lnTo>
                <a:lnTo>
                  <a:pt x="73" y="92"/>
                </a:lnTo>
                <a:lnTo>
                  <a:pt x="75" y="92"/>
                </a:lnTo>
                <a:lnTo>
                  <a:pt x="76" y="90"/>
                </a:lnTo>
                <a:lnTo>
                  <a:pt x="75" y="85"/>
                </a:lnTo>
                <a:lnTo>
                  <a:pt x="73" y="82"/>
                </a:lnTo>
                <a:lnTo>
                  <a:pt x="73" y="77"/>
                </a:lnTo>
                <a:lnTo>
                  <a:pt x="73" y="71"/>
                </a:lnTo>
                <a:lnTo>
                  <a:pt x="72" y="66"/>
                </a:lnTo>
                <a:lnTo>
                  <a:pt x="72" y="62"/>
                </a:lnTo>
                <a:lnTo>
                  <a:pt x="72" y="60"/>
                </a:lnTo>
                <a:lnTo>
                  <a:pt x="73" y="59"/>
                </a:lnTo>
                <a:lnTo>
                  <a:pt x="73" y="55"/>
                </a:lnTo>
                <a:lnTo>
                  <a:pt x="73" y="52"/>
                </a:lnTo>
                <a:lnTo>
                  <a:pt x="73" y="51"/>
                </a:lnTo>
                <a:lnTo>
                  <a:pt x="73" y="49"/>
                </a:lnTo>
                <a:lnTo>
                  <a:pt x="87" y="43"/>
                </a:lnTo>
                <a:lnTo>
                  <a:pt x="92" y="40"/>
                </a:lnTo>
                <a:lnTo>
                  <a:pt x="95" y="26"/>
                </a:lnTo>
                <a:lnTo>
                  <a:pt x="95" y="22"/>
                </a:lnTo>
                <a:lnTo>
                  <a:pt x="93" y="21"/>
                </a:lnTo>
                <a:lnTo>
                  <a:pt x="93" y="19"/>
                </a:lnTo>
                <a:lnTo>
                  <a:pt x="92" y="19"/>
                </a:lnTo>
                <a:lnTo>
                  <a:pt x="93" y="19"/>
                </a:lnTo>
                <a:lnTo>
                  <a:pt x="95" y="18"/>
                </a:lnTo>
                <a:lnTo>
                  <a:pt x="96" y="15"/>
                </a:lnTo>
                <a:lnTo>
                  <a:pt x="96" y="13"/>
                </a:lnTo>
                <a:lnTo>
                  <a:pt x="99" y="11"/>
                </a:lnTo>
                <a:lnTo>
                  <a:pt x="100" y="8"/>
                </a:lnTo>
                <a:lnTo>
                  <a:pt x="104" y="5"/>
                </a:lnTo>
                <a:lnTo>
                  <a:pt x="107" y="0"/>
                </a:lnTo>
                <a:lnTo>
                  <a:pt x="108" y="0"/>
                </a:lnTo>
                <a:lnTo>
                  <a:pt x="109" y="0"/>
                </a:lnTo>
                <a:lnTo>
                  <a:pt x="111" y="2"/>
                </a:lnTo>
                <a:lnTo>
                  <a:pt x="113" y="5"/>
                </a:lnTo>
                <a:lnTo>
                  <a:pt x="120" y="5"/>
                </a:lnTo>
                <a:lnTo>
                  <a:pt x="123" y="7"/>
                </a:lnTo>
                <a:lnTo>
                  <a:pt x="124" y="7"/>
                </a:lnTo>
                <a:lnTo>
                  <a:pt x="129" y="8"/>
                </a:lnTo>
                <a:lnTo>
                  <a:pt x="131" y="8"/>
                </a:lnTo>
                <a:lnTo>
                  <a:pt x="132" y="11"/>
                </a:lnTo>
                <a:lnTo>
                  <a:pt x="133" y="13"/>
                </a:lnTo>
                <a:lnTo>
                  <a:pt x="136" y="16"/>
                </a:lnTo>
                <a:lnTo>
                  <a:pt x="137" y="15"/>
                </a:lnTo>
                <a:lnTo>
                  <a:pt x="139" y="11"/>
                </a:lnTo>
                <a:lnTo>
                  <a:pt x="139" y="5"/>
                </a:lnTo>
                <a:lnTo>
                  <a:pt x="140" y="4"/>
                </a:lnTo>
                <a:lnTo>
                  <a:pt x="141" y="4"/>
                </a:lnTo>
                <a:lnTo>
                  <a:pt x="146" y="5"/>
                </a:lnTo>
                <a:lnTo>
                  <a:pt x="152" y="5"/>
                </a:lnTo>
                <a:lnTo>
                  <a:pt x="154" y="5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9" name="Freeform 26"/>
          <p:cNvSpPr>
            <a:spLocks/>
          </p:cNvSpPr>
          <p:nvPr/>
        </p:nvSpPr>
        <p:spPr bwMode="auto">
          <a:xfrm>
            <a:off x="3797716" y="5121695"/>
            <a:ext cx="333248" cy="766696"/>
          </a:xfrm>
          <a:custGeom>
            <a:avLst/>
            <a:gdLst/>
            <a:ahLst/>
            <a:cxnLst>
              <a:cxn ang="0">
                <a:pos x="37" y="5"/>
              </a:cxn>
              <a:cxn ang="0">
                <a:pos x="50" y="17"/>
              </a:cxn>
              <a:cxn ang="0">
                <a:pos x="62" y="28"/>
              </a:cxn>
              <a:cxn ang="0">
                <a:pos x="70" y="36"/>
              </a:cxn>
              <a:cxn ang="0">
                <a:pos x="85" y="39"/>
              </a:cxn>
              <a:cxn ang="0">
                <a:pos x="103" y="52"/>
              </a:cxn>
              <a:cxn ang="0">
                <a:pos x="111" y="58"/>
              </a:cxn>
              <a:cxn ang="0">
                <a:pos x="110" y="69"/>
              </a:cxn>
              <a:cxn ang="0">
                <a:pos x="102" y="88"/>
              </a:cxn>
              <a:cxn ang="0">
                <a:pos x="118" y="93"/>
              </a:cxn>
              <a:cxn ang="0">
                <a:pos x="130" y="96"/>
              </a:cxn>
              <a:cxn ang="0">
                <a:pos x="138" y="94"/>
              </a:cxn>
              <a:cxn ang="0">
                <a:pos x="144" y="91"/>
              </a:cxn>
              <a:cxn ang="0">
                <a:pos x="154" y="83"/>
              </a:cxn>
              <a:cxn ang="0">
                <a:pos x="159" y="71"/>
              </a:cxn>
              <a:cxn ang="0">
                <a:pos x="168" y="61"/>
              </a:cxn>
              <a:cxn ang="0">
                <a:pos x="172" y="88"/>
              </a:cxn>
              <a:cxn ang="0">
                <a:pos x="163" y="96"/>
              </a:cxn>
              <a:cxn ang="0">
                <a:pos x="152" y="104"/>
              </a:cxn>
              <a:cxn ang="0">
                <a:pos x="132" y="126"/>
              </a:cxn>
              <a:cxn ang="0">
                <a:pos x="119" y="140"/>
              </a:cxn>
              <a:cxn ang="0">
                <a:pos x="113" y="148"/>
              </a:cxn>
              <a:cxn ang="0">
                <a:pos x="110" y="163"/>
              </a:cxn>
              <a:cxn ang="0">
                <a:pos x="107" y="190"/>
              </a:cxn>
              <a:cxn ang="0">
                <a:pos x="102" y="201"/>
              </a:cxn>
              <a:cxn ang="0">
                <a:pos x="101" y="217"/>
              </a:cxn>
              <a:cxn ang="0">
                <a:pos x="111" y="229"/>
              </a:cxn>
              <a:cxn ang="0">
                <a:pos x="117" y="245"/>
              </a:cxn>
              <a:cxn ang="0">
                <a:pos x="127" y="255"/>
              </a:cxn>
              <a:cxn ang="0">
                <a:pos x="121" y="275"/>
              </a:cxn>
              <a:cxn ang="0">
                <a:pos x="111" y="289"/>
              </a:cxn>
              <a:cxn ang="0">
                <a:pos x="94" y="295"/>
              </a:cxn>
              <a:cxn ang="0">
                <a:pos x="71" y="300"/>
              </a:cxn>
              <a:cxn ang="0">
                <a:pos x="43" y="297"/>
              </a:cxn>
              <a:cxn ang="0">
                <a:pos x="46" y="310"/>
              </a:cxn>
              <a:cxn ang="0">
                <a:pos x="43" y="316"/>
              </a:cxn>
              <a:cxn ang="0">
                <a:pos x="43" y="333"/>
              </a:cxn>
              <a:cxn ang="0">
                <a:pos x="31" y="339"/>
              </a:cxn>
              <a:cxn ang="0">
                <a:pos x="10" y="335"/>
              </a:cxn>
              <a:cxn ang="0">
                <a:pos x="1" y="339"/>
              </a:cxn>
              <a:cxn ang="0">
                <a:pos x="6" y="358"/>
              </a:cxn>
              <a:cxn ang="0">
                <a:pos x="17" y="361"/>
              </a:cxn>
              <a:cxn ang="0">
                <a:pos x="21" y="357"/>
              </a:cxn>
              <a:cxn ang="0">
                <a:pos x="22" y="369"/>
              </a:cxn>
              <a:cxn ang="0">
                <a:pos x="14" y="366"/>
              </a:cxn>
              <a:cxn ang="0">
                <a:pos x="5" y="366"/>
              </a:cxn>
              <a:cxn ang="0">
                <a:pos x="8" y="371"/>
              </a:cxn>
              <a:cxn ang="0">
                <a:pos x="14" y="374"/>
              </a:cxn>
              <a:cxn ang="0">
                <a:pos x="0" y="383"/>
              </a:cxn>
            </a:cxnLst>
            <a:rect l="0" t="0" r="r" b="b"/>
            <a:pathLst>
              <a:path w="174" h="386">
                <a:moveTo>
                  <a:pt x="31" y="0"/>
                </a:moveTo>
                <a:lnTo>
                  <a:pt x="34" y="2"/>
                </a:lnTo>
                <a:lnTo>
                  <a:pt x="35" y="3"/>
                </a:lnTo>
                <a:lnTo>
                  <a:pt x="37" y="5"/>
                </a:lnTo>
                <a:lnTo>
                  <a:pt x="42" y="6"/>
                </a:lnTo>
                <a:lnTo>
                  <a:pt x="43" y="8"/>
                </a:lnTo>
                <a:lnTo>
                  <a:pt x="46" y="14"/>
                </a:lnTo>
                <a:lnTo>
                  <a:pt x="50" y="17"/>
                </a:lnTo>
                <a:lnTo>
                  <a:pt x="51" y="19"/>
                </a:lnTo>
                <a:lnTo>
                  <a:pt x="58" y="25"/>
                </a:lnTo>
                <a:lnTo>
                  <a:pt x="61" y="27"/>
                </a:lnTo>
                <a:lnTo>
                  <a:pt x="62" y="28"/>
                </a:lnTo>
                <a:lnTo>
                  <a:pt x="65" y="33"/>
                </a:lnTo>
                <a:lnTo>
                  <a:pt x="66" y="33"/>
                </a:lnTo>
                <a:lnTo>
                  <a:pt x="66" y="35"/>
                </a:lnTo>
                <a:lnTo>
                  <a:pt x="70" y="36"/>
                </a:lnTo>
                <a:lnTo>
                  <a:pt x="73" y="36"/>
                </a:lnTo>
                <a:lnTo>
                  <a:pt x="79" y="36"/>
                </a:lnTo>
                <a:lnTo>
                  <a:pt x="83" y="38"/>
                </a:lnTo>
                <a:lnTo>
                  <a:pt x="85" y="39"/>
                </a:lnTo>
                <a:lnTo>
                  <a:pt x="91" y="44"/>
                </a:lnTo>
                <a:lnTo>
                  <a:pt x="97" y="46"/>
                </a:lnTo>
                <a:lnTo>
                  <a:pt x="101" y="49"/>
                </a:lnTo>
                <a:lnTo>
                  <a:pt x="103" y="52"/>
                </a:lnTo>
                <a:lnTo>
                  <a:pt x="107" y="54"/>
                </a:lnTo>
                <a:lnTo>
                  <a:pt x="109" y="55"/>
                </a:lnTo>
                <a:lnTo>
                  <a:pt x="110" y="58"/>
                </a:lnTo>
                <a:lnTo>
                  <a:pt x="111" y="58"/>
                </a:lnTo>
                <a:lnTo>
                  <a:pt x="111" y="60"/>
                </a:lnTo>
                <a:lnTo>
                  <a:pt x="113" y="61"/>
                </a:lnTo>
                <a:lnTo>
                  <a:pt x="113" y="65"/>
                </a:lnTo>
                <a:lnTo>
                  <a:pt x="110" y="69"/>
                </a:lnTo>
                <a:lnTo>
                  <a:pt x="106" y="76"/>
                </a:lnTo>
                <a:lnTo>
                  <a:pt x="103" y="82"/>
                </a:lnTo>
                <a:lnTo>
                  <a:pt x="102" y="85"/>
                </a:lnTo>
                <a:lnTo>
                  <a:pt x="102" y="88"/>
                </a:lnTo>
                <a:lnTo>
                  <a:pt x="102" y="90"/>
                </a:lnTo>
                <a:lnTo>
                  <a:pt x="109" y="90"/>
                </a:lnTo>
                <a:lnTo>
                  <a:pt x="117" y="91"/>
                </a:lnTo>
                <a:lnTo>
                  <a:pt x="118" y="93"/>
                </a:lnTo>
                <a:lnTo>
                  <a:pt x="123" y="96"/>
                </a:lnTo>
                <a:lnTo>
                  <a:pt x="126" y="96"/>
                </a:lnTo>
                <a:lnTo>
                  <a:pt x="129" y="96"/>
                </a:lnTo>
                <a:lnTo>
                  <a:pt x="130" y="96"/>
                </a:lnTo>
                <a:lnTo>
                  <a:pt x="132" y="96"/>
                </a:lnTo>
                <a:lnTo>
                  <a:pt x="134" y="96"/>
                </a:lnTo>
                <a:lnTo>
                  <a:pt x="135" y="94"/>
                </a:lnTo>
                <a:lnTo>
                  <a:pt x="138" y="94"/>
                </a:lnTo>
                <a:lnTo>
                  <a:pt x="140" y="94"/>
                </a:lnTo>
                <a:lnTo>
                  <a:pt x="143" y="93"/>
                </a:lnTo>
                <a:lnTo>
                  <a:pt x="144" y="93"/>
                </a:lnTo>
                <a:lnTo>
                  <a:pt x="144" y="91"/>
                </a:lnTo>
                <a:lnTo>
                  <a:pt x="148" y="88"/>
                </a:lnTo>
                <a:lnTo>
                  <a:pt x="150" y="88"/>
                </a:lnTo>
                <a:lnTo>
                  <a:pt x="150" y="87"/>
                </a:lnTo>
                <a:lnTo>
                  <a:pt x="154" y="83"/>
                </a:lnTo>
                <a:lnTo>
                  <a:pt x="156" y="82"/>
                </a:lnTo>
                <a:lnTo>
                  <a:pt x="158" y="79"/>
                </a:lnTo>
                <a:lnTo>
                  <a:pt x="159" y="76"/>
                </a:lnTo>
                <a:lnTo>
                  <a:pt x="159" y="71"/>
                </a:lnTo>
                <a:lnTo>
                  <a:pt x="160" y="63"/>
                </a:lnTo>
                <a:lnTo>
                  <a:pt x="163" y="63"/>
                </a:lnTo>
                <a:lnTo>
                  <a:pt x="164" y="61"/>
                </a:lnTo>
                <a:lnTo>
                  <a:pt x="168" y="61"/>
                </a:lnTo>
                <a:lnTo>
                  <a:pt x="170" y="65"/>
                </a:lnTo>
                <a:lnTo>
                  <a:pt x="174" y="76"/>
                </a:lnTo>
                <a:lnTo>
                  <a:pt x="174" y="85"/>
                </a:lnTo>
                <a:lnTo>
                  <a:pt x="172" y="88"/>
                </a:lnTo>
                <a:lnTo>
                  <a:pt x="172" y="90"/>
                </a:lnTo>
                <a:lnTo>
                  <a:pt x="171" y="90"/>
                </a:lnTo>
                <a:lnTo>
                  <a:pt x="166" y="94"/>
                </a:lnTo>
                <a:lnTo>
                  <a:pt x="163" y="96"/>
                </a:lnTo>
                <a:lnTo>
                  <a:pt x="159" y="96"/>
                </a:lnTo>
                <a:lnTo>
                  <a:pt x="158" y="98"/>
                </a:lnTo>
                <a:lnTo>
                  <a:pt x="155" y="101"/>
                </a:lnTo>
                <a:lnTo>
                  <a:pt x="152" y="104"/>
                </a:lnTo>
                <a:lnTo>
                  <a:pt x="140" y="115"/>
                </a:lnTo>
                <a:lnTo>
                  <a:pt x="139" y="118"/>
                </a:lnTo>
                <a:lnTo>
                  <a:pt x="134" y="124"/>
                </a:lnTo>
                <a:lnTo>
                  <a:pt x="132" y="126"/>
                </a:lnTo>
                <a:lnTo>
                  <a:pt x="127" y="132"/>
                </a:lnTo>
                <a:lnTo>
                  <a:pt x="123" y="135"/>
                </a:lnTo>
                <a:lnTo>
                  <a:pt x="122" y="138"/>
                </a:lnTo>
                <a:lnTo>
                  <a:pt x="119" y="140"/>
                </a:lnTo>
                <a:lnTo>
                  <a:pt x="118" y="141"/>
                </a:lnTo>
                <a:lnTo>
                  <a:pt x="117" y="145"/>
                </a:lnTo>
                <a:lnTo>
                  <a:pt x="114" y="146"/>
                </a:lnTo>
                <a:lnTo>
                  <a:pt x="113" y="148"/>
                </a:lnTo>
                <a:lnTo>
                  <a:pt x="110" y="149"/>
                </a:lnTo>
                <a:lnTo>
                  <a:pt x="110" y="151"/>
                </a:lnTo>
                <a:lnTo>
                  <a:pt x="111" y="157"/>
                </a:lnTo>
                <a:lnTo>
                  <a:pt x="110" y="163"/>
                </a:lnTo>
                <a:lnTo>
                  <a:pt x="110" y="167"/>
                </a:lnTo>
                <a:lnTo>
                  <a:pt x="109" y="170"/>
                </a:lnTo>
                <a:lnTo>
                  <a:pt x="107" y="176"/>
                </a:lnTo>
                <a:lnTo>
                  <a:pt x="107" y="190"/>
                </a:lnTo>
                <a:lnTo>
                  <a:pt x="106" y="193"/>
                </a:lnTo>
                <a:lnTo>
                  <a:pt x="106" y="195"/>
                </a:lnTo>
                <a:lnTo>
                  <a:pt x="103" y="198"/>
                </a:lnTo>
                <a:lnTo>
                  <a:pt x="102" y="201"/>
                </a:lnTo>
                <a:lnTo>
                  <a:pt x="102" y="207"/>
                </a:lnTo>
                <a:lnTo>
                  <a:pt x="101" y="212"/>
                </a:lnTo>
                <a:lnTo>
                  <a:pt x="102" y="215"/>
                </a:lnTo>
                <a:lnTo>
                  <a:pt x="101" y="217"/>
                </a:lnTo>
                <a:lnTo>
                  <a:pt x="101" y="218"/>
                </a:lnTo>
                <a:lnTo>
                  <a:pt x="102" y="223"/>
                </a:lnTo>
                <a:lnTo>
                  <a:pt x="109" y="226"/>
                </a:lnTo>
                <a:lnTo>
                  <a:pt x="111" y="229"/>
                </a:lnTo>
                <a:lnTo>
                  <a:pt x="115" y="231"/>
                </a:lnTo>
                <a:lnTo>
                  <a:pt x="119" y="236"/>
                </a:lnTo>
                <a:lnTo>
                  <a:pt x="119" y="239"/>
                </a:lnTo>
                <a:lnTo>
                  <a:pt x="117" y="245"/>
                </a:lnTo>
                <a:lnTo>
                  <a:pt x="118" y="248"/>
                </a:lnTo>
                <a:lnTo>
                  <a:pt x="121" y="253"/>
                </a:lnTo>
                <a:lnTo>
                  <a:pt x="125" y="255"/>
                </a:lnTo>
                <a:lnTo>
                  <a:pt x="127" y="255"/>
                </a:lnTo>
                <a:lnTo>
                  <a:pt x="127" y="256"/>
                </a:lnTo>
                <a:lnTo>
                  <a:pt x="127" y="264"/>
                </a:lnTo>
                <a:lnTo>
                  <a:pt x="126" y="267"/>
                </a:lnTo>
                <a:lnTo>
                  <a:pt x="121" y="275"/>
                </a:lnTo>
                <a:lnTo>
                  <a:pt x="118" y="278"/>
                </a:lnTo>
                <a:lnTo>
                  <a:pt x="115" y="281"/>
                </a:lnTo>
                <a:lnTo>
                  <a:pt x="114" y="288"/>
                </a:lnTo>
                <a:lnTo>
                  <a:pt x="111" y="289"/>
                </a:lnTo>
                <a:lnTo>
                  <a:pt x="107" y="291"/>
                </a:lnTo>
                <a:lnTo>
                  <a:pt x="101" y="294"/>
                </a:lnTo>
                <a:lnTo>
                  <a:pt x="98" y="294"/>
                </a:lnTo>
                <a:lnTo>
                  <a:pt x="94" y="295"/>
                </a:lnTo>
                <a:lnTo>
                  <a:pt x="87" y="297"/>
                </a:lnTo>
                <a:lnTo>
                  <a:pt x="83" y="299"/>
                </a:lnTo>
                <a:lnTo>
                  <a:pt x="78" y="299"/>
                </a:lnTo>
                <a:lnTo>
                  <a:pt x="71" y="300"/>
                </a:lnTo>
                <a:lnTo>
                  <a:pt x="62" y="302"/>
                </a:lnTo>
                <a:lnTo>
                  <a:pt x="55" y="302"/>
                </a:lnTo>
                <a:lnTo>
                  <a:pt x="47" y="300"/>
                </a:lnTo>
                <a:lnTo>
                  <a:pt x="43" y="297"/>
                </a:lnTo>
                <a:lnTo>
                  <a:pt x="43" y="300"/>
                </a:lnTo>
                <a:lnTo>
                  <a:pt x="43" y="306"/>
                </a:lnTo>
                <a:lnTo>
                  <a:pt x="46" y="308"/>
                </a:lnTo>
                <a:lnTo>
                  <a:pt x="46" y="310"/>
                </a:lnTo>
                <a:lnTo>
                  <a:pt x="46" y="314"/>
                </a:lnTo>
                <a:lnTo>
                  <a:pt x="46" y="316"/>
                </a:lnTo>
                <a:lnTo>
                  <a:pt x="45" y="317"/>
                </a:lnTo>
                <a:lnTo>
                  <a:pt x="43" y="316"/>
                </a:lnTo>
                <a:lnTo>
                  <a:pt x="42" y="320"/>
                </a:lnTo>
                <a:lnTo>
                  <a:pt x="42" y="324"/>
                </a:lnTo>
                <a:lnTo>
                  <a:pt x="43" y="330"/>
                </a:lnTo>
                <a:lnTo>
                  <a:pt x="43" y="333"/>
                </a:lnTo>
                <a:lnTo>
                  <a:pt x="42" y="335"/>
                </a:lnTo>
                <a:lnTo>
                  <a:pt x="41" y="336"/>
                </a:lnTo>
                <a:lnTo>
                  <a:pt x="35" y="338"/>
                </a:lnTo>
                <a:lnTo>
                  <a:pt x="31" y="339"/>
                </a:lnTo>
                <a:lnTo>
                  <a:pt x="21" y="339"/>
                </a:lnTo>
                <a:lnTo>
                  <a:pt x="18" y="339"/>
                </a:lnTo>
                <a:lnTo>
                  <a:pt x="16" y="338"/>
                </a:lnTo>
                <a:lnTo>
                  <a:pt x="10" y="335"/>
                </a:lnTo>
                <a:lnTo>
                  <a:pt x="6" y="335"/>
                </a:lnTo>
                <a:lnTo>
                  <a:pt x="4" y="331"/>
                </a:lnTo>
                <a:lnTo>
                  <a:pt x="1" y="335"/>
                </a:lnTo>
                <a:lnTo>
                  <a:pt x="1" y="339"/>
                </a:lnTo>
                <a:lnTo>
                  <a:pt x="2" y="344"/>
                </a:lnTo>
                <a:lnTo>
                  <a:pt x="2" y="352"/>
                </a:lnTo>
                <a:lnTo>
                  <a:pt x="2" y="355"/>
                </a:lnTo>
                <a:lnTo>
                  <a:pt x="6" y="358"/>
                </a:lnTo>
                <a:lnTo>
                  <a:pt x="10" y="360"/>
                </a:lnTo>
                <a:lnTo>
                  <a:pt x="9" y="361"/>
                </a:lnTo>
                <a:lnTo>
                  <a:pt x="10" y="363"/>
                </a:lnTo>
                <a:lnTo>
                  <a:pt x="17" y="361"/>
                </a:lnTo>
                <a:lnTo>
                  <a:pt x="16" y="360"/>
                </a:lnTo>
                <a:lnTo>
                  <a:pt x="14" y="358"/>
                </a:lnTo>
                <a:lnTo>
                  <a:pt x="18" y="358"/>
                </a:lnTo>
                <a:lnTo>
                  <a:pt x="21" y="357"/>
                </a:lnTo>
                <a:lnTo>
                  <a:pt x="23" y="360"/>
                </a:lnTo>
                <a:lnTo>
                  <a:pt x="25" y="364"/>
                </a:lnTo>
                <a:lnTo>
                  <a:pt x="23" y="368"/>
                </a:lnTo>
                <a:lnTo>
                  <a:pt x="22" y="369"/>
                </a:lnTo>
                <a:lnTo>
                  <a:pt x="19" y="371"/>
                </a:lnTo>
                <a:lnTo>
                  <a:pt x="17" y="371"/>
                </a:lnTo>
                <a:lnTo>
                  <a:pt x="14" y="369"/>
                </a:lnTo>
                <a:lnTo>
                  <a:pt x="14" y="366"/>
                </a:lnTo>
                <a:lnTo>
                  <a:pt x="13" y="364"/>
                </a:lnTo>
                <a:lnTo>
                  <a:pt x="10" y="364"/>
                </a:lnTo>
                <a:lnTo>
                  <a:pt x="8" y="364"/>
                </a:lnTo>
                <a:lnTo>
                  <a:pt x="5" y="366"/>
                </a:lnTo>
                <a:lnTo>
                  <a:pt x="4" y="366"/>
                </a:lnTo>
                <a:lnTo>
                  <a:pt x="2" y="368"/>
                </a:lnTo>
                <a:lnTo>
                  <a:pt x="2" y="369"/>
                </a:lnTo>
                <a:lnTo>
                  <a:pt x="8" y="371"/>
                </a:lnTo>
                <a:lnTo>
                  <a:pt x="10" y="371"/>
                </a:lnTo>
                <a:lnTo>
                  <a:pt x="13" y="372"/>
                </a:lnTo>
                <a:lnTo>
                  <a:pt x="14" y="372"/>
                </a:lnTo>
                <a:lnTo>
                  <a:pt x="14" y="374"/>
                </a:lnTo>
                <a:lnTo>
                  <a:pt x="5" y="377"/>
                </a:lnTo>
                <a:lnTo>
                  <a:pt x="4" y="379"/>
                </a:lnTo>
                <a:lnTo>
                  <a:pt x="2" y="382"/>
                </a:lnTo>
                <a:lnTo>
                  <a:pt x="0" y="383"/>
                </a:lnTo>
                <a:lnTo>
                  <a:pt x="0" y="386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0" name="Freeform 27"/>
          <p:cNvSpPr>
            <a:spLocks/>
          </p:cNvSpPr>
          <p:nvPr/>
        </p:nvSpPr>
        <p:spPr bwMode="auto">
          <a:xfrm>
            <a:off x="3678841" y="5888391"/>
            <a:ext cx="120826" cy="304960"/>
          </a:xfrm>
          <a:custGeom>
            <a:avLst/>
            <a:gdLst/>
            <a:ahLst/>
            <a:cxnLst>
              <a:cxn ang="0">
                <a:pos x="64" y="4"/>
              </a:cxn>
              <a:cxn ang="0">
                <a:pos x="63" y="11"/>
              </a:cxn>
              <a:cxn ang="0">
                <a:pos x="60" y="15"/>
              </a:cxn>
              <a:cxn ang="0">
                <a:pos x="57" y="18"/>
              </a:cxn>
              <a:cxn ang="0">
                <a:pos x="59" y="22"/>
              </a:cxn>
              <a:cxn ang="0">
                <a:pos x="48" y="22"/>
              </a:cxn>
              <a:cxn ang="0">
                <a:pos x="44" y="26"/>
              </a:cxn>
              <a:cxn ang="0">
                <a:pos x="39" y="27"/>
              </a:cxn>
              <a:cxn ang="0">
                <a:pos x="32" y="33"/>
              </a:cxn>
              <a:cxn ang="0">
                <a:pos x="28" y="40"/>
              </a:cxn>
              <a:cxn ang="0">
                <a:pos x="28" y="44"/>
              </a:cxn>
              <a:cxn ang="0">
                <a:pos x="31" y="51"/>
              </a:cxn>
              <a:cxn ang="0">
                <a:pos x="40" y="59"/>
              </a:cxn>
              <a:cxn ang="0">
                <a:pos x="51" y="60"/>
              </a:cxn>
              <a:cxn ang="0">
                <a:pos x="56" y="62"/>
              </a:cxn>
              <a:cxn ang="0">
                <a:pos x="56" y="68"/>
              </a:cxn>
              <a:cxn ang="0">
                <a:pos x="53" y="71"/>
              </a:cxn>
              <a:cxn ang="0">
                <a:pos x="55" y="76"/>
              </a:cxn>
              <a:cxn ang="0">
                <a:pos x="52" y="79"/>
              </a:cxn>
              <a:cxn ang="0">
                <a:pos x="48" y="79"/>
              </a:cxn>
              <a:cxn ang="0">
                <a:pos x="37" y="87"/>
              </a:cxn>
              <a:cxn ang="0">
                <a:pos x="32" y="92"/>
              </a:cxn>
              <a:cxn ang="0">
                <a:pos x="25" y="98"/>
              </a:cxn>
              <a:cxn ang="0">
                <a:pos x="27" y="99"/>
              </a:cxn>
              <a:cxn ang="0">
                <a:pos x="24" y="110"/>
              </a:cxn>
              <a:cxn ang="0">
                <a:pos x="19" y="114"/>
              </a:cxn>
              <a:cxn ang="0">
                <a:pos x="13" y="112"/>
              </a:cxn>
              <a:cxn ang="0">
                <a:pos x="11" y="112"/>
              </a:cxn>
              <a:cxn ang="0">
                <a:pos x="15" y="114"/>
              </a:cxn>
              <a:cxn ang="0">
                <a:pos x="5" y="120"/>
              </a:cxn>
              <a:cxn ang="0">
                <a:pos x="0" y="131"/>
              </a:cxn>
              <a:cxn ang="0">
                <a:pos x="3" y="129"/>
              </a:cxn>
              <a:cxn ang="0">
                <a:pos x="5" y="137"/>
              </a:cxn>
              <a:cxn ang="0">
                <a:pos x="1" y="139"/>
              </a:cxn>
              <a:cxn ang="0">
                <a:pos x="3" y="140"/>
              </a:cxn>
              <a:cxn ang="0">
                <a:pos x="5" y="142"/>
              </a:cxn>
              <a:cxn ang="0">
                <a:pos x="16" y="151"/>
              </a:cxn>
            </a:cxnLst>
            <a:rect l="0" t="0" r="r" b="b"/>
            <a:pathLst>
              <a:path w="64" h="153">
                <a:moveTo>
                  <a:pt x="63" y="0"/>
                </a:moveTo>
                <a:lnTo>
                  <a:pt x="64" y="4"/>
                </a:lnTo>
                <a:lnTo>
                  <a:pt x="63" y="7"/>
                </a:lnTo>
                <a:lnTo>
                  <a:pt x="63" y="11"/>
                </a:lnTo>
                <a:lnTo>
                  <a:pt x="61" y="13"/>
                </a:lnTo>
                <a:lnTo>
                  <a:pt x="60" y="15"/>
                </a:lnTo>
                <a:lnTo>
                  <a:pt x="59" y="16"/>
                </a:lnTo>
                <a:lnTo>
                  <a:pt x="57" y="18"/>
                </a:lnTo>
                <a:lnTo>
                  <a:pt x="59" y="21"/>
                </a:lnTo>
                <a:lnTo>
                  <a:pt x="59" y="22"/>
                </a:lnTo>
                <a:lnTo>
                  <a:pt x="57" y="24"/>
                </a:lnTo>
                <a:lnTo>
                  <a:pt x="48" y="22"/>
                </a:lnTo>
                <a:lnTo>
                  <a:pt x="45" y="24"/>
                </a:lnTo>
                <a:lnTo>
                  <a:pt x="44" y="26"/>
                </a:lnTo>
                <a:lnTo>
                  <a:pt x="41" y="26"/>
                </a:lnTo>
                <a:lnTo>
                  <a:pt x="39" y="27"/>
                </a:lnTo>
                <a:lnTo>
                  <a:pt x="33" y="32"/>
                </a:lnTo>
                <a:lnTo>
                  <a:pt x="32" y="33"/>
                </a:lnTo>
                <a:lnTo>
                  <a:pt x="31" y="35"/>
                </a:lnTo>
                <a:lnTo>
                  <a:pt x="28" y="40"/>
                </a:lnTo>
                <a:lnTo>
                  <a:pt x="27" y="43"/>
                </a:lnTo>
                <a:lnTo>
                  <a:pt x="28" y="44"/>
                </a:lnTo>
                <a:lnTo>
                  <a:pt x="29" y="48"/>
                </a:lnTo>
                <a:lnTo>
                  <a:pt x="31" y="51"/>
                </a:lnTo>
                <a:lnTo>
                  <a:pt x="33" y="52"/>
                </a:lnTo>
                <a:lnTo>
                  <a:pt x="40" y="59"/>
                </a:lnTo>
                <a:lnTo>
                  <a:pt x="47" y="60"/>
                </a:lnTo>
                <a:lnTo>
                  <a:pt x="51" y="60"/>
                </a:lnTo>
                <a:lnTo>
                  <a:pt x="53" y="60"/>
                </a:lnTo>
                <a:lnTo>
                  <a:pt x="56" y="62"/>
                </a:lnTo>
                <a:lnTo>
                  <a:pt x="56" y="63"/>
                </a:lnTo>
                <a:lnTo>
                  <a:pt x="56" y="68"/>
                </a:lnTo>
                <a:lnTo>
                  <a:pt x="55" y="70"/>
                </a:lnTo>
                <a:lnTo>
                  <a:pt x="53" y="71"/>
                </a:lnTo>
                <a:lnTo>
                  <a:pt x="55" y="73"/>
                </a:lnTo>
                <a:lnTo>
                  <a:pt x="55" y="76"/>
                </a:lnTo>
                <a:lnTo>
                  <a:pt x="52" y="76"/>
                </a:lnTo>
                <a:lnTo>
                  <a:pt x="52" y="79"/>
                </a:lnTo>
                <a:lnTo>
                  <a:pt x="49" y="79"/>
                </a:lnTo>
                <a:lnTo>
                  <a:pt x="48" y="79"/>
                </a:lnTo>
                <a:lnTo>
                  <a:pt x="43" y="84"/>
                </a:lnTo>
                <a:lnTo>
                  <a:pt x="37" y="87"/>
                </a:lnTo>
                <a:lnTo>
                  <a:pt x="36" y="87"/>
                </a:lnTo>
                <a:lnTo>
                  <a:pt x="32" y="92"/>
                </a:lnTo>
                <a:lnTo>
                  <a:pt x="28" y="93"/>
                </a:lnTo>
                <a:lnTo>
                  <a:pt x="25" y="98"/>
                </a:lnTo>
                <a:lnTo>
                  <a:pt x="24" y="101"/>
                </a:lnTo>
                <a:lnTo>
                  <a:pt x="27" y="99"/>
                </a:lnTo>
                <a:lnTo>
                  <a:pt x="24" y="107"/>
                </a:lnTo>
                <a:lnTo>
                  <a:pt x="24" y="110"/>
                </a:lnTo>
                <a:lnTo>
                  <a:pt x="21" y="112"/>
                </a:lnTo>
                <a:lnTo>
                  <a:pt x="19" y="114"/>
                </a:lnTo>
                <a:lnTo>
                  <a:pt x="16" y="114"/>
                </a:lnTo>
                <a:lnTo>
                  <a:pt x="13" y="112"/>
                </a:lnTo>
                <a:lnTo>
                  <a:pt x="11" y="107"/>
                </a:lnTo>
                <a:lnTo>
                  <a:pt x="11" y="112"/>
                </a:lnTo>
                <a:lnTo>
                  <a:pt x="13" y="112"/>
                </a:lnTo>
                <a:lnTo>
                  <a:pt x="15" y="114"/>
                </a:lnTo>
                <a:lnTo>
                  <a:pt x="8" y="118"/>
                </a:lnTo>
                <a:lnTo>
                  <a:pt x="5" y="120"/>
                </a:lnTo>
                <a:lnTo>
                  <a:pt x="1" y="128"/>
                </a:lnTo>
                <a:lnTo>
                  <a:pt x="0" y="131"/>
                </a:lnTo>
                <a:lnTo>
                  <a:pt x="1" y="131"/>
                </a:lnTo>
                <a:lnTo>
                  <a:pt x="3" y="129"/>
                </a:lnTo>
                <a:lnTo>
                  <a:pt x="5" y="134"/>
                </a:lnTo>
                <a:lnTo>
                  <a:pt x="5" y="137"/>
                </a:lnTo>
                <a:lnTo>
                  <a:pt x="5" y="139"/>
                </a:lnTo>
                <a:lnTo>
                  <a:pt x="1" y="139"/>
                </a:lnTo>
                <a:lnTo>
                  <a:pt x="0" y="140"/>
                </a:lnTo>
                <a:lnTo>
                  <a:pt x="3" y="140"/>
                </a:lnTo>
                <a:lnTo>
                  <a:pt x="4" y="140"/>
                </a:lnTo>
                <a:lnTo>
                  <a:pt x="5" y="142"/>
                </a:lnTo>
                <a:lnTo>
                  <a:pt x="9" y="146"/>
                </a:lnTo>
                <a:lnTo>
                  <a:pt x="16" y="151"/>
                </a:lnTo>
                <a:lnTo>
                  <a:pt x="15" y="15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1" name="Freeform 28"/>
          <p:cNvSpPr>
            <a:spLocks/>
          </p:cNvSpPr>
          <p:nvPr/>
        </p:nvSpPr>
        <p:spPr bwMode="auto">
          <a:xfrm>
            <a:off x="3700276" y="6199793"/>
            <a:ext cx="99391" cy="88051"/>
          </a:xfrm>
          <a:custGeom>
            <a:avLst/>
            <a:gdLst/>
            <a:ahLst/>
            <a:cxnLst>
              <a:cxn ang="0">
                <a:pos x="1" y="41"/>
              </a:cxn>
              <a:cxn ang="0">
                <a:pos x="1" y="38"/>
              </a:cxn>
              <a:cxn ang="0">
                <a:pos x="0" y="0"/>
              </a:cxn>
              <a:cxn ang="0">
                <a:pos x="1" y="2"/>
              </a:cxn>
              <a:cxn ang="0">
                <a:pos x="4" y="4"/>
              </a:cxn>
              <a:cxn ang="0">
                <a:pos x="8" y="10"/>
              </a:cxn>
              <a:cxn ang="0">
                <a:pos x="6" y="10"/>
              </a:cxn>
              <a:cxn ang="0">
                <a:pos x="5" y="8"/>
              </a:cxn>
              <a:cxn ang="0">
                <a:pos x="4" y="10"/>
              </a:cxn>
              <a:cxn ang="0">
                <a:pos x="2" y="10"/>
              </a:cxn>
              <a:cxn ang="0">
                <a:pos x="4" y="13"/>
              </a:cxn>
              <a:cxn ang="0">
                <a:pos x="5" y="13"/>
              </a:cxn>
              <a:cxn ang="0">
                <a:pos x="6" y="15"/>
              </a:cxn>
              <a:cxn ang="0">
                <a:pos x="8" y="16"/>
              </a:cxn>
              <a:cxn ang="0">
                <a:pos x="10" y="19"/>
              </a:cxn>
              <a:cxn ang="0">
                <a:pos x="12" y="21"/>
              </a:cxn>
              <a:cxn ang="0">
                <a:pos x="16" y="22"/>
              </a:cxn>
              <a:cxn ang="0">
                <a:pos x="20" y="26"/>
              </a:cxn>
              <a:cxn ang="0">
                <a:pos x="22" y="27"/>
              </a:cxn>
              <a:cxn ang="0">
                <a:pos x="24" y="27"/>
              </a:cxn>
              <a:cxn ang="0">
                <a:pos x="25" y="27"/>
              </a:cxn>
              <a:cxn ang="0">
                <a:pos x="26" y="29"/>
              </a:cxn>
              <a:cxn ang="0">
                <a:pos x="29" y="30"/>
              </a:cxn>
              <a:cxn ang="0">
                <a:pos x="33" y="32"/>
              </a:cxn>
              <a:cxn ang="0">
                <a:pos x="38" y="35"/>
              </a:cxn>
              <a:cxn ang="0">
                <a:pos x="42" y="37"/>
              </a:cxn>
              <a:cxn ang="0">
                <a:pos x="50" y="38"/>
              </a:cxn>
              <a:cxn ang="0">
                <a:pos x="53" y="37"/>
              </a:cxn>
              <a:cxn ang="0">
                <a:pos x="53" y="38"/>
              </a:cxn>
              <a:cxn ang="0">
                <a:pos x="53" y="40"/>
              </a:cxn>
              <a:cxn ang="0">
                <a:pos x="52" y="41"/>
              </a:cxn>
              <a:cxn ang="0">
                <a:pos x="48" y="43"/>
              </a:cxn>
              <a:cxn ang="0">
                <a:pos x="42" y="41"/>
              </a:cxn>
              <a:cxn ang="0">
                <a:pos x="36" y="43"/>
              </a:cxn>
              <a:cxn ang="0">
                <a:pos x="34" y="44"/>
              </a:cxn>
              <a:cxn ang="0">
                <a:pos x="32" y="43"/>
              </a:cxn>
              <a:cxn ang="0">
                <a:pos x="28" y="41"/>
              </a:cxn>
              <a:cxn ang="0">
                <a:pos x="20" y="40"/>
              </a:cxn>
              <a:cxn ang="0">
                <a:pos x="13" y="40"/>
              </a:cxn>
              <a:cxn ang="0">
                <a:pos x="10" y="40"/>
              </a:cxn>
              <a:cxn ang="0">
                <a:pos x="9" y="40"/>
              </a:cxn>
              <a:cxn ang="0">
                <a:pos x="6" y="40"/>
              </a:cxn>
              <a:cxn ang="0">
                <a:pos x="2" y="41"/>
              </a:cxn>
              <a:cxn ang="0">
                <a:pos x="1" y="41"/>
              </a:cxn>
            </a:cxnLst>
            <a:rect l="0" t="0" r="r" b="b"/>
            <a:pathLst>
              <a:path w="53" h="44">
                <a:moveTo>
                  <a:pt x="1" y="41"/>
                </a:moveTo>
                <a:lnTo>
                  <a:pt x="1" y="38"/>
                </a:lnTo>
                <a:lnTo>
                  <a:pt x="0" y="0"/>
                </a:lnTo>
                <a:lnTo>
                  <a:pt x="1" y="2"/>
                </a:lnTo>
                <a:lnTo>
                  <a:pt x="4" y="4"/>
                </a:lnTo>
                <a:lnTo>
                  <a:pt x="8" y="10"/>
                </a:lnTo>
                <a:lnTo>
                  <a:pt x="6" y="10"/>
                </a:lnTo>
                <a:lnTo>
                  <a:pt x="5" y="8"/>
                </a:lnTo>
                <a:lnTo>
                  <a:pt x="4" y="10"/>
                </a:lnTo>
                <a:lnTo>
                  <a:pt x="2" y="10"/>
                </a:lnTo>
                <a:lnTo>
                  <a:pt x="4" y="13"/>
                </a:lnTo>
                <a:lnTo>
                  <a:pt x="5" y="13"/>
                </a:lnTo>
                <a:lnTo>
                  <a:pt x="6" y="15"/>
                </a:lnTo>
                <a:lnTo>
                  <a:pt x="8" y="16"/>
                </a:lnTo>
                <a:lnTo>
                  <a:pt x="10" y="19"/>
                </a:lnTo>
                <a:lnTo>
                  <a:pt x="12" y="21"/>
                </a:lnTo>
                <a:lnTo>
                  <a:pt x="16" y="22"/>
                </a:lnTo>
                <a:lnTo>
                  <a:pt x="20" y="26"/>
                </a:lnTo>
                <a:lnTo>
                  <a:pt x="22" y="27"/>
                </a:lnTo>
                <a:lnTo>
                  <a:pt x="24" y="27"/>
                </a:lnTo>
                <a:lnTo>
                  <a:pt x="25" y="27"/>
                </a:lnTo>
                <a:lnTo>
                  <a:pt x="26" y="29"/>
                </a:lnTo>
                <a:lnTo>
                  <a:pt x="29" y="30"/>
                </a:lnTo>
                <a:lnTo>
                  <a:pt x="33" y="32"/>
                </a:lnTo>
                <a:lnTo>
                  <a:pt x="38" y="35"/>
                </a:lnTo>
                <a:lnTo>
                  <a:pt x="42" y="37"/>
                </a:lnTo>
                <a:lnTo>
                  <a:pt x="50" y="38"/>
                </a:lnTo>
                <a:lnTo>
                  <a:pt x="53" y="37"/>
                </a:lnTo>
                <a:lnTo>
                  <a:pt x="53" y="38"/>
                </a:lnTo>
                <a:lnTo>
                  <a:pt x="53" y="40"/>
                </a:lnTo>
                <a:lnTo>
                  <a:pt x="52" y="41"/>
                </a:lnTo>
                <a:lnTo>
                  <a:pt x="48" y="43"/>
                </a:lnTo>
                <a:lnTo>
                  <a:pt x="42" y="41"/>
                </a:lnTo>
                <a:lnTo>
                  <a:pt x="36" y="43"/>
                </a:lnTo>
                <a:lnTo>
                  <a:pt x="34" y="44"/>
                </a:lnTo>
                <a:lnTo>
                  <a:pt x="32" y="43"/>
                </a:lnTo>
                <a:lnTo>
                  <a:pt x="28" y="41"/>
                </a:lnTo>
                <a:lnTo>
                  <a:pt x="20" y="40"/>
                </a:lnTo>
                <a:lnTo>
                  <a:pt x="13" y="40"/>
                </a:lnTo>
                <a:lnTo>
                  <a:pt x="10" y="40"/>
                </a:lnTo>
                <a:lnTo>
                  <a:pt x="9" y="40"/>
                </a:lnTo>
                <a:lnTo>
                  <a:pt x="6" y="40"/>
                </a:lnTo>
                <a:lnTo>
                  <a:pt x="2" y="41"/>
                </a:lnTo>
                <a:lnTo>
                  <a:pt x="1" y="41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2" name="Freeform 29"/>
          <p:cNvSpPr>
            <a:spLocks/>
          </p:cNvSpPr>
          <p:nvPr/>
        </p:nvSpPr>
        <p:spPr bwMode="auto">
          <a:xfrm>
            <a:off x="3700276" y="6199793"/>
            <a:ext cx="99391" cy="88051"/>
          </a:xfrm>
          <a:custGeom>
            <a:avLst/>
            <a:gdLst/>
            <a:ahLst/>
            <a:cxnLst>
              <a:cxn ang="0">
                <a:pos x="1" y="41"/>
              </a:cxn>
              <a:cxn ang="0">
                <a:pos x="1" y="38"/>
              </a:cxn>
              <a:cxn ang="0">
                <a:pos x="0" y="0"/>
              </a:cxn>
              <a:cxn ang="0">
                <a:pos x="1" y="2"/>
              </a:cxn>
              <a:cxn ang="0">
                <a:pos x="4" y="4"/>
              </a:cxn>
              <a:cxn ang="0">
                <a:pos x="8" y="10"/>
              </a:cxn>
              <a:cxn ang="0">
                <a:pos x="6" y="10"/>
              </a:cxn>
              <a:cxn ang="0">
                <a:pos x="5" y="8"/>
              </a:cxn>
              <a:cxn ang="0">
                <a:pos x="4" y="10"/>
              </a:cxn>
              <a:cxn ang="0">
                <a:pos x="2" y="10"/>
              </a:cxn>
              <a:cxn ang="0">
                <a:pos x="4" y="13"/>
              </a:cxn>
              <a:cxn ang="0">
                <a:pos x="5" y="13"/>
              </a:cxn>
              <a:cxn ang="0">
                <a:pos x="6" y="15"/>
              </a:cxn>
              <a:cxn ang="0">
                <a:pos x="8" y="16"/>
              </a:cxn>
              <a:cxn ang="0">
                <a:pos x="10" y="19"/>
              </a:cxn>
              <a:cxn ang="0">
                <a:pos x="12" y="21"/>
              </a:cxn>
              <a:cxn ang="0">
                <a:pos x="16" y="22"/>
              </a:cxn>
              <a:cxn ang="0">
                <a:pos x="20" y="26"/>
              </a:cxn>
              <a:cxn ang="0">
                <a:pos x="22" y="27"/>
              </a:cxn>
              <a:cxn ang="0">
                <a:pos x="24" y="27"/>
              </a:cxn>
              <a:cxn ang="0">
                <a:pos x="25" y="27"/>
              </a:cxn>
              <a:cxn ang="0">
                <a:pos x="26" y="29"/>
              </a:cxn>
              <a:cxn ang="0">
                <a:pos x="29" y="30"/>
              </a:cxn>
              <a:cxn ang="0">
                <a:pos x="33" y="32"/>
              </a:cxn>
              <a:cxn ang="0">
                <a:pos x="38" y="35"/>
              </a:cxn>
              <a:cxn ang="0">
                <a:pos x="42" y="37"/>
              </a:cxn>
              <a:cxn ang="0">
                <a:pos x="50" y="38"/>
              </a:cxn>
              <a:cxn ang="0">
                <a:pos x="53" y="37"/>
              </a:cxn>
              <a:cxn ang="0">
                <a:pos x="53" y="38"/>
              </a:cxn>
              <a:cxn ang="0">
                <a:pos x="53" y="40"/>
              </a:cxn>
              <a:cxn ang="0">
                <a:pos x="52" y="41"/>
              </a:cxn>
              <a:cxn ang="0">
                <a:pos x="48" y="43"/>
              </a:cxn>
              <a:cxn ang="0">
                <a:pos x="42" y="41"/>
              </a:cxn>
              <a:cxn ang="0">
                <a:pos x="36" y="43"/>
              </a:cxn>
              <a:cxn ang="0">
                <a:pos x="34" y="44"/>
              </a:cxn>
              <a:cxn ang="0">
                <a:pos x="32" y="43"/>
              </a:cxn>
              <a:cxn ang="0">
                <a:pos x="28" y="41"/>
              </a:cxn>
              <a:cxn ang="0">
                <a:pos x="20" y="40"/>
              </a:cxn>
              <a:cxn ang="0">
                <a:pos x="13" y="40"/>
              </a:cxn>
              <a:cxn ang="0">
                <a:pos x="10" y="40"/>
              </a:cxn>
              <a:cxn ang="0">
                <a:pos x="9" y="40"/>
              </a:cxn>
              <a:cxn ang="0">
                <a:pos x="6" y="40"/>
              </a:cxn>
              <a:cxn ang="0">
                <a:pos x="2" y="41"/>
              </a:cxn>
              <a:cxn ang="0">
                <a:pos x="1" y="41"/>
              </a:cxn>
            </a:cxnLst>
            <a:rect l="0" t="0" r="r" b="b"/>
            <a:pathLst>
              <a:path w="53" h="44">
                <a:moveTo>
                  <a:pt x="1" y="41"/>
                </a:moveTo>
                <a:lnTo>
                  <a:pt x="1" y="38"/>
                </a:lnTo>
                <a:lnTo>
                  <a:pt x="0" y="0"/>
                </a:lnTo>
                <a:lnTo>
                  <a:pt x="1" y="2"/>
                </a:lnTo>
                <a:lnTo>
                  <a:pt x="4" y="4"/>
                </a:lnTo>
                <a:lnTo>
                  <a:pt x="8" y="10"/>
                </a:lnTo>
                <a:lnTo>
                  <a:pt x="6" y="10"/>
                </a:lnTo>
                <a:lnTo>
                  <a:pt x="5" y="8"/>
                </a:lnTo>
                <a:lnTo>
                  <a:pt x="4" y="10"/>
                </a:lnTo>
                <a:lnTo>
                  <a:pt x="2" y="10"/>
                </a:lnTo>
                <a:lnTo>
                  <a:pt x="4" y="13"/>
                </a:lnTo>
                <a:lnTo>
                  <a:pt x="5" y="13"/>
                </a:lnTo>
                <a:lnTo>
                  <a:pt x="6" y="15"/>
                </a:lnTo>
                <a:lnTo>
                  <a:pt x="8" y="16"/>
                </a:lnTo>
                <a:lnTo>
                  <a:pt x="10" y="19"/>
                </a:lnTo>
                <a:lnTo>
                  <a:pt x="12" y="21"/>
                </a:lnTo>
                <a:lnTo>
                  <a:pt x="16" y="22"/>
                </a:lnTo>
                <a:lnTo>
                  <a:pt x="20" y="26"/>
                </a:lnTo>
                <a:lnTo>
                  <a:pt x="22" y="27"/>
                </a:lnTo>
                <a:lnTo>
                  <a:pt x="24" y="27"/>
                </a:lnTo>
                <a:lnTo>
                  <a:pt x="25" y="27"/>
                </a:lnTo>
                <a:lnTo>
                  <a:pt x="26" y="29"/>
                </a:lnTo>
                <a:lnTo>
                  <a:pt x="29" y="30"/>
                </a:lnTo>
                <a:lnTo>
                  <a:pt x="33" y="32"/>
                </a:lnTo>
                <a:lnTo>
                  <a:pt x="38" y="35"/>
                </a:lnTo>
                <a:lnTo>
                  <a:pt x="42" y="37"/>
                </a:lnTo>
                <a:lnTo>
                  <a:pt x="50" y="38"/>
                </a:lnTo>
                <a:lnTo>
                  <a:pt x="53" y="37"/>
                </a:lnTo>
                <a:lnTo>
                  <a:pt x="53" y="38"/>
                </a:lnTo>
                <a:lnTo>
                  <a:pt x="53" y="40"/>
                </a:lnTo>
                <a:lnTo>
                  <a:pt x="52" y="41"/>
                </a:lnTo>
                <a:lnTo>
                  <a:pt x="48" y="43"/>
                </a:lnTo>
                <a:lnTo>
                  <a:pt x="42" y="41"/>
                </a:lnTo>
                <a:lnTo>
                  <a:pt x="36" y="43"/>
                </a:lnTo>
                <a:lnTo>
                  <a:pt x="34" y="44"/>
                </a:lnTo>
                <a:lnTo>
                  <a:pt x="32" y="43"/>
                </a:lnTo>
                <a:lnTo>
                  <a:pt x="28" y="41"/>
                </a:lnTo>
                <a:lnTo>
                  <a:pt x="20" y="40"/>
                </a:lnTo>
                <a:lnTo>
                  <a:pt x="13" y="40"/>
                </a:lnTo>
                <a:lnTo>
                  <a:pt x="10" y="40"/>
                </a:lnTo>
                <a:lnTo>
                  <a:pt x="9" y="40"/>
                </a:lnTo>
                <a:lnTo>
                  <a:pt x="6" y="40"/>
                </a:lnTo>
                <a:lnTo>
                  <a:pt x="2" y="41"/>
                </a:lnTo>
                <a:lnTo>
                  <a:pt x="1" y="4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3" name="Freeform 30"/>
          <p:cNvSpPr>
            <a:spLocks/>
          </p:cNvSpPr>
          <p:nvPr/>
        </p:nvSpPr>
        <p:spPr bwMode="auto">
          <a:xfrm>
            <a:off x="4004291" y="4133795"/>
            <a:ext cx="118878" cy="146038"/>
          </a:xfrm>
          <a:custGeom>
            <a:avLst/>
            <a:gdLst/>
            <a:ahLst/>
            <a:cxnLst>
              <a:cxn ang="0">
                <a:pos x="53" y="65"/>
              </a:cxn>
              <a:cxn ang="0">
                <a:pos x="47" y="62"/>
              </a:cxn>
              <a:cxn ang="0">
                <a:pos x="40" y="63"/>
              </a:cxn>
              <a:cxn ang="0">
                <a:pos x="36" y="63"/>
              </a:cxn>
              <a:cxn ang="0">
                <a:pos x="33" y="71"/>
              </a:cxn>
              <a:cxn ang="0">
                <a:pos x="28" y="73"/>
              </a:cxn>
              <a:cxn ang="0">
                <a:pos x="24" y="71"/>
              </a:cxn>
              <a:cxn ang="0">
                <a:pos x="18" y="62"/>
              </a:cxn>
              <a:cxn ang="0">
                <a:pos x="16" y="57"/>
              </a:cxn>
              <a:cxn ang="0">
                <a:pos x="15" y="52"/>
              </a:cxn>
              <a:cxn ang="0">
                <a:pos x="12" y="47"/>
              </a:cxn>
              <a:cxn ang="0">
                <a:pos x="8" y="46"/>
              </a:cxn>
              <a:cxn ang="0">
                <a:pos x="7" y="43"/>
              </a:cxn>
              <a:cxn ang="0">
                <a:pos x="4" y="40"/>
              </a:cxn>
              <a:cxn ang="0">
                <a:pos x="0" y="33"/>
              </a:cxn>
              <a:cxn ang="0">
                <a:pos x="2" y="29"/>
              </a:cxn>
              <a:cxn ang="0">
                <a:pos x="3" y="21"/>
              </a:cxn>
              <a:cxn ang="0">
                <a:pos x="4" y="18"/>
              </a:cxn>
              <a:cxn ang="0">
                <a:pos x="8" y="18"/>
              </a:cxn>
              <a:cxn ang="0">
                <a:pos x="11" y="16"/>
              </a:cxn>
              <a:cxn ang="0">
                <a:pos x="12" y="11"/>
              </a:cxn>
              <a:cxn ang="0">
                <a:pos x="12" y="10"/>
              </a:cxn>
              <a:cxn ang="0">
                <a:pos x="16" y="4"/>
              </a:cxn>
              <a:cxn ang="0">
                <a:pos x="19" y="0"/>
              </a:cxn>
              <a:cxn ang="0">
                <a:pos x="25" y="4"/>
              </a:cxn>
              <a:cxn ang="0">
                <a:pos x="37" y="0"/>
              </a:cxn>
              <a:cxn ang="0">
                <a:pos x="45" y="2"/>
              </a:cxn>
              <a:cxn ang="0">
                <a:pos x="48" y="0"/>
              </a:cxn>
              <a:cxn ang="0">
                <a:pos x="61" y="4"/>
              </a:cxn>
              <a:cxn ang="0">
                <a:pos x="61" y="8"/>
              </a:cxn>
              <a:cxn ang="0">
                <a:pos x="60" y="11"/>
              </a:cxn>
              <a:cxn ang="0">
                <a:pos x="56" y="18"/>
              </a:cxn>
              <a:cxn ang="0">
                <a:pos x="57" y="30"/>
              </a:cxn>
              <a:cxn ang="0">
                <a:pos x="60" y="38"/>
              </a:cxn>
              <a:cxn ang="0">
                <a:pos x="63" y="41"/>
              </a:cxn>
              <a:cxn ang="0">
                <a:pos x="60" y="54"/>
              </a:cxn>
              <a:cxn ang="0">
                <a:pos x="56" y="65"/>
              </a:cxn>
            </a:cxnLst>
            <a:rect l="0" t="0" r="r" b="b"/>
            <a:pathLst>
              <a:path w="63" h="73">
                <a:moveTo>
                  <a:pt x="56" y="65"/>
                </a:moveTo>
                <a:lnTo>
                  <a:pt x="53" y="65"/>
                </a:lnTo>
                <a:lnTo>
                  <a:pt x="53" y="63"/>
                </a:lnTo>
                <a:lnTo>
                  <a:pt x="47" y="62"/>
                </a:lnTo>
                <a:lnTo>
                  <a:pt x="41" y="63"/>
                </a:lnTo>
                <a:lnTo>
                  <a:pt x="40" y="63"/>
                </a:lnTo>
                <a:lnTo>
                  <a:pt x="37" y="63"/>
                </a:lnTo>
                <a:lnTo>
                  <a:pt x="36" y="63"/>
                </a:lnTo>
                <a:lnTo>
                  <a:pt x="33" y="63"/>
                </a:lnTo>
                <a:lnTo>
                  <a:pt x="33" y="71"/>
                </a:lnTo>
                <a:lnTo>
                  <a:pt x="33" y="73"/>
                </a:lnTo>
                <a:lnTo>
                  <a:pt x="28" y="73"/>
                </a:lnTo>
                <a:lnTo>
                  <a:pt x="25" y="71"/>
                </a:lnTo>
                <a:lnTo>
                  <a:pt x="24" y="71"/>
                </a:lnTo>
                <a:lnTo>
                  <a:pt x="22" y="68"/>
                </a:lnTo>
                <a:lnTo>
                  <a:pt x="18" y="62"/>
                </a:lnTo>
                <a:lnTo>
                  <a:pt x="16" y="58"/>
                </a:lnTo>
                <a:lnTo>
                  <a:pt x="16" y="57"/>
                </a:lnTo>
                <a:lnTo>
                  <a:pt x="15" y="55"/>
                </a:lnTo>
                <a:lnTo>
                  <a:pt x="15" y="52"/>
                </a:lnTo>
                <a:lnTo>
                  <a:pt x="14" y="51"/>
                </a:lnTo>
                <a:lnTo>
                  <a:pt x="12" y="47"/>
                </a:lnTo>
                <a:lnTo>
                  <a:pt x="12" y="46"/>
                </a:lnTo>
                <a:lnTo>
                  <a:pt x="8" y="46"/>
                </a:lnTo>
                <a:lnTo>
                  <a:pt x="7" y="44"/>
                </a:lnTo>
                <a:lnTo>
                  <a:pt x="7" y="43"/>
                </a:lnTo>
                <a:lnTo>
                  <a:pt x="4" y="41"/>
                </a:lnTo>
                <a:lnTo>
                  <a:pt x="4" y="40"/>
                </a:lnTo>
                <a:lnTo>
                  <a:pt x="2" y="36"/>
                </a:lnTo>
                <a:lnTo>
                  <a:pt x="0" y="33"/>
                </a:lnTo>
                <a:lnTo>
                  <a:pt x="0" y="32"/>
                </a:lnTo>
                <a:lnTo>
                  <a:pt x="2" y="29"/>
                </a:lnTo>
                <a:lnTo>
                  <a:pt x="3" y="25"/>
                </a:lnTo>
                <a:lnTo>
                  <a:pt x="3" y="21"/>
                </a:lnTo>
                <a:lnTo>
                  <a:pt x="3" y="19"/>
                </a:lnTo>
                <a:lnTo>
                  <a:pt x="4" y="18"/>
                </a:lnTo>
                <a:lnTo>
                  <a:pt x="7" y="18"/>
                </a:lnTo>
                <a:lnTo>
                  <a:pt x="8" y="18"/>
                </a:lnTo>
                <a:lnTo>
                  <a:pt x="11" y="18"/>
                </a:lnTo>
                <a:lnTo>
                  <a:pt x="11" y="16"/>
                </a:lnTo>
                <a:lnTo>
                  <a:pt x="12" y="13"/>
                </a:lnTo>
                <a:lnTo>
                  <a:pt x="12" y="11"/>
                </a:lnTo>
                <a:lnTo>
                  <a:pt x="11" y="10"/>
                </a:lnTo>
                <a:lnTo>
                  <a:pt x="12" y="10"/>
                </a:lnTo>
                <a:lnTo>
                  <a:pt x="14" y="5"/>
                </a:lnTo>
                <a:lnTo>
                  <a:pt x="16" y="4"/>
                </a:lnTo>
                <a:lnTo>
                  <a:pt x="16" y="2"/>
                </a:lnTo>
                <a:lnTo>
                  <a:pt x="19" y="0"/>
                </a:lnTo>
                <a:lnTo>
                  <a:pt x="20" y="0"/>
                </a:lnTo>
                <a:lnTo>
                  <a:pt x="25" y="4"/>
                </a:lnTo>
                <a:lnTo>
                  <a:pt x="31" y="4"/>
                </a:lnTo>
                <a:lnTo>
                  <a:pt x="37" y="0"/>
                </a:lnTo>
                <a:lnTo>
                  <a:pt x="43" y="2"/>
                </a:lnTo>
                <a:lnTo>
                  <a:pt x="45" y="2"/>
                </a:lnTo>
                <a:lnTo>
                  <a:pt x="47" y="0"/>
                </a:lnTo>
                <a:lnTo>
                  <a:pt x="48" y="0"/>
                </a:lnTo>
                <a:lnTo>
                  <a:pt x="55" y="2"/>
                </a:lnTo>
                <a:lnTo>
                  <a:pt x="61" y="4"/>
                </a:lnTo>
                <a:lnTo>
                  <a:pt x="61" y="5"/>
                </a:lnTo>
                <a:lnTo>
                  <a:pt x="61" y="8"/>
                </a:lnTo>
                <a:lnTo>
                  <a:pt x="61" y="10"/>
                </a:lnTo>
                <a:lnTo>
                  <a:pt x="60" y="11"/>
                </a:lnTo>
                <a:lnTo>
                  <a:pt x="57" y="13"/>
                </a:lnTo>
                <a:lnTo>
                  <a:pt x="56" y="18"/>
                </a:lnTo>
                <a:lnTo>
                  <a:pt x="56" y="24"/>
                </a:lnTo>
                <a:lnTo>
                  <a:pt x="57" y="30"/>
                </a:lnTo>
                <a:lnTo>
                  <a:pt x="59" y="33"/>
                </a:lnTo>
                <a:lnTo>
                  <a:pt x="60" y="38"/>
                </a:lnTo>
                <a:lnTo>
                  <a:pt x="61" y="38"/>
                </a:lnTo>
                <a:lnTo>
                  <a:pt x="63" y="41"/>
                </a:lnTo>
                <a:lnTo>
                  <a:pt x="61" y="46"/>
                </a:lnTo>
                <a:lnTo>
                  <a:pt x="60" y="54"/>
                </a:lnTo>
                <a:lnTo>
                  <a:pt x="60" y="60"/>
                </a:lnTo>
                <a:lnTo>
                  <a:pt x="56" y="65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4" name="Freeform 31"/>
          <p:cNvSpPr>
            <a:spLocks/>
          </p:cNvSpPr>
          <p:nvPr/>
        </p:nvSpPr>
        <p:spPr bwMode="auto">
          <a:xfrm>
            <a:off x="4004291" y="4133795"/>
            <a:ext cx="118878" cy="146038"/>
          </a:xfrm>
          <a:custGeom>
            <a:avLst/>
            <a:gdLst/>
            <a:ahLst/>
            <a:cxnLst>
              <a:cxn ang="0">
                <a:pos x="53" y="65"/>
              </a:cxn>
              <a:cxn ang="0">
                <a:pos x="47" y="62"/>
              </a:cxn>
              <a:cxn ang="0">
                <a:pos x="40" y="63"/>
              </a:cxn>
              <a:cxn ang="0">
                <a:pos x="36" y="63"/>
              </a:cxn>
              <a:cxn ang="0">
                <a:pos x="33" y="71"/>
              </a:cxn>
              <a:cxn ang="0">
                <a:pos x="28" y="73"/>
              </a:cxn>
              <a:cxn ang="0">
                <a:pos x="24" y="71"/>
              </a:cxn>
              <a:cxn ang="0">
                <a:pos x="18" y="62"/>
              </a:cxn>
              <a:cxn ang="0">
                <a:pos x="16" y="57"/>
              </a:cxn>
              <a:cxn ang="0">
                <a:pos x="15" y="52"/>
              </a:cxn>
              <a:cxn ang="0">
                <a:pos x="12" y="47"/>
              </a:cxn>
              <a:cxn ang="0">
                <a:pos x="8" y="46"/>
              </a:cxn>
              <a:cxn ang="0">
                <a:pos x="7" y="43"/>
              </a:cxn>
              <a:cxn ang="0">
                <a:pos x="4" y="40"/>
              </a:cxn>
              <a:cxn ang="0">
                <a:pos x="0" y="33"/>
              </a:cxn>
              <a:cxn ang="0">
                <a:pos x="2" y="29"/>
              </a:cxn>
              <a:cxn ang="0">
                <a:pos x="3" y="21"/>
              </a:cxn>
              <a:cxn ang="0">
                <a:pos x="4" y="18"/>
              </a:cxn>
              <a:cxn ang="0">
                <a:pos x="8" y="18"/>
              </a:cxn>
              <a:cxn ang="0">
                <a:pos x="11" y="16"/>
              </a:cxn>
              <a:cxn ang="0">
                <a:pos x="12" y="11"/>
              </a:cxn>
              <a:cxn ang="0">
                <a:pos x="12" y="10"/>
              </a:cxn>
              <a:cxn ang="0">
                <a:pos x="16" y="4"/>
              </a:cxn>
              <a:cxn ang="0">
                <a:pos x="19" y="0"/>
              </a:cxn>
              <a:cxn ang="0">
                <a:pos x="25" y="4"/>
              </a:cxn>
              <a:cxn ang="0">
                <a:pos x="37" y="0"/>
              </a:cxn>
              <a:cxn ang="0">
                <a:pos x="45" y="2"/>
              </a:cxn>
              <a:cxn ang="0">
                <a:pos x="48" y="0"/>
              </a:cxn>
              <a:cxn ang="0">
                <a:pos x="61" y="4"/>
              </a:cxn>
              <a:cxn ang="0">
                <a:pos x="61" y="8"/>
              </a:cxn>
              <a:cxn ang="0">
                <a:pos x="60" y="11"/>
              </a:cxn>
              <a:cxn ang="0">
                <a:pos x="56" y="18"/>
              </a:cxn>
              <a:cxn ang="0">
                <a:pos x="57" y="30"/>
              </a:cxn>
              <a:cxn ang="0">
                <a:pos x="60" y="38"/>
              </a:cxn>
              <a:cxn ang="0">
                <a:pos x="63" y="41"/>
              </a:cxn>
              <a:cxn ang="0">
                <a:pos x="60" y="54"/>
              </a:cxn>
              <a:cxn ang="0">
                <a:pos x="56" y="65"/>
              </a:cxn>
            </a:cxnLst>
            <a:rect l="0" t="0" r="r" b="b"/>
            <a:pathLst>
              <a:path w="63" h="73">
                <a:moveTo>
                  <a:pt x="56" y="65"/>
                </a:moveTo>
                <a:lnTo>
                  <a:pt x="53" y="65"/>
                </a:lnTo>
                <a:lnTo>
                  <a:pt x="53" y="63"/>
                </a:lnTo>
                <a:lnTo>
                  <a:pt x="47" y="62"/>
                </a:lnTo>
                <a:lnTo>
                  <a:pt x="41" y="63"/>
                </a:lnTo>
                <a:lnTo>
                  <a:pt x="40" y="63"/>
                </a:lnTo>
                <a:lnTo>
                  <a:pt x="37" y="63"/>
                </a:lnTo>
                <a:lnTo>
                  <a:pt x="36" y="63"/>
                </a:lnTo>
                <a:lnTo>
                  <a:pt x="33" y="63"/>
                </a:lnTo>
                <a:lnTo>
                  <a:pt x="33" y="71"/>
                </a:lnTo>
                <a:lnTo>
                  <a:pt x="33" y="73"/>
                </a:lnTo>
                <a:lnTo>
                  <a:pt x="28" y="73"/>
                </a:lnTo>
                <a:lnTo>
                  <a:pt x="25" y="71"/>
                </a:lnTo>
                <a:lnTo>
                  <a:pt x="24" y="71"/>
                </a:lnTo>
                <a:lnTo>
                  <a:pt x="22" y="68"/>
                </a:lnTo>
                <a:lnTo>
                  <a:pt x="18" y="62"/>
                </a:lnTo>
                <a:lnTo>
                  <a:pt x="16" y="58"/>
                </a:lnTo>
                <a:lnTo>
                  <a:pt x="16" y="57"/>
                </a:lnTo>
                <a:lnTo>
                  <a:pt x="15" y="55"/>
                </a:lnTo>
                <a:lnTo>
                  <a:pt x="15" y="52"/>
                </a:lnTo>
                <a:lnTo>
                  <a:pt x="14" y="51"/>
                </a:lnTo>
                <a:lnTo>
                  <a:pt x="12" y="47"/>
                </a:lnTo>
                <a:lnTo>
                  <a:pt x="12" y="46"/>
                </a:lnTo>
                <a:lnTo>
                  <a:pt x="8" y="46"/>
                </a:lnTo>
                <a:lnTo>
                  <a:pt x="7" y="44"/>
                </a:lnTo>
                <a:lnTo>
                  <a:pt x="7" y="43"/>
                </a:lnTo>
                <a:lnTo>
                  <a:pt x="4" y="41"/>
                </a:lnTo>
                <a:lnTo>
                  <a:pt x="4" y="40"/>
                </a:lnTo>
                <a:lnTo>
                  <a:pt x="2" y="36"/>
                </a:lnTo>
                <a:lnTo>
                  <a:pt x="0" y="33"/>
                </a:lnTo>
                <a:lnTo>
                  <a:pt x="0" y="32"/>
                </a:lnTo>
                <a:lnTo>
                  <a:pt x="2" y="29"/>
                </a:lnTo>
                <a:lnTo>
                  <a:pt x="3" y="25"/>
                </a:lnTo>
                <a:lnTo>
                  <a:pt x="3" y="21"/>
                </a:lnTo>
                <a:lnTo>
                  <a:pt x="3" y="19"/>
                </a:lnTo>
                <a:lnTo>
                  <a:pt x="4" y="18"/>
                </a:lnTo>
                <a:lnTo>
                  <a:pt x="7" y="18"/>
                </a:lnTo>
                <a:lnTo>
                  <a:pt x="8" y="18"/>
                </a:lnTo>
                <a:lnTo>
                  <a:pt x="11" y="18"/>
                </a:lnTo>
                <a:lnTo>
                  <a:pt x="11" y="16"/>
                </a:lnTo>
                <a:lnTo>
                  <a:pt x="12" y="13"/>
                </a:lnTo>
                <a:lnTo>
                  <a:pt x="12" y="11"/>
                </a:lnTo>
                <a:lnTo>
                  <a:pt x="11" y="10"/>
                </a:lnTo>
                <a:lnTo>
                  <a:pt x="12" y="10"/>
                </a:lnTo>
                <a:lnTo>
                  <a:pt x="14" y="5"/>
                </a:lnTo>
                <a:lnTo>
                  <a:pt x="16" y="4"/>
                </a:lnTo>
                <a:lnTo>
                  <a:pt x="16" y="2"/>
                </a:lnTo>
                <a:lnTo>
                  <a:pt x="19" y="0"/>
                </a:lnTo>
                <a:lnTo>
                  <a:pt x="20" y="0"/>
                </a:lnTo>
                <a:lnTo>
                  <a:pt x="25" y="4"/>
                </a:lnTo>
                <a:lnTo>
                  <a:pt x="31" y="4"/>
                </a:lnTo>
                <a:lnTo>
                  <a:pt x="37" y="0"/>
                </a:lnTo>
                <a:lnTo>
                  <a:pt x="43" y="2"/>
                </a:lnTo>
                <a:lnTo>
                  <a:pt x="45" y="2"/>
                </a:lnTo>
                <a:lnTo>
                  <a:pt x="47" y="0"/>
                </a:lnTo>
                <a:lnTo>
                  <a:pt x="48" y="0"/>
                </a:lnTo>
                <a:lnTo>
                  <a:pt x="55" y="2"/>
                </a:lnTo>
                <a:lnTo>
                  <a:pt x="61" y="4"/>
                </a:lnTo>
                <a:lnTo>
                  <a:pt x="61" y="5"/>
                </a:lnTo>
                <a:lnTo>
                  <a:pt x="61" y="8"/>
                </a:lnTo>
                <a:lnTo>
                  <a:pt x="61" y="10"/>
                </a:lnTo>
                <a:lnTo>
                  <a:pt x="60" y="11"/>
                </a:lnTo>
                <a:lnTo>
                  <a:pt x="57" y="13"/>
                </a:lnTo>
                <a:lnTo>
                  <a:pt x="56" y="18"/>
                </a:lnTo>
                <a:lnTo>
                  <a:pt x="56" y="24"/>
                </a:lnTo>
                <a:lnTo>
                  <a:pt x="57" y="30"/>
                </a:lnTo>
                <a:lnTo>
                  <a:pt x="59" y="33"/>
                </a:lnTo>
                <a:lnTo>
                  <a:pt x="60" y="38"/>
                </a:lnTo>
                <a:lnTo>
                  <a:pt x="61" y="38"/>
                </a:lnTo>
                <a:lnTo>
                  <a:pt x="63" y="41"/>
                </a:lnTo>
                <a:lnTo>
                  <a:pt x="61" y="46"/>
                </a:lnTo>
                <a:lnTo>
                  <a:pt x="60" y="54"/>
                </a:lnTo>
                <a:lnTo>
                  <a:pt x="60" y="60"/>
                </a:lnTo>
                <a:lnTo>
                  <a:pt x="56" y="65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5" name="Freeform 32"/>
          <p:cNvSpPr>
            <a:spLocks/>
          </p:cNvSpPr>
          <p:nvPr/>
        </p:nvSpPr>
        <p:spPr bwMode="auto">
          <a:xfrm>
            <a:off x="6337023" y="2364165"/>
            <a:ext cx="278680" cy="169660"/>
          </a:xfrm>
          <a:custGeom>
            <a:avLst/>
            <a:gdLst/>
            <a:ahLst/>
            <a:cxnLst>
              <a:cxn ang="0">
                <a:pos x="3" y="71"/>
              </a:cxn>
              <a:cxn ang="0">
                <a:pos x="8" y="64"/>
              </a:cxn>
              <a:cxn ang="0">
                <a:pos x="11" y="53"/>
              </a:cxn>
              <a:cxn ang="0">
                <a:pos x="9" y="39"/>
              </a:cxn>
              <a:cxn ang="0">
                <a:pos x="20" y="38"/>
              </a:cxn>
              <a:cxn ang="0">
                <a:pos x="27" y="38"/>
              </a:cxn>
              <a:cxn ang="0">
                <a:pos x="29" y="34"/>
              </a:cxn>
              <a:cxn ang="0">
                <a:pos x="35" y="33"/>
              </a:cxn>
              <a:cxn ang="0">
                <a:pos x="40" y="34"/>
              </a:cxn>
              <a:cxn ang="0">
                <a:pos x="37" y="30"/>
              </a:cxn>
              <a:cxn ang="0">
                <a:pos x="40" y="25"/>
              </a:cxn>
              <a:cxn ang="0">
                <a:pos x="41" y="20"/>
              </a:cxn>
              <a:cxn ang="0">
                <a:pos x="46" y="17"/>
              </a:cxn>
              <a:cxn ang="0">
                <a:pos x="54" y="14"/>
              </a:cxn>
              <a:cxn ang="0">
                <a:pos x="50" y="11"/>
              </a:cxn>
              <a:cxn ang="0">
                <a:pos x="56" y="8"/>
              </a:cxn>
              <a:cxn ang="0">
                <a:pos x="61" y="5"/>
              </a:cxn>
              <a:cxn ang="0">
                <a:pos x="70" y="3"/>
              </a:cxn>
              <a:cxn ang="0">
                <a:pos x="76" y="0"/>
              </a:cxn>
              <a:cxn ang="0">
                <a:pos x="85" y="0"/>
              </a:cxn>
              <a:cxn ang="0">
                <a:pos x="93" y="1"/>
              </a:cxn>
              <a:cxn ang="0">
                <a:pos x="100" y="6"/>
              </a:cxn>
              <a:cxn ang="0">
                <a:pos x="108" y="5"/>
              </a:cxn>
              <a:cxn ang="0">
                <a:pos x="114" y="6"/>
              </a:cxn>
              <a:cxn ang="0">
                <a:pos x="118" y="11"/>
              </a:cxn>
              <a:cxn ang="0">
                <a:pos x="120" y="16"/>
              </a:cxn>
              <a:cxn ang="0">
                <a:pos x="117" y="20"/>
              </a:cxn>
              <a:cxn ang="0">
                <a:pos x="121" y="25"/>
              </a:cxn>
              <a:cxn ang="0">
                <a:pos x="126" y="34"/>
              </a:cxn>
              <a:cxn ang="0">
                <a:pos x="132" y="38"/>
              </a:cxn>
              <a:cxn ang="0">
                <a:pos x="140" y="41"/>
              </a:cxn>
              <a:cxn ang="0">
                <a:pos x="142" y="44"/>
              </a:cxn>
              <a:cxn ang="0">
                <a:pos x="146" y="47"/>
              </a:cxn>
              <a:cxn ang="0">
                <a:pos x="140" y="52"/>
              </a:cxn>
              <a:cxn ang="0">
                <a:pos x="130" y="50"/>
              </a:cxn>
              <a:cxn ang="0">
                <a:pos x="126" y="52"/>
              </a:cxn>
              <a:cxn ang="0">
                <a:pos x="128" y="56"/>
              </a:cxn>
              <a:cxn ang="0">
                <a:pos x="129" y="61"/>
              </a:cxn>
              <a:cxn ang="0">
                <a:pos x="130" y="64"/>
              </a:cxn>
              <a:cxn ang="0">
                <a:pos x="126" y="71"/>
              </a:cxn>
              <a:cxn ang="0">
                <a:pos x="120" y="72"/>
              </a:cxn>
              <a:cxn ang="0">
                <a:pos x="114" y="78"/>
              </a:cxn>
              <a:cxn ang="0">
                <a:pos x="113" y="86"/>
              </a:cxn>
              <a:cxn ang="0">
                <a:pos x="108" y="85"/>
              </a:cxn>
              <a:cxn ang="0">
                <a:pos x="98" y="85"/>
              </a:cxn>
              <a:cxn ang="0">
                <a:pos x="93" y="83"/>
              </a:cxn>
              <a:cxn ang="0">
                <a:pos x="84" y="83"/>
              </a:cxn>
              <a:cxn ang="0">
                <a:pos x="78" y="82"/>
              </a:cxn>
              <a:cxn ang="0">
                <a:pos x="72" y="82"/>
              </a:cxn>
              <a:cxn ang="0">
                <a:pos x="66" y="83"/>
              </a:cxn>
              <a:cxn ang="0">
                <a:pos x="60" y="80"/>
              </a:cxn>
              <a:cxn ang="0">
                <a:pos x="56" y="77"/>
              </a:cxn>
              <a:cxn ang="0">
                <a:pos x="49" y="77"/>
              </a:cxn>
              <a:cxn ang="0">
                <a:pos x="39" y="74"/>
              </a:cxn>
              <a:cxn ang="0">
                <a:pos x="20" y="75"/>
              </a:cxn>
              <a:cxn ang="0">
                <a:pos x="16" y="78"/>
              </a:cxn>
              <a:cxn ang="0">
                <a:pos x="7" y="80"/>
              </a:cxn>
            </a:cxnLst>
            <a:rect l="0" t="0" r="r" b="b"/>
            <a:pathLst>
              <a:path w="146" h="86">
                <a:moveTo>
                  <a:pt x="5" y="82"/>
                </a:moveTo>
                <a:lnTo>
                  <a:pt x="7" y="72"/>
                </a:lnTo>
                <a:lnTo>
                  <a:pt x="3" y="71"/>
                </a:lnTo>
                <a:lnTo>
                  <a:pt x="0" y="67"/>
                </a:lnTo>
                <a:lnTo>
                  <a:pt x="4" y="66"/>
                </a:lnTo>
                <a:lnTo>
                  <a:pt x="8" y="64"/>
                </a:lnTo>
                <a:lnTo>
                  <a:pt x="11" y="61"/>
                </a:lnTo>
                <a:lnTo>
                  <a:pt x="11" y="56"/>
                </a:lnTo>
                <a:lnTo>
                  <a:pt x="11" y="53"/>
                </a:lnTo>
                <a:lnTo>
                  <a:pt x="5" y="41"/>
                </a:lnTo>
                <a:lnTo>
                  <a:pt x="5" y="38"/>
                </a:lnTo>
                <a:lnTo>
                  <a:pt x="9" y="39"/>
                </a:lnTo>
                <a:lnTo>
                  <a:pt x="15" y="38"/>
                </a:lnTo>
                <a:lnTo>
                  <a:pt x="19" y="39"/>
                </a:lnTo>
                <a:lnTo>
                  <a:pt x="20" y="38"/>
                </a:lnTo>
                <a:lnTo>
                  <a:pt x="23" y="38"/>
                </a:lnTo>
                <a:lnTo>
                  <a:pt x="24" y="38"/>
                </a:lnTo>
                <a:lnTo>
                  <a:pt x="27" y="38"/>
                </a:lnTo>
                <a:lnTo>
                  <a:pt x="25" y="34"/>
                </a:lnTo>
                <a:lnTo>
                  <a:pt x="28" y="34"/>
                </a:lnTo>
                <a:lnTo>
                  <a:pt x="29" y="34"/>
                </a:lnTo>
                <a:lnTo>
                  <a:pt x="31" y="33"/>
                </a:lnTo>
                <a:lnTo>
                  <a:pt x="33" y="33"/>
                </a:lnTo>
                <a:lnTo>
                  <a:pt x="35" y="33"/>
                </a:lnTo>
                <a:lnTo>
                  <a:pt x="36" y="34"/>
                </a:lnTo>
                <a:lnTo>
                  <a:pt x="39" y="34"/>
                </a:lnTo>
                <a:lnTo>
                  <a:pt x="40" y="34"/>
                </a:lnTo>
                <a:lnTo>
                  <a:pt x="40" y="33"/>
                </a:lnTo>
                <a:lnTo>
                  <a:pt x="39" y="31"/>
                </a:lnTo>
                <a:lnTo>
                  <a:pt x="37" y="30"/>
                </a:lnTo>
                <a:lnTo>
                  <a:pt x="39" y="28"/>
                </a:lnTo>
                <a:lnTo>
                  <a:pt x="40" y="27"/>
                </a:lnTo>
                <a:lnTo>
                  <a:pt x="40" y="25"/>
                </a:lnTo>
                <a:lnTo>
                  <a:pt x="41" y="23"/>
                </a:lnTo>
                <a:lnTo>
                  <a:pt x="41" y="22"/>
                </a:lnTo>
                <a:lnTo>
                  <a:pt x="41" y="20"/>
                </a:lnTo>
                <a:lnTo>
                  <a:pt x="44" y="19"/>
                </a:lnTo>
                <a:lnTo>
                  <a:pt x="45" y="19"/>
                </a:lnTo>
                <a:lnTo>
                  <a:pt x="46" y="17"/>
                </a:lnTo>
                <a:lnTo>
                  <a:pt x="49" y="17"/>
                </a:lnTo>
                <a:lnTo>
                  <a:pt x="53" y="17"/>
                </a:lnTo>
                <a:lnTo>
                  <a:pt x="54" y="14"/>
                </a:lnTo>
                <a:lnTo>
                  <a:pt x="53" y="12"/>
                </a:lnTo>
                <a:lnTo>
                  <a:pt x="50" y="12"/>
                </a:lnTo>
                <a:lnTo>
                  <a:pt x="50" y="11"/>
                </a:lnTo>
                <a:lnTo>
                  <a:pt x="53" y="9"/>
                </a:lnTo>
                <a:lnTo>
                  <a:pt x="54" y="8"/>
                </a:lnTo>
                <a:lnTo>
                  <a:pt x="56" y="8"/>
                </a:lnTo>
                <a:lnTo>
                  <a:pt x="58" y="8"/>
                </a:lnTo>
                <a:lnTo>
                  <a:pt x="58" y="6"/>
                </a:lnTo>
                <a:lnTo>
                  <a:pt x="61" y="5"/>
                </a:lnTo>
                <a:lnTo>
                  <a:pt x="65" y="6"/>
                </a:lnTo>
                <a:lnTo>
                  <a:pt x="66" y="6"/>
                </a:lnTo>
                <a:lnTo>
                  <a:pt x="70" y="3"/>
                </a:lnTo>
                <a:lnTo>
                  <a:pt x="70" y="1"/>
                </a:lnTo>
                <a:lnTo>
                  <a:pt x="73" y="0"/>
                </a:lnTo>
                <a:lnTo>
                  <a:pt x="76" y="0"/>
                </a:lnTo>
                <a:lnTo>
                  <a:pt x="78" y="0"/>
                </a:lnTo>
                <a:lnTo>
                  <a:pt x="84" y="0"/>
                </a:lnTo>
                <a:lnTo>
                  <a:pt x="85" y="0"/>
                </a:lnTo>
                <a:lnTo>
                  <a:pt x="86" y="1"/>
                </a:lnTo>
                <a:lnTo>
                  <a:pt x="90" y="1"/>
                </a:lnTo>
                <a:lnTo>
                  <a:pt x="93" y="1"/>
                </a:lnTo>
                <a:lnTo>
                  <a:pt x="97" y="3"/>
                </a:lnTo>
                <a:lnTo>
                  <a:pt x="96" y="8"/>
                </a:lnTo>
                <a:lnTo>
                  <a:pt x="100" y="6"/>
                </a:lnTo>
                <a:lnTo>
                  <a:pt x="102" y="5"/>
                </a:lnTo>
                <a:lnTo>
                  <a:pt x="104" y="5"/>
                </a:lnTo>
                <a:lnTo>
                  <a:pt x="108" y="5"/>
                </a:lnTo>
                <a:lnTo>
                  <a:pt x="110" y="5"/>
                </a:lnTo>
                <a:lnTo>
                  <a:pt x="112" y="5"/>
                </a:lnTo>
                <a:lnTo>
                  <a:pt x="114" y="6"/>
                </a:lnTo>
                <a:lnTo>
                  <a:pt x="116" y="9"/>
                </a:lnTo>
                <a:lnTo>
                  <a:pt x="118" y="9"/>
                </a:lnTo>
                <a:lnTo>
                  <a:pt x="118" y="11"/>
                </a:lnTo>
                <a:lnTo>
                  <a:pt x="118" y="12"/>
                </a:lnTo>
                <a:lnTo>
                  <a:pt x="118" y="14"/>
                </a:lnTo>
                <a:lnTo>
                  <a:pt x="120" y="16"/>
                </a:lnTo>
                <a:lnTo>
                  <a:pt x="120" y="17"/>
                </a:lnTo>
                <a:lnTo>
                  <a:pt x="120" y="19"/>
                </a:lnTo>
                <a:lnTo>
                  <a:pt x="117" y="20"/>
                </a:lnTo>
                <a:lnTo>
                  <a:pt x="117" y="22"/>
                </a:lnTo>
                <a:lnTo>
                  <a:pt x="117" y="23"/>
                </a:lnTo>
                <a:lnTo>
                  <a:pt x="121" y="25"/>
                </a:lnTo>
                <a:lnTo>
                  <a:pt x="122" y="28"/>
                </a:lnTo>
                <a:lnTo>
                  <a:pt x="125" y="33"/>
                </a:lnTo>
                <a:lnTo>
                  <a:pt x="126" y="34"/>
                </a:lnTo>
                <a:lnTo>
                  <a:pt x="130" y="36"/>
                </a:lnTo>
                <a:lnTo>
                  <a:pt x="132" y="36"/>
                </a:lnTo>
                <a:lnTo>
                  <a:pt x="132" y="38"/>
                </a:lnTo>
                <a:lnTo>
                  <a:pt x="132" y="39"/>
                </a:lnTo>
                <a:lnTo>
                  <a:pt x="133" y="41"/>
                </a:lnTo>
                <a:lnTo>
                  <a:pt x="140" y="41"/>
                </a:lnTo>
                <a:lnTo>
                  <a:pt x="141" y="41"/>
                </a:lnTo>
                <a:lnTo>
                  <a:pt x="142" y="42"/>
                </a:lnTo>
                <a:lnTo>
                  <a:pt x="142" y="44"/>
                </a:lnTo>
                <a:lnTo>
                  <a:pt x="144" y="44"/>
                </a:lnTo>
                <a:lnTo>
                  <a:pt x="146" y="45"/>
                </a:lnTo>
                <a:lnTo>
                  <a:pt x="146" y="47"/>
                </a:lnTo>
                <a:lnTo>
                  <a:pt x="145" y="49"/>
                </a:lnTo>
                <a:lnTo>
                  <a:pt x="144" y="50"/>
                </a:lnTo>
                <a:lnTo>
                  <a:pt x="140" y="52"/>
                </a:lnTo>
                <a:lnTo>
                  <a:pt x="138" y="52"/>
                </a:lnTo>
                <a:lnTo>
                  <a:pt x="133" y="52"/>
                </a:lnTo>
                <a:lnTo>
                  <a:pt x="130" y="50"/>
                </a:lnTo>
                <a:lnTo>
                  <a:pt x="128" y="50"/>
                </a:lnTo>
                <a:lnTo>
                  <a:pt x="126" y="50"/>
                </a:lnTo>
                <a:lnTo>
                  <a:pt x="126" y="52"/>
                </a:lnTo>
                <a:lnTo>
                  <a:pt x="124" y="53"/>
                </a:lnTo>
                <a:lnTo>
                  <a:pt x="124" y="55"/>
                </a:lnTo>
                <a:lnTo>
                  <a:pt x="128" y="56"/>
                </a:lnTo>
                <a:lnTo>
                  <a:pt x="128" y="58"/>
                </a:lnTo>
                <a:lnTo>
                  <a:pt x="126" y="60"/>
                </a:lnTo>
                <a:lnTo>
                  <a:pt x="129" y="61"/>
                </a:lnTo>
                <a:lnTo>
                  <a:pt x="128" y="63"/>
                </a:lnTo>
                <a:lnTo>
                  <a:pt x="130" y="63"/>
                </a:lnTo>
                <a:lnTo>
                  <a:pt x="130" y="64"/>
                </a:lnTo>
                <a:lnTo>
                  <a:pt x="130" y="66"/>
                </a:lnTo>
                <a:lnTo>
                  <a:pt x="132" y="71"/>
                </a:lnTo>
                <a:lnTo>
                  <a:pt x="126" y="71"/>
                </a:lnTo>
                <a:lnTo>
                  <a:pt x="124" y="71"/>
                </a:lnTo>
                <a:lnTo>
                  <a:pt x="122" y="71"/>
                </a:lnTo>
                <a:lnTo>
                  <a:pt x="120" y="72"/>
                </a:lnTo>
                <a:lnTo>
                  <a:pt x="114" y="75"/>
                </a:lnTo>
                <a:lnTo>
                  <a:pt x="114" y="77"/>
                </a:lnTo>
                <a:lnTo>
                  <a:pt x="114" y="78"/>
                </a:lnTo>
                <a:lnTo>
                  <a:pt x="113" y="80"/>
                </a:lnTo>
                <a:lnTo>
                  <a:pt x="114" y="85"/>
                </a:lnTo>
                <a:lnTo>
                  <a:pt x="113" y="86"/>
                </a:lnTo>
                <a:lnTo>
                  <a:pt x="110" y="86"/>
                </a:lnTo>
                <a:lnTo>
                  <a:pt x="109" y="85"/>
                </a:lnTo>
                <a:lnTo>
                  <a:pt x="108" y="85"/>
                </a:lnTo>
                <a:lnTo>
                  <a:pt x="105" y="83"/>
                </a:lnTo>
                <a:lnTo>
                  <a:pt x="101" y="85"/>
                </a:lnTo>
                <a:lnTo>
                  <a:pt x="98" y="85"/>
                </a:lnTo>
                <a:lnTo>
                  <a:pt x="96" y="85"/>
                </a:lnTo>
                <a:lnTo>
                  <a:pt x="94" y="85"/>
                </a:lnTo>
                <a:lnTo>
                  <a:pt x="93" y="83"/>
                </a:lnTo>
                <a:lnTo>
                  <a:pt x="90" y="80"/>
                </a:lnTo>
                <a:lnTo>
                  <a:pt x="85" y="85"/>
                </a:lnTo>
                <a:lnTo>
                  <a:pt x="84" y="83"/>
                </a:lnTo>
                <a:lnTo>
                  <a:pt x="82" y="82"/>
                </a:lnTo>
                <a:lnTo>
                  <a:pt x="80" y="83"/>
                </a:lnTo>
                <a:lnTo>
                  <a:pt x="78" y="82"/>
                </a:lnTo>
                <a:lnTo>
                  <a:pt x="76" y="82"/>
                </a:lnTo>
                <a:lnTo>
                  <a:pt x="74" y="82"/>
                </a:lnTo>
                <a:lnTo>
                  <a:pt x="72" y="82"/>
                </a:lnTo>
                <a:lnTo>
                  <a:pt x="70" y="83"/>
                </a:lnTo>
                <a:lnTo>
                  <a:pt x="68" y="83"/>
                </a:lnTo>
                <a:lnTo>
                  <a:pt x="66" y="83"/>
                </a:lnTo>
                <a:lnTo>
                  <a:pt x="66" y="82"/>
                </a:lnTo>
                <a:lnTo>
                  <a:pt x="61" y="82"/>
                </a:lnTo>
                <a:lnTo>
                  <a:pt x="60" y="80"/>
                </a:lnTo>
                <a:lnTo>
                  <a:pt x="60" y="78"/>
                </a:lnTo>
                <a:lnTo>
                  <a:pt x="57" y="78"/>
                </a:lnTo>
                <a:lnTo>
                  <a:pt x="56" y="77"/>
                </a:lnTo>
                <a:lnTo>
                  <a:pt x="53" y="77"/>
                </a:lnTo>
                <a:lnTo>
                  <a:pt x="50" y="77"/>
                </a:lnTo>
                <a:lnTo>
                  <a:pt x="49" y="77"/>
                </a:lnTo>
                <a:lnTo>
                  <a:pt x="44" y="75"/>
                </a:lnTo>
                <a:lnTo>
                  <a:pt x="41" y="74"/>
                </a:lnTo>
                <a:lnTo>
                  <a:pt x="39" y="74"/>
                </a:lnTo>
                <a:lnTo>
                  <a:pt x="33" y="74"/>
                </a:lnTo>
                <a:lnTo>
                  <a:pt x="32" y="74"/>
                </a:lnTo>
                <a:lnTo>
                  <a:pt x="20" y="75"/>
                </a:lnTo>
                <a:lnTo>
                  <a:pt x="19" y="75"/>
                </a:lnTo>
                <a:lnTo>
                  <a:pt x="17" y="77"/>
                </a:lnTo>
                <a:lnTo>
                  <a:pt x="16" y="78"/>
                </a:lnTo>
                <a:lnTo>
                  <a:pt x="12" y="80"/>
                </a:lnTo>
                <a:lnTo>
                  <a:pt x="9" y="80"/>
                </a:lnTo>
                <a:lnTo>
                  <a:pt x="7" y="80"/>
                </a:lnTo>
                <a:lnTo>
                  <a:pt x="5" y="82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6" name="Freeform 33"/>
          <p:cNvSpPr>
            <a:spLocks/>
          </p:cNvSpPr>
          <p:nvPr/>
        </p:nvSpPr>
        <p:spPr bwMode="auto">
          <a:xfrm>
            <a:off x="6337023" y="2364165"/>
            <a:ext cx="278680" cy="169660"/>
          </a:xfrm>
          <a:custGeom>
            <a:avLst/>
            <a:gdLst/>
            <a:ahLst/>
            <a:cxnLst>
              <a:cxn ang="0">
                <a:pos x="3" y="71"/>
              </a:cxn>
              <a:cxn ang="0">
                <a:pos x="8" y="64"/>
              </a:cxn>
              <a:cxn ang="0">
                <a:pos x="11" y="53"/>
              </a:cxn>
              <a:cxn ang="0">
                <a:pos x="9" y="39"/>
              </a:cxn>
              <a:cxn ang="0">
                <a:pos x="20" y="38"/>
              </a:cxn>
              <a:cxn ang="0">
                <a:pos x="27" y="38"/>
              </a:cxn>
              <a:cxn ang="0">
                <a:pos x="29" y="34"/>
              </a:cxn>
              <a:cxn ang="0">
                <a:pos x="35" y="33"/>
              </a:cxn>
              <a:cxn ang="0">
                <a:pos x="40" y="34"/>
              </a:cxn>
              <a:cxn ang="0">
                <a:pos x="37" y="30"/>
              </a:cxn>
              <a:cxn ang="0">
                <a:pos x="40" y="25"/>
              </a:cxn>
              <a:cxn ang="0">
                <a:pos x="41" y="20"/>
              </a:cxn>
              <a:cxn ang="0">
                <a:pos x="46" y="17"/>
              </a:cxn>
              <a:cxn ang="0">
                <a:pos x="54" y="14"/>
              </a:cxn>
              <a:cxn ang="0">
                <a:pos x="50" y="11"/>
              </a:cxn>
              <a:cxn ang="0">
                <a:pos x="56" y="8"/>
              </a:cxn>
              <a:cxn ang="0">
                <a:pos x="61" y="5"/>
              </a:cxn>
              <a:cxn ang="0">
                <a:pos x="70" y="3"/>
              </a:cxn>
              <a:cxn ang="0">
                <a:pos x="76" y="0"/>
              </a:cxn>
              <a:cxn ang="0">
                <a:pos x="85" y="0"/>
              </a:cxn>
              <a:cxn ang="0">
                <a:pos x="93" y="1"/>
              </a:cxn>
              <a:cxn ang="0">
                <a:pos x="100" y="6"/>
              </a:cxn>
              <a:cxn ang="0">
                <a:pos x="108" y="5"/>
              </a:cxn>
              <a:cxn ang="0">
                <a:pos x="114" y="6"/>
              </a:cxn>
              <a:cxn ang="0">
                <a:pos x="118" y="11"/>
              </a:cxn>
              <a:cxn ang="0">
                <a:pos x="120" y="16"/>
              </a:cxn>
              <a:cxn ang="0">
                <a:pos x="117" y="20"/>
              </a:cxn>
              <a:cxn ang="0">
                <a:pos x="121" y="25"/>
              </a:cxn>
              <a:cxn ang="0">
                <a:pos x="126" y="34"/>
              </a:cxn>
              <a:cxn ang="0">
                <a:pos x="132" y="38"/>
              </a:cxn>
              <a:cxn ang="0">
                <a:pos x="140" y="41"/>
              </a:cxn>
              <a:cxn ang="0">
                <a:pos x="142" y="44"/>
              </a:cxn>
              <a:cxn ang="0">
                <a:pos x="146" y="47"/>
              </a:cxn>
              <a:cxn ang="0">
                <a:pos x="140" y="52"/>
              </a:cxn>
              <a:cxn ang="0">
                <a:pos x="130" y="50"/>
              </a:cxn>
              <a:cxn ang="0">
                <a:pos x="126" y="52"/>
              </a:cxn>
              <a:cxn ang="0">
                <a:pos x="128" y="56"/>
              </a:cxn>
              <a:cxn ang="0">
                <a:pos x="129" y="61"/>
              </a:cxn>
              <a:cxn ang="0">
                <a:pos x="130" y="64"/>
              </a:cxn>
              <a:cxn ang="0">
                <a:pos x="126" y="71"/>
              </a:cxn>
              <a:cxn ang="0">
                <a:pos x="120" y="72"/>
              </a:cxn>
              <a:cxn ang="0">
                <a:pos x="114" y="78"/>
              </a:cxn>
              <a:cxn ang="0">
                <a:pos x="113" y="86"/>
              </a:cxn>
              <a:cxn ang="0">
                <a:pos x="108" y="85"/>
              </a:cxn>
              <a:cxn ang="0">
                <a:pos x="98" y="85"/>
              </a:cxn>
              <a:cxn ang="0">
                <a:pos x="93" y="83"/>
              </a:cxn>
              <a:cxn ang="0">
                <a:pos x="84" y="83"/>
              </a:cxn>
              <a:cxn ang="0">
                <a:pos x="78" y="82"/>
              </a:cxn>
              <a:cxn ang="0">
                <a:pos x="72" y="82"/>
              </a:cxn>
              <a:cxn ang="0">
                <a:pos x="66" y="83"/>
              </a:cxn>
              <a:cxn ang="0">
                <a:pos x="60" y="80"/>
              </a:cxn>
              <a:cxn ang="0">
                <a:pos x="56" y="77"/>
              </a:cxn>
              <a:cxn ang="0">
                <a:pos x="49" y="77"/>
              </a:cxn>
              <a:cxn ang="0">
                <a:pos x="39" y="74"/>
              </a:cxn>
              <a:cxn ang="0">
                <a:pos x="20" y="75"/>
              </a:cxn>
              <a:cxn ang="0">
                <a:pos x="16" y="78"/>
              </a:cxn>
              <a:cxn ang="0">
                <a:pos x="7" y="80"/>
              </a:cxn>
            </a:cxnLst>
            <a:rect l="0" t="0" r="r" b="b"/>
            <a:pathLst>
              <a:path w="146" h="86">
                <a:moveTo>
                  <a:pt x="5" y="82"/>
                </a:moveTo>
                <a:lnTo>
                  <a:pt x="7" y="72"/>
                </a:lnTo>
                <a:lnTo>
                  <a:pt x="3" y="71"/>
                </a:lnTo>
                <a:lnTo>
                  <a:pt x="0" y="67"/>
                </a:lnTo>
                <a:lnTo>
                  <a:pt x="4" y="66"/>
                </a:lnTo>
                <a:lnTo>
                  <a:pt x="8" y="64"/>
                </a:lnTo>
                <a:lnTo>
                  <a:pt x="11" y="61"/>
                </a:lnTo>
                <a:lnTo>
                  <a:pt x="11" y="56"/>
                </a:lnTo>
                <a:lnTo>
                  <a:pt x="11" y="53"/>
                </a:lnTo>
                <a:lnTo>
                  <a:pt x="5" y="41"/>
                </a:lnTo>
                <a:lnTo>
                  <a:pt x="5" y="38"/>
                </a:lnTo>
                <a:lnTo>
                  <a:pt x="9" y="39"/>
                </a:lnTo>
                <a:lnTo>
                  <a:pt x="15" y="38"/>
                </a:lnTo>
                <a:lnTo>
                  <a:pt x="19" y="39"/>
                </a:lnTo>
                <a:lnTo>
                  <a:pt x="20" y="38"/>
                </a:lnTo>
                <a:lnTo>
                  <a:pt x="23" y="38"/>
                </a:lnTo>
                <a:lnTo>
                  <a:pt x="24" y="38"/>
                </a:lnTo>
                <a:lnTo>
                  <a:pt x="27" y="38"/>
                </a:lnTo>
                <a:lnTo>
                  <a:pt x="25" y="34"/>
                </a:lnTo>
                <a:lnTo>
                  <a:pt x="28" y="34"/>
                </a:lnTo>
                <a:lnTo>
                  <a:pt x="29" y="34"/>
                </a:lnTo>
                <a:lnTo>
                  <a:pt x="31" y="33"/>
                </a:lnTo>
                <a:lnTo>
                  <a:pt x="33" y="33"/>
                </a:lnTo>
                <a:lnTo>
                  <a:pt x="35" y="33"/>
                </a:lnTo>
                <a:lnTo>
                  <a:pt x="36" y="34"/>
                </a:lnTo>
                <a:lnTo>
                  <a:pt x="39" y="34"/>
                </a:lnTo>
                <a:lnTo>
                  <a:pt x="40" y="34"/>
                </a:lnTo>
                <a:lnTo>
                  <a:pt x="40" y="33"/>
                </a:lnTo>
                <a:lnTo>
                  <a:pt x="39" y="31"/>
                </a:lnTo>
                <a:lnTo>
                  <a:pt x="37" y="30"/>
                </a:lnTo>
                <a:lnTo>
                  <a:pt x="39" y="28"/>
                </a:lnTo>
                <a:lnTo>
                  <a:pt x="40" y="27"/>
                </a:lnTo>
                <a:lnTo>
                  <a:pt x="40" y="25"/>
                </a:lnTo>
                <a:lnTo>
                  <a:pt x="41" y="23"/>
                </a:lnTo>
                <a:lnTo>
                  <a:pt x="41" y="22"/>
                </a:lnTo>
                <a:lnTo>
                  <a:pt x="41" y="20"/>
                </a:lnTo>
                <a:lnTo>
                  <a:pt x="44" y="19"/>
                </a:lnTo>
                <a:lnTo>
                  <a:pt x="45" y="19"/>
                </a:lnTo>
                <a:lnTo>
                  <a:pt x="46" y="17"/>
                </a:lnTo>
                <a:lnTo>
                  <a:pt x="49" y="17"/>
                </a:lnTo>
                <a:lnTo>
                  <a:pt x="53" y="17"/>
                </a:lnTo>
                <a:lnTo>
                  <a:pt x="54" y="14"/>
                </a:lnTo>
                <a:lnTo>
                  <a:pt x="53" y="12"/>
                </a:lnTo>
                <a:lnTo>
                  <a:pt x="50" y="12"/>
                </a:lnTo>
                <a:lnTo>
                  <a:pt x="50" y="11"/>
                </a:lnTo>
                <a:lnTo>
                  <a:pt x="53" y="9"/>
                </a:lnTo>
                <a:lnTo>
                  <a:pt x="54" y="8"/>
                </a:lnTo>
                <a:lnTo>
                  <a:pt x="56" y="8"/>
                </a:lnTo>
                <a:lnTo>
                  <a:pt x="58" y="8"/>
                </a:lnTo>
                <a:lnTo>
                  <a:pt x="58" y="6"/>
                </a:lnTo>
                <a:lnTo>
                  <a:pt x="61" y="5"/>
                </a:lnTo>
                <a:lnTo>
                  <a:pt x="65" y="6"/>
                </a:lnTo>
                <a:lnTo>
                  <a:pt x="66" y="6"/>
                </a:lnTo>
                <a:lnTo>
                  <a:pt x="70" y="3"/>
                </a:lnTo>
                <a:lnTo>
                  <a:pt x="70" y="1"/>
                </a:lnTo>
                <a:lnTo>
                  <a:pt x="73" y="0"/>
                </a:lnTo>
                <a:lnTo>
                  <a:pt x="76" y="0"/>
                </a:lnTo>
                <a:lnTo>
                  <a:pt x="78" y="0"/>
                </a:lnTo>
                <a:lnTo>
                  <a:pt x="84" y="0"/>
                </a:lnTo>
                <a:lnTo>
                  <a:pt x="85" y="0"/>
                </a:lnTo>
                <a:lnTo>
                  <a:pt x="86" y="1"/>
                </a:lnTo>
                <a:lnTo>
                  <a:pt x="90" y="1"/>
                </a:lnTo>
                <a:lnTo>
                  <a:pt x="93" y="1"/>
                </a:lnTo>
                <a:lnTo>
                  <a:pt x="97" y="3"/>
                </a:lnTo>
                <a:lnTo>
                  <a:pt x="96" y="8"/>
                </a:lnTo>
                <a:lnTo>
                  <a:pt x="100" y="6"/>
                </a:lnTo>
                <a:lnTo>
                  <a:pt x="102" y="5"/>
                </a:lnTo>
                <a:lnTo>
                  <a:pt x="104" y="5"/>
                </a:lnTo>
                <a:lnTo>
                  <a:pt x="108" y="5"/>
                </a:lnTo>
                <a:lnTo>
                  <a:pt x="110" y="5"/>
                </a:lnTo>
                <a:lnTo>
                  <a:pt x="112" y="5"/>
                </a:lnTo>
                <a:lnTo>
                  <a:pt x="114" y="6"/>
                </a:lnTo>
                <a:lnTo>
                  <a:pt x="116" y="9"/>
                </a:lnTo>
                <a:lnTo>
                  <a:pt x="118" y="9"/>
                </a:lnTo>
                <a:lnTo>
                  <a:pt x="118" y="11"/>
                </a:lnTo>
                <a:lnTo>
                  <a:pt x="118" y="12"/>
                </a:lnTo>
                <a:lnTo>
                  <a:pt x="118" y="14"/>
                </a:lnTo>
                <a:lnTo>
                  <a:pt x="120" y="16"/>
                </a:lnTo>
                <a:lnTo>
                  <a:pt x="120" y="17"/>
                </a:lnTo>
                <a:lnTo>
                  <a:pt x="120" y="19"/>
                </a:lnTo>
                <a:lnTo>
                  <a:pt x="117" y="20"/>
                </a:lnTo>
                <a:lnTo>
                  <a:pt x="117" y="22"/>
                </a:lnTo>
                <a:lnTo>
                  <a:pt x="117" y="23"/>
                </a:lnTo>
                <a:lnTo>
                  <a:pt x="121" y="25"/>
                </a:lnTo>
                <a:lnTo>
                  <a:pt x="122" y="28"/>
                </a:lnTo>
                <a:lnTo>
                  <a:pt x="125" y="33"/>
                </a:lnTo>
                <a:lnTo>
                  <a:pt x="126" y="34"/>
                </a:lnTo>
                <a:lnTo>
                  <a:pt x="130" y="36"/>
                </a:lnTo>
                <a:lnTo>
                  <a:pt x="132" y="36"/>
                </a:lnTo>
                <a:lnTo>
                  <a:pt x="132" y="38"/>
                </a:lnTo>
                <a:lnTo>
                  <a:pt x="132" y="39"/>
                </a:lnTo>
                <a:lnTo>
                  <a:pt x="133" y="41"/>
                </a:lnTo>
                <a:lnTo>
                  <a:pt x="140" y="41"/>
                </a:lnTo>
                <a:lnTo>
                  <a:pt x="141" y="41"/>
                </a:lnTo>
                <a:lnTo>
                  <a:pt x="142" y="42"/>
                </a:lnTo>
                <a:lnTo>
                  <a:pt x="142" y="44"/>
                </a:lnTo>
                <a:lnTo>
                  <a:pt x="144" y="44"/>
                </a:lnTo>
                <a:lnTo>
                  <a:pt x="146" y="45"/>
                </a:lnTo>
                <a:lnTo>
                  <a:pt x="146" y="47"/>
                </a:lnTo>
                <a:lnTo>
                  <a:pt x="145" y="49"/>
                </a:lnTo>
                <a:lnTo>
                  <a:pt x="144" y="50"/>
                </a:lnTo>
                <a:lnTo>
                  <a:pt x="140" y="52"/>
                </a:lnTo>
                <a:lnTo>
                  <a:pt x="138" y="52"/>
                </a:lnTo>
                <a:lnTo>
                  <a:pt x="133" y="52"/>
                </a:lnTo>
                <a:lnTo>
                  <a:pt x="130" y="50"/>
                </a:lnTo>
                <a:lnTo>
                  <a:pt x="128" y="50"/>
                </a:lnTo>
                <a:lnTo>
                  <a:pt x="126" y="50"/>
                </a:lnTo>
                <a:lnTo>
                  <a:pt x="126" y="52"/>
                </a:lnTo>
                <a:lnTo>
                  <a:pt x="124" y="53"/>
                </a:lnTo>
                <a:lnTo>
                  <a:pt x="124" y="55"/>
                </a:lnTo>
                <a:lnTo>
                  <a:pt x="128" y="56"/>
                </a:lnTo>
                <a:lnTo>
                  <a:pt x="128" y="58"/>
                </a:lnTo>
                <a:lnTo>
                  <a:pt x="126" y="60"/>
                </a:lnTo>
                <a:lnTo>
                  <a:pt x="129" y="61"/>
                </a:lnTo>
                <a:lnTo>
                  <a:pt x="128" y="63"/>
                </a:lnTo>
                <a:lnTo>
                  <a:pt x="130" y="63"/>
                </a:lnTo>
                <a:lnTo>
                  <a:pt x="130" y="64"/>
                </a:lnTo>
                <a:lnTo>
                  <a:pt x="130" y="66"/>
                </a:lnTo>
                <a:lnTo>
                  <a:pt x="132" y="71"/>
                </a:lnTo>
                <a:lnTo>
                  <a:pt x="126" y="71"/>
                </a:lnTo>
                <a:lnTo>
                  <a:pt x="124" y="71"/>
                </a:lnTo>
                <a:lnTo>
                  <a:pt x="122" y="71"/>
                </a:lnTo>
                <a:lnTo>
                  <a:pt x="120" y="72"/>
                </a:lnTo>
                <a:lnTo>
                  <a:pt x="114" y="75"/>
                </a:lnTo>
                <a:lnTo>
                  <a:pt x="114" y="77"/>
                </a:lnTo>
                <a:lnTo>
                  <a:pt x="114" y="78"/>
                </a:lnTo>
                <a:lnTo>
                  <a:pt x="113" y="80"/>
                </a:lnTo>
                <a:lnTo>
                  <a:pt x="114" y="85"/>
                </a:lnTo>
                <a:lnTo>
                  <a:pt x="113" y="86"/>
                </a:lnTo>
                <a:lnTo>
                  <a:pt x="110" y="86"/>
                </a:lnTo>
                <a:lnTo>
                  <a:pt x="109" y="85"/>
                </a:lnTo>
                <a:lnTo>
                  <a:pt x="108" y="85"/>
                </a:lnTo>
                <a:lnTo>
                  <a:pt x="105" y="83"/>
                </a:lnTo>
                <a:lnTo>
                  <a:pt x="101" y="85"/>
                </a:lnTo>
                <a:lnTo>
                  <a:pt x="98" y="85"/>
                </a:lnTo>
                <a:lnTo>
                  <a:pt x="96" y="85"/>
                </a:lnTo>
                <a:lnTo>
                  <a:pt x="94" y="85"/>
                </a:lnTo>
                <a:lnTo>
                  <a:pt x="93" y="83"/>
                </a:lnTo>
                <a:lnTo>
                  <a:pt x="90" y="80"/>
                </a:lnTo>
                <a:lnTo>
                  <a:pt x="85" y="85"/>
                </a:lnTo>
                <a:lnTo>
                  <a:pt x="84" y="83"/>
                </a:lnTo>
                <a:lnTo>
                  <a:pt x="82" y="82"/>
                </a:lnTo>
                <a:lnTo>
                  <a:pt x="80" y="83"/>
                </a:lnTo>
                <a:lnTo>
                  <a:pt x="78" y="82"/>
                </a:lnTo>
                <a:lnTo>
                  <a:pt x="76" y="82"/>
                </a:lnTo>
                <a:lnTo>
                  <a:pt x="74" y="82"/>
                </a:lnTo>
                <a:lnTo>
                  <a:pt x="72" y="82"/>
                </a:lnTo>
                <a:lnTo>
                  <a:pt x="70" y="83"/>
                </a:lnTo>
                <a:lnTo>
                  <a:pt x="68" y="83"/>
                </a:lnTo>
                <a:lnTo>
                  <a:pt x="66" y="83"/>
                </a:lnTo>
                <a:lnTo>
                  <a:pt x="66" y="82"/>
                </a:lnTo>
                <a:lnTo>
                  <a:pt x="61" y="82"/>
                </a:lnTo>
                <a:lnTo>
                  <a:pt x="60" y="80"/>
                </a:lnTo>
                <a:lnTo>
                  <a:pt x="60" y="78"/>
                </a:lnTo>
                <a:lnTo>
                  <a:pt x="57" y="78"/>
                </a:lnTo>
                <a:lnTo>
                  <a:pt x="56" y="77"/>
                </a:lnTo>
                <a:lnTo>
                  <a:pt x="53" y="77"/>
                </a:lnTo>
                <a:lnTo>
                  <a:pt x="50" y="77"/>
                </a:lnTo>
                <a:lnTo>
                  <a:pt x="49" y="77"/>
                </a:lnTo>
                <a:lnTo>
                  <a:pt x="44" y="75"/>
                </a:lnTo>
                <a:lnTo>
                  <a:pt x="41" y="74"/>
                </a:lnTo>
                <a:lnTo>
                  <a:pt x="39" y="74"/>
                </a:lnTo>
                <a:lnTo>
                  <a:pt x="33" y="74"/>
                </a:lnTo>
                <a:lnTo>
                  <a:pt x="32" y="74"/>
                </a:lnTo>
                <a:lnTo>
                  <a:pt x="20" y="75"/>
                </a:lnTo>
                <a:lnTo>
                  <a:pt x="19" y="75"/>
                </a:lnTo>
                <a:lnTo>
                  <a:pt x="17" y="77"/>
                </a:lnTo>
                <a:lnTo>
                  <a:pt x="16" y="78"/>
                </a:lnTo>
                <a:lnTo>
                  <a:pt x="12" y="80"/>
                </a:lnTo>
                <a:lnTo>
                  <a:pt x="9" y="80"/>
                </a:lnTo>
                <a:lnTo>
                  <a:pt x="7" y="80"/>
                </a:lnTo>
                <a:lnTo>
                  <a:pt x="5" y="82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7" name="Freeform 34"/>
          <p:cNvSpPr>
            <a:spLocks/>
          </p:cNvSpPr>
          <p:nvPr/>
        </p:nvSpPr>
        <p:spPr bwMode="auto">
          <a:xfrm>
            <a:off x="6157732" y="2598255"/>
            <a:ext cx="157854" cy="60133"/>
          </a:xfrm>
          <a:custGeom>
            <a:avLst/>
            <a:gdLst/>
            <a:ahLst/>
            <a:cxnLst>
              <a:cxn ang="0">
                <a:pos x="78" y="20"/>
              </a:cxn>
              <a:cxn ang="0">
                <a:pos x="75" y="20"/>
              </a:cxn>
              <a:cxn ang="0">
                <a:pos x="70" y="18"/>
              </a:cxn>
              <a:cxn ang="0">
                <a:pos x="66" y="17"/>
              </a:cxn>
              <a:cxn ang="0">
                <a:pos x="63" y="17"/>
              </a:cxn>
              <a:cxn ang="0">
                <a:pos x="58" y="17"/>
              </a:cxn>
              <a:cxn ang="0">
                <a:pos x="54" y="18"/>
              </a:cxn>
              <a:cxn ang="0">
                <a:pos x="53" y="22"/>
              </a:cxn>
              <a:cxn ang="0">
                <a:pos x="50" y="22"/>
              </a:cxn>
              <a:cxn ang="0">
                <a:pos x="46" y="23"/>
              </a:cxn>
              <a:cxn ang="0">
                <a:pos x="41" y="23"/>
              </a:cxn>
              <a:cxn ang="0">
                <a:pos x="37" y="25"/>
              </a:cxn>
              <a:cxn ang="0">
                <a:pos x="29" y="26"/>
              </a:cxn>
              <a:cxn ang="0">
                <a:pos x="25" y="31"/>
              </a:cxn>
              <a:cxn ang="0">
                <a:pos x="24" y="31"/>
              </a:cxn>
              <a:cxn ang="0">
                <a:pos x="14" y="31"/>
              </a:cxn>
              <a:cxn ang="0">
                <a:pos x="8" y="26"/>
              </a:cxn>
              <a:cxn ang="0">
                <a:pos x="4" y="25"/>
              </a:cxn>
              <a:cxn ang="0">
                <a:pos x="2" y="22"/>
              </a:cxn>
              <a:cxn ang="0">
                <a:pos x="0" y="17"/>
              </a:cxn>
              <a:cxn ang="0">
                <a:pos x="1" y="15"/>
              </a:cxn>
              <a:cxn ang="0">
                <a:pos x="4" y="14"/>
              </a:cxn>
              <a:cxn ang="0">
                <a:pos x="5" y="14"/>
              </a:cxn>
              <a:cxn ang="0">
                <a:pos x="6" y="14"/>
              </a:cxn>
              <a:cxn ang="0">
                <a:pos x="12" y="14"/>
              </a:cxn>
              <a:cxn ang="0">
                <a:pos x="14" y="12"/>
              </a:cxn>
              <a:cxn ang="0">
                <a:pos x="14" y="11"/>
              </a:cxn>
              <a:cxn ang="0">
                <a:pos x="17" y="9"/>
              </a:cxn>
              <a:cxn ang="0">
                <a:pos x="18" y="7"/>
              </a:cxn>
              <a:cxn ang="0">
                <a:pos x="18" y="6"/>
              </a:cxn>
              <a:cxn ang="0">
                <a:pos x="20" y="4"/>
              </a:cxn>
              <a:cxn ang="0">
                <a:pos x="22" y="4"/>
              </a:cxn>
              <a:cxn ang="0">
                <a:pos x="24" y="3"/>
              </a:cxn>
              <a:cxn ang="0">
                <a:pos x="25" y="1"/>
              </a:cxn>
              <a:cxn ang="0">
                <a:pos x="27" y="1"/>
              </a:cxn>
              <a:cxn ang="0">
                <a:pos x="29" y="0"/>
              </a:cxn>
              <a:cxn ang="0">
                <a:pos x="33" y="1"/>
              </a:cxn>
              <a:cxn ang="0">
                <a:pos x="35" y="0"/>
              </a:cxn>
              <a:cxn ang="0">
                <a:pos x="38" y="0"/>
              </a:cxn>
              <a:cxn ang="0">
                <a:pos x="41" y="0"/>
              </a:cxn>
              <a:cxn ang="0">
                <a:pos x="43" y="3"/>
              </a:cxn>
              <a:cxn ang="0">
                <a:pos x="45" y="4"/>
              </a:cxn>
              <a:cxn ang="0">
                <a:pos x="47" y="4"/>
              </a:cxn>
              <a:cxn ang="0">
                <a:pos x="50" y="4"/>
              </a:cxn>
              <a:cxn ang="0">
                <a:pos x="53" y="1"/>
              </a:cxn>
              <a:cxn ang="0">
                <a:pos x="58" y="1"/>
              </a:cxn>
              <a:cxn ang="0">
                <a:pos x="61" y="3"/>
              </a:cxn>
              <a:cxn ang="0">
                <a:pos x="62" y="3"/>
              </a:cxn>
              <a:cxn ang="0">
                <a:pos x="65" y="1"/>
              </a:cxn>
              <a:cxn ang="0">
                <a:pos x="69" y="1"/>
              </a:cxn>
              <a:cxn ang="0">
                <a:pos x="73" y="1"/>
              </a:cxn>
              <a:cxn ang="0">
                <a:pos x="75" y="3"/>
              </a:cxn>
              <a:cxn ang="0">
                <a:pos x="78" y="4"/>
              </a:cxn>
              <a:cxn ang="0">
                <a:pos x="81" y="6"/>
              </a:cxn>
              <a:cxn ang="0">
                <a:pos x="83" y="7"/>
              </a:cxn>
              <a:cxn ang="0">
                <a:pos x="79" y="14"/>
              </a:cxn>
              <a:cxn ang="0">
                <a:pos x="78" y="20"/>
              </a:cxn>
            </a:cxnLst>
            <a:rect l="0" t="0" r="r" b="b"/>
            <a:pathLst>
              <a:path w="83" h="31">
                <a:moveTo>
                  <a:pt x="78" y="20"/>
                </a:moveTo>
                <a:lnTo>
                  <a:pt x="75" y="20"/>
                </a:lnTo>
                <a:lnTo>
                  <a:pt x="70" y="18"/>
                </a:lnTo>
                <a:lnTo>
                  <a:pt x="66" y="17"/>
                </a:lnTo>
                <a:lnTo>
                  <a:pt x="63" y="17"/>
                </a:lnTo>
                <a:lnTo>
                  <a:pt x="58" y="17"/>
                </a:lnTo>
                <a:lnTo>
                  <a:pt x="54" y="18"/>
                </a:lnTo>
                <a:lnTo>
                  <a:pt x="53" y="22"/>
                </a:lnTo>
                <a:lnTo>
                  <a:pt x="50" y="22"/>
                </a:lnTo>
                <a:lnTo>
                  <a:pt x="46" y="23"/>
                </a:lnTo>
                <a:lnTo>
                  <a:pt x="41" y="23"/>
                </a:lnTo>
                <a:lnTo>
                  <a:pt x="37" y="25"/>
                </a:lnTo>
                <a:lnTo>
                  <a:pt x="29" y="26"/>
                </a:lnTo>
                <a:lnTo>
                  <a:pt x="25" y="31"/>
                </a:lnTo>
                <a:lnTo>
                  <a:pt x="24" y="31"/>
                </a:lnTo>
                <a:lnTo>
                  <a:pt x="14" y="31"/>
                </a:lnTo>
                <a:lnTo>
                  <a:pt x="8" y="26"/>
                </a:lnTo>
                <a:lnTo>
                  <a:pt x="4" y="25"/>
                </a:lnTo>
                <a:lnTo>
                  <a:pt x="2" y="22"/>
                </a:lnTo>
                <a:lnTo>
                  <a:pt x="0" y="17"/>
                </a:lnTo>
                <a:lnTo>
                  <a:pt x="1" y="15"/>
                </a:lnTo>
                <a:lnTo>
                  <a:pt x="4" y="14"/>
                </a:lnTo>
                <a:lnTo>
                  <a:pt x="5" y="14"/>
                </a:lnTo>
                <a:lnTo>
                  <a:pt x="6" y="14"/>
                </a:lnTo>
                <a:lnTo>
                  <a:pt x="12" y="14"/>
                </a:lnTo>
                <a:lnTo>
                  <a:pt x="14" y="12"/>
                </a:lnTo>
                <a:lnTo>
                  <a:pt x="14" y="11"/>
                </a:lnTo>
                <a:lnTo>
                  <a:pt x="17" y="9"/>
                </a:lnTo>
                <a:lnTo>
                  <a:pt x="18" y="7"/>
                </a:lnTo>
                <a:lnTo>
                  <a:pt x="18" y="6"/>
                </a:lnTo>
                <a:lnTo>
                  <a:pt x="20" y="4"/>
                </a:lnTo>
                <a:lnTo>
                  <a:pt x="22" y="4"/>
                </a:lnTo>
                <a:lnTo>
                  <a:pt x="24" y="3"/>
                </a:lnTo>
                <a:lnTo>
                  <a:pt x="25" y="1"/>
                </a:lnTo>
                <a:lnTo>
                  <a:pt x="27" y="1"/>
                </a:lnTo>
                <a:lnTo>
                  <a:pt x="29" y="0"/>
                </a:lnTo>
                <a:lnTo>
                  <a:pt x="33" y="1"/>
                </a:lnTo>
                <a:lnTo>
                  <a:pt x="35" y="0"/>
                </a:lnTo>
                <a:lnTo>
                  <a:pt x="38" y="0"/>
                </a:lnTo>
                <a:lnTo>
                  <a:pt x="41" y="0"/>
                </a:lnTo>
                <a:lnTo>
                  <a:pt x="43" y="3"/>
                </a:lnTo>
                <a:lnTo>
                  <a:pt x="45" y="4"/>
                </a:lnTo>
                <a:lnTo>
                  <a:pt x="47" y="4"/>
                </a:lnTo>
                <a:lnTo>
                  <a:pt x="50" y="4"/>
                </a:lnTo>
                <a:lnTo>
                  <a:pt x="53" y="1"/>
                </a:lnTo>
                <a:lnTo>
                  <a:pt x="58" y="1"/>
                </a:lnTo>
                <a:lnTo>
                  <a:pt x="61" y="3"/>
                </a:lnTo>
                <a:lnTo>
                  <a:pt x="62" y="3"/>
                </a:lnTo>
                <a:lnTo>
                  <a:pt x="65" y="1"/>
                </a:lnTo>
                <a:lnTo>
                  <a:pt x="69" y="1"/>
                </a:lnTo>
                <a:lnTo>
                  <a:pt x="73" y="1"/>
                </a:lnTo>
                <a:lnTo>
                  <a:pt x="75" y="3"/>
                </a:lnTo>
                <a:lnTo>
                  <a:pt x="78" y="4"/>
                </a:lnTo>
                <a:lnTo>
                  <a:pt x="81" y="6"/>
                </a:lnTo>
                <a:lnTo>
                  <a:pt x="83" y="7"/>
                </a:lnTo>
                <a:lnTo>
                  <a:pt x="79" y="14"/>
                </a:lnTo>
                <a:lnTo>
                  <a:pt x="78" y="2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8" name="Freeform 35"/>
          <p:cNvSpPr>
            <a:spLocks/>
          </p:cNvSpPr>
          <p:nvPr/>
        </p:nvSpPr>
        <p:spPr bwMode="auto">
          <a:xfrm>
            <a:off x="6157732" y="2598255"/>
            <a:ext cx="157854" cy="60133"/>
          </a:xfrm>
          <a:custGeom>
            <a:avLst/>
            <a:gdLst/>
            <a:ahLst/>
            <a:cxnLst>
              <a:cxn ang="0">
                <a:pos x="78" y="20"/>
              </a:cxn>
              <a:cxn ang="0">
                <a:pos x="75" y="20"/>
              </a:cxn>
              <a:cxn ang="0">
                <a:pos x="70" y="18"/>
              </a:cxn>
              <a:cxn ang="0">
                <a:pos x="66" y="17"/>
              </a:cxn>
              <a:cxn ang="0">
                <a:pos x="63" y="17"/>
              </a:cxn>
              <a:cxn ang="0">
                <a:pos x="58" y="17"/>
              </a:cxn>
              <a:cxn ang="0">
                <a:pos x="54" y="18"/>
              </a:cxn>
              <a:cxn ang="0">
                <a:pos x="53" y="22"/>
              </a:cxn>
              <a:cxn ang="0">
                <a:pos x="50" y="22"/>
              </a:cxn>
              <a:cxn ang="0">
                <a:pos x="46" y="23"/>
              </a:cxn>
              <a:cxn ang="0">
                <a:pos x="41" y="23"/>
              </a:cxn>
              <a:cxn ang="0">
                <a:pos x="37" y="25"/>
              </a:cxn>
              <a:cxn ang="0">
                <a:pos x="29" y="26"/>
              </a:cxn>
              <a:cxn ang="0">
                <a:pos x="25" y="31"/>
              </a:cxn>
              <a:cxn ang="0">
                <a:pos x="24" y="31"/>
              </a:cxn>
              <a:cxn ang="0">
                <a:pos x="14" y="31"/>
              </a:cxn>
              <a:cxn ang="0">
                <a:pos x="8" y="26"/>
              </a:cxn>
              <a:cxn ang="0">
                <a:pos x="4" y="25"/>
              </a:cxn>
              <a:cxn ang="0">
                <a:pos x="2" y="22"/>
              </a:cxn>
              <a:cxn ang="0">
                <a:pos x="0" y="17"/>
              </a:cxn>
              <a:cxn ang="0">
                <a:pos x="1" y="15"/>
              </a:cxn>
              <a:cxn ang="0">
                <a:pos x="4" y="14"/>
              </a:cxn>
              <a:cxn ang="0">
                <a:pos x="5" y="14"/>
              </a:cxn>
              <a:cxn ang="0">
                <a:pos x="6" y="14"/>
              </a:cxn>
              <a:cxn ang="0">
                <a:pos x="12" y="14"/>
              </a:cxn>
              <a:cxn ang="0">
                <a:pos x="14" y="12"/>
              </a:cxn>
              <a:cxn ang="0">
                <a:pos x="14" y="11"/>
              </a:cxn>
              <a:cxn ang="0">
                <a:pos x="17" y="9"/>
              </a:cxn>
              <a:cxn ang="0">
                <a:pos x="18" y="7"/>
              </a:cxn>
              <a:cxn ang="0">
                <a:pos x="18" y="6"/>
              </a:cxn>
              <a:cxn ang="0">
                <a:pos x="20" y="4"/>
              </a:cxn>
              <a:cxn ang="0">
                <a:pos x="22" y="4"/>
              </a:cxn>
              <a:cxn ang="0">
                <a:pos x="24" y="3"/>
              </a:cxn>
              <a:cxn ang="0">
                <a:pos x="25" y="1"/>
              </a:cxn>
              <a:cxn ang="0">
                <a:pos x="27" y="1"/>
              </a:cxn>
              <a:cxn ang="0">
                <a:pos x="29" y="0"/>
              </a:cxn>
              <a:cxn ang="0">
                <a:pos x="33" y="1"/>
              </a:cxn>
              <a:cxn ang="0">
                <a:pos x="35" y="0"/>
              </a:cxn>
              <a:cxn ang="0">
                <a:pos x="38" y="0"/>
              </a:cxn>
              <a:cxn ang="0">
                <a:pos x="41" y="0"/>
              </a:cxn>
              <a:cxn ang="0">
                <a:pos x="43" y="3"/>
              </a:cxn>
              <a:cxn ang="0">
                <a:pos x="45" y="4"/>
              </a:cxn>
              <a:cxn ang="0">
                <a:pos x="47" y="4"/>
              </a:cxn>
              <a:cxn ang="0">
                <a:pos x="50" y="4"/>
              </a:cxn>
              <a:cxn ang="0">
                <a:pos x="53" y="1"/>
              </a:cxn>
              <a:cxn ang="0">
                <a:pos x="58" y="1"/>
              </a:cxn>
              <a:cxn ang="0">
                <a:pos x="61" y="3"/>
              </a:cxn>
              <a:cxn ang="0">
                <a:pos x="62" y="3"/>
              </a:cxn>
              <a:cxn ang="0">
                <a:pos x="65" y="1"/>
              </a:cxn>
              <a:cxn ang="0">
                <a:pos x="69" y="1"/>
              </a:cxn>
              <a:cxn ang="0">
                <a:pos x="73" y="1"/>
              </a:cxn>
              <a:cxn ang="0">
                <a:pos x="75" y="3"/>
              </a:cxn>
              <a:cxn ang="0">
                <a:pos x="78" y="4"/>
              </a:cxn>
              <a:cxn ang="0">
                <a:pos x="81" y="6"/>
              </a:cxn>
              <a:cxn ang="0">
                <a:pos x="83" y="7"/>
              </a:cxn>
              <a:cxn ang="0">
                <a:pos x="79" y="14"/>
              </a:cxn>
              <a:cxn ang="0">
                <a:pos x="78" y="20"/>
              </a:cxn>
            </a:cxnLst>
            <a:rect l="0" t="0" r="r" b="b"/>
            <a:pathLst>
              <a:path w="83" h="31">
                <a:moveTo>
                  <a:pt x="78" y="20"/>
                </a:moveTo>
                <a:lnTo>
                  <a:pt x="75" y="20"/>
                </a:lnTo>
                <a:lnTo>
                  <a:pt x="70" y="18"/>
                </a:lnTo>
                <a:lnTo>
                  <a:pt x="66" y="17"/>
                </a:lnTo>
                <a:lnTo>
                  <a:pt x="63" y="17"/>
                </a:lnTo>
                <a:lnTo>
                  <a:pt x="58" y="17"/>
                </a:lnTo>
                <a:lnTo>
                  <a:pt x="54" y="18"/>
                </a:lnTo>
                <a:lnTo>
                  <a:pt x="53" y="22"/>
                </a:lnTo>
                <a:lnTo>
                  <a:pt x="50" y="22"/>
                </a:lnTo>
                <a:lnTo>
                  <a:pt x="46" y="23"/>
                </a:lnTo>
                <a:lnTo>
                  <a:pt x="41" y="23"/>
                </a:lnTo>
                <a:lnTo>
                  <a:pt x="37" y="25"/>
                </a:lnTo>
                <a:lnTo>
                  <a:pt x="29" y="26"/>
                </a:lnTo>
                <a:lnTo>
                  <a:pt x="25" y="31"/>
                </a:lnTo>
                <a:lnTo>
                  <a:pt x="24" y="31"/>
                </a:lnTo>
                <a:lnTo>
                  <a:pt x="14" y="31"/>
                </a:lnTo>
                <a:lnTo>
                  <a:pt x="8" y="26"/>
                </a:lnTo>
                <a:lnTo>
                  <a:pt x="4" y="25"/>
                </a:lnTo>
                <a:lnTo>
                  <a:pt x="2" y="22"/>
                </a:lnTo>
                <a:lnTo>
                  <a:pt x="0" y="17"/>
                </a:lnTo>
                <a:lnTo>
                  <a:pt x="1" y="15"/>
                </a:lnTo>
                <a:lnTo>
                  <a:pt x="4" y="14"/>
                </a:lnTo>
                <a:lnTo>
                  <a:pt x="5" y="14"/>
                </a:lnTo>
                <a:lnTo>
                  <a:pt x="6" y="14"/>
                </a:lnTo>
                <a:lnTo>
                  <a:pt x="12" y="14"/>
                </a:lnTo>
                <a:lnTo>
                  <a:pt x="14" y="12"/>
                </a:lnTo>
                <a:lnTo>
                  <a:pt x="14" y="11"/>
                </a:lnTo>
                <a:lnTo>
                  <a:pt x="17" y="9"/>
                </a:lnTo>
                <a:lnTo>
                  <a:pt x="18" y="7"/>
                </a:lnTo>
                <a:lnTo>
                  <a:pt x="18" y="6"/>
                </a:lnTo>
                <a:lnTo>
                  <a:pt x="20" y="4"/>
                </a:lnTo>
                <a:lnTo>
                  <a:pt x="22" y="4"/>
                </a:lnTo>
                <a:lnTo>
                  <a:pt x="24" y="3"/>
                </a:lnTo>
                <a:lnTo>
                  <a:pt x="25" y="1"/>
                </a:lnTo>
                <a:lnTo>
                  <a:pt x="27" y="1"/>
                </a:lnTo>
                <a:lnTo>
                  <a:pt x="29" y="0"/>
                </a:lnTo>
                <a:lnTo>
                  <a:pt x="33" y="1"/>
                </a:lnTo>
                <a:lnTo>
                  <a:pt x="35" y="0"/>
                </a:lnTo>
                <a:lnTo>
                  <a:pt x="38" y="0"/>
                </a:lnTo>
                <a:lnTo>
                  <a:pt x="41" y="0"/>
                </a:lnTo>
                <a:lnTo>
                  <a:pt x="43" y="3"/>
                </a:lnTo>
                <a:lnTo>
                  <a:pt x="45" y="4"/>
                </a:lnTo>
                <a:lnTo>
                  <a:pt x="47" y="4"/>
                </a:lnTo>
                <a:lnTo>
                  <a:pt x="50" y="4"/>
                </a:lnTo>
                <a:lnTo>
                  <a:pt x="53" y="1"/>
                </a:lnTo>
                <a:lnTo>
                  <a:pt x="58" y="1"/>
                </a:lnTo>
                <a:lnTo>
                  <a:pt x="61" y="3"/>
                </a:lnTo>
                <a:lnTo>
                  <a:pt x="62" y="3"/>
                </a:lnTo>
                <a:lnTo>
                  <a:pt x="65" y="1"/>
                </a:lnTo>
                <a:lnTo>
                  <a:pt x="69" y="1"/>
                </a:lnTo>
                <a:lnTo>
                  <a:pt x="73" y="1"/>
                </a:lnTo>
                <a:lnTo>
                  <a:pt x="75" y="3"/>
                </a:lnTo>
                <a:lnTo>
                  <a:pt x="78" y="4"/>
                </a:lnTo>
                <a:lnTo>
                  <a:pt x="81" y="6"/>
                </a:lnTo>
                <a:lnTo>
                  <a:pt x="83" y="7"/>
                </a:lnTo>
                <a:lnTo>
                  <a:pt x="79" y="14"/>
                </a:lnTo>
                <a:lnTo>
                  <a:pt x="78" y="20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9" name="Freeform 36"/>
          <p:cNvSpPr>
            <a:spLocks/>
          </p:cNvSpPr>
          <p:nvPr/>
        </p:nvSpPr>
        <p:spPr bwMode="auto">
          <a:xfrm>
            <a:off x="5945310" y="2671275"/>
            <a:ext cx="7795" cy="15033"/>
          </a:xfrm>
          <a:custGeom>
            <a:avLst/>
            <a:gdLst/>
            <a:ahLst/>
            <a:cxnLst>
              <a:cxn ang="0">
                <a:pos x="3" y="8"/>
              </a:cxn>
              <a:cxn ang="0">
                <a:pos x="4" y="5"/>
              </a:cxn>
              <a:cxn ang="0">
                <a:pos x="4" y="3"/>
              </a:cxn>
              <a:cxn ang="0">
                <a:pos x="4" y="2"/>
              </a:cxn>
              <a:cxn ang="0">
                <a:pos x="2" y="0"/>
              </a:cxn>
              <a:cxn ang="0">
                <a:pos x="0" y="2"/>
              </a:cxn>
              <a:cxn ang="0">
                <a:pos x="0" y="5"/>
              </a:cxn>
              <a:cxn ang="0">
                <a:pos x="3" y="8"/>
              </a:cxn>
            </a:cxnLst>
            <a:rect l="0" t="0" r="r" b="b"/>
            <a:pathLst>
              <a:path w="4" h="8">
                <a:moveTo>
                  <a:pt x="3" y="8"/>
                </a:moveTo>
                <a:lnTo>
                  <a:pt x="4" y="5"/>
                </a:lnTo>
                <a:lnTo>
                  <a:pt x="4" y="3"/>
                </a:lnTo>
                <a:lnTo>
                  <a:pt x="4" y="2"/>
                </a:lnTo>
                <a:lnTo>
                  <a:pt x="2" y="0"/>
                </a:lnTo>
                <a:lnTo>
                  <a:pt x="0" y="2"/>
                </a:lnTo>
                <a:lnTo>
                  <a:pt x="0" y="5"/>
                </a:lnTo>
                <a:lnTo>
                  <a:pt x="3" y="8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0" name="Freeform 37"/>
          <p:cNvSpPr>
            <a:spLocks/>
          </p:cNvSpPr>
          <p:nvPr/>
        </p:nvSpPr>
        <p:spPr bwMode="auto">
          <a:xfrm>
            <a:off x="5945310" y="2671275"/>
            <a:ext cx="7795" cy="15033"/>
          </a:xfrm>
          <a:custGeom>
            <a:avLst/>
            <a:gdLst/>
            <a:ahLst/>
            <a:cxnLst>
              <a:cxn ang="0">
                <a:pos x="3" y="8"/>
              </a:cxn>
              <a:cxn ang="0">
                <a:pos x="4" y="5"/>
              </a:cxn>
              <a:cxn ang="0">
                <a:pos x="4" y="3"/>
              </a:cxn>
              <a:cxn ang="0">
                <a:pos x="4" y="2"/>
              </a:cxn>
              <a:cxn ang="0">
                <a:pos x="2" y="0"/>
              </a:cxn>
              <a:cxn ang="0">
                <a:pos x="0" y="2"/>
              </a:cxn>
              <a:cxn ang="0">
                <a:pos x="0" y="5"/>
              </a:cxn>
              <a:cxn ang="0">
                <a:pos x="3" y="8"/>
              </a:cxn>
            </a:cxnLst>
            <a:rect l="0" t="0" r="r" b="b"/>
            <a:pathLst>
              <a:path w="4" h="8">
                <a:moveTo>
                  <a:pt x="3" y="8"/>
                </a:moveTo>
                <a:lnTo>
                  <a:pt x="4" y="5"/>
                </a:lnTo>
                <a:lnTo>
                  <a:pt x="4" y="3"/>
                </a:lnTo>
                <a:lnTo>
                  <a:pt x="4" y="2"/>
                </a:lnTo>
                <a:lnTo>
                  <a:pt x="2" y="0"/>
                </a:lnTo>
                <a:lnTo>
                  <a:pt x="0" y="2"/>
                </a:lnTo>
                <a:lnTo>
                  <a:pt x="0" y="5"/>
                </a:lnTo>
                <a:lnTo>
                  <a:pt x="3" y="8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1" name="Freeform 38"/>
          <p:cNvSpPr>
            <a:spLocks/>
          </p:cNvSpPr>
          <p:nvPr/>
        </p:nvSpPr>
        <p:spPr bwMode="auto">
          <a:xfrm>
            <a:off x="6693655" y="3025628"/>
            <a:ext cx="200729" cy="178251"/>
          </a:xfrm>
          <a:custGeom>
            <a:avLst/>
            <a:gdLst/>
            <a:ahLst/>
            <a:cxnLst>
              <a:cxn ang="0">
                <a:pos x="63" y="63"/>
              </a:cxn>
              <a:cxn ang="0">
                <a:pos x="71" y="58"/>
              </a:cxn>
              <a:cxn ang="0">
                <a:pos x="80" y="54"/>
              </a:cxn>
              <a:cxn ang="0">
                <a:pos x="84" y="51"/>
              </a:cxn>
              <a:cxn ang="0">
                <a:pos x="88" y="35"/>
              </a:cxn>
              <a:cxn ang="0">
                <a:pos x="97" y="13"/>
              </a:cxn>
              <a:cxn ang="0">
                <a:pos x="106" y="3"/>
              </a:cxn>
              <a:cxn ang="0">
                <a:pos x="104" y="2"/>
              </a:cxn>
              <a:cxn ang="0">
                <a:pos x="100" y="2"/>
              </a:cxn>
              <a:cxn ang="0">
                <a:pos x="85" y="5"/>
              </a:cxn>
              <a:cxn ang="0">
                <a:pos x="80" y="3"/>
              </a:cxn>
              <a:cxn ang="0">
                <a:pos x="73" y="7"/>
              </a:cxn>
              <a:cxn ang="0">
                <a:pos x="68" y="8"/>
              </a:cxn>
              <a:cxn ang="0">
                <a:pos x="57" y="11"/>
              </a:cxn>
              <a:cxn ang="0">
                <a:pos x="47" y="8"/>
              </a:cxn>
              <a:cxn ang="0">
                <a:pos x="40" y="8"/>
              </a:cxn>
              <a:cxn ang="0">
                <a:pos x="35" y="11"/>
              </a:cxn>
              <a:cxn ang="0">
                <a:pos x="31" y="11"/>
              </a:cxn>
              <a:cxn ang="0">
                <a:pos x="24" y="11"/>
              </a:cxn>
              <a:cxn ang="0">
                <a:pos x="23" y="10"/>
              </a:cxn>
              <a:cxn ang="0">
                <a:pos x="19" y="8"/>
              </a:cxn>
              <a:cxn ang="0">
                <a:pos x="17" y="13"/>
              </a:cxn>
              <a:cxn ang="0">
                <a:pos x="19" y="19"/>
              </a:cxn>
              <a:cxn ang="0">
                <a:pos x="15" y="21"/>
              </a:cxn>
              <a:cxn ang="0">
                <a:pos x="13" y="24"/>
              </a:cxn>
              <a:cxn ang="0">
                <a:pos x="11" y="27"/>
              </a:cxn>
              <a:cxn ang="0">
                <a:pos x="8" y="24"/>
              </a:cxn>
              <a:cxn ang="0">
                <a:pos x="5" y="32"/>
              </a:cxn>
              <a:cxn ang="0">
                <a:pos x="8" y="36"/>
              </a:cxn>
              <a:cxn ang="0">
                <a:pos x="7" y="44"/>
              </a:cxn>
              <a:cxn ang="0">
                <a:pos x="12" y="47"/>
              </a:cxn>
              <a:cxn ang="0">
                <a:pos x="15" y="47"/>
              </a:cxn>
              <a:cxn ang="0">
                <a:pos x="15" y="47"/>
              </a:cxn>
              <a:cxn ang="0">
                <a:pos x="16" y="49"/>
              </a:cxn>
              <a:cxn ang="0">
                <a:pos x="17" y="52"/>
              </a:cxn>
              <a:cxn ang="0">
                <a:pos x="17" y="55"/>
              </a:cxn>
              <a:cxn ang="0">
                <a:pos x="17" y="57"/>
              </a:cxn>
              <a:cxn ang="0">
                <a:pos x="15" y="60"/>
              </a:cxn>
              <a:cxn ang="0">
                <a:pos x="13" y="62"/>
              </a:cxn>
              <a:cxn ang="0">
                <a:pos x="15" y="63"/>
              </a:cxn>
              <a:cxn ang="0">
                <a:pos x="9" y="63"/>
              </a:cxn>
              <a:cxn ang="0">
                <a:pos x="8" y="65"/>
              </a:cxn>
              <a:cxn ang="0">
                <a:pos x="9" y="66"/>
              </a:cxn>
              <a:cxn ang="0">
                <a:pos x="8" y="68"/>
              </a:cxn>
              <a:cxn ang="0">
                <a:pos x="5" y="71"/>
              </a:cxn>
              <a:cxn ang="0">
                <a:pos x="1" y="74"/>
              </a:cxn>
              <a:cxn ang="0">
                <a:pos x="1" y="77"/>
              </a:cxn>
              <a:cxn ang="0">
                <a:pos x="1" y="80"/>
              </a:cxn>
              <a:cxn ang="0">
                <a:pos x="0" y="84"/>
              </a:cxn>
              <a:cxn ang="0">
                <a:pos x="7" y="85"/>
              </a:cxn>
              <a:cxn ang="0">
                <a:pos x="11" y="88"/>
              </a:cxn>
              <a:cxn ang="0">
                <a:pos x="16" y="90"/>
              </a:cxn>
              <a:cxn ang="0">
                <a:pos x="31" y="82"/>
              </a:cxn>
              <a:cxn ang="0">
                <a:pos x="51" y="71"/>
              </a:cxn>
            </a:cxnLst>
            <a:rect l="0" t="0" r="r" b="b"/>
            <a:pathLst>
              <a:path w="106" h="90">
                <a:moveTo>
                  <a:pt x="51" y="71"/>
                </a:moveTo>
                <a:lnTo>
                  <a:pt x="63" y="63"/>
                </a:lnTo>
                <a:lnTo>
                  <a:pt x="67" y="60"/>
                </a:lnTo>
                <a:lnTo>
                  <a:pt x="71" y="58"/>
                </a:lnTo>
                <a:lnTo>
                  <a:pt x="77" y="55"/>
                </a:lnTo>
                <a:lnTo>
                  <a:pt x="80" y="54"/>
                </a:lnTo>
                <a:lnTo>
                  <a:pt x="81" y="52"/>
                </a:lnTo>
                <a:lnTo>
                  <a:pt x="84" y="51"/>
                </a:lnTo>
                <a:lnTo>
                  <a:pt x="86" y="44"/>
                </a:lnTo>
                <a:lnTo>
                  <a:pt x="88" y="35"/>
                </a:lnTo>
                <a:lnTo>
                  <a:pt x="89" y="16"/>
                </a:lnTo>
                <a:lnTo>
                  <a:pt x="97" y="13"/>
                </a:lnTo>
                <a:lnTo>
                  <a:pt x="102" y="5"/>
                </a:lnTo>
                <a:lnTo>
                  <a:pt x="106" y="3"/>
                </a:lnTo>
                <a:lnTo>
                  <a:pt x="104" y="3"/>
                </a:lnTo>
                <a:lnTo>
                  <a:pt x="104" y="2"/>
                </a:lnTo>
                <a:lnTo>
                  <a:pt x="102" y="0"/>
                </a:lnTo>
                <a:lnTo>
                  <a:pt x="100" y="2"/>
                </a:lnTo>
                <a:lnTo>
                  <a:pt x="94" y="3"/>
                </a:lnTo>
                <a:lnTo>
                  <a:pt x="85" y="5"/>
                </a:lnTo>
                <a:lnTo>
                  <a:pt x="83" y="3"/>
                </a:lnTo>
                <a:lnTo>
                  <a:pt x="80" y="3"/>
                </a:lnTo>
                <a:lnTo>
                  <a:pt x="76" y="5"/>
                </a:lnTo>
                <a:lnTo>
                  <a:pt x="73" y="7"/>
                </a:lnTo>
                <a:lnTo>
                  <a:pt x="71" y="8"/>
                </a:lnTo>
                <a:lnTo>
                  <a:pt x="68" y="8"/>
                </a:lnTo>
                <a:lnTo>
                  <a:pt x="65" y="10"/>
                </a:lnTo>
                <a:lnTo>
                  <a:pt x="57" y="11"/>
                </a:lnTo>
                <a:lnTo>
                  <a:pt x="49" y="10"/>
                </a:lnTo>
                <a:lnTo>
                  <a:pt x="47" y="8"/>
                </a:lnTo>
                <a:lnTo>
                  <a:pt x="44" y="7"/>
                </a:lnTo>
                <a:lnTo>
                  <a:pt x="40" y="8"/>
                </a:lnTo>
                <a:lnTo>
                  <a:pt x="39" y="10"/>
                </a:lnTo>
                <a:lnTo>
                  <a:pt x="35" y="11"/>
                </a:lnTo>
                <a:lnTo>
                  <a:pt x="32" y="11"/>
                </a:lnTo>
                <a:lnTo>
                  <a:pt x="31" y="11"/>
                </a:lnTo>
                <a:lnTo>
                  <a:pt x="27" y="11"/>
                </a:lnTo>
                <a:lnTo>
                  <a:pt x="24" y="11"/>
                </a:lnTo>
                <a:lnTo>
                  <a:pt x="24" y="10"/>
                </a:lnTo>
                <a:lnTo>
                  <a:pt x="23" y="10"/>
                </a:lnTo>
                <a:lnTo>
                  <a:pt x="20" y="10"/>
                </a:lnTo>
                <a:lnTo>
                  <a:pt x="19" y="8"/>
                </a:lnTo>
                <a:lnTo>
                  <a:pt x="17" y="11"/>
                </a:lnTo>
                <a:lnTo>
                  <a:pt x="17" y="13"/>
                </a:lnTo>
                <a:lnTo>
                  <a:pt x="16" y="16"/>
                </a:lnTo>
                <a:lnTo>
                  <a:pt x="19" y="19"/>
                </a:lnTo>
                <a:lnTo>
                  <a:pt x="16" y="19"/>
                </a:lnTo>
                <a:lnTo>
                  <a:pt x="15" y="21"/>
                </a:lnTo>
                <a:lnTo>
                  <a:pt x="13" y="21"/>
                </a:lnTo>
                <a:lnTo>
                  <a:pt x="13" y="24"/>
                </a:lnTo>
                <a:lnTo>
                  <a:pt x="12" y="25"/>
                </a:lnTo>
                <a:lnTo>
                  <a:pt x="11" y="27"/>
                </a:lnTo>
                <a:lnTo>
                  <a:pt x="9" y="25"/>
                </a:lnTo>
                <a:lnTo>
                  <a:pt x="8" y="24"/>
                </a:lnTo>
                <a:lnTo>
                  <a:pt x="7" y="27"/>
                </a:lnTo>
                <a:lnTo>
                  <a:pt x="5" y="32"/>
                </a:lnTo>
                <a:lnTo>
                  <a:pt x="7" y="32"/>
                </a:lnTo>
                <a:lnTo>
                  <a:pt x="8" y="36"/>
                </a:lnTo>
                <a:lnTo>
                  <a:pt x="8" y="41"/>
                </a:lnTo>
                <a:lnTo>
                  <a:pt x="7" y="44"/>
                </a:lnTo>
                <a:lnTo>
                  <a:pt x="8" y="47"/>
                </a:lnTo>
                <a:lnTo>
                  <a:pt x="12" y="47"/>
                </a:lnTo>
                <a:lnTo>
                  <a:pt x="13" y="46"/>
                </a:lnTo>
                <a:lnTo>
                  <a:pt x="15" y="47"/>
                </a:lnTo>
                <a:lnTo>
                  <a:pt x="16" y="47"/>
                </a:lnTo>
                <a:lnTo>
                  <a:pt x="15" y="47"/>
                </a:lnTo>
                <a:lnTo>
                  <a:pt x="15" y="49"/>
                </a:lnTo>
                <a:lnTo>
                  <a:pt x="16" y="49"/>
                </a:lnTo>
                <a:lnTo>
                  <a:pt x="16" y="51"/>
                </a:lnTo>
                <a:lnTo>
                  <a:pt x="17" y="52"/>
                </a:lnTo>
                <a:lnTo>
                  <a:pt x="19" y="54"/>
                </a:lnTo>
                <a:lnTo>
                  <a:pt x="17" y="55"/>
                </a:lnTo>
                <a:lnTo>
                  <a:pt x="19" y="55"/>
                </a:lnTo>
                <a:lnTo>
                  <a:pt x="17" y="57"/>
                </a:lnTo>
                <a:lnTo>
                  <a:pt x="15" y="58"/>
                </a:lnTo>
                <a:lnTo>
                  <a:pt x="15" y="60"/>
                </a:lnTo>
                <a:lnTo>
                  <a:pt x="13" y="60"/>
                </a:lnTo>
                <a:lnTo>
                  <a:pt x="13" y="62"/>
                </a:lnTo>
                <a:lnTo>
                  <a:pt x="15" y="62"/>
                </a:lnTo>
                <a:lnTo>
                  <a:pt x="15" y="63"/>
                </a:lnTo>
                <a:lnTo>
                  <a:pt x="13" y="63"/>
                </a:lnTo>
                <a:lnTo>
                  <a:pt x="9" y="63"/>
                </a:lnTo>
                <a:lnTo>
                  <a:pt x="8" y="63"/>
                </a:lnTo>
                <a:lnTo>
                  <a:pt x="8" y="65"/>
                </a:lnTo>
                <a:lnTo>
                  <a:pt x="7" y="66"/>
                </a:lnTo>
                <a:lnTo>
                  <a:pt x="9" y="66"/>
                </a:lnTo>
                <a:lnTo>
                  <a:pt x="9" y="68"/>
                </a:lnTo>
                <a:lnTo>
                  <a:pt x="8" y="68"/>
                </a:lnTo>
                <a:lnTo>
                  <a:pt x="7" y="69"/>
                </a:lnTo>
                <a:lnTo>
                  <a:pt x="5" y="71"/>
                </a:lnTo>
                <a:lnTo>
                  <a:pt x="4" y="71"/>
                </a:lnTo>
                <a:lnTo>
                  <a:pt x="1" y="74"/>
                </a:lnTo>
                <a:lnTo>
                  <a:pt x="1" y="76"/>
                </a:lnTo>
                <a:lnTo>
                  <a:pt x="1" y="77"/>
                </a:lnTo>
                <a:lnTo>
                  <a:pt x="1" y="79"/>
                </a:lnTo>
                <a:lnTo>
                  <a:pt x="1" y="80"/>
                </a:lnTo>
                <a:lnTo>
                  <a:pt x="1" y="82"/>
                </a:lnTo>
                <a:lnTo>
                  <a:pt x="0" y="84"/>
                </a:lnTo>
                <a:lnTo>
                  <a:pt x="4" y="82"/>
                </a:lnTo>
                <a:lnTo>
                  <a:pt x="7" y="85"/>
                </a:lnTo>
                <a:lnTo>
                  <a:pt x="8" y="87"/>
                </a:lnTo>
                <a:lnTo>
                  <a:pt x="11" y="88"/>
                </a:lnTo>
                <a:lnTo>
                  <a:pt x="12" y="90"/>
                </a:lnTo>
                <a:lnTo>
                  <a:pt x="16" y="90"/>
                </a:lnTo>
                <a:lnTo>
                  <a:pt x="17" y="90"/>
                </a:lnTo>
                <a:lnTo>
                  <a:pt x="31" y="82"/>
                </a:lnTo>
                <a:lnTo>
                  <a:pt x="37" y="79"/>
                </a:lnTo>
                <a:lnTo>
                  <a:pt x="51" y="7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2" name="Freeform 39"/>
          <p:cNvSpPr>
            <a:spLocks/>
          </p:cNvSpPr>
          <p:nvPr/>
        </p:nvSpPr>
        <p:spPr bwMode="auto">
          <a:xfrm>
            <a:off x="6693655" y="3025628"/>
            <a:ext cx="200729" cy="178251"/>
          </a:xfrm>
          <a:custGeom>
            <a:avLst/>
            <a:gdLst/>
            <a:ahLst/>
            <a:cxnLst>
              <a:cxn ang="0">
                <a:pos x="63" y="63"/>
              </a:cxn>
              <a:cxn ang="0">
                <a:pos x="71" y="58"/>
              </a:cxn>
              <a:cxn ang="0">
                <a:pos x="80" y="54"/>
              </a:cxn>
              <a:cxn ang="0">
                <a:pos x="84" y="51"/>
              </a:cxn>
              <a:cxn ang="0">
                <a:pos x="88" y="35"/>
              </a:cxn>
              <a:cxn ang="0">
                <a:pos x="97" y="13"/>
              </a:cxn>
              <a:cxn ang="0">
                <a:pos x="106" y="3"/>
              </a:cxn>
              <a:cxn ang="0">
                <a:pos x="104" y="2"/>
              </a:cxn>
              <a:cxn ang="0">
                <a:pos x="100" y="2"/>
              </a:cxn>
              <a:cxn ang="0">
                <a:pos x="85" y="5"/>
              </a:cxn>
              <a:cxn ang="0">
                <a:pos x="80" y="3"/>
              </a:cxn>
              <a:cxn ang="0">
                <a:pos x="73" y="7"/>
              </a:cxn>
              <a:cxn ang="0">
                <a:pos x="68" y="8"/>
              </a:cxn>
              <a:cxn ang="0">
                <a:pos x="57" y="11"/>
              </a:cxn>
              <a:cxn ang="0">
                <a:pos x="47" y="8"/>
              </a:cxn>
              <a:cxn ang="0">
                <a:pos x="40" y="8"/>
              </a:cxn>
              <a:cxn ang="0">
                <a:pos x="35" y="11"/>
              </a:cxn>
              <a:cxn ang="0">
                <a:pos x="31" y="11"/>
              </a:cxn>
              <a:cxn ang="0">
                <a:pos x="24" y="11"/>
              </a:cxn>
              <a:cxn ang="0">
                <a:pos x="23" y="10"/>
              </a:cxn>
              <a:cxn ang="0">
                <a:pos x="19" y="8"/>
              </a:cxn>
              <a:cxn ang="0">
                <a:pos x="17" y="13"/>
              </a:cxn>
              <a:cxn ang="0">
                <a:pos x="19" y="19"/>
              </a:cxn>
              <a:cxn ang="0">
                <a:pos x="15" y="21"/>
              </a:cxn>
              <a:cxn ang="0">
                <a:pos x="13" y="24"/>
              </a:cxn>
              <a:cxn ang="0">
                <a:pos x="11" y="27"/>
              </a:cxn>
              <a:cxn ang="0">
                <a:pos x="8" y="24"/>
              </a:cxn>
              <a:cxn ang="0">
                <a:pos x="5" y="32"/>
              </a:cxn>
              <a:cxn ang="0">
                <a:pos x="8" y="36"/>
              </a:cxn>
              <a:cxn ang="0">
                <a:pos x="7" y="44"/>
              </a:cxn>
              <a:cxn ang="0">
                <a:pos x="12" y="47"/>
              </a:cxn>
              <a:cxn ang="0">
                <a:pos x="15" y="47"/>
              </a:cxn>
              <a:cxn ang="0">
                <a:pos x="15" y="47"/>
              </a:cxn>
              <a:cxn ang="0">
                <a:pos x="16" y="49"/>
              </a:cxn>
              <a:cxn ang="0">
                <a:pos x="17" y="52"/>
              </a:cxn>
              <a:cxn ang="0">
                <a:pos x="17" y="55"/>
              </a:cxn>
              <a:cxn ang="0">
                <a:pos x="17" y="57"/>
              </a:cxn>
              <a:cxn ang="0">
                <a:pos x="15" y="60"/>
              </a:cxn>
              <a:cxn ang="0">
                <a:pos x="13" y="62"/>
              </a:cxn>
              <a:cxn ang="0">
                <a:pos x="15" y="63"/>
              </a:cxn>
              <a:cxn ang="0">
                <a:pos x="9" y="63"/>
              </a:cxn>
              <a:cxn ang="0">
                <a:pos x="8" y="65"/>
              </a:cxn>
              <a:cxn ang="0">
                <a:pos x="9" y="66"/>
              </a:cxn>
              <a:cxn ang="0">
                <a:pos x="8" y="68"/>
              </a:cxn>
              <a:cxn ang="0">
                <a:pos x="5" y="71"/>
              </a:cxn>
              <a:cxn ang="0">
                <a:pos x="1" y="74"/>
              </a:cxn>
              <a:cxn ang="0">
                <a:pos x="1" y="77"/>
              </a:cxn>
              <a:cxn ang="0">
                <a:pos x="1" y="80"/>
              </a:cxn>
              <a:cxn ang="0">
                <a:pos x="0" y="84"/>
              </a:cxn>
              <a:cxn ang="0">
                <a:pos x="7" y="85"/>
              </a:cxn>
              <a:cxn ang="0">
                <a:pos x="11" y="88"/>
              </a:cxn>
              <a:cxn ang="0">
                <a:pos x="16" y="90"/>
              </a:cxn>
              <a:cxn ang="0">
                <a:pos x="31" y="82"/>
              </a:cxn>
              <a:cxn ang="0">
                <a:pos x="51" y="71"/>
              </a:cxn>
            </a:cxnLst>
            <a:rect l="0" t="0" r="r" b="b"/>
            <a:pathLst>
              <a:path w="106" h="90">
                <a:moveTo>
                  <a:pt x="51" y="71"/>
                </a:moveTo>
                <a:lnTo>
                  <a:pt x="63" y="63"/>
                </a:lnTo>
                <a:lnTo>
                  <a:pt x="67" y="60"/>
                </a:lnTo>
                <a:lnTo>
                  <a:pt x="71" y="58"/>
                </a:lnTo>
                <a:lnTo>
                  <a:pt x="77" y="55"/>
                </a:lnTo>
                <a:lnTo>
                  <a:pt x="80" y="54"/>
                </a:lnTo>
                <a:lnTo>
                  <a:pt x="81" y="52"/>
                </a:lnTo>
                <a:lnTo>
                  <a:pt x="84" y="51"/>
                </a:lnTo>
                <a:lnTo>
                  <a:pt x="86" y="44"/>
                </a:lnTo>
                <a:lnTo>
                  <a:pt x="88" y="35"/>
                </a:lnTo>
                <a:lnTo>
                  <a:pt x="89" y="16"/>
                </a:lnTo>
                <a:lnTo>
                  <a:pt x="97" y="13"/>
                </a:lnTo>
                <a:lnTo>
                  <a:pt x="102" y="5"/>
                </a:lnTo>
                <a:lnTo>
                  <a:pt x="106" y="3"/>
                </a:lnTo>
                <a:lnTo>
                  <a:pt x="104" y="3"/>
                </a:lnTo>
                <a:lnTo>
                  <a:pt x="104" y="2"/>
                </a:lnTo>
                <a:lnTo>
                  <a:pt x="102" y="0"/>
                </a:lnTo>
                <a:lnTo>
                  <a:pt x="100" y="2"/>
                </a:lnTo>
                <a:lnTo>
                  <a:pt x="94" y="3"/>
                </a:lnTo>
                <a:lnTo>
                  <a:pt x="85" y="5"/>
                </a:lnTo>
                <a:lnTo>
                  <a:pt x="83" y="3"/>
                </a:lnTo>
                <a:lnTo>
                  <a:pt x="80" y="3"/>
                </a:lnTo>
                <a:lnTo>
                  <a:pt x="76" y="5"/>
                </a:lnTo>
                <a:lnTo>
                  <a:pt x="73" y="7"/>
                </a:lnTo>
                <a:lnTo>
                  <a:pt x="71" y="8"/>
                </a:lnTo>
                <a:lnTo>
                  <a:pt x="68" y="8"/>
                </a:lnTo>
                <a:lnTo>
                  <a:pt x="65" y="10"/>
                </a:lnTo>
                <a:lnTo>
                  <a:pt x="57" y="11"/>
                </a:lnTo>
                <a:lnTo>
                  <a:pt x="49" y="10"/>
                </a:lnTo>
                <a:lnTo>
                  <a:pt x="47" y="8"/>
                </a:lnTo>
                <a:lnTo>
                  <a:pt x="44" y="7"/>
                </a:lnTo>
                <a:lnTo>
                  <a:pt x="40" y="8"/>
                </a:lnTo>
                <a:lnTo>
                  <a:pt x="39" y="10"/>
                </a:lnTo>
                <a:lnTo>
                  <a:pt x="35" y="11"/>
                </a:lnTo>
                <a:lnTo>
                  <a:pt x="32" y="11"/>
                </a:lnTo>
                <a:lnTo>
                  <a:pt x="31" y="11"/>
                </a:lnTo>
                <a:lnTo>
                  <a:pt x="27" y="11"/>
                </a:lnTo>
                <a:lnTo>
                  <a:pt x="24" y="11"/>
                </a:lnTo>
                <a:lnTo>
                  <a:pt x="24" y="10"/>
                </a:lnTo>
                <a:lnTo>
                  <a:pt x="23" y="10"/>
                </a:lnTo>
                <a:lnTo>
                  <a:pt x="20" y="10"/>
                </a:lnTo>
                <a:lnTo>
                  <a:pt x="19" y="8"/>
                </a:lnTo>
                <a:lnTo>
                  <a:pt x="17" y="11"/>
                </a:lnTo>
                <a:lnTo>
                  <a:pt x="17" y="13"/>
                </a:lnTo>
                <a:lnTo>
                  <a:pt x="16" y="16"/>
                </a:lnTo>
                <a:lnTo>
                  <a:pt x="19" y="19"/>
                </a:lnTo>
                <a:lnTo>
                  <a:pt x="16" y="19"/>
                </a:lnTo>
                <a:lnTo>
                  <a:pt x="15" y="21"/>
                </a:lnTo>
                <a:lnTo>
                  <a:pt x="13" y="21"/>
                </a:lnTo>
                <a:lnTo>
                  <a:pt x="13" y="24"/>
                </a:lnTo>
                <a:lnTo>
                  <a:pt x="12" y="25"/>
                </a:lnTo>
                <a:lnTo>
                  <a:pt x="11" y="27"/>
                </a:lnTo>
                <a:lnTo>
                  <a:pt x="9" y="25"/>
                </a:lnTo>
                <a:lnTo>
                  <a:pt x="8" y="24"/>
                </a:lnTo>
                <a:lnTo>
                  <a:pt x="7" y="27"/>
                </a:lnTo>
                <a:lnTo>
                  <a:pt x="5" y="32"/>
                </a:lnTo>
                <a:lnTo>
                  <a:pt x="7" y="32"/>
                </a:lnTo>
                <a:lnTo>
                  <a:pt x="8" y="36"/>
                </a:lnTo>
                <a:lnTo>
                  <a:pt x="8" y="41"/>
                </a:lnTo>
                <a:lnTo>
                  <a:pt x="7" y="44"/>
                </a:lnTo>
                <a:lnTo>
                  <a:pt x="8" y="47"/>
                </a:lnTo>
                <a:lnTo>
                  <a:pt x="12" y="47"/>
                </a:lnTo>
                <a:lnTo>
                  <a:pt x="13" y="46"/>
                </a:lnTo>
                <a:lnTo>
                  <a:pt x="15" y="47"/>
                </a:lnTo>
                <a:lnTo>
                  <a:pt x="16" y="47"/>
                </a:lnTo>
                <a:lnTo>
                  <a:pt x="15" y="47"/>
                </a:lnTo>
                <a:lnTo>
                  <a:pt x="15" y="49"/>
                </a:lnTo>
                <a:lnTo>
                  <a:pt x="16" y="49"/>
                </a:lnTo>
                <a:lnTo>
                  <a:pt x="16" y="51"/>
                </a:lnTo>
                <a:lnTo>
                  <a:pt x="17" y="52"/>
                </a:lnTo>
                <a:lnTo>
                  <a:pt x="19" y="54"/>
                </a:lnTo>
                <a:lnTo>
                  <a:pt x="17" y="55"/>
                </a:lnTo>
                <a:lnTo>
                  <a:pt x="19" y="55"/>
                </a:lnTo>
                <a:lnTo>
                  <a:pt x="17" y="57"/>
                </a:lnTo>
                <a:lnTo>
                  <a:pt x="15" y="58"/>
                </a:lnTo>
                <a:lnTo>
                  <a:pt x="15" y="60"/>
                </a:lnTo>
                <a:lnTo>
                  <a:pt x="13" y="60"/>
                </a:lnTo>
                <a:lnTo>
                  <a:pt x="13" y="62"/>
                </a:lnTo>
                <a:lnTo>
                  <a:pt x="15" y="62"/>
                </a:lnTo>
                <a:lnTo>
                  <a:pt x="15" y="63"/>
                </a:lnTo>
                <a:lnTo>
                  <a:pt x="13" y="63"/>
                </a:lnTo>
                <a:lnTo>
                  <a:pt x="9" y="63"/>
                </a:lnTo>
                <a:lnTo>
                  <a:pt x="8" y="63"/>
                </a:lnTo>
                <a:lnTo>
                  <a:pt x="8" y="65"/>
                </a:lnTo>
                <a:lnTo>
                  <a:pt x="7" y="66"/>
                </a:lnTo>
                <a:lnTo>
                  <a:pt x="9" y="66"/>
                </a:lnTo>
                <a:lnTo>
                  <a:pt x="9" y="68"/>
                </a:lnTo>
                <a:lnTo>
                  <a:pt x="8" y="68"/>
                </a:lnTo>
                <a:lnTo>
                  <a:pt x="7" y="69"/>
                </a:lnTo>
                <a:lnTo>
                  <a:pt x="5" y="71"/>
                </a:lnTo>
                <a:lnTo>
                  <a:pt x="4" y="71"/>
                </a:lnTo>
                <a:lnTo>
                  <a:pt x="1" y="74"/>
                </a:lnTo>
                <a:lnTo>
                  <a:pt x="1" y="76"/>
                </a:lnTo>
                <a:lnTo>
                  <a:pt x="1" y="77"/>
                </a:lnTo>
                <a:lnTo>
                  <a:pt x="1" y="79"/>
                </a:lnTo>
                <a:lnTo>
                  <a:pt x="1" y="80"/>
                </a:lnTo>
                <a:lnTo>
                  <a:pt x="1" y="82"/>
                </a:lnTo>
                <a:lnTo>
                  <a:pt x="0" y="84"/>
                </a:lnTo>
                <a:lnTo>
                  <a:pt x="4" y="82"/>
                </a:lnTo>
                <a:lnTo>
                  <a:pt x="7" y="85"/>
                </a:lnTo>
                <a:lnTo>
                  <a:pt x="8" y="87"/>
                </a:lnTo>
                <a:lnTo>
                  <a:pt x="11" y="88"/>
                </a:lnTo>
                <a:lnTo>
                  <a:pt x="12" y="90"/>
                </a:lnTo>
                <a:lnTo>
                  <a:pt x="16" y="90"/>
                </a:lnTo>
                <a:lnTo>
                  <a:pt x="17" y="90"/>
                </a:lnTo>
                <a:lnTo>
                  <a:pt x="31" y="82"/>
                </a:lnTo>
                <a:lnTo>
                  <a:pt x="37" y="79"/>
                </a:lnTo>
                <a:lnTo>
                  <a:pt x="51" y="7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3" name="Freeform 40"/>
          <p:cNvSpPr>
            <a:spLocks/>
          </p:cNvSpPr>
          <p:nvPr/>
        </p:nvSpPr>
        <p:spPr bwMode="auto">
          <a:xfrm>
            <a:off x="7412768" y="2986973"/>
            <a:ext cx="413149" cy="319993"/>
          </a:xfrm>
          <a:custGeom>
            <a:avLst/>
            <a:gdLst/>
            <a:ahLst/>
            <a:cxnLst>
              <a:cxn ang="0">
                <a:pos x="19" y="130"/>
              </a:cxn>
              <a:cxn ang="0">
                <a:pos x="4" y="119"/>
              </a:cxn>
              <a:cxn ang="0">
                <a:pos x="2" y="99"/>
              </a:cxn>
              <a:cxn ang="0">
                <a:pos x="0" y="78"/>
              </a:cxn>
              <a:cxn ang="0">
                <a:pos x="12" y="58"/>
              </a:cxn>
              <a:cxn ang="0">
                <a:pos x="19" y="55"/>
              </a:cxn>
              <a:cxn ang="0">
                <a:pos x="30" y="58"/>
              </a:cxn>
              <a:cxn ang="0">
                <a:pos x="40" y="53"/>
              </a:cxn>
              <a:cxn ang="0">
                <a:pos x="42" y="47"/>
              </a:cxn>
              <a:cxn ang="0">
                <a:pos x="55" y="42"/>
              </a:cxn>
              <a:cxn ang="0">
                <a:pos x="63" y="34"/>
              </a:cxn>
              <a:cxn ang="0">
                <a:pos x="65" y="23"/>
              </a:cxn>
              <a:cxn ang="0">
                <a:pos x="76" y="22"/>
              </a:cxn>
              <a:cxn ang="0">
                <a:pos x="80" y="17"/>
              </a:cxn>
              <a:cxn ang="0">
                <a:pos x="100" y="20"/>
              </a:cxn>
              <a:cxn ang="0">
                <a:pos x="111" y="22"/>
              </a:cxn>
              <a:cxn ang="0">
                <a:pos x="124" y="22"/>
              </a:cxn>
              <a:cxn ang="0">
                <a:pos x="131" y="22"/>
              </a:cxn>
              <a:cxn ang="0">
                <a:pos x="137" y="16"/>
              </a:cxn>
              <a:cxn ang="0">
                <a:pos x="145" y="17"/>
              </a:cxn>
              <a:cxn ang="0">
                <a:pos x="149" y="6"/>
              </a:cxn>
              <a:cxn ang="0">
                <a:pos x="160" y="0"/>
              </a:cxn>
              <a:cxn ang="0">
                <a:pos x="164" y="9"/>
              </a:cxn>
              <a:cxn ang="0">
                <a:pos x="166" y="14"/>
              </a:cxn>
              <a:cxn ang="0">
                <a:pos x="165" y="23"/>
              </a:cxn>
              <a:cxn ang="0">
                <a:pos x="170" y="33"/>
              </a:cxn>
              <a:cxn ang="0">
                <a:pos x="185" y="25"/>
              </a:cxn>
              <a:cxn ang="0">
                <a:pos x="194" y="19"/>
              </a:cxn>
              <a:cxn ang="0">
                <a:pos x="201" y="19"/>
              </a:cxn>
              <a:cxn ang="0">
                <a:pos x="209" y="20"/>
              </a:cxn>
              <a:cxn ang="0">
                <a:pos x="217" y="22"/>
              </a:cxn>
              <a:cxn ang="0">
                <a:pos x="213" y="22"/>
              </a:cxn>
              <a:cxn ang="0">
                <a:pos x="213" y="28"/>
              </a:cxn>
              <a:cxn ang="0">
                <a:pos x="200" y="28"/>
              </a:cxn>
              <a:cxn ang="0">
                <a:pos x="184" y="30"/>
              </a:cxn>
              <a:cxn ang="0">
                <a:pos x="176" y="34"/>
              </a:cxn>
              <a:cxn ang="0">
                <a:pos x="170" y="36"/>
              </a:cxn>
              <a:cxn ang="0">
                <a:pos x="162" y="44"/>
              </a:cxn>
              <a:cxn ang="0">
                <a:pos x="169" y="55"/>
              </a:cxn>
              <a:cxn ang="0">
                <a:pos x="165" y="64"/>
              </a:cxn>
              <a:cxn ang="0">
                <a:pos x="160" y="72"/>
              </a:cxn>
              <a:cxn ang="0">
                <a:pos x="159" y="78"/>
              </a:cxn>
              <a:cxn ang="0">
                <a:pos x="145" y="78"/>
              </a:cxn>
              <a:cxn ang="0">
                <a:pos x="147" y="85"/>
              </a:cxn>
              <a:cxn ang="0">
                <a:pos x="145" y="94"/>
              </a:cxn>
              <a:cxn ang="0">
                <a:pos x="136" y="100"/>
              </a:cxn>
              <a:cxn ang="0">
                <a:pos x="133" y="105"/>
              </a:cxn>
              <a:cxn ang="0">
                <a:pos x="133" y="118"/>
              </a:cxn>
              <a:cxn ang="0">
                <a:pos x="125" y="119"/>
              </a:cxn>
              <a:cxn ang="0">
                <a:pos x="116" y="119"/>
              </a:cxn>
              <a:cxn ang="0">
                <a:pos x="111" y="126"/>
              </a:cxn>
              <a:cxn ang="0">
                <a:pos x="99" y="129"/>
              </a:cxn>
              <a:cxn ang="0">
                <a:pos x="89" y="135"/>
              </a:cxn>
              <a:cxn ang="0">
                <a:pos x="89" y="152"/>
              </a:cxn>
              <a:cxn ang="0">
                <a:pos x="63" y="159"/>
              </a:cxn>
              <a:cxn ang="0">
                <a:pos x="55" y="162"/>
              </a:cxn>
              <a:cxn ang="0">
                <a:pos x="36" y="160"/>
              </a:cxn>
              <a:cxn ang="0">
                <a:pos x="28" y="162"/>
              </a:cxn>
            </a:cxnLst>
            <a:rect l="0" t="0" r="r" b="b"/>
            <a:pathLst>
              <a:path w="217" h="162">
                <a:moveTo>
                  <a:pt x="7" y="154"/>
                </a:moveTo>
                <a:lnTo>
                  <a:pt x="11" y="148"/>
                </a:lnTo>
                <a:lnTo>
                  <a:pt x="18" y="140"/>
                </a:lnTo>
                <a:lnTo>
                  <a:pt x="19" y="135"/>
                </a:lnTo>
                <a:lnTo>
                  <a:pt x="19" y="130"/>
                </a:lnTo>
                <a:lnTo>
                  <a:pt x="18" y="126"/>
                </a:lnTo>
                <a:lnTo>
                  <a:pt x="14" y="124"/>
                </a:lnTo>
                <a:lnTo>
                  <a:pt x="11" y="122"/>
                </a:lnTo>
                <a:lnTo>
                  <a:pt x="7" y="122"/>
                </a:lnTo>
                <a:lnTo>
                  <a:pt x="4" y="119"/>
                </a:lnTo>
                <a:lnTo>
                  <a:pt x="4" y="116"/>
                </a:lnTo>
                <a:lnTo>
                  <a:pt x="6" y="111"/>
                </a:lnTo>
                <a:lnTo>
                  <a:pt x="4" y="107"/>
                </a:lnTo>
                <a:lnTo>
                  <a:pt x="3" y="102"/>
                </a:lnTo>
                <a:lnTo>
                  <a:pt x="2" y="99"/>
                </a:lnTo>
                <a:lnTo>
                  <a:pt x="3" y="94"/>
                </a:lnTo>
                <a:lnTo>
                  <a:pt x="6" y="88"/>
                </a:lnTo>
                <a:lnTo>
                  <a:pt x="4" y="85"/>
                </a:lnTo>
                <a:lnTo>
                  <a:pt x="0" y="85"/>
                </a:lnTo>
                <a:lnTo>
                  <a:pt x="0" y="78"/>
                </a:lnTo>
                <a:lnTo>
                  <a:pt x="0" y="77"/>
                </a:lnTo>
                <a:lnTo>
                  <a:pt x="7" y="74"/>
                </a:lnTo>
                <a:lnTo>
                  <a:pt x="7" y="71"/>
                </a:lnTo>
                <a:lnTo>
                  <a:pt x="11" y="64"/>
                </a:lnTo>
                <a:lnTo>
                  <a:pt x="12" y="58"/>
                </a:lnTo>
                <a:lnTo>
                  <a:pt x="12" y="53"/>
                </a:lnTo>
                <a:lnTo>
                  <a:pt x="12" y="50"/>
                </a:lnTo>
                <a:lnTo>
                  <a:pt x="14" y="52"/>
                </a:lnTo>
                <a:lnTo>
                  <a:pt x="16" y="53"/>
                </a:lnTo>
                <a:lnTo>
                  <a:pt x="19" y="55"/>
                </a:lnTo>
                <a:lnTo>
                  <a:pt x="23" y="53"/>
                </a:lnTo>
                <a:lnTo>
                  <a:pt x="24" y="55"/>
                </a:lnTo>
                <a:lnTo>
                  <a:pt x="27" y="56"/>
                </a:lnTo>
                <a:lnTo>
                  <a:pt x="28" y="58"/>
                </a:lnTo>
                <a:lnTo>
                  <a:pt x="30" y="58"/>
                </a:lnTo>
                <a:lnTo>
                  <a:pt x="31" y="58"/>
                </a:lnTo>
                <a:lnTo>
                  <a:pt x="35" y="58"/>
                </a:lnTo>
                <a:lnTo>
                  <a:pt x="36" y="56"/>
                </a:lnTo>
                <a:lnTo>
                  <a:pt x="39" y="55"/>
                </a:lnTo>
                <a:lnTo>
                  <a:pt x="40" y="53"/>
                </a:lnTo>
                <a:lnTo>
                  <a:pt x="40" y="50"/>
                </a:lnTo>
                <a:lnTo>
                  <a:pt x="42" y="50"/>
                </a:lnTo>
                <a:lnTo>
                  <a:pt x="43" y="49"/>
                </a:lnTo>
                <a:lnTo>
                  <a:pt x="42" y="49"/>
                </a:lnTo>
                <a:lnTo>
                  <a:pt x="42" y="47"/>
                </a:lnTo>
                <a:lnTo>
                  <a:pt x="43" y="47"/>
                </a:lnTo>
                <a:lnTo>
                  <a:pt x="46" y="45"/>
                </a:lnTo>
                <a:lnTo>
                  <a:pt x="49" y="45"/>
                </a:lnTo>
                <a:lnTo>
                  <a:pt x="52" y="44"/>
                </a:lnTo>
                <a:lnTo>
                  <a:pt x="55" y="42"/>
                </a:lnTo>
                <a:lnTo>
                  <a:pt x="56" y="41"/>
                </a:lnTo>
                <a:lnTo>
                  <a:pt x="57" y="41"/>
                </a:lnTo>
                <a:lnTo>
                  <a:pt x="61" y="38"/>
                </a:lnTo>
                <a:lnTo>
                  <a:pt x="63" y="38"/>
                </a:lnTo>
                <a:lnTo>
                  <a:pt x="63" y="34"/>
                </a:lnTo>
                <a:lnTo>
                  <a:pt x="63" y="31"/>
                </a:lnTo>
                <a:lnTo>
                  <a:pt x="64" y="31"/>
                </a:lnTo>
                <a:lnTo>
                  <a:pt x="65" y="27"/>
                </a:lnTo>
                <a:lnTo>
                  <a:pt x="65" y="25"/>
                </a:lnTo>
                <a:lnTo>
                  <a:pt x="65" y="23"/>
                </a:lnTo>
                <a:lnTo>
                  <a:pt x="67" y="23"/>
                </a:lnTo>
                <a:lnTo>
                  <a:pt x="68" y="22"/>
                </a:lnTo>
                <a:lnTo>
                  <a:pt x="71" y="22"/>
                </a:lnTo>
                <a:lnTo>
                  <a:pt x="72" y="22"/>
                </a:lnTo>
                <a:lnTo>
                  <a:pt x="76" y="22"/>
                </a:lnTo>
                <a:lnTo>
                  <a:pt x="77" y="22"/>
                </a:lnTo>
                <a:lnTo>
                  <a:pt x="77" y="20"/>
                </a:lnTo>
                <a:lnTo>
                  <a:pt x="77" y="17"/>
                </a:lnTo>
                <a:lnTo>
                  <a:pt x="79" y="17"/>
                </a:lnTo>
                <a:lnTo>
                  <a:pt x="80" y="17"/>
                </a:lnTo>
                <a:lnTo>
                  <a:pt x="81" y="17"/>
                </a:lnTo>
                <a:lnTo>
                  <a:pt x="85" y="19"/>
                </a:lnTo>
                <a:lnTo>
                  <a:pt x="88" y="20"/>
                </a:lnTo>
                <a:lnTo>
                  <a:pt x="92" y="20"/>
                </a:lnTo>
                <a:lnTo>
                  <a:pt x="100" y="20"/>
                </a:lnTo>
                <a:lnTo>
                  <a:pt x="101" y="20"/>
                </a:lnTo>
                <a:lnTo>
                  <a:pt x="104" y="22"/>
                </a:lnTo>
                <a:lnTo>
                  <a:pt x="107" y="20"/>
                </a:lnTo>
                <a:lnTo>
                  <a:pt x="109" y="22"/>
                </a:lnTo>
                <a:lnTo>
                  <a:pt x="111" y="22"/>
                </a:lnTo>
                <a:lnTo>
                  <a:pt x="115" y="27"/>
                </a:lnTo>
                <a:lnTo>
                  <a:pt x="117" y="25"/>
                </a:lnTo>
                <a:lnTo>
                  <a:pt x="119" y="25"/>
                </a:lnTo>
                <a:lnTo>
                  <a:pt x="123" y="22"/>
                </a:lnTo>
                <a:lnTo>
                  <a:pt x="124" y="22"/>
                </a:lnTo>
                <a:lnTo>
                  <a:pt x="125" y="22"/>
                </a:lnTo>
                <a:lnTo>
                  <a:pt x="127" y="22"/>
                </a:lnTo>
                <a:lnTo>
                  <a:pt x="128" y="20"/>
                </a:lnTo>
                <a:lnTo>
                  <a:pt x="129" y="22"/>
                </a:lnTo>
                <a:lnTo>
                  <a:pt x="131" y="22"/>
                </a:lnTo>
                <a:lnTo>
                  <a:pt x="135" y="23"/>
                </a:lnTo>
                <a:lnTo>
                  <a:pt x="136" y="22"/>
                </a:lnTo>
                <a:lnTo>
                  <a:pt x="135" y="20"/>
                </a:lnTo>
                <a:lnTo>
                  <a:pt x="135" y="19"/>
                </a:lnTo>
                <a:lnTo>
                  <a:pt x="137" y="16"/>
                </a:lnTo>
                <a:lnTo>
                  <a:pt x="139" y="16"/>
                </a:lnTo>
                <a:lnTo>
                  <a:pt x="140" y="16"/>
                </a:lnTo>
                <a:lnTo>
                  <a:pt x="143" y="16"/>
                </a:lnTo>
                <a:lnTo>
                  <a:pt x="144" y="17"/>
                </a:lnTo>
                <a:lnTo>
                  <a:pt x="145" y="17"/>
                </a:lnTo>
                <a:lnTo>
                  <a:pt x="147" y="17"/>
                </a:lnTo>
                <a:lnTo>
                  <a:pt x="148" y="14"/>
                </a:lnTo>
                <a:lnTo>
                  <a:pt x="147" y="12"/>
                </a:lnTo>
                <a:lnTo>
                  <a:pt x="147" y="11"/>
                </a:lnTo>
                <a:lnTo>
                  <a:pt x="149" y="6"/>
                </a:lnTo>
                <a:lnTo>
                  <a:pt x="153" y="3"/>
                </a:lnTo>
                <a:lnTo>
                  <a:pt x="155" y="1"/>
                </a:lnTo>
                <a:lnTo>
                  <a:pt x="156" y="1"/>
                </a:lnTo>
                <a:lnTo>
                  <a:pt x="159" y="0"/>
                </a:lnTo>
                <a:lnTo>
                  <a:pt x="160" y="0"/>
                </a:lnTo>
                <a:lnTo>
                  <a:pt x="164" y="5"/>
                </a:lnTo>
                <a:lnTo>
                  <a:pt x="164" y="6"/>
                </a:lnTo>
                <a:lnTo>
                  <a:pt x="162" y="8"/>
                </a:lnTo>
                <a:lnTo>
                  <a:pt x="162" y="9"/>
                </a:lnTo>
                <a:lnTo>
                  <a:pt x="164" y="9"/>
                </a:lnTo>
                <a:lnTo>
                  <a:pt x="165" y="9"/>
                </a:lnTo>
                <a:lnTo>
                  <a:pt x="166" y="9"/>
                </a:lnTo>
                <a:lnTo>
                  <a:pt x="168" y="11"/>
                </a:lnTo>
                <a:lnTo>
                  <a:pt x="166" y="12"/>
                </a:lnTo>
                <a:lnTo>
                  <a:pt x="166" y="14"/>
                </a:lnTo>
                <a:lnTo>
                  <a:pt x="166" y="16"/>
                </a:lnTo>
                <a:lnTo>
                  <a:pt x="166" y="17"/>
                </a:lnTo>
                <a:lnTo>
                  <a:pt x="166" y="19"/>
                </a:lnTo>
                <a:lnTo>
                  <a:pt x="166" y="22"/>
                </a:lnTo>
                <a:lnTo>
                  <a:pt x="165" y="23"/>
                </a:lnTo>
                <a:lnTo>
                  <a:pt x="165" y="27"/>
                </a:lnTo>
                <a:lnTo>
                  <a:pt x="168" y="28"/>
                </a:lnTo>
                <a:lnTo>
                  <a:pt x="169" y="31"/>
                </a:lnTo>
                <a:lnTo>
                  <a:pt x="169" y="33"/>
                </a:lnTo>
                <a:lnTo>
                  <a:pt x="170" y="33"/>
                </a:lnTo>
                <a:lnTo>
                  <a:pt x="172" y="31"/>
                </a:lnTo>
                <a:lnTo>
                  <a:pt x="176" y="30"/>
                </a:lnTo>
                <a:lnTo>
                  <a:pt x="178" y="27"/>
                </a:lnTo>
                <a:lnTo>
                  <a:pt x="185" y="27"/>
                </a:lnTo>
                <a:lnTo>
                  <a:pt x="185" y="25"/>
                </a:lnTo>
                <a:lnTo>
                  <a:pt x="186" y="23"/>
                </a:lnTo>
                <a:lnTo>
                  <a:pt x="189" y="22"/>
                </a:lnTo>
                <a:lnTo>
                  <a:pt x="190" y="22"/>
                </a:lnTo>
                <a:lnTo>
                  <a:pt x="193" y="20"/>
                </a:lnTo>
                <a:lnTo>
                  <a:pt x="194" y="19"/>
                </a:lnTo>
                <a:lnTo>
                  <a:pt x="196" y="19"/>
                </a:lnTo>
                <a:lnTo>
                  <a:pt x="197" y="19"/>
                </a:lnTo>
                <a:lnTo>
                  <a:pt x="198" y="19"/>
                </a:lnTo>
                <a:lnTo>
                  <a:pt x="200" y="19"/>
                </a:lnTo>
                <a:lnTo>
                  <a:pt x="201" y="19"/>
                </a:lnTo>
                <a:lnTo>
                  <a:pt x="201" y="22"/>
                </a:lnTo>
                <a:lnTo>
                  <a:pt x="202" y="22"/>
                </a:lnTo>
                <a:lnTo>
                  <a:pt x="204" y="20"/>
                </a:lnTo>
                <a:lnTo>
                  <a:pt x="205" y="20"/>
                </a:lnTo>
                <a:lnTo>
                  <a:pt x="209" y="20"/>
                </a:lnTo>
                <a:lnTo>
                  <a:pt x="212" y="19"/>
                </a:lnTo>
                <a:lnTo>
                  <a:pt x="213" y="19"/>
                </a:lnTo>
                <a:lnTo>
                  <a:pt x="214" y="20"/>
                </a:lnTo>
                <a:lnTo>
                  <a:pt x="217" y="20"/>
                </a:lnTo>
                <a:lnTo>
                  <a:pt x="217" y="22"/>
                </a:lnTo>
                <a:lnTo>
                  <a:pt x="216" y="22"/>
                </a:lnTo>
                <a:lnTo>
                  <a:pt x="217" y="22"/>
                </a:lnTo>
                <a:lnTo>
                  <a:pt x="216" y="22"/>
                </a:lnTo>
                <a:lnTo>
                  <a:pt x="214" y="22"/>
                </a:lnTo>
                <a:lnTo>
                  <a:pt x="213" y="22"/>
                </a:lnTo>
                <a:lnTo>
                  <a:pt x="212" y="23"/>
                </a:lnTo>
                <a:lnTo>
                  <a:pt x="212" y="25"/>
                </a:lnTo>
                <a:lnTo>
                  <a:pt x="213" y="25"/>
                </a:lnTo>
                <a:lnTo>
                  <a:pt x="214" y="27"/>
                </a:lnTo>
                <a:lnTo>
                  <a:pt x="213" y="28"/>
                </a:lnTo>
                <a:lnTo>
                  <a:pt x="210" y="27"/>
                </a:lnTo>
                <a:lnTo>
                  <a:pt x="209" y="28"/>
                </a:lnTo>
                <a:lnTo>
                  <a:pt x="206" y="30"/>
                </a:lnTo>
                <a:lnTo>
                  <a:pt x="202" y="28"/>
                </a:lnTo>
                <a:lnTo>
                  <a:pt x="200" y="28"/>
                </a:lnTo>
                <a:lnTo>
                  <a:pt x="198" y="28"/>
                </a:lnTo>
                <a:lnTo>
                  <a:pt x="189" y="28"/>
                </a:lnTo>
                <a:lnTo>
                  <a:pt x="188" y="28"/>
                </a:lnTo>
                <a:lnTo>
                  <a:pt x="185" y="30"/>
                </a:lnTo>
                <a:lnTo>
                  <a:pt x="184" y="30"/>
                </a:lnTo>
                <a:lnTo>
                  <a:pt x="181" y="31"/>
                </a:lnTo>
                <a:lnTo>
                  <a:pt x="178" y="31"/>
                </a:lnTo>
                <a:lnTo>
                  <a:pt x="177" y="33"/>
                </a:lnTo>
                <a:lnTo>
                  <a:pt x="176" y="33"/>
                </a:lnTo>
                <a:lnTo>
                  <a:pt x="176" y="34"/>
                </a:lnTo>
                <a:lnTo>
                  <a:pt x="173" y="34"/>
                </a:lnTo>
                <a:lnTo>
                  <a:pt x="172" y="36"/>
                </a:lnTo>
                <a:lnTo>
                  <a:pt x="173" y="36"/>
                </a:lnTo>
                <a:lnTo>
                  <a:pt x="172" y="36"/>
                </a:lnTo>
                <a:lnTo>
                  <a:pt x="170" y="36"/>
                </a:lnTo>
                <a:lnTo>
                  <a:pt x="169" y="36"/>
                </a:lnTo>
                <a:lnTo>
                  <a:pt x="168" y="38"/>
                </a:lnTo>
                <a:lnTo>
                  <a:pt x="164" y="41"/>
                </a:lnTo>
                <a:lnTo>
                  <a:pt x="162" y="42"/>
                </a:lnTo>
                <a:lnTo>
                  <a:pt x="162" y="44"/>
                </a:lnTo>
                <a:lnTo>
                  <a:pt x="165" y="45"/>
                </a:lnTo>
                <a:lnTo>
                  <a:pt x="166" y="47"/>
                </a:lnTo>
                <a:lnTo>
                  <a:pt x="168" y="52"/>
                </a:lnTo>
                <a:lnTo>
                  <a:pt x="169" y="53"/>
                </a:lnTo>
                <a:lnTo>
                  <a:pt x="169" y="55"/>
                </a:lnTo>
                <a:lnTo>
                  <a:pt x="168" y="56"/>
                </a:lnTo>
                <a:lnTo>
                  <a:pt x="169" y="58"/>
                </a:lnTo>
                <a:lnTo>
                  <a:pt x="168" y="60"/>
                </a:lnTo>
                <a:lnTo>
                  <a:pt x="168" y="61"/>
                </a:lnTo>
                <a:lnTo>
                  <a:pt x="165" y="64"/>
                </a:lnTo>
                <a:lnTo>
                  <a:pt x="164" y="66"/>
                </a:lnTo>
                <a:lnTo>
                  <a:pt x="161" y="67"/>
                </a:lnTo>
                <a:lnTo>
                  <a:pt x="161" y="69"/>
                </a:lnTo>
                <a:lnTo>
                  <a:pt x="160" y="71"/>
                </a:lnTo>
                <a:lnTo>
                  <a:pt x="160" y="72"/>
                </a:lnTo>
                <a:lnTo>
                  <a:pt x="161" y="72"/>
                </a:lnTo>
                <a:lnTo>
                  <a:pt x="161" y="74"/>
                </a:lnTo>
                <a:lnTo>
                  <a:pt x="161" y="75"/>
                </a:lnTo>
                <a:lnTo>
                  <a:pt x="161" y="77"/>
                </a:lnTo>
                <a:lnTo>
                  <a:pt x="159" y="78"/>
                </a:lnTo>
                <a:lnTo>
                  <a:pt x="157" y="80"/>
                </a:lnTo>
                <a:lnTo>
                  <a:pt x="155" y="80"/>
                </a:lnTo>
                <a:lnTo>
                  <a:pt x="151" y="80"/>
                </a:lnTo>
                <a:lnTo>
                  <a:pt x="147" y="78"/>
                </a:lnTo>
                <a:lnTo>
                  <a:pt x="145" y="78"/>
                </a:lnTo>
                <a:lnTo>
                  <a:pt x="144" y="80"/>
                </a:lnTo>
                <a:lnTo>
                  <a:pt x="143" y="82"/>
                </a:lnTo>
                <a:lnTo>
                  <a:pt x="144" y="82"/>
                </a:lnTo>
                <a:lnTo>
                  <a:pt x="145" y="85"/>
                </a:lnTo>
                <a:lnTo>
                  <a:pt x="147" y="85"/>
                </a:lnTo>
                <a:lnTo>
                  <a:pt x="148" y="89"/>
                </a:lnTo>
                <a:lnTo>
                  <a:pt x="149" y="89"/>
                </a:lnTo>
                <a:lnTo>
                  <a:pt x="149" y="91"/>
                </a:lnTo>
                <a:lnTo>
                  <a:pt x="148" y="93"/>
                </a:lnTo>
                <a:lnTo>
                  <a:pt x="145" y="94"/>
                </a:lnTo>
                <a:lnTo>
                  <a:pt x="143" y="96"/>
                </a:lnTo>
                <a:lnTo>
                  <a:pt x="141" y="96"/>
                </a:lnTo>
                <a:lnTo>
                  <a:pt x="137" y="96"/>
                </a:lnTo>
                <a:lnTo>
                  <a:pt x="137" y="100"/>
                </a:lnTo>
                <a:lnTo>
                  <a:pt x="136" y="100"/>
                </a:lnTo>
                <a:lnTo>
                  <a:pt x="135" y="102"/>
                </a:lnTo>
                <a:lnTo>
                  <a:pt x="136" y="104"/>
                </a:lnTo>
                <a:lnTo>
                  <a:pt x="136" y="105"/>
                </a:lnTo>
                <a:lnTo>
                  <a:pt x="135" y="105"/>
                </a:lnTo>
                <a:lnTo>
                  <a:pt x="133" y="105"/>
                </a:lnTo>
                <a:lnTo>
                  <a:pt x="133" y="107"/>
                </a:lnTo>
                <a:lnTo>
                  <a:pt x="132" y="108"/>
                </a:lnTo>
                <a:lnTo>
                  <a:pt x="133" y="113"/>
                </a:lnTo>
                <a:lnTo>
                  <a:pt x="133" y="116"/>
                </a:lnTo>
                <a:lnTo>
                  <a:pt x="133" y="118"/>
                </a:lnTo>
                <a:lnTo>
                  <a:pt x="128" y="122"/>
                </a:lnTo>
                <a:lnTo>
                  <a:pt x="127" y="122"/>
                </a:lnTo>
                <a:lnTo>
                  <a:pt x="125" y="122"/>
                </a:lnTo>
                <a:lnTo>
                  <a:pt x="125" y="121"/>
                </a:lnTo>
                <a:lnTo>
                  <a:pt x="125" y="119"/>
                </a:lnTo>
                <a:lnTo>
                  <a:pt x="123" y="119"/>
                </a:lnTo>
                <a:lnTo>
                  <a:pt x="121" y="119"/>
                </a:lnTo>
                <a:lnTo>
                  <a:pt x="123" y="121"/>
                </a:lnTo>
                <a:lnTo>
                  <a:pt x="117" y="119"/>
                </a:lnTo>
                <a:lnTo>
                  <a:pt x="116" y="119"/>
                </a:lnTo>
                <a:lnTo>
                  <a:pt x="115" y="121"/>
                </a:lnTo>
                <a:lnTo>
                  <a:pt x="113" y="121"/>
                </a:lnTo>
                <a:lnTo>
                  <a:pt x="109" y="124"/>
                </a:lnTo>
                <a:lnTo>
                  <a:pt x="108" y="126"/>
                </a:lnTo>
                <a:lnTo>
                  <a:pt x="111" y="126"/>
                </a:lnTo>
                <a:lnTo>
                  <a:pt x="111" y="127"/>
                </a:lnTo>
                <a:lnTo>
                  <a:pt x="108" y="129"/>
                </a:lnTo>
                <a:lnTo>
                  <a:pt x="105" y="129"/>
                </a:lnTo>
                <a:lnTo>
                  <a:pt x="101" y="129"/>
                </a:lnTo>
                <a:lnTo>
                  <a:pt x="99" y="129"/>
                </a:lnTo>
                <a:lnTo>
                  <a:pt x="97" y="127"/>
                </a:lnTo>
                <a:lnTo>
                  <a:pt x="96" y="129"/>
                </a:lnTo>
                <a:lnTo>
                  <a:pt x="95" y="132"/>
                </a:lnTo>
                <a:lnTo>
                  <a:pt x="91" y="133"/>
                </a:lnTo>
                <a:lnTo>
                  <a:pt x="89" y="135"/>
                </a:lnTo>
                <a:lnTo>
                  <a:pt x="89" y="140"/>
                </a:lnTo>
                <a:lnTo>
                  <a:pt x="89" y="143"/>
                </a:lnTo>
                <a:lnTo>
                  <a:pt x="88" y="149"/>
                </a:lnTo>
                <a:lnTo>
                  <a:pt x="89" y="151"/>
                </a:lnTo>
                <a:lnTo>
                  <a:pt x="89" y="152"/>
                </a:lnTo>
                <a:lnTo>
                  <a:pt x="87" y="154"/>
                </a:lnTo>
                <a:lnTo>
                  <a:pt x="80" y="155"/>
                </a:lnTo>
                <a:lnTo>
                  <a:pt x="75" y="159"/>
                </a:lnTo>
                <a:lnTo>
                  <a:pt x="69" y="159"/>
                </a:lnTo>
                <a:lnTo>
                  <a:pt x="63" y="159"/>
                </a:lnTo>
                <a:lnTo>
                  <a:pt x="60" y="159"/>
                </a:lnTo>
                <a:lnTo>
                  <a:pt x="57" y="159"/>
                </a:lnTo>
                <a:lnTo>
                  <a:pt x="56" y="160"/>
                </a:lnTo>
                <a:lnTo>
                  <a:pt x="56" y="162"/>
                </a:lnTo>
                <a:lnTo>
                  <a:pt x="55" y="162"/>
                </a:lnTo>
                <a:lnTo>
                  <a:pt x="51" y="160"/>
                </a:lnTo>
                <a:lnTo>
                  <a:pt x="46" y="160"/>
                </a:lnTo>
                <a:lnTo>
                  <a:pt x="42" y="160"/>
                </a:lnTo>
                <a:lnTo>
                  <a:pt x="39" y="160"/>
                </a:lnTo>
                <a:lnTo>
                  <a:pt x="36" y="160"/>
                </a:lnTo>
                <a:lnTo>
                  <a:pt x="34" y="160"/>
                </a:lnTo>
                <a:lnTo>
                  <a:pt x="32" y="160"/>
                </a:lnTo>
                <a:lnTo>
                  <a:pt x="32" y="162"/>
                </a:lnTo>
                <a:lnTo>
                  <a:pt x="31" y="162"/>
                </a:lnTo>
                <a:lnTo>
                  <a:pt x="28" y="162"/>
                </a:lnTo>
                <a:lnTo>
                  <a:pt x="23" y="159"/>
                </a:lnTo>
                <a:lnTo>
                  <a:pt x="7" y="154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4" name="Freeform 41"/>
          <p:cNvSpPr>
            <a:spLocks/>
          </p:cNvSpPr>
          <p:nvPr/>
        </p:nvSpPr>
        <p:spPr bwMode="auto">
          <a:xfrm>
            <a:off x="7412768" y="2986973"/>
            <a:ext cx="413149" cy="304960"/>
          </a:xfrm>
          <a:custGeom>
            <a:avLst/>
            <a:gdLst/>
            <a:ahLst/>
            <a:cxnLst>
              <a:cxn ang="0">
                <a:pos x="19" y="135"/>
              </a:cxn>
              <a:cxn ang="0">
                <a:pos x="11" y="122"/>
              </a:cxn>
              <a:cxn ang="0">
                <a:pos x="6" y="111"/>
              </a:cxn>
              <a:cxn ang="0">
                <a:pos x="3" y="94"/>
              </a:cxn>
              <a:cxn ang="0">
                <a:pos x="0" y="78"/>
              </a:cxn>
              <a:cxn ang="0">
                <a:pos x="11" y="64"/>
              </a:cxn>
              <a:cxn ang="0">
                <a:pos x="14" y="52"/>
              </a:cxn>
              <a:cxn ang="0">
                <a:pos x="24" y="55"/>
              </a:cxn>
              <a:cxn ang="0">
                <a:pos x="31" y="58"/>
              </a:cxn>
              <a:cxn ang="0">
                <a:pos x="40" y="53"/>
              </a:cxn>
              <a:cxn ang="0">
                <a:pos x="42" y="49"/>
              </a:cxn>
              <a:cxn ang="0">
                <a:pos x="49" y="45"/>
              </a:cxn>
              <a:cxn ang="0">
                <a:pos x="57" y="41"/>
              </a:cxn>
              <a:cxn ang="0">
                <a:pos x="63" y="31"/>
              </a:cxn>
              <a:cxn ang="0">
                <a:pos x="65" y="23"/>
              </a:cxn>
              <a:cxn ang="0">
                <a:pos x="72" y="22"/>
              </a:cxn>
              <a:cxn ang="0">
                <a:pos x="77" y="17"/>
              </a:cxn>
              <a:cxn ang="0">
                <a:pos x="85" y="19"/>
              </a:cxn>
              <a:cxn ang="0">
                <a:pos x="101" y="20"/>
              </a:cxn>
              <a:cxn ang="0">
                <a:pos x="111" y="22"/>
              </a:cxn>
              <a:cxn ang="0">
                <a:pos x="123" y="22"/>
              </a:cxn>
              <a:cxn ang="0">
                <a:pos x="128" y="20"/>
              </a:cxn>
              <a:cxn ang="0">
                <a:pos x="136" y="22"/>
              </a:cxn>
              <a:cxn ang="0">
                <a:pos x="139" y="16"/>
              </a:cxn>
              <a:cxn ang="0">
                <a:pos x="145" y="17"/>
              </a:cxn>
              <a:cxn ang="0">
                <a:pos x="147" y="11"/>
              </a:cxn>
              <a:cxn ang="0">
                <a:pos x="156" y="1"/>
              </a:cxn>
              <a:cxn ang="0">
                <a:pos x="164" y="6"/>
              </a:cxn>
              <a:cxn ang="0">
                <a:pos x="165" y="9"/>
              </a:cxn>
              <a:cxn ang="0">
                <a:pos x="166" y="14"/>
              </a:cxn>
              <a:cxn ang="0">
                <a:pos x="166" y="22"/>
              </a:cxn>
              <a:cxn ang="0">
                <a:pos x="169" y="31"/>
              </a:cxn>
              <a:cxn ang="0">
                <a:pos x="176" y="30"/>
              </a:cxn>
              <a:cxn ang="0">
                <a:pos x="186" y="23"/>
              </a:cxn>
              <a:cxn ang="0">
                <a:pos x="194" y="19"/>
              </a:cxn>
              <a:cxn ang="0">
                <a:pos x="200" y="19"/>
              </a:cxn>
              <a:cxn ang="0">
                <a:pos x="204" y="20"/>
              </a:cxn>
              <a:cxn ang="0">
                <a:pos x="213" y="19"/>
              </a:cxn>
              <a:cxn ang="0">
                <a:pos x="216" y="22"/>
              </a:cxn>
              <a:cxn ang="0">
                <a:pos x="213" y="22"/>
              </a:cxn>
              <a:cxn ang="0">
                <a:pos x="214" y="27"/>
              </a:cxn>
              <a:cxn ang="0">
                <a:pos x="206" y="30"/>
              </a:cxn>
              <a:cxn ang="0">
                <a:pos x="189" y="28"/>
              </a:cxn>
              <a:cxn ang="0">
                <a:pos x="181" y="31"/>
              </a:cxn>
              <a:cxn ang="0">
                <a:pos x="176" y="34"/>
              </a:cxn>
              <a:cxn ang="0">
                <a:pos x="172" y="36"/>
              </a:cxn>
              <a:cxn ang="0">
                <a:pos x="164" y="41"/>
              </a:cxn>
              <a:cxn ang="0">
                <a:pos x="166" y="47"/>
              </a:cxn>
              <a:cxn ang="0">
                <a:pos x="168" y="56"/>
              </a:cxn>
            </a:cxnLst>
            <a:rect l="0" t="0" r="r" b="b"/>
            <a:pathLst>
              <a:path w="217" h="154">
                <a:moveTo>
                  <a:pt x="7" y="154"/>
                </a:moveTo>
                <a:lnTo>
                  <a:pt x="11" y="148"/>
                </a:lnTo>
                <a:lnTo>
                  <a:pt x="18" y="140"/>
                </a:lnTo>
                <a:lnTo>
                  <a:pt x="19" y="135"/>
                </a:lnTo>
                <a:lnTo>
                  <a:pt x="19" y="130"/>
                </a:lnTo>
                <a:lnTo>
                  <a:pt x="18" y="126"/>
                </a:lnTo>
                <a:lnTo>
                  <a:pt x="14" y="124"/>
                </a:lnTo>
                <a:lnTo>
                  <a:pt x="11" y="122"/>
                </a:lnTo>
                <a:lnTo>
                  <a:pt x="7" y="122"/>
                </a:lnTo>
                <a:lnTo>
                  <a:pt x="4" y="119"/>
                </a:lnTo>
                <a:lnTo>
                  <a:pt x="4" y="116"/>
                </a:lnTo>
                <a:lnTo>
                  <a:pt x="6" y="111"/>
                </a:lnTo>
                <a:lnTo>
                  <a:pt x="4" y="107"/>
                </a:lnTo>
                <a:lnTo>
                  <a:pt x="3" y="102"/>
                </a:lnTo>
                <a:lnTo>
                  <a:pt x="2" y="99"/>
                </a:lnTo>
                <a:lnTo>
                  <a:pt x="3" y="94"/>
                </a:lnTo>
                <a:lnTo>
                  <a:pt x="6" y="88"/>
                </a:lnTo>
                <a:lnTo>
                  <a:pt x="4" y="85"/>
                </a:lnTo>
                <a:lnTo>
                  <a:pt x="0" y="85"/>
                </a:lnTo>
                <a:lnTo>
                  <a:pt x="0" y="78"/>
                </a:lnTo>
                <a:lnTo>
                  <a:pt x="0" y="77"/>
                </a:lnTo>
                <a:lnTo>
                  <a:pt x="7" y="74"/>
                </a:lnTo>
                <a:lnTo>
                  <a:pt x="7" y="71"/>
                </a:lnTo>
                <a:lnTo>
                  <a:pt x="11" y="64"/>
                </a:lnTo>
                <a:lnTo>
                  <a:pt x="12" y="58"/>
                </a:lnTo>
                <a:lnTo>
                  <a:pt x="12" y="53"/>
                </a:lnTo>
                <a:lnTo>
                  <a:pt x="12" y="50"/>
                </a:lnTo>
                <a:lnTo>
                  <a:pt x="14" y="52"/>
                </a:lnTo>
                <a:lnTo>
                  <a:pt x="16" y="53"/>
                </a:lnTo>
                <a:lnTo>
                  <a:pt x="19" y="55"/>
                </a:lnTo>
                <a:lnTo>
                  <a:pt x="23" y="53"/>
                </a:lnTo>
                <a:lnTo>
                  <a:pt x="24" y="55"/>
                </a:lnTo>
                <a:lnTo>
                  <a:pt x="27" y="56"/>
                </a:lnTo>
                <a:lnTo>
                  <a:pt x="28" y="58"/>
                </a:lnTo>
                <a:lnTo>
                  <a:pt x="30" y="58"/>
                </a:lnTo>
                <a:lnTo>
                  <a:pt x="31" y="58"/>
                </a:lnTo>
                <a:lnTo>
                  <a:pt x="35" y="58"/>
                </a:lnTo>
                <a:lnTo>
                  <a:pt x="36" y="56"/>
                </a:lnTo>
                <a:lnTo>
                  <a:pt x="39" y="55"/>
                </a:lnTo>
                <a:lnTo>
                  <a:pt x="40" y="53"/>
                </a:lnTo>
                <a:lnTo>
                  <a:pt x="40" y="50"/>
                </a:lnTo>
                <a:lnTo>
                  <a:pt x="42" y="50"/>
                </a:lnTo>
                <a:lnTo>
                  <a:pt x="43" y="49"/>
                </a:lnTo>
                <a:lnTo>
                  <a:pt x="42" y="49"/>
                </a:lnTo>
                <a:lnTo>
                  <a:pt x="42" y="47"/>
                </a:lnTo>
                <a:lnTo>
                  <a:pt x="43" y="47"/>
                </a:lnTo>
                <a:lnTo>
                  <a:pt x="46" y="45"/>
                </a:lnTo>
                <a:lnTo>
                  <a:pt x="49" y="45"/>
                </a:lnTo>
                <a:lnTo>
                  <a:pt x="52" y="44"/>
                </a:lnTo>
                <a:lnTo>
                  <a:pt x="55" y="42"/>
                </a:lnTo>
                <a:lnTo>
                  <a:pt x="56" y="41"/>
                </a:lnTo>
                <a:lnTo>
                  <a:pt x="57" y="41"/>
                </a:lnTo>
                <a:lnTo>
                  <a:pt x="61" y="38"/>
                </a:lnTo>
                <a:lnTo>
                  <a:pt x="63" y="38"/>
                </a:lnTo>
                <a:lnTo>
                  <a:pt x="63" y="34"/>
                </a:lnTo>
                <a:lnTo>
                  <a:pt x="63" y="31"/>
                </a:lnTo>
                <a:lnTo>
                  <a:pt x="64" y="31"/>
                </a:lnTo>
                <a:lnTo>
                  <a:pt x="65" y="27"/>
                </a:lnTo>
                <a:lnTo>
                  <a:pt x="65" y="25"/>
                </a:lnTo>
                <a:lnTo>
                  <a:pt x="65" y="23"/>
                </a:lnTo>
                <a:lnTo>
                  <a:pt x="67" y="23"/>
                </a:lnTo>
                <a:lnTo>
                  <a:pt x="68" y="22"/>
                </a:lnTo>
                <a:lnTo>
                  <a:pt x="71" y="22"/>
                </a:lnTo>
                <a:lnTo>
                  <a:pt x="72" y="22"/>
                </a:lnTo>
                <a:lnTo>
                  <a:pt x="76" y="22"/>
                </a:lnTo>
                <a:lnTo>
                  <a:pt x="77" y="22"/>
                </a:lnTo>
                <a:lnTo>
                  <a:pt x="77" y="20"/>
                </a:lnTo>
                <a:lnTo>
                  <a:pt x="77" y="17"/>
                </a:lnTo>
                <a:lnTo>
                  <a:pt x="79" y="17"/>
                </a:lnTo>
                <a:lnTo>
                  <a:pt x="80" y="17"/>
                </a:lnTo>
                <a:lnTo>
                  <a:pt x="81" y="17"/>
                </a:lnTo>
                <a:lnTo>
                  <a:pt x="85" y="19"/>
                </a:lnTo>
                <a:lnTo>
                  <a:pt x="88" y="20"/>
                </a:lnTo>
                <a:lnTo>
                  <a:pt x="92" y="20"/>
                </a:lnTo>
                <a:lnTo>
                  <a:pt x="100" y="20"/>
                </a:lnTo>
                <a:lnTo>
                  <a:pt x="101" y="20"/>
                </a:lnTo>
                <a:lnTo>
                  <a:pt x="104" y="22"/>
                </a:lnTo>
                <a:lnTo>
                  <a:pt x="107" y="20"/>
                </a:lnTo>
                <a:lnTo>
                  <a:pt x="109" y="22"/>
                </a:lnTo>
                <a:lnTo>
                  <a:pt x="111" y="22"/>
                </a:lnTo>
                <a:lnTo>
                  <a:pt x="115" y="27"/>
                </a:lnTo>
                <a:lnTo>
                  <a:pt x="117" y="25"/>
                </a:lnTo>
                <a:lnTo>
                  <a:pt x="119" y="25"/>
                </a:lnTo>
                <a:lnTo>
                  <a:pt x="123" y="22"/>
                </a:lnTo>
                <a:lnTo>
                  <a:pt x="124" y="22"/>
                </a:lnTo>
                <a:lnTo>
                  <a:pt x="125" y="22"/>
                </a:lnTo>
                <a:lnTo>
                  <a:pt x="127" y="22"/>
                </a:lnTo>
                <a:lnTo>
                  <a:pt x="128" y="20"/>
                </a:lnTo>
                <a:lnTo>
                  <a:pt x="129" y="22"/>
                </a:lnTo>
                <a:lnTo>
                  <a:pt x="131" y="22"/>
                </a:lnTo>
                <a:lnTo>
                  <a:pt x="135" y="23"/>
                </a:lnTo>
                <a:lnTo>
                  <a:pt x="136" y="22"/>
                </a:lnTo>
                <a:lnTo>
                  <a:pt x="135" y="20"/>
                </a:lnTo>
                <a:lnTo>
                  <a:pt x="135" y="19"/>
                </a:lnTo>
                <a:lnTo>
                  <a:pt x="137" y="16"/>
                </a:lnTo>
                <a:lnTo>
                  <a:pt x="139" y="16"/>
                </a:lnTo>
                <a:lnTo>
                  <a:pt x="140" y="16"/>
                </a:lnTo>
                <a:lnTo>
                  <a:pt x="143" y="16"/>
                </a:lnTo>
                <a:lnTo>
                  <a:pt x="144" y="17"/>
                </a:lnTo>
                <a:lnTo>
                  <a:pt x="145" y="17"/>
                </a:lnTo>
                <a:lnTo>
                  <a:pt x="147" y="17"/>
                </a:lnTo>
                <a:lnTo>
                  <a:pt x="148" y="14"/>
                </a:lnTo>
                <a:lnTo>
                  <a:pt x="147" y="12"/>
                </a:lnTo>
                <a:lnTo>
                  <a:pt x="147" y="11"/>
                </a:lnTo>
                <a:lnTo>
                  <a:pt x="149" y="6"/>
                </a:lnTo>
                <a:lnTo>
                  <a:pt x="153" y="3"/>
                </a:lnTo>
                <a:lnTo>
                  <a:pt x="155" y="1"/>
                </a:lnTo>
                <a:lnTo>
                  <a:pt x="156" y="1"/>
                </a:lnTo>
                <a:lnTo>
                  <a:pt x="159" y="0"/>
                </a:lnTo>
                <a:lnTo>
                  <a:pt x="160" y="0"/>
                </a:lnTo>
                <a:lnTo>
                  <a:pt x="164" y="5"/>
                </a:lnTo>
                <a:lnTo>
                  <a:pt x="164" y="6"/>
                </a:lnTo>
                <a:lnTo>
                  <a:pt x="162" y="8"/>
                </a:lnTo>
                <a:lnTo>
                  <a:pt x="162" y="9"/>
                </a:lnTo>
                <a:lnTo>
                  <a:pt x="164" y="9"/>
                </a:lnTo>
                <a:lnTo>
                  <a:pt x="165" y="9"/>
                </a:lnTo>
                <a:lnTo>
                  <a:pt x="166" y="9"/>
                </a:lnTo>
                <a:lnTo>
                  <a:pt x="168" y="11"/>
                </a:lnTo>
                <a:lnTo>
                  <a:pt x="166" y="12"/>
                </a:lnTo>
                <a:lnTo>
                  <a:pt x="166" y="14"/>
                </a:lnTo>
                <a:lnTo>
                  <a:pt x="166" y="16"/>
                </a:lnTo>
                <a:lnTo>
                  <a:pt x="166" y="17"/>
                </a:lnTo>
                <a:lnTo>
                  <a:pt x="166" y="19"/>
                </a:lnTo>
                <a:lnTo>
                  <a:pt x="166" y="22"/>
                </a:lnTo>
                <a:lnTo>
                  <a:pt x="165" y="23"/>
                </a:lnTo>
                <a:lnTo>
                  <a:pt x="165" y="27"/>
                </a:lnTo>
                <a:lnTo>
                  <a:pt x="168" y="28"/>
                </a:lnTo>
                <a:lnTo>
                  <a:pt x="169" y="31"/>
                </a:lnTo>
                <a:lnTo>
                  <a:pt x="169" y="33"/>
                </a:lnTo>
                <a:lnTo>
                  <a:pt x="170" y="33"/>
                </a:lnTo>
                <a:lnTo>
                  <a:pt x="172" y="31"/>
                </a:lnTo>
                <a:lnTo>
                  <a:pt x="176" y="30"/>
                </a:lnTo>
                <a:lnTo>
                  <a:pt x="178" y="27"/>
                </a:lnTo>
                <a:lnTo>
                  <a:pt x="185" y="27"/>
                </a:lnTo>
                <a:lnTo>
                  <a:pt x="185" y="25"/>
                </a:lnTo>
                <a:lnTo>
                  <a:pt x="186" y="23"/>
                </a:lnTo>
                <a:lnTo>
                  <a:pt x="189" y="22"/>
                </a:lnTo>
                <a:lnTo>
                  <a:pt x="190" y="22"/>
                </a:lnTo>
                <a:lnTo>
                  <a:pt x="193" y="20"/>
                </a:lnTo>
                <a:lnTo>
                  <a:pt x="194" y="19"/>
                </a:lnTo>
                <a:lnTo>
                  <a:pt x="196" y="19"/>
                </a:lnTo>
                <a:lnTo>
                  <a:pt x="197" y="19"/>
                </a:lnTo>
                <a:lnTo>
                  <a:pt x="198" y="19"/>
                </a:lnTo>
                <a:lnTo>
                  <a:pt x="200" y="19"/>
                </a:lnTo>
                <a:lnTo>
                  <a:pt x="201" y="19"/>
                </a:lnTo>
                <a:lnTo>
                  <a:pt x="201" y="22"/>
                </a:lnTo>
                <a:lnTo>
                  <a:pt x="202" y="22"/>
                </a:lnTo>
                <a:lnTo>
                  <a:pt x="204" y="20"/>
                </a:lnTo>
                <a:lnTo>
                  <a:pt x="205" y="20"/>
                </a:lnTo>
                <a:lnTo>
                  <a:pt x="209" y="20"/>
                </a:lnTo>
                <a:lnTo>
                  <a:pt x="212" y="19"/>
                </a:lnTo>
                <a:lnTo>
                  <a:pt x="213" y="19"/>
                </a:lnTo>
                <a:lnTo>
                  <a:pt x="214" y="20"/>
                </a:lnTo>
                <a:lnTo>
                  <a:pt x="217" y="20"/>
                </a:lnTo>
                <a:lnTo>
                  <a:pt x="217" y="22"/>
                </a:lnTo>
                <a:lnTo>
                  <a:pt x="216" y="22"/>
                </a:lnTo>
                <a:lnTo>
                  <a:pt x="217" y="22"/>
                </a:lnTo>
                <a:lnTo>
                  <a:pt x="216" y="22"/>
                </a:lnTo>
                <a:lnTo>
                  <a:pt x="214" y="22"/>
                </a:lnTo>
                <a:lnTo>
                  <a:pt x="213" y="22"/>
                </a:lnTo>
                <a:lnTo>
                  <a:pt x="212" y="23"/>
                </a:lnTo>
                <a:lnTo>
                  <a:pt x="212" y="25"/>
                </a:lnTo>
                <a:lnTo>
                  <a:pt x="213" y="25"/>
                </a:lnTo>
                <a:lnTo>
                  <a:pt x="214" y="27"/>
                </a:lnTo>
                <a:lnTo>
                  <a:pt x="213" y="28"/>
                </a:lnTo>
                <a:lnTo>
                  <a:pt x="210" y="27"/>
                </a:lnTo>
                <a:lnTo>
                  <a:pt x="209" y="28"/>
                </a:lnTo>
                <a:lnTo>
                  <a:pt x="206" y="30"/>
                </a:lnTo>
                <a:lnTo>
                  <a:pt x="202" y="28"/>
                </a:lnTo>
                <a:lnTo>
                  <a:pt x="200" y="28"/>
                </a:lnTo>
                <a:lnTo>
                  <a:pt x="198" y="28"/>
                </a:lnTo>
                <a:lnTo>
                  <a:pt x="189" y="28"/>
                </a:lnTo>
                <a:lnTo>
                  <a:pt x="188" y="28"/>
                </a:lnTo>
                <a:lnTo>
                  <a:pt x="185" y="30"/>
                </a:lnTo>
                <a:lnTo>
                  <a:pt x="184" y="30"/>
                </a:lnTo>
                <a:lnTo>
                  <a:pt x="181" y="31"/>
                </a:lnTo>
                <a:lnTo>
                  <a:pt x="178" y="31"/>
                </a:lnTo>
                <a:lnTo>
                  <a:pt x="177" y="33"/>
                </a:lnTo>
                <a:lnTo>
                  <a:pt x="176" y="33"/>
                </a:lnTo>
                <a:lnTo>
                  <a:pt x="176" y="34"/>
                </a:lnTo>
                <a:lnTo>
                  <a:pt x="173" y="34"/>
                </a:lnTo>
                <a:lnTo>
                  <a:pt x="172" y="36"/>
                </a:lnTo>
                <a:lnTo>
                  <a:pt x="173" y="36"/>
                </a:lnTo>
                <a:lnTo>
                  <a:pt x="172" y="36"/>
                </a:lnTo>
                <a:lnTo>
                  <a:pt x="170" y="36"/>
                </a:lnTo>
                <a:lnTo>
                  <a:pt x="169" y="36"/>
                </a:lnTo>
                <a:lnTo>
                  <a:pt x="168" y="38"/>
                </a:lnTo>
                <a:lnTo>
                  <a:pt x="164" y="41"/>
                </a:lnTo>
                <a:lnTo>
                  <a:pt x="162" y="42"/>
                </a:lnTo>
                <a:lnTo>
                  <a:pt x="162" y="44"/>
                </a:lnTo>
                <a:lnTo>
                  <a:pt x="165" y="45"/>
                </a:lnTo>
                <a:lnTo>
                  <a:pt x="166" y="47"/>
                </a:lnTo>
                <a:lnTo>
                  <a:pt x="168" y="52"/>
                </a:lnTo>
                <a:lnTo>
                  <a:pt x="169" y="53"/>
                </a:lnTo>
                <a:lnTo>
                  <a:pt x="169" y="55"/>
                </a:lnTo>
                <a:lnTo>
                  <a:pt x="168" y="56"/>
                </a:lnTo>
                <a:lnTo>
                  <a:pt x="169" y="58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5" name="Freeform 42"/>
          <p:cNvSpPr>
            <a:spLocks/>
          </p:cNvSpPr>
          <p:nvPr/>
        </p:nvSpPr>
        <p:spPr bwMode="auto">
          <a:xfrm>
            <a:off x="7424461" y="3100795"/>
            <a:ext cx="309860" cy="206171"/>
          </a:xfrm>
          <a:custGeom>
            <a:avLst/>
            <a:gdLst/>
            <a:ahLst/>
            <a:cxnLst>
              <a:cxn ang="0">
                <a:pos x="161" y="2"/>
              </a:cxn>
              <a:cxn ang="0">
                <a:pos x="158" y="6"/>
              </a:cxn>
              <a:cxn ang="0">
                <a:pos x="154" y="9"/>
              </a:cxn>
              <a:cxn ang="0">
                <a:pos x="153" y="13"/>
              </a:cxn>
              <a:cxn ang="0">
                <a:pos x="154" y="14"/>
              </a:cxn>
              <a:cxn ang="0">
                <a:pos x="154" y="17"/>
              </a:cxn>
              <a:cxn ang="0">
                <a:pos x="152" y="20"/>
              </a:cxn>
              <a:cxn ang="0">
                <a:pos x="148" y="22"/>
              </a:cxn>
              <a:cxn ang="0">
                <a:pos x="140" y="20"/>
              </a:cxn>
              <a:cxn ang="0">
                <a:pos x="137" y="22"/>
              </a:cxn>
              <a:cxn ang="0">
                <a:pos x="137" y="24"/>
              </a:cxn>
              <a:cxn ang="0">
                <a:pos x="140" y="27"/>
              </a:cxn>
              <a:cxn ang="0">
                <a:pos x="142" y="31"/>
              </a:cxn>
              <a:cxn ang="0">
                <a:pos x="141" y="35"/>
              </a:cxn>
              <a:cxn ang="0">
                <a:pos x="136" y="38"/>
              </a:cxn>
              <a:cxn ang="0">
                <a:pos x="130" y="38"/>
              </a:cxn>
              <a:cxn ang="0">
                <a:pos x="129" y="42"/>
              </a:cxn>
              <a:cxn ang="0">
                <a:pos x="129" y="46"/>
              </a:cxn>
              <a:cxn ang="0">
                <a:pos x="128" y="47"/>
              </a:cxn>
              <a:cxn ang="0">
                <a:pos x="126" y="49"/>
              </a:cxn>
              <a:cxn ang="0">
                <a:pos x="126" y="55"/>
              </a:cxn>
              <a:cxn ang="0">
                <a:pos x="126" y="60"/>
              </a:cxn>
              <a:cxn ang="0">
                <a:pos x="120" y="64"/>
              </a:cxn>
              <a:cxn ang="0">
                <a:pos x="118" y="63"/>
              </a:cxn>
              <a:cxn ang="0">
                <a:pos x="116" y="61"/>
              </a:cxn>
              <a:cxn ang="0">
                <a:pos x="116" y="63"/>
              </a:cxn>
              <a:cxn ang="0">
                <a:pos x="109" y="61"/>
              </a:cxn>
              <a:cxn ang="0">
                <a:pos x="106" y="63"/>
              </a:cxn>
              <a:cxn ang="0">
                <a:pos x="101" y="68"/>
              </a:cxn>
              <a:cxn ang="0">
                <a:pos x="104" y="69"/>
              </a:cxn>
              <a:cxn ang="0">
                <a:pos x="98" y="71"/>
              </a:cxn>
              <a:cxn ang="0">
                <a:pos x="92" y="71"/>
              </a:cxn>
              <a:cxn ang="0">
                <a:pos x="89" y="71"/>
              </a:cxn>
              <a:cxn ang="0">
                <a:pos x="84" y="75"/>
              </a:cxn>
              <a:cxn ang="0">
                <a:pos x="82" y="82"/>
              </a:cxn>
              <a:cxn ang="0">
                <a:pos x="81" y="91"/>
              </a:cxn>
              <a:cxn ang="0">
                <a:pos x="82" y="94"/>
              </a:cxn>
              <a:cxn ang="0">
                <a:pos x="73" y="97"/>
              </a:cxn>
              <a:cxn ang="0">
                <a:pos x="62" y="101"/>
              </a:cxn>
              <a:cxn ang="0">
                <a:pos x="53" y="101"/>
              </a:cxn>
              <a:cxn ang="0">
                <a:pos x="49" y="102"/>
              </a:cxn>
              <a:cxn ang="0">
                <a:pos x="48" y="104"/>
              </a:cxn>
              <a:cxn ang="0">
                <a:pos x="39" y="102"/>
              </a:cxn>
              <a:cxn ang="0">
                <a:pos x="32" y="102"/>
              </a:cxn>
              <a:cxn ang="0">
                <a:pos x="27" y="102"/>
              </a:cxn>
              <a:cxn ang="0">
                <a:pos x="25" y="104"/>
              </a:cxn>
              <a:cxn ang="0">
                <a:pos x="21" y="104"/>
              </a:cxn>
              <a:cxn ang="0">
                <a:pos x="0" y="96"/>
              </a:cxn>
            </a:cxnLst>
            <a:rect l="0" t="0" r="r" b="b"/>
            <a:pathLst>
              <a:path w="162" h="104">
                <a:moveTo>
                  <a:pt x="162" y="0"/>
                </a:moveTo>
                <a:lnTo>
                  <a:pt x="161" y="2"/>
                </a:lnTo>
                <a:lnTo>
                  <a:pt x="161" y="3"/>
                </a:lnTo>
                <a:lnTo>
                  <a:pt x="158" y="6"/>
                </a:lnTo>
                <a:lnTo>
                  <a:pt x="157" y="8"/>
                </a:lnTo>
                <a:lnTo>
                  <a:pt x="154" y="9"/>
                </a:lnTo>
                <a:lnTo>
                  <a:pt x="154" y="11"/>
                </a:lnTo>
                <a:lnTo>
                  <a:pt x="153" y="13"/>
                </a:lnTo>
                <a:lnTo>
                  <a:pt x="153" y="14"/>
                </a:lnTo>
                <a:lnTo>
                  <a:pt x="154" y="14"/>
                </a:lnTo>
                <a:lnTo>
                  <a:pt x="154" y="16"/>
                </a:lnTo>
                <a:lnTo>
                  <a:pt x="154" y="17"/>
                </a:lnTo>
                <a:lnTo>
                  <a:pt x="154" y="19"/>
                </a:lnTo>
                <a:lnTo>
                  <a:pt x="152" y="20"/>
                </a:lnTo>
                <a:lnTo>
                  <a:pt x="150" y="22"/>
                </a:lnTo>
                <a:lnTo>
                  <a:pt x="148" y="22"/>
                </a:lnTo>
                <a:lnTo>
                  <a:pt x="144" y="22"/>
                </a:lnTo>
                <a:lnTo>
                  <a:pt x="140" y="20"/>
                </a:lnTo>
                <a:lnTo>
                  <a:pt x="138" y="20"/>
                </a:lnTo>
                <a:lnTo>
                  <a:pt x="137" y="22"/>
                </a:lnTo>
                <a:lnTo>
                  <a:pt x="136" y="24"/>
                </a:lnTo>
                <a:lnTo>
                  <a:pt x="137" y="24"/>
                </a:lnTo>
                <a:lnTo>
                  <a:pt x="138" y="27"/>
                </a:lnTo>
                <a:lnTo>
                  <a:pt x="140" y="27"/>
                </a:lnTo>
                <a:lnTo>
                  <a:pt x="141" y="31"/>
                </a:lnTo>
                <a:lnTo>
                  <a:pt x="142" y="31"/>
                </a:lnTo>
                <a:lnTo>
                  <a:pt x="142" y="33"/>
                </a:lnTo>
                <a:lnTo>
                  <a:pt x="141" y="35"/>
                </a:lnTo>
                <a:lnTo>
                  <a:pt x="138" y="36"/>
                </a:lnTo>
                <a:lnTo>
                  <a:pt x="136" y="38"/>
                </a:lnTo>
                <a:lnTo>
                  <a:pt x="134" y="38"/>
                </a:lnTo>
                <a:lnTo>
                  <a:pt x="130" y="38"/>
                </a:lnTo>
                <a:lnTo>
                  <a:pt x="130" y="42"/>
                </a:lnTo>
                <a:lnTo>
                  <a:pt x="129" y="42"/>
                </a:lnTo>
                <a:lnTo>
                  <a:pt x="128" y="44"/>
                </a:lnTo>
                <a:lnTo>
                  <a:pt x="129" y="46"/>
                </a:lnTo>
                <a:lnTo>
                  <a:pt x="129" y="47"/>
                </a:lnTo>
                <a:lnTo>
                  <a:pt x="128" y="47"/>
                </a:lnTo>
                <a:lnTo>
                  <a:pt x="126" y="47"/>
                </a:lnTo>
                <a:lnTo>
                  <a:pt x="126" y="49"/>
                </a:lnTo>
                <a:lnTo>
                  <a:pt x="125" y="50"/>
                </a:lnTo>
                <a:lnTo>
                  <a:pt x="126" y="55"/>
                </a:lnTo>
                <a:lnTo>
                  <a:pt x="126" y="58"/>
                </a:lnTo>
                <a:lnTo>
                  <a:pt x="126" y="60"/>
                </a:lnTo>
                <a:lnTo>
                  <a:pt x="121" y="64"/>
                </a:lnTo>
                <a:lnTo>
                  <a:pt x="120" y="64"/>
                </a:lnTo>
                <a:lnTo>
                  <a:pt x="118" y="64"/>
                </a:lnTo>
                <a:lnTo>
                  <a:pt x="118" y="63"/>
                </a:lnTo>
                <a:lnTo>
                  <a:pt x="118" y="61"/>
                </a:lnTo>
                <a:lnTo>
                  <a:pt x="116" y="61"/>
                </a:lnTo>
                <a:lnTo>
                  <a:pt x="114" y="61"/>
                </a:lnTo>
                <a:lnTo>
                  <a:pt x="116" y="63"/>
                </a:lnTo>
                <a:lnTo>
                  <a:pt x="110" y="61"/>
                </a:lnTo>
                <a:lnTo>
                  <a:pt x="109" y="61"/>
                </a:lnTo>
                <a:lnTo>
                  <a:pt x="108" y="63"/>
                </a:lnTo>
                <a:lnTo>
                  <a:pt x="106" y="63"/>
                </a:lnTo>
                <a:lnTo>
                  <a:pt x="102" y="66"/>
                </a:lnTo>
                <a:lnTo>
                  <a:pt x="101" y="68"/>
                </a:lnTo>
                <a:lnTo>
                  <a:pt x="104" y="68"/>
                </a:lnTo>
                <a:lnTo>
                  <a:pt x="104" y="69"/>
                </a:lnTo>
                <a:lnTo>
                  <a:pt x="101" y="71"/>
                </a:lnTo>
                <a:lnTo>
                  <a:pt x="98" y="71"/>
                </a:lnTo>
                <a:lnTo>
                  <a:pt x="94" y="71"/>
                </a:lnTo>
                <a:lnTo>
                  <a:pt x="92" y="71"/>
                </a:lnTo>
                <a:lnTo>
                  <a:pt x="90" y="69"/>
                </a:lnTo>
                <a:lnTo>
                  <a:pt x="89" y="71"/>
                </a:lnTo>
                <a:lnTo>
                  <a:pt x="88" y="74"/>
                </a:lnTo>
                <a:lnTo>
                  <a:pt x="84" y="75"/>
                </a:lnTo>
                <a:lnTo>
                  <a:pt x="82" y="77"/>
                </a:lnTo>
                <a:lnTo>
                  <a:pt x="82" y="82"/>
                </a:lnTo>
                <a:lnTo>
                  <a:pt x="82" y="85"/>
                </a:lnTo>
                <a:lnTo>
                  <a:pt x="81" y="91"/>
                </a:lnTo>
                <a:lnTo>
                  <a:pt x="82" y="93"/>
                </a:lnTo>
                <a:lnTo>
                  <a:pt x="82" y="94"/>
                </a:lnTo>
                <a:lnTo>
                  <a:pt x="80" y="96"/>
                </a:lnTo>
                <a:lnTo>
                  <a:pt x="73" y="97"/>
                </a:lnTo>
                <a:lnTo>
                  <a:pt x="68" y="101"/>
                </a:lnTo>
                <a:lnTo>
                  <a:pt x="62" y="101"/>
                </a:lnTo>
                <a:lnTo>
                  <a:pt x="56" y="101"/>
                </a:lnTo>
                <a:lnTo>
                  <a:pt x="53" y="101"/>
                </a:lnTo>
                <a:lnTo>
                  <a:pt x="50" y="101"/>
                </a:lnTo>
                <a:lnTo>
                  <a:pt x="49" y="102"/>
                </a:lnTo>
                <a:lnTo>
                  <a:pt x="49" y="104"/>
                </a:lnTo>
                <a:lnTo>
                  <a:pt x="48" y="104"/>
                </a:lnTo>
                <a:lnTo>
                  <a:pt x="44" y="102"/>
                </a:lnTo>
                <a:lnTo>
                  <a:pt x="39" y="102"/>
                </a:lnTo>
                <a:lnTo>
                  <a:pt x="35" y="102"/>
                </a:lnTo>
                <a:lnTo>
                  <a:pt x="32" y="102"/>
                </a:lnTo>
                <a:lnTo>
                  <a:pt x="29" y="102"/>
                </a:lnTo>
                <a:lnTo>
                  <a:pt x="27" y="102"/>
                </a:lnTo>
                <a:lnTo>
                  <a:pt x="25" y="102"/>
                </a:lnTo>
                <a:lnTo>
                  <a:pt x="25" y="104"/>
                </a:lnTo>
                <a:lnTo>
                  <a:pt x="24" y="104"/>
                </a:lnTo>
                <a:lnTo>
                  <a:pt x="21" y="104"/>
                </a:lnTo>
                <a:lnTo>
                  <a:pt x="16" y="101"/>
                </a:lnTo>
                <a:lnTo>
                  <a:pt x="0" y="96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6" name="Freeform 43"/>
          <p:cNvSpPr>
            <a:spLocks/>
          </p:cNvSpPr>
          <p:nvPr/>
        </p:nvSpPr>
        <p:spPr bwMode="auto">
          <a:xfrm>
            <a:off x="7974027" y="3274753"/>
            <a:ext cx="231908" cy="139594"/>
          </a:xfrm>
          <a:custGeom>
            <a:avLst/>
            <a:gdLst/>
            <a:ahLst/>
            <a:cxnLst>
              <a:cxn ang="0">
                <a:pos x="119" y="49"/>
              </a:cxn>
              <a:cxn ang="0">
                <a:pos x="117" y="58"/>
              </a:cxn>
              <a:cxn ang="0">
                <a:pos x="121" y="63"/>
              </a:cxn>
              <a:cxn ang="0">
                <a:pos x="116" y="69"/>
              </a:cxn>
              <a:cxn ang="0">
                <a:pos x="107" y="69"/>
              </a:cxn>
              <a:cxn ang="0">
                <a:pos x="100" y="67"/>
              </a:cxn>
              <a:cxn ang="0">
                <a:pos x="83" y="63"/>
              </a:cxn>
              <a:cxn ang="0">
                <a:pos x="71" y="60"/>
              </a:cxn>
              <a:cxn ang="0">
                <a:pos x="64" y="53"/>
              </a:cxn>
              <a:cxn ang="0">
                <a:pos x="58" y="53"/>
              </a:cxn>
              <a:cxn ang="0">
                <a:pos x="51" y="52"/>
              </a:cxn>
              <a:cxn ang="0">
                <a:pos x="42" y="52"/>
              </a:cxn>
              <a:cxn ang="0">
                <a:pos x="35" y="47"/>
              </a:cxn>
              <a:cxn ang="0">
                <a:pos x="28" y="44"/>
              </a:cxn>
              <a:cxn ang="0">
                <a:pos x="22" y="41"/>
              </a:cxn>
              <a:cxn ang="0">
                <a:pos x="14" y="35"/>
              </a:cxn>
              <a:cxn ang="0">
                <a:pos x="7" y="31"/>
              </a:cxn>
              <a:cxn ang="0">
                <a:pos x="4" y="28"/>
              </a:cxn>
              <a:cxn ang="0">
                <a:pos x="2" y="22"/>
              </a:cxn>
              <a:cxn ang="0">
                <a:pos x="4" y="19"/>
              </a:cxn>
              <a:cxn ang="0">
                <a:pos x="6" y="13"/>
              </a:cxn>
              <a:cxn ang="0">
                <a:pos x="6" y="8"/>
              </a:cxn>
              <a:cxn ang="0">
                <a:pos x="11" y="5"/>
              </a:cxn>
              <a:cxn ang="0">
                <a:pos x="14" y="2"/>
              </a:cxn>
              <a:cxn ang="0">
                <a:pos x="16" y="3"/>
              </a:cxn>
              <a:cxn ang="0">
                <a:pos x="20" y="2"/>
              </a:cxn>
              <a:cxn ang="0">
                <a:pos x="26" y="2"/>
              </a:cxn>
              <a:cxn ang="0">
                <a:pos x="38" y="5"/>
              </a:cxn>
              <a:cxn ang="0">
                <a:pos x="46" y="11"/>
              </a:cxn>
              <a:cxn ang="0">
                <a:pos x="51" y="20"/>
              </a:cxn>
              <a:cxn ang="0">
                <a:pos x="55" y="20"/>
              </a:cxn>
              <a:cxn ang="0">
                <a:pos x="58" y="19"/>
              </a:cxn>
              <a:cxn ang="0">
                <a:pos x="63" y="19"/>
              </a:cxn>
              <a:cxn ang="0">
                <a:pos x="62" y="27"/>
              </a:cxn>
              <a:cxn ang="0">
                <a:pos x="64" y="28"/>
              </a:cxn>
              <a:cxn ang="0">
                <a:pos x="68" y="30"/>
              </a:cxn>
              <a:cxn ang="0">
                <a:pos x="74" y="30"/>
              </a:cxn>
              <a:cxn ang="0">
                <a:pos x="78" y="30"/>
              </a:cxn>
              <a:cxn ang="0">
                <a:pos x="82" y="38"/>
              </a:cxn>
              <a:cxn ang="0">
                <a:pos x="87" y="39"/>
              </a:cxn>
              <a:cxn ang="0">
                <a:pos x="90" y="42"/>
              </a:cxn>
              <a:cxn ang="0">
                <a:pos x="93" y="42"/>
              </a:cxn>
              <a:cxn ang="0">
                <a:pos x="97" y="42"/>
              </a:cxn>
              <a:cxn ang="0">
                <a:pos x="104" y="42"/>
              </a:cxn>
              <a:cxn ang="0">
                <a:pos x="109" y="45"/>
              </a:cxn>
              <a:cxn ang="0">
                <a:pos x="116" y="45"/>
              </a:cxn>
              <a:cxn ang="0">
                <a:pos x="121" y="42"/>
              </a:cxn>
            </a:cxnLst>
            <a:rect l="0" t="0" r="r" b="b"/>
            <a:pathLst>
              <a:path w="121" h="69">
                <a:moveTo>
                  <a:pt x="121" y="42"/>
                </a:moveTo>
                <a:lnTo>
                  <a:pt x="120" y="45"/>
                </a:lnTo>
                <a:lnTo>
                  <a:pt x="119" y="49"/>
                </a:lnTo>
                <a:lnTo>
                  <a:pt x="120" y="53"/>
                </a:lnTo>
                <a:lnTo>
                  <a:pt x="119" y="56"/>
                </a:lnTo>
                <a:lnTo>
                  <a:pt x="117" y="58"/>
                </a:lnTo>
                <a:lnTo>
                  <a:pt x="117" y="60"/>
                </a:lnTo>
                <a:lnTo>
                  <a:pt x="120" y="61"/>
                </a:lnTo>
                <a:lnTo>
                  <a:pt x="121" y="63"/>
                </a:lnTo>
                <a:lnTo>
                  <a:pt x="121" y="66"/>
                </a:lnTo>
                <a:lnTo>
                  <a:pt x="120" y="69"/>
                </a:lnTo>
                <a:lnTo>
                  <a:pt x="116" y="69"/>
                </a:lnTo>
                <a:lnTo>
                  <a:pt x="113" y="69"/>
                </a:lnTo>
                <a:lnTo>
                  <a:pt x="109" y="69"/>
                </a:lnTo>
                <a:lnTo>
                  <a:pt x="107" y="69"/>
                </a:lnTo>
                <a:lnTo>
                  <a:pt x="104" y="69"/>
                </a:lnTo>
                <a:lnTo>
                  <a:pt x="101" y="67"/>
                </a:lnTo>
                <a:lnTo>
                  <a:pt x="100" y="67"/>
                </a:lnTo>
                <a:lnTo>
                  <a:pt x="87" y="66"/>
                </a:lnTo>
                <a:lnTo>
                  <a:pt x="86" y="64"/>
                </a:lnTo>
                <a:lnTo>
                  <a:pt x="83" y="63"/>
                </a:lnTo>
                <a:lnTo>
                  <a:pt x="79" y="63"/>
                </a:lnTo>
                <a:lnTo>
                  <a:pt x="74" y="63"/>
                </a:lnTo>
                <a:lnTo>
                  <a:pt x="71" y="60"/>
                </a:lnTo>
                <a:lnTo>
                  <a:pt x="68" y="58"/>
                </a:lnTo>
                <a:lnTo>
                  <a:pt x="66" y="55"/>
                </a:lnTo>
                <a:lnTo>
                  <a:pt x="64" y="53"/>
                </a:lnTo>
                <a:lnTo>
                  <a:pt x="59" y="52"/>
                </a:lnTo>
                <a:lnTo>
                  <a:pt x="58" y="52"/>
                </a:lnTo>
                <a:lnTo>
                  <a:pt x="58" y="53"/>
                </a:lnTo>
                <a:lnTo>
                  <a:pt x="56" y="53"/>
                </a:lnTo>
                <a:lnTo>
                  <a:pt x="54" y="52"/>
                </a:lnTo>
                <a:lnTo>
                  <a:pt x="51" y="52"/>
                </a:lnTo>
                <a:lnTo>
                  <a:pt x="48" y="53"/>
                </a:lnTo>
                <a:lnTo>
                  <a:pt x="47" y="53"/>
                </a:lnTo>
                <a:lnTo>
                  <a:pt x="42" y="52"/>
                </a:lnTo>
                <a:lnTo>
                  <a:pt x="39" y="49"/>
                </a:lnTo>
                <a:lnTo>
                  <a:pt x="38" y="49"/>
                </a:lnTo>
                <a:lnTo>
                  <a:pt x="35" y="47"/>
                </a:lnTo>
                <a:lnTo>
                  <a:pt x="34" y="47"/>
                </a:lnTo>
                <a:lnTo>
                  <a:pt x="32" y="45"/>
                </a:lnTo>
                <a:lnTo>
                  <a:pt x="28" y="44"/>
                </a:lnTo>
                <a:lnTo>
                  <a:pt x="26" y="44"/>
                </a:lnTo>
                <a:lnTo>
                  <a:pt x="23" y="42"/>
                </a:lnTo>
                <a:lnTo>
                  <a:pt x="22" y="41"/>
                </a:lnTo>
                <a:lnTo>
                  <a:pt x="19" y="38"/>
                </a:lnTo>
                <a:lnTo>
                  <a:pt x="16" y="35"/>
                </a:lnTo>
                <a:lnTo>
                  <a:pt x="14" y="35"/>
                </a:lnTo>
                <a:lnTo>
                  <a:pt x="12" y="33"/>
                </a:lnTo>
                <a:lnTo>
                  <a:pt x="8" y="31"/>
                </a:lnTo>
                <a:lnTo>
                  <a:pt x="7" y="31"/>
                </a:lnTo>
                <a:lnTo>
                  <a:pt x="6" y="31"/>
                </a:lnTo>
                <a:lnTo>
                  <a:pt x="4" y="30"/>
                </a:lnTo>
                <a:lnTo>
                  <a:pt x="4" y="28"/>
                </a:lnTo>
                <a:lnTo>
                  <a:pt x="0" y="27"/>
                </a:lnTo>
                <a:lnTo>
                  <a:pt x="0" y="25"/>
                </a:lnTo>
                <a:lnTo>
                  <a:pt x="2" y="22"/>
                </a:lnTo>
                <a:lnTo>
                  <a:pt x="3" y="22"/>
                </a:lnTo>
                <a:lnTo>
                  <a:pt x="3" y="20"/>
                </a:lnTo>
                <a:lnTo>
                  <a:pt x="4" y="19"/>
                </a:lnTo>
                <a:lnTo>
                  <a:pt x="3" y="17"/>
                </a:lnTo>
                <a:lnTo>
                  <a:pt x="4" y="14"/>
                </a:lnTo>
                <a:lnTo>
                  <a:pt x="6" y="13"/>
                </a:lnTo>
                <a:lnTo>
                  <a:pt x="4" y="11"/>
                </a:lnTo>
                <a:lnTo>
                  <a:pt x="4" y="9"/>
                </a:lnTo>
                <a:lnTo>
                  <a:pt x="6" y="8"/>
                </a:lnTo>
                <a:lnTo>
                  <a:pt x="8" y="8"/>
                </a:lnTo>
                <a:lnTo>
                  <a:pt x="8" y="6"/>
                </a:lnTo>
                <a:lnTo>
                  <a:pt x="11" y="5"/>
                </a:lnTo>
                <a:lnTo>
                  <a:pt x="12" y="3"/>
                </a:lnTo>
                <a:lnTo>
                  <a:pt x="12" y="2"/>
                </a:lnTo>
                <a:lnTo>
                  <a:pt x="14" y="2"/>
                </a:lnTo>
                <a:lnTo>
                  <a:pt x="15" y="2"/>
                </a:lnTo>
                <a:lnTo>
                  <a:pt x="16" y="2"/>
                </a:lnTo>
                <a:lnTo>
                  <a:pt x="16" y="3"/>
                </a:lnTo>
                <a:lnTo>
                  <a:pt x="19" y="5"/>
                </a:lnTo>
                <a:lnTo>
                  <a:pt x="19" y="3"/>
                </a:lnTo>
                <a:lnTo>
                  <a:pt x="20" y="2"/>
                </a:lnTo>
                <a:lnTo>
                  <a:pt x="20" y="0"/>
                </a:lnTo>
                <a:lnTo>
                  <a:pt x="24" y="0"/>
                </a:lnTo>
                <a:lnTo>
                  <a:pt x="26" y="2"/>
                </a:lnTo>
                <a:lnTo>
                  <a:pt x="31" y="2"/>
                </a:lnTo>
                <a:lnTo>
                  <a:pt x="36" y="3"/>
                </a:lnTo>
                <a:lnTo>
                  <a:pt x="38" y="5"/>
                </a:lnTo>
                <a:lnTo>
                  <a:pt x="39" y="6"/>
                </a:lnTo>
                <a:lnTo>
                  <a:pt x="42" y="9"/>
                </a:lnTo>
                <a:lnTo>
                  <a:pt x="46" y="11"/>
                </a:lnTo>
                <a:lnTo>
                  <a:pt x="48" y="13"/>
                </a:lnTo>
                <a:lnTo>
                  <a:pt x="50" y="16"/>
                </a:lnTo>
                <a:lnTo>
                  <a:pt x="51" y="20"/>
                </a:lnTo>
                <a:lnTo>
                  <a:pt x="52" y="22"/>
                </a:lnTo>
                <a:lnTo>
                  <a:pt x="54" y="22"/>
                </a:lnTo>
                <a:lnTo>
                  <a:pt x="55" y="20"/>
                </a:lnTo>
                <a:lnTo>
                  <a:pt x="56" y="20"/>
                </a:lnTo>
                <a:lnTo>
                  <a:pt x="58" y="20"/>
                </a:lnTo>
                <a:lnTo>
                  <a:pt x="58" y="19"/>
                </a:lnTo>
                <a:lnTo>
                  <a:pt x="59" y="19"/>
                </a:lnTo>
                <a:lnTo>
                  <a:pt x="62" y="17"/>
                </a:lnTo>
                <a:lnTo>
                  <a:pt x="63" y="19"/>
                </a:lnTo>
                <a:lnTo>
                  <a:pt x="63" y="20"/>
                </a:lnTo>
                <a:lnTo>
                  <a:pt x="63" y="22"/>
                </a:lnTo>
                <a:lnTo>
                  <a:pt x="62" y="27"/>
                </a:lnTo>
                <a:lnTo>
                  <a:pt x="63" y="27"/>
                </a:lnTo>
                <a:lnTo>
                  <a:pt x="64" y="27"/>
                </a:lnTo>
                <a:lnTo>
                  <a:pt x="64" y="28"/>
                </a:lnTo>
                <a:lnTo>
                  <a:pt x="66" y="28"/>
                </a:lnTo>
                <a:lnTo>
                  <a:pt x="67" y="28"/>
                </a:lnTo>
                <a:lnTo>
                  <a:pt x="68" y="30"/>
                </a:lnTo>
                <a:lnTo>
                  <a:pt x="70" y="30"/>
                </a:lnTo>
                <a:lnTo>
                  <a:pt x="71" y="30"/>
                </a:lnTo>
                <a:lnTo>
                  <a:pt x="74" y="30"/>
                </a:lnTo>
                <a:lnTo>
                  <a:pt x="75" y="30"/>
                </a:lnTo>
                <a:lnTo>
                  <a:pt x="76" y="30"/>
                </a:lnTo>
                <a:lnTo>
                  <a:pt x="78" y="30"/>
                </a:lnTo>
                <a:lnTo>
                  <a:pt x="76" y="33"/>
                </a:lnTo>
                <a:lnTo>
                  <a:pt x="78" y="35"/>
                </a:lnTo>
                <a:lnTo>
                  <a:pt x="82" y="38"/>
                </a:lnTo>
                <a:lnTo>
                  <a:pt x="83" y="38"/>
                </a:lnTo>
                <a:lnTo>
                  <a:pt x="86" y="38"/>
                </a:lnTo>
                <a:lnTo>
                  <a:pt x="87" y="39"/>
                </a:lnTo>
                <a:lnTo>
                  <a:pt x="87" y="41"/>
                </a:lnTo>
                <a:lnTo>
                  <a:pt x="88" y="42"/>
                </a:lnTo>
                <a:lnTo>
                  <a:pt x="90" y="42"/>
                </a:lnTo>
                <a:lnTo>
                  <a:pt x="91" y="42"/>
                </a:lnTo>
                <a:lnTo>
                  <a:pt x="92" y="42"/>
                </a:lnTo>
                <a:lnTo>
                  <a:pt x="93" y="42"/>
                </a:lnTo>
                <a:lnTo>
                  <a:pt x="95" y="42"/>
                </a:lnTo>
                <a:lnTo>
                  <a:pt x="96" y="42"/>
                </a:lnTo>
                <a:lnTo>
                  <a:pt x="97" y="42"/>
                </a:lnTo>
                <a:lnTo>
                  <a:pt x="99" y="41"/>
                </a:lnTo>
                <a:lnTo>
                  <a:pt x="101" y="41"/>
                </a:lnTo>
                <a:lnTo>
                  <a:pt x="104" y="42"/>
                </a:lnTo>
                <a:lnTo>
                  <a:pt x="107" y="44"/>
                </a:lnTo>
                <a:lnTo>
                  <a:pt x="108" y="45"/>
                </a:lnTo>
                <a:lnTo>
                  <a:pt x="109" y="45"/>
                </a:lnTo>
                <a:lnTo>
                  <a:pt x="112" y="44"/>
                </a:lnTo>
                <a:lnTo>
                  <a:pt x="115" y="45"/>
                </a:lnTo>
                <a:lnTo>
                  <a:pt x="116" y="45"/>
                </a:lnTo>
                <a:lnTo>
                  <a:pt x="117" y="42"/>
                </a:lnTo>
                <a:lnTo>
                  <a:pt x="120" y="42"/>
                </a:lnTo>
                <a:lnTo>
                  <a:pt x="121" y="4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7" name="Freeform 44"/>
          <p:cNvSpPr>
            <a:spLocks/>
          </p:cNvSpPr>
          <p:nvPr/>
        </p:nvSpPr>
        <p:spPr bwMode="auto">
          <a:xfrm>
            <a:off x="7974027" y="3274753"/>
            <a:ext cx="231908" cy="139594"/>
          </a:xfrm>
          <a:custGeom>
            <a:avLst/>
            <a:gdLst/>
            <a:ahLst/>
            <a:cxnLst>
              <a:cxn ang="0">
                <a:pos x="119" y="49"/>
              </a:cxn>
              <a:cxn ang="0">
                <a:pos x="117" y="58"/>
              </a:cxn>
              <a:cxn ang="0">
                <a:pos x="121" y="63"/>
              </a:cxn>
              <a:cxn ang="0">
                <a:pos x="116" y="69"/>
              </a:cxn>
              <a:cxn ang="0">
                <a:pos x="107" y="69"/>
              </a:cxn>
              <a:cxn ang="0">
                <a:pos x="100" y="67"/>
              </a:cxn>
              <a:cxn ang="0">
                <a:pos x="83" y="63"/>
              </a:cxn>
              <a:cxn ang="0">
                <a:pos x="71" y="60"/>
              </a:cxn>
              <a:cxn ang="0">
                <a:pos x="64" y="53"/>
              </a:cxn>
              <a:cxn ang="0">
                <a:pos x="58" y="53"/>
              </a:cxn>
              <a:cxn ang="0">
                <a:pos x="51" y="52"/>
              </a:cxn>
              <a:cxn ang="0">
                <a:pos x="42" y="52"/>
              </a:cxn>
              <a:cxn ang="0">
                <a:pos x="35" y="47"/>
              </a:cxn>
              <a:cxn ang="0">
                <a:pos x="28" y="44"/>
              </a:cxn>
              <a:cxn ang="0">
                <a:pos x="22" y="41"/>
              </a:cxn>
              <a:cxn ang="0">
                <a:pos x="14" y="35"/>
              </a:cxn>
              <a:cxn ang="0">
                <a:pos x="7" y="31"/>
              </a:cxn>
              <a:cxn ang="0">
                <a:pos x="4" y="28"/>
              </a:cxn>
              <a:cxn ang="0">
                <a:pos x="2" y="22"/>
              </a:cxn>
              <a:cxn ang="0">
                <a:pos x="4" y="19"/>
              </a:cxn>
              <a:cxn ang="0">
                <a:pos x="6" y="13"/>
              </a:cxn>
              <a:cxn ang="0">
                <a:pos x="6" y="8"/>
              </a:cxn>
              <a:cxn ang="0">
                <a:pos x="11" y="5"/>
              </a:cxn>
              <a:cxn ang="0">
                <a:pos x="14" y="2"/>
              </a:cxn>
              <a:cxn ang="0">
                <a:pos x="16" y="3"/>
              </a:cxn>
              <a:cxn ang="0">
                <a:pos x="20" y="2"/>
              </a:cxn>
              <a:cxn ang="0">
                <a:pos x="26" y="2"/>
              </a:cxn>
              <a:cxn ang="0">
                <a:pos x="38" y="5"/>
              </a:cxn>
              <a:cxn ang="0">
                <a:pos x="46" y="11"/>
              </a:cxn>
              <a:cxn ang="0">
                <a:pos x="51" y="20"/>
              </a:cxn>
              <a:cxn ang="0">
                <a:pos x="55" y="20"/>
              </a:cxn>
              <a:cxn ang="0">
                <a:pos x="58" y="19"/>
              </a:cxn>
              <a:cxn ang="0">
                <a:pos x="63" y="19"/>
              </a:cxn>
              <a:cxn ang="0">
                <a:pos x="62" y="27"/>
              </a:cxn>
              <a:cxn ang="0">
                <a:pos x="64" y="28"/>
              </a:cxn>
              <a:cxn ang="0">
                <a:pos x="68" y="30"/>
              </a:cxn>
              <a:cxn ang="0">
                <a:pos x="74" y="30"/>
              </a:cxn>
              <a:cxn ang="0">
                <a:pos x="78" y="30"/>
              </a:cxn>
              <a:cxn ang="0">
                <a:pos x="82" y="38"/>
              </a:cxn>
              <a:cxn ang="0">
                <a:pos x="87" y="39"/>
              </a:cxn>
              <a:cxn ang="0">
                <a:pos x="90" y="42"/>
              </a:cxn>
              <a:cxn ang="0">
                <a:pos x="93" y="42"/>
              </a:cxn>
              <a:cxn ang="0">
                <a:pos x="97" y="42"/>
              </a:cxn>
              <a:cxn ang="0">
                <a:pos x="104" y="42"/>
              </a:cxn>
              <a:cxn ang="0">
                <a:pos x="109" y="45"/>
              </a:cxn>
              <a:cxn ang="0">
                <a:pos x="116" y="45"/>
              </a:cxn>
              <a:cxn ang="0">
                <a:pos x="121" y="42"/>
              </a:cxn>
            </a:cxnLst>
            <a:rect l="0" t="0" r="r" b="b"/>
            <a:pathLst>
              <a:path w="121" h="69">
                <a:moveTo>
                  <a:pt x="121" y="42"/>
                </a:moveTo>
                <a:lnTo>
                  <a:pt x="120" y="45"/>
                </a:lnTo>
                <a:lnTo>
                  <a:pt x="119" y="49"/>
                </a:lnTo>
                <a:lnTo>
                  <a:pt x="120" y="53"/>
                </a:lnTo>
                <a:lnTo>
                  <a:pt x="119" y="56"/>
                </a:lnTo>
                <a:lnTo>
                  <a:pt x="117" y="58"/>
                </a:lnTo>
                <a:lnTo>
                  <a:pt x="117" y="60"/>
                </a:lnTo>
                <a:lnTo>
                  <a:pt x="120" y="61"/>
                </a:lnTo>
                <a:lnTo>
                  <a:pt x="121" y="63"/>
                </a:lnTo>
                <a:lnTo>
                  <a:pt x="121" y="66"/>
                </a:lnTo>
                <a:lnTo>
                  <a:pt x="120" y="69"/>
                </a:lnTo>
                <a:lnTo>
                  <a:pt x="116" y="69"/>
                </a:lnTo>
                <a:lnTo>
                  <a:pt x="113" y="69"/>
                </a:lnTo>
                <a:lnTo>
                  <a:pt x="109" y="69"/>
                </a:lnTo>
                <a:lnTo>
                  <a:pt x="107" y="69"/>
                </a:lnTo>
                <a:lnTo>
                  <a:pt x="104" y="69"/>
                </a:lnTo>
                <a:lnTo>
                  <a:pt x="101" y="67"/>
                </a:lnTo>
                <a:lnTo>
                  <a:pt x="100" y="67"/>
                </a:lnTo>
                <a:lnTo>
                  <a:pt x="87" y="66"/>
                </a:lnTo>
                <a:lnTo>
                  <a:pt x="86" y="64"/>
                </a:lnTo>
                <a:lnTo>
                  <a:pt x="83" y="63"/>
                </a:lnTo>
                <a:lnTo>
                  <a:pt x="79" y="63"/>
                </a:lnTo>
                <a:lnTo>
                  <a:pt x="74" y="63"/>
                </a:lnTo>
                <a:lnTo>
                  <a:pt x="71" y="60"/>
                </a:lnTo>
                <a:lnTo>
                  <a:pt x="68" y="58"/>
                </a:lnTo>
                <a:lnTo>
                  <a:pt x="66" y="55"/>
                </a:lnTo>
                <a:lnTo>
                  <a:pt x="64" y="53"/>
                </a:lnTo>
                <a:lnTo>
                  <a:pt x="59" y="52"/>
                </a:lnTo>
                <a:lnTo>
                  <a:pt x="58" y="52"/>
                </a:lnTo>
                <a:lnTo>
                  <a:pt x="58" y="53"/>
                </a:lnTo>
                <a:lnTo>
                  <a:pt x="56" y="53"/>
                </a:lnTo>
                <a:lnTo>
                  <a:pt x="54" y="52"/>
                </a:lnTo>
                <a:lnTo>
                  <a:pt x="51" y="52"/>
                </a:lnTo>
                <a:lnTo>
                  <a:pt x="48" y="53"/>
                </a:lnTo>
                <a:lnTo>
                  <a:pt x="47" y="53"/>
                </a:lnTo>
                <a:lnTo>
                  <a:pt x="42" y="52"/>
                </a:lnTo>
                <a:lnTo>
                  <a:pt x="39" y="49"/>
                </a:lnTo>
                <a:lnTo>
                  <a:pt x="38" y="49"/>
                </a:lnTo>
                <a:lnTo>
                  <a:pt x="35" y="47"/>
                </a:lnTo>
                <a:lnTo>
                  <a:pt x="34" y="47"/>
                </a:lnTo>
                <a:lnTo>
                  <a:pt x="32" y="45"/>
                </a:lnTo>
                <a:lnTo>
                  <a:pt x="28" y="44"/>
                </a:lnTo>
                <a:lnTo>
                  <a:pt x="26" y="44"/>
                </a:lnTo>
                <a:lnTo>
                  <a:pt x="23" y="42"/>
                </a:lnTo>
                <a:lnTo>
                  <a:pt x="22" y="41"/>
                </a:lnTo>
                <a:lnTo>
                  <a:pt x="19" y="38"/>
                </a:lnTo>
                <a:lnTo>
                  <a:pt x="16" y="35"/>
                </a:lnTo>
                <a:lnTo>
                  <a:pt x="14" y="35"/>
                </a:lnTo>
                <a:lnTo>
                  <a:pt x="12" y="33"/>
                </a:lnTo>
                <a:lnTo>
                  <a:pt x="8" y="31"/>
                </a:lnTo>
                <a:lnTo>
                  <a:pt x="7" y="31"/>
                </a:lnTo>
                <a:lnTo>
                  <a:pt x="6" y="31"/>
                </a:lnTo>
                <a:lnTo>
                  <a:pt x="4" y="30"/>
                </a:lnTo>
                <a:lnTo>
                  <a:pt x="4" y="28"/>
                </a:lnTo>
                <a:lnTo>
                  <a:pt x="0" y="27"/>
                </a:lnTo>
                <a:lnTo>
                  <a:pt x="0" y="25"/>
                </a:lnTo>
                <a:lnTo>
                  <a:pt x="2" y="22"/>
                </a:lnTo>
                <a:lnTo>
                  <a:pt x="3" y="22"/>
                </a:lnTo>
                <a:lnTo>
                  <a:pt x="3" y="20"/>
                </a:lnTo>
                <a:lnTo>
                  <a:pt x="4" y="19"/>
                </a:lnTo>
                <a:lnTo>
                  <a:pt x="3" y="17"/>
                </a:lnTo>
                <a:lnTo>
                  <a:pt x="4" y="14"/>
                </a:lnTo>
                <a:lnTo>
                  <a:pt x="6" y="13"/>
                </a:lnTo>
                <a:lnTo>
                  <a:pt x="4" y="11"/>
                </a:lnTo>
                <a:lnTo>
                  <a:pt x="4" y="9"/>
                </a:lnTo>
                <a:lnTo>
                  <a:pt x="6" y="8"/>
                </a:lnTo>
                <a:lnTo>
                  <a:pt x="8" y="8"/>
                </a:lnTo>
                <a:lnTo>
                  <a:pt x="8" y="6"/>
                </a:lnTo>
                <a:lnTo>
                  <a:pt x="11" y="5"/>
                </a:lnTo>
                <a:lnTo>
                  <a:pt x="12" y="3"/>
                </a:lnTo>
                <a:lnTo>
                  <a:pt x="12" y="2"/>
                </a:lnTo>
                <a:lnTo>
                  <a:pt x="14" y="2"/>
                </a:lnTo>
                <a:lnTo>
                  <a:pt x="15" y="2"/>
                </a:lnTo>
                <a:lnTo>
                  <a:pt x="16" y="2"/>
                </a:lnTo>
                <a:lnTo>
                  <a:pt x="16" y="3"/>
                </a:lnTo>
                <a:lnTo>
                  <a:pt x="19" y="5"/>
                </a:lnTo>
                <a:lnTo>
                  <a:pt x="19" y="3"/>
                </a:lnTo>
                <a:lnTo>
                  <a:pt x="20" y="2"/>
                </a:lnTo>
                <a:lnTo>
                  <a:pt x="20" y="0"/>
                </a:lnTo>
                <a:lnTo>
                  <a:pt x="24" y="0"/>
                </a:lnTo>
                <a:lnTo>
                  <a:pt x="26" y="2"/>
                </a:lnTo>
                <a:lnTo>
                  <a:pt x="31" y="2"/>
                </a:lnTo>
                <a:lnTo>
                  <a:pt x="36" y="3"/>
                </a:lnTo>
                <a:lnTo>
                  <a:pt x="38" y="5"/>
                </a:lnTo>
                <a:lnTo>
                  <a:pt x="39" y="6"/>
                </a:lnTo>
                <a:lnTo>
                  <a:pt x="42" y="9"/>
                </a:lnTo>
                <a:lnTo>
                  <a:pt x="46" y="11"/>
                </a:lnTo>
                <a:lnTo>
                  <a:pt x="48" y="13"/>
                </a:lnTo>
                <a:lnTo>
                  <a:pt x="50" y="16"/>
                </a:lnTo>
                <a:lnTo>
                  <a:pt x="51" y="20"/>
                </a:lnTo>
                <a:lnTo>
                  <a:pt x="52" y="22"/>
                </a:lnTo>
                <a:lnTo>
                  <a:pt x="54" y="22"/>
                </a:lnTo>
                <a:lnTo>
                  <a:pt x="55" y="20"/>
                </a:lnTo>
                <a:lnTo>
                  <a:pt x="56" y="20"/>
                </a:lnTo>
                <a:lnTo>
                  <a:pt x="58" y="20"/>
                </a:lnTo>
                <a:lnTo>
                  <a:pt x="58" y="19"/>
                </a:lnTo>
                <a:lnTo>
                  <a:pt x="59" y="19"/>
                </a:lnTo>
                <a:lnTo>
                  <a:pt x="62" y="17"/>
                </a:lnTo>
                <a:lnTo>
                  <a:pt x="63" y="19"/>
                </a:lnTo>
                <a:lnTo>
                  <a:pt x="63" y="20"/>
                </a:lnTo>
                <a:lnTo>
                  <a:pt x="63" y="22"/>
                </a:lnTo>
                <a:lnTo>
                  <a:pt x="62" y="27"/>
                </a:lnTo>
                <a:lnTo>
                  <a:pt x="63" y="27"/>
                </a:lnTo>
                <a:lnTo>
                  <a:pt x="64" y="27"/>
                </a:lnTo>
                <a:lnTo>
                  <a:pt x="64" y="28"/>
                </a:lnTo>
                <a:lnTo>
                  <a:pt x="66" y="28"/>
                </a:lnTo>
                <a:lnTo>
                  <a:pt x="67" y="28"/>
                </a:lnTo>
                <a:lnTo>
                  <a:pt x="68" y="30"/>
                </a:lnTo>
                <a:lnTo>
                  <a:pt x="70" y="30"/>
                </a:lnTo>
                <a:lnTo>
                  <a:pt x="71" y="30"/>
                </a:lnTo>
                <a:lnTo>
                  <a:pt x="74" y="30"/>
                </a:lnTo>
                <a:lnTo>
                  <a:pt x="75" y="30"/>
                </a:lnTo>
                <a:lnTo>
                  <a:pt x="76" y="30"/>
                </a:lnTo>
                <a:lnTo>
                  <a:pt x="78" y="30"/>
                </a:lnTo>
                <a:lnTo>
                  <a:pt x="76" y="33"/>
                </a:lnTo>
                <a:lnTo>
                  <a:pt x="78" y="35"/>
                </a:lnTo>
                <a:lnTo>
                  <a:pt x="82" y="38"/>
                </a:lnTo>
                <a:lnTo>
                  <a:pt x="83" y="38"/>
                </a:lnTo>
                <a:lnTo>
                  <a:pt x="86" y="38"/>
                </a:lnTo>
                <a:lnTo>
                  <a:pt x="87" y="39"/>
                </a:lnTo>
                <a:lnTo>
                  <a:pt x="87" y="41"/>
                </a:lnTo>
                <a:lnTo>
                  <a:pt x="88" y="42"/>
                </a:lnTo>
                <a:lnTo>
                  <a:pt x="90" y="42"/>
                </a:lnTo>
                <a:lnTo>
                  <a:pt x="91" y="42"/>
                </a:lnTo>
                <a:lnTo>
                  <a:pt x="92" y="42"/>
                </a:lnTo>
                <a:lnTo>
                  <a:pt x="93" y="42"/>
                </a:lnTo>
                <a:lnTo>
                  <a:pt x="95" y="42"/>
                </a:lnTo>
                <a:lnTo>
                  <a:pt x="96" y="42"/>
                </a:lnTo>
                <a:lnTo>
                  <a:pt x="97" y="42"/>
                </a:lnTo>
                <a:lnTo>
                  <a:pt x="99" y="41"/>
                </a:lnTo>
                <a:lnTo>
                  <a:pt x="101" y="41"/>
                </a:lnTo>
                <a:lnTo>
                  <a:pt x="104" y="42"/>
                </a:lnTo>
                <a:lnTo>
                  <a:pt x="107" y="44"/>
                </a:lnTo>
                <a:lnTo>
                  <a:pt x="108" y="45"/>
                </a:lnTo>
                <a:lnTo>
                  <a:pt x="109" y="45"/>
                </a:lnTo>
                <a:lnTo>
                  <a:pt x="112" y="44"/>
                </a:lnTo>
                <a:lnTo>
                  <a:pt x="115" y="45"/>
                </a:lnTo>
                <a:lnTo>
                  <a:pt x="116" y="45"/>
                </a:lnTo>
                <a:lnTo>
                  <a:pt x="117" y="42"/>
                </a:lnTo>
                <a:lnTo>
                  <a:pt x="120" y="42"/>
                </a:lnTo>
                <a:lnTo>
                  <a:pt x="121" y="4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8" name="Freeform 45"/>
          <p:cNvSpPr>
            <a:spLocks/>
          </p:cNvSpPr>
          <p:nvPr/>
        </p:nvSpPr>
        <p:spPr bwMode="auto">
          <a:xfrm>
            <a:off x="8200090" y="3407904"/>
            <a:ext cx="134468" cy="201875"/>
          </a:xfrm>
          <a:custGeom>
            <a:avLst/>
            <a:gdLst/>
            <a:ahLst/>
            <a:cxnLst>
              <a:cxn ang="0">
                <a:pos x="64" y="96"/>
              </a:cxn>
              <a:cxn ang="0">
                <a:pos x="62" y="82"/>
              </a:cxn>
              <a:cxn ang="0">
                <a:pos x="56" y="68"/>
              </a:cxn>
              <a:cxn ang="0">
                <a:pos x="52" y="68"/>
              </a:cxn>
              <a:cxn ang="0">
                <a:pos x="46" y="66"/>
              </a:cxn>
              <a:cxn ang="0">
                <a:pos x="43" y="65"/>
              </a:cxn>
              <a:cxn ang="0">
                <a:pos x="40" y="70"/>
              </a:cxn>
              <a:cxn ang="0">
                <a:pos x="42" y="76"/>
              </a:cxn>
              <a:cxn ang="0">
                <a:pos x="35" y="84"/>
              </a:cxn>
              <a:cxn ang="0">
                <a:pos x="31" y="82"/>
              </a:cxn>
              <a:cxn ang="0">
                <a:pos x="27" y="85"/>
              </a:cxn>
              <a:cxn ang="0">
                <a:pos x="26" y="85"/>
              </a:cxn>
              <a:cxn ang="0">
                <a:pos x="22" y="85"/>
              </a:cxn>
              <a:cxn ang="0">
                <a:pos x="19" y="87"/>
              </a:cxn>
              <a:cxn ang="0">
                <a:pos x="16" y="87"/>
              </a:cxn>
              <a:cxn ang="0">
                <a:pos x="15" y="81"/>
              </a:cxn>
              <a:cxn ang="0">
                <a:pos x="14" y="74"/>
              </a:cxn>
              <a:cxn ang="0">
                <a:pos x="12" y="70"/>
              </a:cxn>
              <a:cxn ang="0">
                <a:pos x="11" y="65"/>
              </a:cxn>
              <a:cxn ang="0">
                <a:pos x="12" y="59"/>
              </a:cxn>
              <a:cxn ang="0">
                <a:pos x="11" y="54"/>
              </a:cxn>
              <a:cxn ang="0">
                <a:pos x="10" y="49"/>
              </a:cxn>
              <a:cxn ang="0">
                <a:pos x="10" y="40"/>
              </a:cxn>
              <a:cxn ang="0">
                <a:pos x="6" y="35"/>
              </a:cxn>
              <a:cxn ang="0">
                <a:pos x="0" y="32"/>
              </a:cxn>
              <a:cxn ang="0">
                <a:pos x="0" y="29"/>
              </a:cxn>
              <a:cxn ang="0">
                <a:pos x="4" y="26"/>
              </a:cxn>
              <a:cxn ang="0">
                <a:pos x="7" y="22"/>
              </a:cxn>
              <a:cxn ang="0">
                <a:pos x="12" y="19"/>
              </a:cxn>
              <a:cxn ang="0">
                <a:pos x="11" y="18"/>
              </a:cxn>
              <a:cxn ang="0">
                <a:pos x="6" y="16"/>
              </a:cxn>
              <a:cxn ang="0">
                <a:pos x="3" y="11"/>
              </a:cxn>
              <a:cxn ang="0">
                <a:pos x="8" y="0"/>
              </a:cxn>
              <a:cxn ang="0">
                <a:pos x="12" y="5"/>
              </a:cxn>
              <a:cxn ang="0">
                <a:pos x="14" y="5"/>
              </a:cxn>
              <a:cxn ang="0">
                <a:pos x="16" y="2"/>
              </a:cxn>
              <a:cxn ang="0">
                <a:pos x="19" y="10"/>
              </a:cxn>
              <a:cxn ang="0">
                <a:pos x="23" y="10"/>
              </a:cxn>
              <a:cxn ang="0">
                <a:pos x="26" y="7"/>
              </a:cxn>
              <a:cxn ang="0">
                <a:pos x="28" y="18"/>
              </a:cxn>
              <a:cxn ang="0">
                <a:pos x="32" y="22"/>
              </a:cxn>
              <a:cxn ang="0">
                <a:pos x="46" y="22"/>
              </a:cxn>
              <a:cxn ang="0">
                <a:pos x="56" y="22"/>
              </a:cxn>
              <a:cxn ang="0">
                <a:pos x="67" y="26"/>
              </a:cxn>
              <a:cxn ang="0">
                <a:pos x="64" y="29"/>
              </a:cxn>
              <a:cxn ang="0">
                <a:pos x="59" y="37"/>
              </a:cxn>
              <a:cxn ang="0">
                <a:pos x="52" y="41"/>
              </a:cxn>
              <a:cxn ang="0">
                <a:pos x="48" y="46"/>
              </a:cxn>
              <a:cxn ang="0">
                <a:pos x="51" y="57"/>
              </a:cxn>
              <a:cxn ang="0">
                <a:pos x="55" y="60"/>
              </a:cxn>
              <a:cxn ang="0">
                <a:pos x="59" y="60"/>
              </a:cxn>
              <a:cxn ang="0">
                <a:pos x="63" y="49"/>
              </a:cxn>
              <a:cxn ang="0">
                <a:pos x="67" y="54"/>
              </a:cxn>
              <a:cxn ang="0">
                <a:pos x="70" y="62"/>
              </a:cxn>
              <a:cxn ang="0">
                <a:pos x="71" y="73"/>
              </a:cxn>
              <a:cxn ang="0">
                <a:pos x="72" y="84"/>
              </a:cxn>
              <a:cxn ang="0">
                <a:pos x="70" y="92"/>
              </a:cxn>
              <a:cxn ang="0">
                <a:pos x="67" y="95"/>
              </a:cxn>
            </a:cxnLst>
            <a:rect l="0" t="0" r="r" b="b"/>
            <a:pathLst>
              <a:path w="72" h="101">
                <a:moveTo>
                  <a:pt x="67" y="101"/>
                </a:moveTo>
                <a:lnTo>
                  <a:pt x="64" y="96"/>
                </a:lnTo>
                <a:lnTo>
                  <a:pt x="63" y="87"/>
                </a:lnTo>
                <a:lnTo>
                  <a:pt x="62" y="82"/>
                </a:lnTo>
                <a:lnTo>
                  <a:pt x="62" y="76"/>
                </a:lnTo>
                <a:lnTo>
                  <a:pt x="56" y="68"/>
                </a:lnTo>
                <a:lnTo>
                  <a:pt x="55" y="66"/>
                </a:lnTo>
                <a:lnTo>
                  <a:pt x="52" y="68"/>
                </a:lnTo>
                <a:lnTo>
                  <a:pt x="48" y="68"/>
                </a:lnTo>
                <a:lnTo>
                  <a:pt x="46" y="66"/>
                </a:lnTo>
                <a:lnTo>
                  <a:pt x="44" y="63"/>
                </a:lnTo>
                <a:lnTo>
                  <a:pt x="43" y="65"/>
                </a:lnTo>
                <a:lnTo>
                  <a:pt x="43" y="68"/>
                </a:lnTo>
                <a:lnTo>
                  <a:pt x="40" y="70"/>
                </a:lnTo>
                <a:lnTo>
                  <a:pt x="42" y="73"/>
                </a:lnTo>
                <a:lnTo>
                  <a:pt x="42" y="76"/>
                </a:lnTo>
                <a:lnTo>
                  <a:pt x="36" y="84"/>
                </a:lnTo>
                <a:lnTo>
                  <a:pt x="35" y="84"/>
                </a:lnTo>
                <a:lnTo>
                  <a:pt x="32" y="79"/>
                </a:lnTo>
                <a:lnTo>
                  <a:pt x="31" y="82"/>
                </a:lnTo>
                <a:lnTo>
                  <a:pt x="30" y="84"/>
                </a:lnTo>
                <a:lnTo>
                  <a:pt x="27" y="85"/>
                </a:lnTo>
                <a:lnTo>
                  <a:pt x="27" y="84"/>
                </a:lnTo>
                <a:lnTo>
                  <a:pt x="26" y="85"/>
                </a:lnTo>
                <a:lnTo>
                  <a:pt x="22" y="84"/>
                </a:lnTo>
                <a:lnTo>
                  <a:pt x="22" y="85"/>
                </a:lnTo>
                <a:lnTo>
                  <a:pt x="20" y="85"/>
                </a:lnTo>
                <a:lnTo>
                  <a:pt x="19" y="87"/>
                </a:lnTo>
                <a:lnTo>
                  <a:pt x="18" y="87"/>
                </a:lnTo>
                <a:lnTo>
                  <a:pt x="16" y="87"/>
                </a:lnTo>
                <a:lnTo>
                  <a:pt x="15" y="82"/>
                </a:lnTo>
                <a:lnTo>
                  <a:pt x="15" y="81"/>
                </a:lnTo>
                <a:lnTo>
                  <a:pt x="14" y="77"/>
                </a:lnTo>
                <a:lnTo>
                  <a:pt x="14" y="74"/>
                </a:lnTo>
                <a:lnTo>
                  <a:pt x="14" y="71"/>
                </a:lnTo>
                <a:lnTo>
                  <a:pt x="12" y="70"/>
                </a:lnTo>
                <a:lnTo>
                  <a:pt x="11" y="68"/>
                </a:lnTo>
                <a:lnTo>
                  <a:pt x="11" y="65"/>
                </a:lnTo>
                <a:lnTo>
                  <a:pt x="12" y="63"/>
                </a:lnTo>
                <a:lnTo>
                  <a:pt x="12" y="59"/>
                </a:lnTo>
                <a:lnTo>
                  <a:pt x="11" y="57"/>
                </a:lnTo>
                <a:lnTo>
                  <a:pt x="11" y="54"/>
                </a:lnTo>
                <a:lnTo>
                  <a:pt x="10" y="51"/>
                </a:lnTo>
                <a:lnTo>
                  <a:pt x="10" y="49"/>
                </a:lnTo>
                <a:lnTo>
                  <a:pt x="10" y="46"/>
                </a:lnTo>
                <a:lnTo>
                  <a:pt x="10" y="40"/>
                </a:lnTo>
                <a:lnTo>
                  <a:pt x="8" y="37"/>
                </a:lnTo>
                <a:lnTo>
                  <a:pt x="6" y="35"/>
                </a:lnTo>
                <a:lnTo>
                  <a:pt x="3" y="33"/>
                </a:lnTo>
                <a:lnTo>
                  <a:pt x="0" y="32"/>
                </a:lnTo>
                <a:lnTo>
                  <a:pt x="0" y="30"/>
                </a:lnTo>
                <a:lnTo>
                  <a:pt x="0" y="29"/>
                </a:lnTo>
                <a:lnTo>
                  <a:pt x="2" y="26"/>
                </a:lnTo>
                <a:lnTo>
                  <a:pt x="4" y="26"/>
                </a:lnTo>
                <a:lnTo>
                  <a:pt x="6" y="26"/>
                </a:lnTo>
                <a:lnTo>
                  <a:pt x="7" y="22"/>
                </a:lnTo>
                <a:lnTo>
                  <a:pt x="12" y="22"/>
                </a:lnTo>
                <a:lnTo>
                  <a:pt x="12" y="19"/>
                </a:lnTo>
                <a:lnTo>
                  <a:pt x="11" y="19"/>
                </a:lnTo>
                <a:lnTo>
                  <a:pt x="11" y="18"/>
                </a:lnTo>
                <a:lnTo>
                  <a:pt x="7" y="18"/>
                </a:lnTo>
                <a:lnTo>
                  <a:pt x="6" y="16"/>
                </a:lnTo>
                <a:lnTo>
                  <a:pt x="4" y="13"/>
                </a:lnTo>
                <a:lnTo>
                  <a:pt x="3" y="11"/>
                </a:lnTo>
                <a:lnTo>
                  <a:pt x="7" y="5"/>
                </a:lnTo>
                <a:lnTo>
                  <a:pt x="8" y="0"/>
                </a:lnTo>
                <a:lnTo>
                  <a:pt x="10" y="0"/>
                </a:lnTo>
                <a:lnTo>
                  <a:pt x="12" y="5"/>
                </a:lnTo>
                <a:lnTo>
                  <a:pt x="14" y="7"/>
                </a:lnTo>
                <a:lnTo>
                  <a:pt x="14" y="5"/>
                </a:lnTo>
                <a:lnTo>
                  <a:pt x="15" y="2"/>
                </a:lnTo>
                <a:lnTo>
                  <a:pt x="16" y="2"/>
                </a:lnTo>
                <a:lnTo>
                  <a:pt x="18" y="7"/>
                </a:lnTo>
                <a:lnTo>
                  <a:pt x="19" y="10"/>
                </a:lnTo>
                <a:lnTo>
                  <a:pt x="20" y="8"/>
                </a:lnTo>
                <a:lnTo>
                  <a:pt x="23" y="10"/>
                </a:lnTo>
                <a:lnTo>
                  <a:pt x="26" y="5"/>
                </a:lnTo>
                <a:lnTo>
                  <a:pt x="26" y="7"/>
                </a:lnTo>
                <a:lnTo>
                  <a:pt x="27" y="13"/>
                </a:lnTo>
                <a:lnTo>
                  <a:pt x="28" y="18"/>
                </a:lnTo>
                <a:lnTo>
                  <a:pt x="30" y="21"/>
                </a:lnTo>
                <a:lnTo>
                  <a:pt x="32" y="22"/>
                </a:lnTo>
                <a:lnTo>
                  <a:pt x="44" y="22"/>
                </a:lnTo>
                <a:lnTo>
                  <a:pt x="46" y="22"/>
                </a:lnTo>
                <a:lnTo>
                  <a:pt x="50" y="22"/>
                </a:lnTo>
                <a:lnTo>
                  <a:pt x="56" y="22"/>
                </a:lnTo>
                <a:lnTo>
                  <a:pt x="63" y="24"/>
                </a:lnTo>
                <a:lnTo>
                  <a:pt x="67" y="26"/>
                </a:lnTo>
                <a:lnTo>
                  <a:pt x="67" y="27"/>
                </a:lnTo>
                <a:lnTo>
                  <a:pt x="64" y="29"/>
                </a:lnTo>
                <a:lnTo>
                  <a:pt x="63" y="32"/>
                </a:lnTo>
                <a:lnTo>
                  <a:pt x="59" y="37"/>
                </a:lnTo>
                <a:lnTo>
                  <a:pt x="56" y="40"/>
                </a:lnTo>
                <a:lnTo>
                  <a:pt x="52" y="41"/>
                </a:lnTo>
                <a:lnTo>
                  <a:pt x="50" y="44"/>
                </a:lnTo>
                <a:lnTo>
                  <a:pt x="48" y="46"/>
                </a:lnTo>
                <a:lnTo>
                  <a:pt x="50" y="51"/>
                </a:lnTo>
                <a:lnTo>
                  <a:pt x="51" y="57"/>
                </a:lnTo>
                <a:lnTo>
                  <a:pt x="54" y="57"/>
                </a:lnTo>
                <a:lnTo>
                  <a:pt x="55" y="60"/>
                </a:lnTo>
                <a:lnTo>
                  <a:pt x="58" y="62"/>
                </a:lnTo>
                <a:lnTo>
                  <a:pt x="59" y="60"/>
                </a:lnTo>
                <a:lnTo>
                  <a:pt x="60" y="54"/>
                </a:lnTo>
                <a:lnTo>
                  <a:pt x="63" y="49"/>
                </a:lnTo>
                <a:lnTo>
                  <a:pt x="64" y="49"/>
                </a:lnTo>
                <a:lnTo>
                  <a:pt x="67" y="54"/>
                </a:lnTo>
                <a:lnTo>
                  <a:pt x="68" y="59"/>
                </a:lnTo>
                <a:lnTo>
                  <a:pt x="70" y="62"/>
                </a:lnTo>
                <a:lnTo>
                  <a:pt x="70" y="63"/>
                </a:lnTo>
                <a:lnTo>
                  <a:pt x="71" y="73"/>
                </a:lnTo>
                <a:lnTo>
                  <a:pt x="72" y="82"/>
                </a:lnTo>
                <a:lnTo>
                  <a:pt x="72" y="84"/>
                </a:lnTo>
                <a:lnTo>
                  <a:pt x="72" y="92"/>
                </a:lnTo>
                <a:lnTo>
                  <a:pt x="70" y="92"/>
                </a:lnTo>
                <a:lnTo>
                  <a:pt x="68" y="92"/>
                </a:lnTo>
                <a:lnTo>
                  <a:pt x="67" y="95"/>
                </a:lnTo>
                <a:lnTo>
                  <a:pt x="67" y="101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9" name="Freeform 46"/>
          <p:cNvSpPr>
            <a:spLocks/>
          </p:cNvSpPr>
          <p:nvPr/>
        </p:nvSpPr>
        <p:spPr bwMode="auto">
          <a:xfrm>
            <a:off x="8200090" y="3407904"/>
            <a:ext cx="134468" cy="201875"/>
          </a:xfrm>
          <a:custGeom>
            <a:avLst/>
            <a:gdLst/>
            <a:ahLst/>
            <a:cxnLst>
              <a:cxn ang="0">
                <a:pos x="64" y="96"/>
              </a:cxn>
              <a:cxn ang="0">
                <a:pos x="62" y="82"/>
              </a:cxn>
              <a:cxn ang="0">
                <a:pos x="56" y="68"/>
              </a:cxn>
              <a:cxn ang="0">
                <a:pos x="52" y="68"/>
              </a:cxn>
              <a:cxn ang="0">
                <a:pos x="46" y="66"/>
              </a:cxn>
              <a:cxn ang="0">
                <a:pos x="43" y="65"/>
              </a:cxn>
              <a:cxn ang="0">
                <a:pos x="40" y="70"/>
              </a:cxn>
              <a:cxn ang="0">
                <a:pos x="42" y="76"/>
              </a:cxn>
              <a:cxn ang="0">
                <a:pos x="35" y="84"/>
              </a:cxn>
              <a:cxn ang="0">
                <a:pos x="31" y="82"/>
              </a:cxn>
              <a:cxn ang="0">
                <a:pos x="27" y="85"/>
              </a:cxn>
              <a:cxn ang="0">
                <a:pos x="26" y="85"/>
              </a:cxn>
              <a:cxn ang="0">
                <a:pos x="22" y="85"/>
              </a:cxn>
              <a:cxn ang="0">
                <a:pos x="19" y="87"/>
              </a:cxn>
              <a:cxn ang="0">
                <a:pos x="16" y="87"/>
              </a:cxn>
              <a:cxn ang="0">
                <a:pos x="15" y="81"/>
              </a:cxn>
              <a:cxn ang="0">
                <a:pos x="14" y="74"/>
              </a:cxn>
              <a:cxn ang="0">
                <a:pos x="12" y="70"/>
              </a:cxn>
              <a:cxn ang="0">
                <a:pos x="11" y="65"/>
              </a:cxn>
              <a:cxn ang="0">
                <a:pos x="12" y="59"/>
              </a:cxn>
              <a:cxn ang="0">
                <a:pos x="11" y="54"/>
              </a:cxn>
              <a:cxn ang="0">
                <a:pos x="10" y="49"/>
              </a:cxn>
              <a:cxn ang="0">
                <a:pos x="10" y="40"/>
              </a:cxn>
              <a:cxn ang="0">
                <a:pos x="6" y="35"/>
              </a:cxn>
              <a:cxn ang="0">
                <a:pos x="0" y="32"/>
              </a:cxn>
              <a:cxn ang="0">
                <a:pos x="0" y="29"/>
              </a:cxn>
              <a:cxn ang="0">
                <a:pos x="4" y="26"/>
              </a:cxn>
              <a:cxn ang="0">
                <a:pos x="7" y="22"/>
              </a:cxn>
              <a:cxn ang="0">
                <a:pos x="12" y="19"/>
              </a:cxn>
              <a:cxn ang="0">
                <a:pos x="11" y="18"/>
              </a:cxn>
              <a:cxn ang="0">
                <a:pos x="6" y="16"/>
              </a:cxn>
              <a:cxn ang="0">
                <a:pos x="3" y="11"/>
              </a:cxn>
              <a:cxn ang="0">
                <a:pos x="8" y="0"/>
              </a:cxn>
              <a:cxn ang="0">
                <a:pos x="12" y="5"/>
              </a:cxn>
              <a:cxn ang="0">
                <a:pos x="14" y="5"/>
              </a:cxn>
              <a:cxn ang="0">
                <a:pos x="16" y="2"/>
              </a:cxn>
              <a:cxn ang="0">
                <a:pos x="19" y="10"/>
              </a:cxn>
              <a:cxn ang="0">
                <a:pos x="23" y="10"/>
              </a:cxn>
              <a:cxn ang="0">
                <a:pos x="26" y="7"/>
              </a:cxn>
              <a:cxn ang="0">
                <a:pos x="28" y="18"/>
              </a:cxn>
              <a:cxn ang="0">
                <a:pos x="32" y="22"/>
              </a:cxn>
              <a:cxn ang="0">
                <a:pos x="46" y="22"/>
              </a:cxn>
              <a:cxn ang="0">
                <a:pos x="56" y="22"/>
              </a:cxn>
              <a:cxn ang="0">
                <a:pos x="67" y="26"/>
              </a:cxn>
              <a:cxn ang="0">
                <a:pos x="64" y="29"/>
              </a:cxn>
              <a:cxn ang="0">
                <a:pos x="59" y="37"/>
              </a:cxn>
              <a:cxn ang="0">
                <a:pos x="52" y="41"/>
              </a:cxn>
              <a:cxn ang="0">
                <a:pos x="48" y="46"/>
              </a:cxn>
              <a:cxn ang="0">
                <a:pos x="51" y="57"/>
              </a:cxn>
              <a:cxn ang="0">
                <a:pos x="55" y="60"/>
              </a:cxn>
              <a:cxn ang="0">
                <a:pos x="59" y="60"/>
              </a:cxn>
              <a:cxn ang="0">
                <a:pos x="63" y="49"/>
              </a:cxn>
              <a:cxn ang="0">
                <a:pos x="67" y="54"/>
              </a:cxn>
              <a:cxn ang="0">
                <a:pos x="70" y="62"/>
              </a:cxn>
              <a:cxn ang="0">
                <a:pos x="71" y="73"/>
              </a:cxn>
              <a:cxn ang="0">
                <a:pos x="72" y="84"/>
              </a:cxn>
              <a:cxn ang="0">
                <a:pos x="70" y="92"/>
              </a:cxn>
              <a:cxn ang="0">
                <a:pos x="67" y="95"/>
              </a:cxn>
            </a:cxnLst>
            <a:rect l="0" t="0" r="r" b="b"/>
            <a:pathLst>
              <a:path w="72" h="101">
                <a:moveTo>
                  <a:pt x="67" y="101"/>
                </a:moveTo>
                <a:lnTo>
                  <a:pt x="64" y="96"/>
                </a:lnTo>
                <a:lnTo>
                  <a:pt x="63" y="87"/>
                </a:lnTo>
                <a:lnTo>
                  <a:pt x="62" y="82"/>
                </a:lnTo>
                <a:lnTo>
                  <a:pt x="62" y="76"/>
                </a:lnTo>
                <a:lnTo>
                  <a:pt x="56" y="68"/>
                </a:lnTo>
                <a:lnTo>
                  <a:pt x="55" y="66"/>
                </a:lnTo>
                <a:lnTo>
                  <a:pt x="52" y="68"/>
                </a:lnTo>
                <a:lnTo>
                  <a:pt x="48" y="68"/>
                </a:lnTo>
                <a:lnTo>
                  <a:pt x="46" y="66"/>
                </a:lnTo>
                <a:lnTo>
                  <a:pt x="44" y="63"/>
                </a:lnTo>
                <a:lnTo>
                  <a:pt x="43" y="65"/>
                </a:lnTo>
                <a:lnTo>
                  <a:pt x="43" y="68"/>
                </a:lnTo>
                <a:lnTo>
                  <a:pt x="40" y="70"/>
                </a:lnTo>
                <a:lnTo>
                  <a:pt x="42" y="73"/>
                </a:lnTo>
                <a:lnTo>
                  <a:pt x="42" y="76"/>
                </a:lnTo>
                <a:lnTo>
                  <a:pt x="36" y="84"/>
                </a:lnTo>
                <a:lnTo>
                  <a:pt x="35" y="84"/>
                </a:lnTo>
                <a:lnTo>
                  <a:pt x="32" y="79"/>
                </a:lnTo>
                <a:lnTo>
                  <a:pt x="31" y="82"/>
                </a:lnTo>
                <a:lnTo>
                  <a:pt x="30" y="84"/>
                </a:lnTo>
                <a:lnTo>
                  <a:pt x="27" y="85"/>
                </a:lnTo>
                <a:lnTo>
                  <a:pt x="27" y="84"/>
                </a:lnTo>
                <a:lnTo>
                  <a:pt x="26" y="85"/>
                </a:lnTo>
                <a:lnTo>
                  <a:pt x="22" y="84"/>
                </a:lnTo>
                <a:lnTo>
                  <a:pt x="22" y="85"/>
                </a:lnTo>
                <a:lnTo>
                  <a:pt x="20" y="85"/>
                </a:lnTo>
                <a:lnTo>
                  <a:pt x="19" y="87"/>
                </a:lnTo>
                <a:lnTo>
                  <a:pt x="18" y="87"/>
                </a:lnTo>
                <a:lnTo>
                  <a:pt x="16" y="87"/>
                </a:lnTo>
                <a:lnTo>
                  <a:pt x="15" y="82"/>
                </a:lnTo>
                <a:lnTo>
                  <a:pt x="15" y="81"/>
                </a:lnTo>
                <a:lnTo>
                  <a:pt x="14" y="77"/>
                </a:lnTo>
                <a:lnTo>
                  <a:pt x="14" y="74"/>
                </a:lnTo>
                <a:lnTo>
                  <a:pt x="14" y="71"/>
                </a:lnTo>
                <a:lnTo>
                  <a:pt x="12" y="70"/>
                </a:lnTo>
                <a:lnTo>
                  <a:pt x="11" y="68"/>
                </a:lnTo>
                <a:lnTo>
                  <a:pt x="11" y="65"/>
                </a:lnTo>
                <a:lnTo>
                  <a:pt x="12" y="63"/>
                </a:lnTo>
                <a:lnTo>
                  <a:pt x="12" y="59"/>
                </a:lnTo>
                <a:lnTo>
                  <a:pt x="11" y="57"/>
                </a:lnTo>
                <a:lnTo>
                  <a:pt x="11" y="54"/>
                </a:lnTo>
                <a:lnTo>
                  <a:pt x="10" y="51"/>
                </a:lnTo>
                <a:lnTo>
                  <a:pt x="10" y="49"/>
                </a:lnTo>
                <a:lnTo>
                  <a:pt x="10" y="46"/>
                </a:lnTo>
                <a:lnTo>
                  <a:pt x="10" y="40"/>
                </a:lnTo>
                <a:lnTo>
                  <a:pt x="8" y="37"/>
                </a:lnTo>
                <a:lnTo>
                  <a:pt x="6" y="35"/>
                </a:lnTo>
                <a:lnTo>
                  <a:pt x="3" y="33"/>
                </a:lnTo>
                <a:lnTo>
                  <a:pt x="0" y="32"/>
                </a:lnTo>
                <a:lnTo>
                  <a:pt x="0" y="30"/>
                </a:lnTo>
                <a:lnTo>
                  <a:pt x="0" y="29"/>
                </a:lnTo>
                <a:lnTo>
                  <a:pt x="2" y="26"/>
                </a:lnTo>
                <a:lnTo>
                  <a:pt x="4" y="26"/>
                </a:lnTo>
                <a:lnTo>
                  <a:pt x="6" y="26"/>
                </a:lnTo>
                <a:lnTo>
                  <a:pt x="7" y="22"/>
                </a:lnTo>
                <a:lnTo>
                  <a:pt x="12" y="22"/>
                </a:lnTo>
                <a:lnTo>
                  <a:pt x="12" y="19"/>
                </a:lnTo>
                <a:lnTo>
                  <a:pt x="11" y="19"/>
                </a:lnTo>
                <a:lnTo>
                  <a:pt x="11" y="18"/>
                </a:lnTo>
                <a:lnTo>
                  <a:pt x="7" y="18"/>
                </a:lnTo>
                <a:lnTo>
                  <a:pt x="6" y="16"/>
                </a:lnTo>
                <a:lnTo>
                  <a:pt x="4" y="13"/>
                </a:lnTo>
                <a:lnTo>
                  <a:pt x="3" y="11"/>
                </a:lnTo>
                <a:lnTo>
                  <a:pt x="7" y="5"/>
                </a:lnTo>
                <a:lnTo>
                  <a:pt x="8" y="0"/>
                </a:lnTo>
                <a:lnTo>
                  <a:pt x="10" y="0"/>
                </a:lnTo>
                <a:lnTo>
                  <a:pt x="12" y="5"/>
                </a:lnTo>
                <a:lnTo>
                  <a:pt x="14" y="7"/>
                </a:lnTo>
                <a:lnTo>
                  <a:pt x="14" y="5"/>
                </a:lnTo>
                <a:lnTo>
                  <a:pt x="15" y="2"/>
                </a:lnTo>
                <a:lnTo>
                  <a:pt x="16" y="2"/>
                </a:lnTo>
                <a:lnTo>
                  <a:pt x="18" y="7"/>
                </a:lnTo>
                <a:lnTo>
                  <a:pt x="19" y="10"/>
                </a:lnTo>
                <a:lnTo>
                  <a:pt x="20" y="8"/>
                </a:lnTo>
                <a:lnTo>
                  <a:pt x="23" y="10"/>
                </a:lnTo>
                <a:lnTo>
                  <a:pt x="26" y="5"/>
                </a:lnTo>
                <a:lnTo>
                  <a:pt x="26" y="7"/>
                </a:lnTo>
                <a:lnTo>
                  <a:pt x="27" y="13"/>
                </a:lnTo>
                <a:lnTo>
                  <a:pt x="28" y="18"/>
                </a:lnTo>
                <a:lnTo>
                  <a:pt x="30" y="21"/>
                </a:lnTo>
                <a:lnTo>
                  <a:pt x="32" y="22"/>
                </a:lnTo>
                <a:lnTo>
                  <a:pt x="44" y="22"/>
                </a:lnTo>
                <a:lnTo>
                  <a:pt x="46" y="22"/>
                </a:lnTo>
                <a:lnTo>
                  <a:pt x="50" y="22"/>
                </a:lnTo>
                <a:lnTo>
                  <a:pt x="56" y="22"/>
                </a:lnTo>
                <a:lnTo>
                  <a:pt x="63" y="24"/>
                </a:lnTo>
                <a:lnTo>
                  <a:pt x="67" y="26"/>
                </a:lnTo>
                <a:lnTo>
                  <a:pt x="67" y="27"/>
                </a:lnTo>
                <a:lnTo>
                  <a:pt x="64" y="29"/>
                </a:lnTo>
                <a:lnTo>
                  <a:pt x="63" y="32"/>
                </a:lnTo>
                <a:lnTo>
                  <a:pt x="59" y="37"/>
                </a:lnTo>
                <a:lnTo>
                  <a:pt x="56" y="40"/>
                </a:lnTo>
                <a:lnTo>
                  <a:pt x="52" y="41"/>
                </a:lnTo>
                <a:lnTo>
                  <a:pt x="50" y="44"/>
                </a:lnTo>
                <a:lnTo>
                  <a:pt x="48" y="46"/>
                </a:lnTo>
                <a:lnTo>
                  <a:pt x="50" y="51"/>
                </a:lnTo>
                <a:lnTo>
                  <a:pt x="51" y="57"/>
                </a:lnTo>
                <a:lnTo>
                  <a:pt x="54" y="57"/>
                </a:lnTo>
                <a:lnTo>
                  <a:pt x="55" y="60"/>
                </a:lnTo>
                <a:lnTo>
                  <a:pt x="58" y="62"/>
                </a:lnTo>
                <a:lnTo>
                  <a:pt x="59" y="60"/>
                </a:lnTo>
                <a:lnTo>
                  <a:pt x="60" y="54"/>
                </a:lnTo>
                <a:lnTo>
                  <a:pt x="63" y="49"/>
                </a:lnTo>
                <a:lnTo>
                  <a:pt x="64" y="49"/>
                </a:lnTo>
                <a:lnTo>
                  <a:pt x="67" y="54"/>
                </a:lnTo>
                <a:lnTo>
                  <a:pt x="68" y="59"/>
                </a:lnTo>
                <a:lnTo>
                  <a:pt x="70" y="62"/>
                </a:lnTo>
                <a:lnTo>
                  <a:pt x="70" y="63"/>
                </a:lnTo>
                <a:lnTo>
                  <a:pt x="71" y="73"/>
                </a:lnTo>
                <a:lnTo>
                  <a:pt x="72" y="82"/>
                </a:lnTo>
                <a:lnTo>
                  <a:pt x="72" y="84"/>
                </a:lnTo>
                <a:lnTo>
                  <a:pt x="72" y="92"/>
                </a:lnTo>
                <a:lnTo>
                  <a:pt x="70" y="92"/>
                </a:lnTo>
                <a:lnTo>
                  <a:pt x="68" y="92"/>
                </a:lnTo>
                <a:lnTo>
                  <a:pt x="67" y="95"/>
                </a:lnTo>
                <a:lnTo>
                  <a:pt x="67" y="10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50" name="Freeform 47"/>
          <p:cNvSpPr>
            <a:spLocks/>
          </p:cNvSpPr>
          <p:nvPr/>
        </p:nvSpPr>
        <p:spPr bwMode="auto">
          <a:xfrm>
            <a:off x="5695862" y="3906148"/>
            <a:ext cx="85747" cy="216908"/>
          </a:xfrm>
          <a:custGeom>
            <a:avLst/>
            <a:gdLst/>
            <a:ahLst/>
            <a:cxnLst>
              <a:cxn ang="0">
                <a:pos x="40" y="10"/>
              </a:cxn>
              <a:cxn ang="0">
                <a:pos x="34" y="5"/>
              </a:cxn>
              <a:cxn ang="0">
                <a:pos x="32" y="0"/>
              </a:cxn>
              <a:cxn ang="0">
                <a:pos x="28" y="2"/>
              </a:cxn>
              <a:cxn ang="0">
                <a:pos x="25" y="5"/>
              </a:cxn>
              <a:cxn ang="0">
                <a:pos x="25" y="10"/>
              </a:cxn>
              <a:cxn ang="0">
                <a:pos x="25" y="10"/>
              </a:cxn>
              <a:cxn ang="0">
                <a:pos x="24" y="13"/>
              </a:cxn>
              <a:cxn ang="0">
                <a:pos x="20" y="17"/>
              </a:cxn>
              <a:cxn ang="0">
                <a:pos x="16" y="17"/>
              </a:cxn>
              <a:cxn ang="0">
                <a:pos x="12" y="17"/>
              </a:cxn>
              <a:cxn ang="0">
                <a:pos x="9" y="17"/>
              </a:cxn>
              <a:cxn ang="0">
                <a:pos x="6" y="21"/>
              </a:cxn>
              <a:cxn ang="0">
                <a:pos x="5" y="22"/>
              </a:cxn>
              <a:cxn ang="0">
                <a:pos x="4" y="24"/>
              </a:cxn>
              <a:cxn ang="0">
                <a:pos x="2" y="25"/>
              </a:cxn>
              <a:cxn ang="0">
                <a:pos x="1" y="28"/>
              </a:cxn>
              <a:cxn ang="0">
                <a:pos x="0" y="35"/>
              </a:cxn>
              <a:cxn ang="0">
                <a:pos x="1" y="38"/>
              </a:cxn>
              <a:cxn ang="0">
                <a:pos x="4" y="39"/>
              </a:cxn>
              <a:cxn ang="0">
                <a:pos x="9" y="46"/>
              </a:cxn>
              <a:cxn ang="0">
                <a:pos x="13" y="58"/>
              </a:cxn>
              <a:cxn ang="0">
                <a:pos x="14" y="63"/>
              </a:cxn>
              <a:cxn ang="0">
                <a:pos x="16" y="69"/>
              </a:cxn>
              <a:cxn ang="0">
                <a:pos x="16" y="93"/>
              </a:cxn>
              <a:cxn ang="0">
                <a:pos x="14" y="104"/>
              </a:cxn>
              <a:cxn ang="0">
                <a:pos x="17" y="110"/>
              </a:cxn>
              <a:cxn ang="0">
                <a:pos x="30" y="109"/>
              </a:cxn>
              <a:cxn ang="0">
                <a:pos x="29" y="96"/>
              </a:cxn>
              <a:cxn ang="0">
                <a:pos x="30" y="87"/>
              </a:cxn>
              <a:cxn ang="0">
                <a:pos x="30" y="71"/>
              </a:cxn>
              <a:cxn ang="0">
                <a:pos x="36" y="60"/>
              </a:cxn>
              <a:cxn ang="0">
                <a:pos x="36" y="52"/>
              </a:cxn>
              <a:cxn ang="0">
                <a:pos x="42" y="46"/>
              </a:cxn>
              <a:cxn ang="0">
                <a:pos x="43" y="43"/>
              </a:cxn>
              <a:cxn ang="0">
                <a:pos x="42" y="39"/>
              </a:cxn>
              <a:cxn ang="0">
                <a:pos x="42" y="36"/>
              </a:cxn>
              <a:cxn ang="0">
                <a:pos x="45" y="36"/>
              </a:cxn>
              <a:cxn ang="0">
                <a:pos x="45" y="28"/>
              </a:cxn>
              <a:cxn ang="0">
                <a:pos x="43" y="22"/>
              </a:cxn>
              <a:cxn ang="0">
                <a:pos x="41" y="14"/>
              </a:cxn>
            </a:cxnLst>
            <a:rect l="0" t="0" r="r" b="b"/>
            <a:pathLst>
              <a:path w="45" h="110">
                <a:moveTo>
                  <a:pt x="42" y="13"/>
                </a:moveTo>
                <a:lnTo>
                  <a:pt x="40" y="10"/>
                </a:lnTo>
                <a:lnTo>
                  <a:pt x="38" y="10"/>
                </a:lnTo>
                <a:lnTo>
                  <a:pt x="34" y="5"/>
                </a:lnTo>
                <a:lnTo>
                  <a:pt x="32" y="2"/>
                </a:lnTo>
                <a:lnTo>
                  <a:pt x="32" y="0"/>
                </a:lnTo>
                <a:lnTo>
                  <a:pt x="29" y="2"/>
                </a:lnTo>
                <a:lnTo>
                  <a:pt x="28" y="2"/>
                </a:lnTo>
                <a:lnTo>
                  <a:pt x="25" y="3"/>
                </a:lnTo>
                <a:lnTo>
                  <a:pt x="25" y="5"/>
                </a:lnTo>
                <a:lnTo>
                  <a:pt x="26" y="8"/>
                </a:lnTo>
                <a:lnTo>
                  <a:pt x="25" y="10"/>
                </a:lnTo>
                <a:lnTo>
                  <a:pt x="25" y="8"/>
                </a:lnTo>
                <a:lnTo>
                  <a:pt x="25" y="10"/>
                </a:lnTo>
                <a:lnTo>
                  <a:pt x="24" y="11"/>
                </a:lnTo>
                <a:lnTo>
                  <a:pt x="24" y="13"/>
                </a:lnTo>
                <a:lnTo>
                  <a:pt x="22" y="13"/>
                </a:lnTo>
                <a:lnTo>
                  <a:pt x="20" y="17"/>
                </a:lnTo>
                <a:lnTo>
                  <a:pt x="18" y="17"/>
                </a:lnTo>
                <a:lnTo>
                  <a:pt x="16" y="17"/>
                </a:lnTo>
                <a:lnTo>
                  <a:pt x="14" y="17"/>
                </a:lnTo>
                <a:lnTo>
                  <a:pt x="12" y="17"/>
                </a:lnTo>
                <a:lnTo>
                  <a:pt x="10" y="17"/>
                </a:lnTo>
                <a:lnTo>
                  <a:pt x="9" y="17"/>
                </a:lnTo>
                <a:lnTo>
                  <a:pt x="8" y="21"/>
                </a:lnTo>
                <a:lnTo>
                  <a:pt x="6" y="21"/>
                </a:lnTo>
                <a:lnTo>
                  <a:pt x="5" y="21"/>
                </a:lnTo>
                <a:lnTo>
                  <a:pt x="5" y="22"/>
                </a:lnTo>
                <a:lnTo>
                  <a:pt x="4" y="22"/>
                </a:lnTo>
                <a:lnTo>
                  <a:pt x="4" y="24"/>
                </a:lnTo>
                <a:lnTo>
                  <a:pt x="2" y="24"/>
                </a:lnTo>
                <a:lnTo>
                  <a:pt x="2" y="25"/>
                </a:lnTo>
                <a:lnTo>
                  <a:pt x="1" y="27"/>
                </a:lnTo>
                <a:lnTo>
                  <a:pt x="1" y="28"/>
                </a:lnTo>
                <a:lnTo>
                  <a:pt x="0" y="32"/>
                </a:lnTo>
                <a:lnTo>
                  <a:pt x="0" y="35"/>
                </a:lnTo>
                <a:lnTo>
                  <a:pt x="0" y="38"/>
                </a:lnTo>
                <a:lnTo>
                  <a:pt x="1" y="38"/>
                </a:lnTo>
                <a:lnTo>
                  <a:pt x="2" y="39"/>
                </a:lnTo>
                <a:lnTo>
                  <a:pt x="4" y="39"/>
                </a:lnTo>
                <a:lnTo>
                  <a:pt x="5" y="41"/>
                </a:lnTo>
                <a:lnTo>
                  <a:pt x="9" y="46"/>
                </a:lnTo>
                <a:lnTo>
                  <a:pt x="10" y="52"/>
                </a:lnTo>
                <a:lnTo>
                  <a:pt x="13" y="58"/>
                </a:lnTo>
                <a:lnTo>
                  <a:pt x="13" y="61"/>
                </a:lnTo>
                <a:lnTo>
                  <a:pt x="14" y="63"/>
                </a:lnTo>
                <a:lnTo>
                  <a:pt x="14" y="66"/>
                </a:lnTo>
                <a:lnTo>
                  <a:pt x="16" y="69"/>
                </a:lnTo>
                <a:lnTo>
                  <a:pt x="16" y="76"/>
                </a:lnTo>
                <a:lnTo>
                  <a:pt x="16" y="93"/>
                </a:lnTo>
                <a:lnTo>
                  <a:pt x="14" y="101"/>
                </a:lnTo>
                <a:lnTo>
                  <a:pt x="14" y="104"/>
                </a:lnTo>
                <a:lnTo>
                  <a:pt x="16" y="107"/>
                </a:lnTo>
                <a:lnTo>
                  <a:pt x="17" y="110"/>
                </a:lnTo>
                <a:lnTo>
                  <a:pt x="18" y="110"/>
                </a:lnTo>
                <a:lnTo>
                  <a:pt x="30" y="109"/>
                </a:lnTo>
                <a:lnTo>
                  <a:pt x="29" y="109"/>
                </a:lnTo>
                <a:lnTo>
                  <a:pt x="29" y="96"/>
                </a:lnTo>
                <a:lnTo>
                  <a:pt x="29" y="93"/>
                </a:lnTo>
                <a:lnTo>
                  <a:pt x="30" y="87"/>
                </a:lnTo>
                <a:lnTo>
                  <a:pt x="30" y="76"/>
                </a:lnTo>
                <a:lnTo>
                  <a:pt x="30" y="71"/>
                </a:lnTo>
                <a:lnTo>
                  <a:pt x="32" y="66"/>
                </a:lnTo>
                <a:lnTo>
                  <a:pt x="36" y="60"/>
                </a:lnTo>
                <a:lnTo>
                  <a:pt x="36" y="55"/>
                </a:lnTo>
                <a:lnTo>
                  <a:pt x="36" y="52"/>
                </a:lnTo>
                <a:lnTo>
                  <a:pt x="38" y="49"/>
                </a:lnTo>
                <a:lnTo>
                  <a:pt x="42" y="46"/>
                </a:lnTo>
                <a:lnTo>
                  <a:pt x="42" y="43"/>
                </a:lnTo>
                <a:lnTo>
                  <a:pt x="43" y="43"/>
                </a:lnTo>
                <a:lnTo>
                  <a:pt x="43" y="41"/>
                </a:lnTo>
                <a:lnTo>
                  <a:pt x="42" y="39"/>
                </a:lnTo>
                <a:lnTo>
                  <a:pt x="42" y="38"/>
                </a:lnTo>
                <a:lnTo>
                  <a:pt x="42" y="36"/>
                </a:lnTo>
                <a:lnTo>
                  <a:pt x="43" y="36"/>
                </a:lnTo>
                <a:lnTo>
                  <a:pt x="45" y="36"/>
                </a:lnTo>
                <a:lnTo>
                  <a:pt x="45" y="35"/>
                </a:lnTo>
                <a:lnTo>
                  <a:pt x="45" y="28"/>
                </a:lnTo>
                <a:lnTo>
                  <a:pt x="45" y="25"/>
                </a:lnTo>
                <a:lnTo>
                  <a:pt x="43" y="22"/>
                </a:lnTo>
                <a:lnTo>
                  <a:pt x="41" y="19"/>
                </a:lnTo>
                <a:lnTo>
                  <a:pt x="41" y="14"/>
                </a:lnTo>
                <a:lnTo>
                  <a:pt x="42" y="1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51" name="Freeform 48"/>
          <p:cNvSpPr>
            <a:spLocks/>
          </p:cNvSpPr>
          <p:nvPr/>
        </p:nvSpPr>
        <p:spPr bwMode="auto">
          <a:xfrm>
            <a:off x="5695862" y="3906148"/>
            <a:ext cx="85747" cy="216908"/>
          </a:xfrm>
          <a:custGeom>
            <a:avLst/>
            <a:gdLst/>
            <a:ahLst/>
            <a:cxnLst>
              <a:cxn ang="0">
                <a:pos x="40" y="10"/>
              </a:cxn>
              <a:cxn ang="0">
                <a:pos x="34" y="5"/>
              </a:cxn>
              <a:cxn ang="0">
                <a:pos x="32" y="0"/>
              </a:cxn>
              <a:cxn ang="0">
                <a:pos x="28" y="2"/>
              </a:cxn>
              <a:cxn ang="0">
                <a:pos x="25" y="5"/>
              </a:cxn>
              <a:cxn ang="0">
                <a:pos x="25" y="10"/>
              </a:cxn>
              <a:cxn ang="0">
                <a:pos x="25" y="10"/>
              </a:cxn>
              <a:cxn ang="0">
                <a:pos x="24" y="13"/>
              </a:cxn>
              <a:cxn ang="0">
                <a:pos x="20" y="17"/>
              </a:cxn>
              <a:cxn ang="0">
                <a:pos x="16" y="17"/>
              </a:cxn>
              <a:cxn ang="0">
                <a:pos x="12" y="17"/>
              </a:cxn>
              <a:cxn ang="0">
                <a:pos x="9" y="17"/>
              </a:cxn>
              <a:cxn ang="0">
                <a:pos x="6" y="21"/>
              </a:cxn>
              <a:cxn ang="0">
                <a:pos x="5" y="22"/>
              </a:cxn>
              <a:cxn ang="0">
                <a:pos x="4" y="24"/>
              </a:cxn>
              <a:cxn ang="0">
                <a:pos x="2" y="25"/>
              </a:cxn>
              <a:cxn ang="0">
                <a:pos x="1" y="28"/>
              </a:cxn>
              <a:cxn ang="0">
                <a:pos x="0" y="35"/>
              </a:cxn>
              <a:cxn ang="0">
                <a:pos x="1" y="38"/>
              </a:cxn>
              <a:cxn ang="0">
                <a:pos x="4" y="39"/>
              </a:cxn>
              <a:cxn ang="0">
                <a:pos x="9" y="46"/>
              </a:cxn>
              <a:cxn ang="0">
                <a:pos x="13" y="58"/>
              </a:cxn>
              <a:cxn ang="0">
                <a:pos x="14" y="63"/>
              </a:cxn>
              <a:cxn ang="0">
                <a:pos x="16" y="69"/>
              </a:cxn>
              <a:cxn ang="0">
                <a:pos x="16" y="93"/>
              </a:cxn>
              <a:cxn ang="0">
                <a:pos x="14" y="104"/>
              </a:cxn>
              <a:cxn ang="0">
                <a:pos x="17" y="110"/>
              </a:cxn>
              <a:cxn ang="0">
                <a:pos x="30" y="109"/>
              </a:cxn>
              <a:cxn ang="0">
                <a:pos x="29" y="96"/>
              </a:cxn>
              <a:cxn ang="0">
                <a:pos x="30" y="87"/>
              </a:cxn>
              <a:cxn ang="0">
                <a:pos x="30" y="71"/>
              </a:cxn>
              <a:cxn ang="0">
                <a:pos x="36" y="60"/>
              </a:cxn>
              <a:cxn ang="0">
                <a:pos x="36" y="52"/>
              </a:cxn>
              <a:cxn ang="0">
                <a:pos x="42" y="46"/>
              </a:cxn>
              <a:cxn ang="0">
                <a:pos x="43" y="43"/>
              </a:cxn>
              <a:cxn ang="0">
                <a:pos x="42" y="39"/>
              </a:cxn>
              <a:cxn ang="0">
                <a:pos x="42" y="36"/>
              </a:cxn>
              <a:cxn ang="0">
                <a:pos x="45" y="36"/>
              </a:cxn>
              <a:cxn ang="0">
                <a:pos x="45" y="28"/>
              </a:cxn>
              <a:cxn ang="0">
                <a:pos x="43" y="22"/>
              </a:cxn>
              <a:cxn ang="0">
                <a:pos x="41" y="14"/>
              </a:cxn>
            </a:cxnLst>
            <a:rect l="0" t="0" r="r" b="b"/>
            <a:pathLst>
              <a:path w="45" h="110">
                <a:moveTo>
                  <a:pt x="42" y="13"/>
                </a:moveTo>
                <a:lnTo>
                  <a:pt x="40" y="10"/>
                </a:lnTo>
                <a:lnTo>
                  <a:pt x="38" y="10"/>
                </a:lnTo>
                <a:lnTo>
                  <a:pt x="34" y="5"/>
                </a:lnTo>
                <a:lnTo>
                  <a:pt x="32" y="2"/>
                </a:lnTo>
                <a:lnTo>
                  <a:pt x="32" y="0"/>
                </a:lnTo>
                <a:lnTo>
                  <a:pt x="29" y="2"/>
                </a:lnTo>
                <a:lnTo>
                  <a:pt x="28" y="2"/>
                </a:lnTo>
                <a:lnTo>
                  <a:pt x="25" y="3"/>
                </a:lnTo>
                <a:lnTo>
                  <a:pt x="25" y="5"/>
                </a:lnTo>
                <a:lnTo>
                  <a:pt x="26" y="8"/>
                </a:lnTo>
                <a:lnTo>
                  <a:pt x="25" y="10"/>
                </a:lnTo>
                <a:lnTo>
                  <a:pt x="25" y="8"/>
                </a:lnTo>
                <a:lnTo>
                  <a:pt x="25" y="10"/>
                </a:lnTo>
                <a:lnTo>
                  <a:pt x="24" y="11"/>
                </a:lnTo>
                <a:lnTo>
                  <a:pt x="24" y="13"/>
                </a:lnTo>
                <a:lnTo>
                  <a:pt x="22" y="13"/>
                </a:lnTo>
                <a:lnTo>
                  <a:pt x="20" y="17"/>
                </a:lnTo>
                <a:lnTo>
                  <a:pt x="18" y="17"/>
                </a:lnTo>
                <a:lnTo>
                  <a:pt x="16" y="17"/>
                </a:lnTo>
                <a:lnTo>
                  <a:pt x="14" y="17"/>
                </a:lnTo>
                <a:lnTo>
                  <a:pt x="12" y="17"/>
                </a:lnTo>
                <a:lnTo>
                  <a:pt x="10" y="17"/>
                </a:lnTo>
                <a:lnTo>
                  <a:pt x="9" y="17"/>
                </a:lnTo>
                <a:lnTo>
                  <a:pt x="8" y="21"/>
                </a:lnTo>
                <a:lnTo>
                  <a:pt x="6" y="21"/>
                </a:lnTo>
                <a:lnTo>
                  <a:pt x="5" y="21"/>
                </a:lnTo>
                <a:lnTo>
                  <a:pt x="5" y="22"/>
                </a:lnTo>
                <a:lnTo>
                  <a:pt x="4" y="22"/>
                </a:lnTo>
                <a:lnTo>
                  <a:pt x="4" y="24"/>
                </a:lnTo>
                <a:lnTo>
                  <a:pt x="2" y="24"/>
                </a:lnTo>
                <a:lnTo>
                  <a:pt x="2" y="25"/>
                </a:lnTo>
                <a:lnTo>
                  <a:pt x="1" y="27"/>
                </a:lnTo>
                <a:lnTo>
                  <a:pt x="1" y="28"/>
                </a:lnTo>
                <a:lnTo>
                  <a:pt x="0" y="32"/>
                </a:lnTo>
                <a:lnTo>
                  <a:pt x="0" y="35"/>
                </a:lnTo>
                <a:lnTo>
                  <a:pt x="0" y="38"/>
                </a:lnTo>
                <a:lnTo>
                  <a:pt x="1" y="38"/>
                </a:lnTo>
                <a:lnTo>
                  <a:pt x="2" y="39"/>
                </a:lnTo>
                <a:lnTo>
                  <a:pt x="4" y="39"/>
                </a:lnTo>
                <a:lnTo>
                  <a:pt x="5" y="41"/>
                </a:lnTo>
                <a:lnTo>
                  <a:pt x="9" y="46"/>
                </a:lnTo>
                <a:lnTo>
                  <a:pt x="10" y="52"/>
                </a:lnTo>
                <a:lnTo>
                  <a:pt x="13" y="58"/>
                </a:lnTo>
                <a:lnTo>
                  <a:pt x="13" y="61"/>
                </a:lnTo>
                <a:lnTo>
                  <a:pt x="14" y="63"/>
                </a:lnTo>
                <a:lnTo>
                  <a:pt x="14" y="66"/>
                </a:lnTo>
                <a:lnTo>
                  <a:pt x="16" y="69"/>
                </a:lnTo>
                <a:lnTo>
                  <a:pt x="16" y="76"/>
                </a:lnTo>
                <a:lnTo>
                  <a:pt x="16" y="93"/>
                </a:lnTo>
                <a:lnTo>
                  <a:pt x="14" y="101"/>
                </a:lnTo>
                <a:lnTo>
                  <a:pt x="14" y="104"/>
                </a:lnTo>
                <a:lnTo>
                  <a:pt x="16" y="107"/>
                </a:lnTo>
                <a:lnTo>
                  <a:pt x="17" y="110"/>
                </a:lnTo>
                <a:lnTo>
                  <a:pt x="18" y="110"/>
                </a:lnTo>
                <a:lnTo>
                  <a:pt x="30" y="109"/>
                </a:lnTo>
                <a:lnTo>
                  <a:pt x="29" y="109"/>
                </a:lnTo>
                <a:lnTo>
                  <a:pt x="29" y="96"/>
                </a:lnTo>
                <a:lnTo>
                  <a:pt x="29" y="93"/>
                </a:lnTo>
                <a:lnTo>
                  <a:pt x="30" y="87"/>
                </a:lnTo>
                <a:lnTo>
                  <a:pt x="30" y="76"/>
                </a:lnTo>
                <a:lnTo>
                  <a:pt x="30" y="71"/>
                </a:lnTo>
                <a:lnTo>
                  <a:pt x="32" y="66"/>
                </a:lnTo>
                <a:lnTo>
                  <a:pt x="36" y="60"/>
                </a:lnTo>
                <a:lnTo>
                  <a:pt x="36" y="55"/>
                </a:lnTo>
                <a:lnTo>
                  <a:pt x="36" y="52"/>
                </a:lnTo>
                <a:lnTo>
                  <a:pt x="38" y="49"/>
                </a:lnTo>
                <a:lnTo>
                  <a:pt x="42" y="46"/>
                </a:lnTo>
                <a:lnTo>
                  <a:pt x="42" y="43"/>
                </a:lnTo>
                <a:lnTo>
                  <a:pt x="43" y="43"/>
                </a:lnTo>
                <a:lnTo>
                  <a:pt x="43" y="41"/>
                </a:lnTo>
                <a:lnTo>
                  <a:pt x="42" y="39"/>
                </a:lnTo>
                <a:lnTo>
                  <a:pt x="42" y="38"/>
                </a:lnTo>
                <a:lnTo>
                  <a:pt x="42" y="36"/>
                </a:lnTo>
                <a:lnTo>
                  <a:pt x="43" y="36"/>
                </a:lnTo>
                <a:lnTo>
                  <a:pt x="45" y="36"/>
                </a:lnTo>
                <a:lnTo>
                  <a:pt x="45" y="35"/>
                </a:lnTo>
                <a:lnTo>
                  <a:pt x="45" y="28"/>
                </a:lnTo>
                <a:lnTo>
                  <a:pt x="45" y="25"/>
                </a:lnTo>
                <a:lnTo>
                  <a:pt x="43" y="22"/>
                </a:lnTo>
                <a:lnTo>
                  <a:pt x="41" y="19"/>
                </a:lnTo>
                <a:lnTo>
                  <a:pt x="41" y="14"/>
                </a:lnTo>
                <a:lnTo>
                  <a:pt x="42" y="13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52" name="Freeform 49"/>
          <p:cNvSpPr>
            <a:spLocks/>
          </p:cNvSpPr>
          <p:nvPr/>
        </p:nvSpPr>
        <p:spPr bwMode="auto">
          <a:xfrm>
            <a:off x="5925823" y="4264798"/>
            <a:ext cx="157854" cy="219056"/>
          </a:xfrm>
          <a:custGeom>
            <a:avLst/>
            <a:gdLst/>
            <a:ahLst/>
            <a:cxnLst>
              <a:cxn ang="0">
                <a:pos x="33" y="107"/>
              </a:cxn>
              <a:cxn ang="0">
                <a:pos x="26" y="99"/>
              </a:cxn>
              <a:cxn ang="0">
                <a:pos x="14" y="85"/>
              </a:cxn>
              <a:cxn ang="0">
                <a:pos x="9" y="77"/>
              </a:cxn>
              <a:cxn ang="0">
                <a:pos x="4" y="67"/>
              </a:cxn>
              <a:cxn ang="0">
                <a:pos x="1" y="58"/>
              </a:cxn>
              <a:cxn ang="0">
                <a:pos x="2" y="53"/>
              </a:cxn>
              <a:cxn ang="0">
                <a:pos x="6" y="48"/>
              </a:cxn>
              <a:cxn ang="0">
                <a:pos x="6" y="36"/>
              </a:cxn>
              <a:cxn ang="0">
                <a:pos x="9" y="37"/>
              </a:cxn>
              <a:cxn ang="0">
                <a:pos x="14" y="39"/>
              </a:cxn>
              <a:cxn ang="0">
                <a:pos x="14" y="37"/>
              </a:cxn>
              <a:cxn ang="0">
                <a:pos x="10" y="36"/>
              </a:cxn>
              <a:cxn ang="0">
                <a:pos x="8" y="31"/>
              </a:cxn>
              <a:cxn ang="0">
                <a:pos x="10" y="30"/>
              </a:cxn>
              <a:cxn ang="0">
                <a:pos x="10" y="23"/>
              </a:cxn>
              <a:cxn ang="0">
                <a:pos x="37" y="20"/>
              </a:cxn>
              <a:cxn ang="0">
                <a:pos x="35" y="6"/>
              </a:cxn>
              <a:cxn ang="0">
                <a:pos x="41" y="0"/>
              </a:cxn>
              <a:cxn ang="0">
                <a:pos x="50" y="0"/>
              </a:cxn>
              <a:cxn ang="0">
                <a:pos x="63" y="1"/>
              </a:cxn>
              <a:cxn ang="0">
                <a:pos x="65" y="6"/>
              </a:cxn>
              <a:cxn ang="0">
                <a:pos x="65" y="19"/>
              </a:cxn>
              <a:cxn ang="0">
                <a:pos x="71" y="12"/>
              </a:cxn>
              <a:cxn ang="0">
                <a:pos x="82" y="19"/>
              </a:cxn>
              <a:cxn ang="0">
                <a:pos x="78" y="36"/>
              </a:cxn>
              <a:cxn ang="0">
                <a:pos x="78" y="45"/>
              </a:cxn>
              <a:cxn ang="0">
                <a:pos x="81" y="59"/>
              </a:cxn>
              <a:cxn ang="0">
                <a:pos x="79" y="77"/>
              </a:cxn>
              <a:cxn ang="0">
                <a:pos x="74" y="85"/>
              </a:cxn>
              <a:cxn ang="0">
                <a:pos x="62" y="80"/>
              </a:cxn>
              <a:cxn ang="0">
                <a:pos x="57" y="74"/>
              </a:cxn>
              <a:cxn ang="0">
                <a:pos x="51" y="80"/>
              </a:cxn>
              <a:cxn ang="0">
                <a:pos x="42" y="86"/>
              </a:cxn>
              <a:cxn ang="0">
                <a:pos x="41" y="92"/>
              </a:cxn>
              <a:cxn ang="0">
                <a:pos x="43" y="102"/>
              </a:cxn>
              <a:cxn ang="0">
                <a:pos x="39" y="103"/>
              </a:cxn>
              <a:cxn ang="0">
                <a:pos x="34" y="107"/>
              </a:cxn>
            </a:cxnLst>
            <a:rect l="0" t="0" r="r" b="b"/>
            <a:pathLst>
              <a:path w="82" h="111">
                <a:moveTo>
                  <a:pt x="34" y="111"/>
                </a:moveTo>
                <a:lnTo>
                  <a:pt x="33" y="107"/>
                </a:lnTo>
                <a:lnTo>
                  <a:pt x="29" y="103"/>
                </a:lnTo>
                <a:lnTo>
                  <a:pt x="26" y="99"/>
                </a:lnTo>
                <a:lnTo>
                  <a:pt x="16" y="89"/>
                </a:lnTo>
                <a:lnTo>
                  <a:pt x="14" y="85"/>
                </a:lnTo>
                <a:lnTo>
                  <a:pt x="12" y="81"/>
                </a:lnTo>
                <a:lnTo>
                  <a:pt x="9" y="77"/>
                </a:lnTo>
                <a:lnTo>
                  <a:pt x="6" y="75"/>
                </a:lnTo>
                <a:lnTo>
                  <a:pt x="4" y="67"/>
                </a:lnTo>
                <a:lnTo>
                  <a:pt x="2" y="63"/>
                </a:lnTo>
                <a:lnTo>
                  <a:pt x="1" y="58"/>
                </a:lnTo>
                <a:lnTo>
                  <a:pt x="0" y="55"/>
                </a:lnTo>
                <a:lnTo>
                  <a:pt x="2" y="53"/>
                </a:lnTo>
                <a:lnTo>
                  <a:pt x="4" y="50"/>
                </a:lnTo>
                <a:lnTo>
                  <a:pt x="6" y="48"/>
                </a:lnTo>
                <a:lnTo>
                  <a:pt x="6" y="44"/>
                </a:lnTo>
                <a:lnTo>
                  <a:pt x="6" y="36"/>
                </a:lnTo>
                <a:lnTo>
                  <a:pt x="8" y="36"/>
                </a:lnTo>
                <a:lnTo>
                  <a:pt x="9" y="37"/>
                </a:lnTo>
                <a:lnTo>
                  <a:pt x="12" y="39"/>
                </a:lnTo>
                <a:lnTo>
                  <a:pt x="14" y="39"/>
                </a:lnTo>
                <a:lnTo>
                  <a:pt x="16" y="39"/>
                </a:lnTo>
                <a:lnTo>
                  <a:pt x="14" y="37"/>
                </a:lnTo>
                <a:lnTo>
                  <a:pt x="12" y="37"/>
                </a:lnTo>
                <a:lnTo>
                  <a:pt x="10" y="36"/>
                </a:lnTo>
                <a:lnTo>
                  <a:pt x="9" y="34"/>
                </a:lnTo>
                <a:lnTo>
                  <a:pt x="8" y="31"/>
                </a:lnTo>
                <a:lnTo>
                  <a:pt x="8" y="30"/>
                </a:lnTo>
                <a:lnTo>
                  <a:pt x="10" y="30"/>
                </a:lnTo>
                <a:lnTo>
                  <a:pt x="10" y="28"/>
                </a:lnTo>
                <a:lnTo>
                  <a:pt x="10" y="23"/>
                </a:lnTo>
                <a:lnTo>
                  <a:pt x="17" y="22"/>
                </a:lnTo>
                <a:lnTo>
                  <a:pt x="37" y="20"/>
                </a:lnTo>
                <a:lnTo>
                  <a:pt x="35" y="14"/>
                </a:lnTo>
                <a:lnTo>
                  <a:pt x="35" y="6"/>
                </a:lnTo>
                <a:lnTo>
                  <a:pt x="37" y="1"/>
                </a:lnTo>
                <a:lnTo>
                  <a:pt x="41" y="0"/>
                </a:lnTo>
                <a:lnTo>
                  <a:pt x="45" y="1"/>
                </a:lnTo>
                <a:lnTo>
                  <a:pt x="50" y="0"/>
                </a:lnTo>
                <a:lnTo>
                  <a:pt x="54" y="1"/>
                </a:lnTo>
                <a:lnTo>
                  <a:pt x="63" y="1"/>
                </a:lnTo>
                <a:lnTo>
                  <a:pt x="66" y="1"/>
                </a:lnTo>
                <a:lnTo>
                  <a:pt x="65" y="6"/>
                </a:lnTo>
                <a:lnTo>
                  <a:pt x="65" y="12"/>
                </a:lnTo>
                <a:lnTo>
                  <a:pt x="65" y="19"/>
                </a:lnTo>
                <a:lnTo>
                  <a:pt x="67" y="20"/>
                </a:lnTo>
                <a:lnTo>
                  <a:pt x="71" y="12"/>
                </a:lnTo>
                <a:lnTo>
                  <a:pt x="79" y="15"/>
                </a:lnTo>
                <a:lnTo>
                  <a:pt x="82" y="19"/>
                </a:lnTo>
                <a:lnTo>
                  <a:pt x="82" y="26"/>
                </a:lnTo>
                <a:lnTo>
                  <a:pt x="78" y="36"/>
                </a:lnTo>
                <a:lnTo>
                  <a:pt x="77" y="41"/>
                </a:lnTo>
                <a:lnTo>
                  <a:pt x="78" y="45"/>
                </a:lnTo>
                <a:lnTo>
                  <a:pt x="82" y="55"/>
                </a:lnTo>
                <a:lnTo>
                  <a:pt x="81" y="59"/>
                </a:lnTo>
                <a:lnTo>
                  <a:pt x="81" y="64"/>
                </a:lnTo>
                <a:lnTo>
                  <a:pt x="79" y="77"/>
                </a:lnTo>
                <a:lnTo>
                  <a:pt x="78" y="81"/>
                </a:lnTo>
                <a:lnTo>
                  <a:pt x="74" y="85"/>
                </a:lnTo>
                <a:lnTo>
                  <a:pt x="69" y="78"/>
                </a:lnTo>
                <a:lnTo>
                  <a:pt x="62" y="80"/>
                </a:lnTo>
                <a:lnTo>
                  <a:pt x="59" y="75"/>
                </a:lnTo>
                <a:lnTo>
                  <a:pt x="57" y="74"/>
                </a:lnTo>
                <a:lnTo>
                  <a:pt x="54" y="77"/>
                </a:lnTo>
                <a:lnTo>
                  <a:pt x="51" y="80"/>
                </a:lnTo>
                <a:lnTo>
                  <a:pt x="46" y="83"/>
                </a:lnTo>
                <a:lnTo>
                  <a:pt x="42" y="86"/>
                </a:lnTo>
                <a:lnTo>
                  <a:pt x="41" y="89"/>
                </a:lnTo>
                <a:lnTo>
                  <a:pt x="41" y="92"/>
                </a:lnTo>
                <a:lnTo>
                  <a:pt x="42" y="97"/>
                </a:lnTo>
                <a:lnTo>
                  <a:pt x="43" y="102"/>
                </a:lnTo>
                <a:lnTo>
                  <a:pt x="42" y="103"/>
                </a:lnTo>
                <a:lnTo>
                  <a:pt x="39" y="103"/>
                </a:lnTo>
                <a:lnTo>
                  <a:pt x="37" y="103"/>
                </a:lnTo>
                <a:lnTo>
                  <a:pt x="34" y="107"/>
                </a:lnTo>
                <a:lnTo>
                  <a:pt x="34" y="11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53" name="Freeform 50"/>
          <p:cNvSpPr>
            <a:spLocks/>
          </p:cNvSpPr>
          <p:nvPr/>
        </p:nvSpPr>
        <p:spPr bwMode="auto">
          <a:xfrm>
            <a:off x="5925823" y="4264798"/>
            <a:ext cx="157854" cy="219056"/>
          </a:xfrm>
          <a:custGeom>
            <a:avLst/>
            <a:gdLst/>
            <a:ahLst/>
            <a:cxnLst>
              <a:cxn ang="0">
                <a:pos x="33" y="107"/>
              </a:cxn>
              <a:cxn ang="0">
                <a:pos x="26" y="99"/>
              </a:cxn>
              <a:cxn ang="0">
                <a:pos x="14" y="85"/>
              </a:cxn>
              <a:cxn ang="0">
                <a:pos x="9" y="77"/>
              </a:cxn>
              <a:cxn ang="0">
                <a:pos x="4" y="67"/>
              </a:cxn>
              <a:cxn ang="0">
                <a:pos x="1" y="58"/>
              </a:cxn>
              <a:cxn ang="0">
                <a:pos x="2" y="53"/>
              </a:cxn>
              <a:cxn ang="0">
                <a:pos x="6" y="48"/>
              </a:cxn>
              <a:cxn ang="0">
                <a:pos x="6" y="36"/>
              </a:cxn>
              <a:cxn ang="0">
                <a:pos x="9" y="37"/>
              </a:cxn>
              <a:cxn ang="0">
                <a:pos x="14" y="39"/>
              </a:cxn>
              <a:cxn ang="0">
                <a:pos x="14" y="37"/>
              </a:cxn>
              <a:cxn ang="0">
                <a:pos x="10" y="36"/>
              </a:cxn>
              <a:cxn ang="0">
                <a:pos x="8" y="31"/>
              </a:cxn>
              <a:cxn ang="0">
                <a:pos x="10" y="30"/>
              </a:cxn>
              <a:cxn ang="0">
                <a:pos x="10" y="23"/>
              </a:cxn>
              <a:cxn ang="0">
                <a:pos x="37" y="20"/>
              </a:cxn>
              <a:cxn ang="0">
                <a:pos x="35" y="6"/>
              </a:cxn>
              <a:cxn ang="0">
                <a:pos x="41" y="0"/>
              </a:cxn>
              <a:cxn ang="0">
                <a:pos x="50" y="0"/>
              </a:cxn>
              <a:cxn ang="0">
                <a:pos x="63" y="1"/>
              </a:cxn>
              <a:cxn ang="0">
                <a:pos x="65" y="6"/>
              </a:cxn>
              <a:cxn ang="0">
                <a:pos x="65" y="19"/>
              </a:cxn>
              <a:cxn ang="0">
                <a:pos x="71" y="12"/>
              </a:cxn>
              <a:cxn ang="0">
                <a:pos x="82" y="19"/>
              </a:cxn>
              <a:cxn ang="0">
                <a:pos x="78" y="36"/>
              </a:cxn>
              <a:cxn ang="0">
                <a:pos x="78" y="45"/>
              </a:cxn>
              <a:cxn ang="0">
                <a:pos x="81" y="59"/>
              </a:cxn>
              <a:cxn ang="0">
                <a:pos x="79" y="77"/>
              </a:cxn>
              <a:cxn ang="0">
                <a:pos x="74" y="85"/>
              </a:cxn>
              <a:cxn ang="0">
                <a:pos x="62" y="80"/>
              </a:cxn>
              <a:cxn ang="0">
                <a:pos x="57" y="74"/>
              </a:cxn>
              <a:cxn ang="0">
                <a:pos x="51" y="80"/>
              </a:cxn>
              <a:cxn ang="0">
                <a:pos x="42" y="86"/>
              </a:cxn>
              <a:cxn ang="0">
                <a:pos x="41" y="92"/>
              </a:cxn>
              <a:cxn ang="0">
                <a:pos x="43" y="102"/>
              </a:cxn>
              <a:cxn ang="0">
                <a:pos x="39" y="103"/>
              </a:cxn>
              <a:cxn ang="0">
                <a:pos x="34" y="107"/>
              </a:cxn>
            </a:cxnLst>
            <a:rect l="0" t="0" r="r" b="b"/>
            <a:pathLst>
              <a:path w="82" h="111">
                <a:moveTo>
                  <a:pt x="34" y="111"/>
                </a:moveTo>
                <a:lnTo>
                  <a:pt x="33" y="107"/>
                </a:lnTo>
                <a:lnTo>
                  <a:pt x="29" y="103"/>
                </a:lnTo>
                <a:lnTo>
                  <a:pt x="26" y="99"/>
                </a:lnTo>
                <a:lnTo>
                  <a:pt x="16" y="89"/>
                </a:lnTo>
                <a:lnTo>
                  <a:pt x="14" y="85"/>
                </a:lnTo>
                <a:lnTo>
                  <a:pt x="12" y="81"/>
                </a:lnTo>
                <a:lnTo>
                  <a:pt x="9" y="77"/>
                </a:lnTo>
                <a:lnTo>
                  <a:pt x="6" y="75"/>
                </a:lnTo>
                <a:lnTo>
                  <a:pt x="4" y="67"/>
                </a:lnTo>
                <a:lnTo>
                  <a:pt x="2" y="63"/>
                </a:lnTo>
                <a:lnTo>
                  <a:pt x="1" y="58"/>
                </a:lnTo>
                <a:lnTo>
                  <a:pt x="0" y="55"/>
                </a:lnTo>
                <a:lnTo>
                  <a:pt x="2" y="53"/>
                </a:lnTo>
                <a:lnTo>
                  <a:pt x="4" y="50"/>
                </a:lnTo>
                <a:lnTo>
                  <a:pt x="6" y="48"/>
                </a:lnTo>
                <a:lnTo>
                  <a:pt x="6" y="44"/>
                </a:lnTo>
                <a:lnTo>
                  <a:pt x="6" y="36"/>
                </a:lnTo>
                <a:lnTo>
                  <a:pt x="8" y="36"/>
                </a:lnTo>
                <a:lnTo>
                  <a:pt x="9" y="37"/>
                </a:lnTo>
                <a:lnTo>
                  <a:pt x="12" y="39"/>
                </a:lnTo>
                <a:lnTo>
                  <a:pt x="14" y="39"/>
                </a:lnTo>
                <a:lnTo>
                  <a:pt x="16" y="39"/>
                </a:lnTo>
                <a:lnTo>
                  <a:pt x="14" y="37"/>
                </a:lnTo>
                <a:lnTo>
                  <a:pt x="12" y="37"/>
                </a:lnTo>
                <a:lnTo>
                  <a:pt x="10" y="36"/>
                </a:lnTo>
                <a:lnTo>
                  <a:pt x="9" y="34"/>
                </a:lnTo>
                <a:lnTo>
                  <a:pt x="8" y="31"/>
                </a:lnTo>
                <a:lnTo>
                  <a:pt x="8" y="30"/>
                </a:lnTo>
                <a:lnTo>
                  <a:pt x="10" y="30"/>
                </a:lnTo>
                <a:lnTo>
                  <a:pt x="10" y="28"/>
                </a:lnTo>
                <a:lnTo>
                  <a:pt x="10" y="23"/>
                </a:lnTo>
                <a:lnTo>
                  <a:pt x="17" y="22"/>
                </a:lnTo>
                <a:lnTo>
                  <a:pt x="37" y="20"/>
                </a:lnTo>
                <a:lnTo>
                  <a:pt x="35" y="14"/>
                </a:lnTo>
                <a:lnTo>
                  <a:pt x="35" y="6"/>
                </a:lnTo>
                <a:lnTo>
                  <a:pt x="37" y="1"/>
                </a:lnTo>
                <a:lnTo>
                  <a:pt x="41" y="0"/>
                </a:lnTo>
                <a:lnTo>
                  <a:pt x="45" y="1"/>
                </a:lnTo>
                <a:lnTo>
                  <a:pt x="50" y="0"/>
                </a:lnTo>
                <a:lnTo>
                  <a:pt x="54" y="1"/>
                </a:lnTo>
                <a:lnTo>
                  <a:pt x="63" y="1"/>
                </a:lnTo>
                <a:lnTo>
                  <a:pt x="66" y="1"/>
                </a:lnTo>
                <a:lnTo>
                  <a:pt x="65" y="6"/>
                </a:lnTo>
                <a:lnTo>
                  <a:pt x="65" y="12"/>
                </a:lnTo>
                <a:lnTo>
                  <a:pt x="65" y="19"/>
                </a:lnTo>
                <a:lnTo>
                  <a:pt x="67" y="20"/>
                </a:lnTo>
                <a:lnTo>
                  <a:pt x="71" y="12"/>
                </a:lnTo>
                <a:lnTo>
                  <a:pt x="79" y="15"/>
                </a:lnTo>
                <a:lnTo>
                  <a:pt x="82" y="19"/>
                </a:lnTo>
                <a:lnTo>
                  <a:pt x="82" y="26"/>
                </a:lnTo>
                <a:lnTo>
                  <a:pt x="78" y="36"/>
                </a:lnTo>
                <a:lnTo>
                  <a:pt x="77" y="41"/>
                </a:lnTo>
                <a:lnTo>
                  <a:pt x="78" y="45"/>
                </a:lnTo>
                <a:lnTo>
                  <a:pt x="82" y="55"/>
                </a:lnTo>
                <a:lnTo>
                  <a:pt x="81" y="59"/>
                </a:lnTo>
                <a:lnTo>
                  <a:pt x="81" y="64"/>
                </a:lnTo>
                <a:lnTo>
                  <a:pt x="79" y="77"/>
                </a:lnTo>
                <a:lnTo>
                  <a:pt x="78" y="81"/>
                </a:lnTo>
                <a:lnTo>
                  <a:pt x="74" y="85"/>
                </a:lnTo>
                <a:lnTo>
                  <a:pt x="69" y="78"/>
                </a:lnTo>
                <a:lnTo>
                  <a:pt x="62" y="80"/>
                </a:lnTo>
                <a:lnTo>
                  <a:pt x="59" y="75"/>
                </a:lnTo>
                <a:lnTo>
                  <a:pt x="57" y="74"/>
                </a:lnTo>
                <a:lnTo>
                  <a:pt x="54" y="77"/>
                </a:lnTo>
                <a:lnTo>
                  <a:pt x="51" y="80"/>
                </a:lnTo>
                <a:lnTo>
                  <a:pt x="46" y="83"/>
                </a:lnTo>
                <a:lnTo>
                  <a:pt x="42" y="86"/>
                </a:lnTo>
                <a:lnTo>
                  <a:pt x="41" y="89"/>
                </a:lnTo>
                <a:lnTo>
                  <a:pt x="41" y="92"/>
                </a:lnTo>
                <a:lnTo>
                  <a:pt x="42" y="97"/>
                </a:lnTo>
                <a:lnTo>
                  <a:pt x="43" y="102"/>
                </a:lnTo>
                <a:lnTo>
                  <a:pt x="42" y="103"/>
                </a:lnTo>
                <a:lnTo>
                  <a:pt x="39" y="103"/>
                </a:lnTo>
                <a:lnTo>
                  <a:pt x="37" y="103"/>
                </a:lnTo>
                <a:lnTo>
                  <a:pt x="34" y="107"/>
                </a:lnTo>
                <a:lnTo>
                  <a:pt x="34" y="111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54" name="Freeform 51"/>
          <p:cNvSpPr>
            <a:spLocks/>
          </p:cNvSpPr>
          <p:nvPr/>
        </p:nvSpPr>
        <p:spPr bwMode="auto">
          <a:xfrm>
            <a:off x="6621550" y="3820244"/>
            <a:ext cx="434585" cy="399455"/>
          </a:xfrm>
          <a:custGeom>
            <a:avLst/>
            <a:gdLst/>
            <a:ahLst/>
            <a:cxnLst>
              <a:cxn ang="0">
                <a:pos x="48" y="33"/>
              </a:cxn>
              <a:cxn ang="0">
                <a:pos x="41" y="39"/>
              </a:cxn>
              <a:cxn ang="0">
                <a:pos x="29" y="69"/>
              </a:cxn>
              <a:cxn ang="0">
                <a:pos x="22" y="72"/>
              </a:cxn>
              <a:cxn ang="0">
                <a:pos x="18" y="77"/>
              </a:cxn>
              <a:cxn ang="0">
                <a:pos x="18" y="86"/>
              </a:cxn>
              <a:cxn ang="0">
                <a:pos x="17" y="110"/>
              </a:cxn>
              <a:cxn ang="0">
                <a:pos x="7" y="113"/>
              </a:cxn>
              <a:cxn ang="0">
                <a:pos x="1" y="121"/>
              </a:cxn>
              <a:cxn ang="0">
                <a:pos x="4" y="125"/>
              </a:cxn>
              <a:cxn ang="0">
                <a:pos x="10" y="127"/>
              </a:cxn>
              <a:cxn ang="0">
                <a:pos x="16" y="135"/>
              </a:cxn>
              <a:cxn ang="0">
                <a:pos x="26" y="146"/>
              </a:cxn>
              <a:cxn ang="0">
                <a:pos x="32" y="160"/>
              </a:cxn>
              <a:cxn ang="0">
                <a:pos x="41" y="168"/>
              </a:cxn>
              <a:cxn ang="0">
                <a:pos x="44" y="174"/>
              </a:cxn>
              <a:cxn ang="0">
                <a:pos x="50" y="182"/>
              </a:cxn>
              <a:cxn ang="0">
                <a:pos x="70" y="193"/>
              </a:cxn>
              <a:cxn ang="0">
                <a:pos x="84" y="199"/>
              </a:cxn>
              <a:cxn ang="0">
                <a:pos x="102" y="198"/>
              </a:cxn>
              <a:cxn ang="0">
                <a:pos x="118" y="188"/>
              </a:cxn>
              <a:cxn ang="0">
                <a:pos x="133" y="194"/>
              </a:cxn>
              <a:cxn ang="0">
                <a:pos x="139" y="190"/>
              </a:cxn>
              <a:cxn ang="0">
                <a:pos x="155" y="179"/>
              </a:cxn>
              <a:cxn ang="0">
                <a:pos x="182" y="174"/>
              </a:cxn>
              <a:cxn ang="0">
                <a:pos x="226" y="121"/>
              </a:cxn>
              <a:cxn ang="0">
                <a:pos x="189" y="111"/>
              </a:cxn>
              <a:cxn ang="0">
                <a:pos x="159" y="94"/>
              </a:cxn>
              <a:cxn ang="0">
                <a:pos x="155" y="88"/>
              </a:cxn>
              <a:cxn ang="0">
                <a:pos x="151" y="83"/>
              </a:cxn>
              <a:cxn ang="0">
                <a:pos x="149" y="72"/>
              </a:cxn>
              <a:cxn ang="0">
                <a:pos x="147" y="67"/>
              </a:cxn>
              <a:cxn ang="0">
                <a:pos x="141" y="69"/>
              </a:cxn>
              <a:cxn ang="0">
                <a:pos x="135" y="69"/>
              </a:cxn>
              <a:cxn ang="0">
                <a:pos x="133" y="63"/>
              </a:cxn>
              <a:cxn ang="0">
                <a:pos x="138" y="53"/>
              </a:cxn>
              <a:cxn ang="0">
                <a:pos x="139" y="42"/>
              </a:cxn>
              <a:cxn ang="0">
                <a:pos x="134" y="36"/>
              </a:cxn>
              <a:cxn ang="0">
                <a:pos x="130" y="30"/>
              </a:cxn>
              <a:cxn ang="0">
                <a:pos x="121" y="19"/>
              </a:cxn>
              <a:cxn ang="0">
                <a:pos x="114" y="12"/>
              </a:cxn>
              <a:cxn ang="0">
                <a:pos x="104" y="8"/>
              </a:cxn>
              <a:cxn ang="0">
                <a:pos x="100" y="6"/>
              </a:cxn>
              <a:cxn ang="0">
                <a:pos x="96" y="6"/>
              </a:cxn>
              <a:cxn ang="0">
                <a:pos x="92" y="6"/>
              </a:cxn>
              <a:cxn ang="0">
                <a:pos x="89" y="6"/>
              </a:cxn>
              <a:cxn ang="0">
                <a:pos x="82" y="8"/>
              </a:cxn>
              <a:cxn ang="0">
                <a:pos x="78" y="3"/>
              </a:cxn>
              <a:cxn ang="0">
                <a:pos x="74" y="1"/>
              </a:cxn>
              <a:cxn ang="0">
                <a:pos x="65" y="11"/>
              </a:cxn>
              <a:cxn ang="0">
                <a:pos x="61" y="8"/>
              </a:cxn>
              <a:cxn ang="0">
                <a:pos x="58" y="11"/>
              </a:cxn>
              <a:cxn ang="0">
                <a:pos x="53" y="9"/>
              </a:cxn>
            </a:cxnLst>
            <a:rect l="0" t="0" r="r" b="b"/>
            <a:pathLst>
              <a:path w="227" h="201">
                <a:moveTo>
                  <a:pt x="53" y="9"/>
                </a:moveTo>
                <a:lnTo>
                  <a:pt x="53" y="14"/>
                </a:lnTo>
                <a:lnTo>
                  <a:pt x="48" y="33"/>
                </a:lnTo>
                <a:lnTo>
                  <a:pt x="46" y="36"/>
                </a:lnTo>
                <a:lnTo>
                  <a:pt x="44" y="36"/>
                </a:lnTo>
                <a:lnTo>
                  <a:pt x="41" y="39"/>
                </a:lnTo>
                <a:lnTo>
                  <a:pt x="32" y="55"/>
                </a:lnTo>
                <a:lnTo>
                  <a:pt x="30" y="59"/>
                </a:lnTo>
                <a:lnTo>
                  <a:pt x="29" y="69"/>
                </a:lnTo>
                <a:lnTo>
                  <a:pt x="28" y="70"/>
                </a:lnTo>
                <a:lnTo>
                  <a:pt x="25" y="69"/>
                </a:lnTo>
                <a:lnTo>
                  <a:pt x="22" y="72"/>
                </a:lnTo>
                <a:lnTo>
                  <a:pt x="21" y="75"/>
                </a:lnTo>
                <a:lnTo>
                  <a:pt x="20" y="78"/>
                </a:lnTo>
                <a:lnTo>
                  <a:pt x="18" y="77"/>
                </a:lnTo>
                <a:lnTo>
                  <a:pt x="18" y="80"/>
                </a:lnTo>
                <a:lnTo>
                  <a:pt x="18" y="83"/>
                </a:lnTo>
                <a:lnTo>
                  <a:pt x="18" y="86"/>
                </a:lnTo>
                <a:lnTo>
                  <a:pt x="17" y="91"/>
                </a:lnTo>
                <a:lnTo>
                  <a:pt x="17" y="107"/>
                </a:lnTo>
                <a:lnTo>
                  <a:pt x="17" y="110"/>
                </a:lnTo>
                <a:lnTo>
                  <a:pt x="14" y="113"/>
                </a:lnTo>
                <a:lnTo>
                  <a:pt x="12" y="114"/>
                </a:lnTo>
                <a:lnTo>
                  <a:pt x="7" y="113"/>
                </a:lnTo>
                <a:lnTo>
                  <a:pt x="4" y="114"/>
                </a:lnTo>
                <a:lnTo>
                  <a:pt x="4" y="119"/>
                </a:lnTo>
                <a:lnTo>
                  <a:pt x="1" y="121"/>
                </a:lnTo>
                <a:lnTo>
                  <a:pt x="0" y="124"/>
                </a:lnTo>
                <a:lnTo>
                  <a:pt x="1" y="124"/>
                </a:lnTo>
                <a:lnTo>
                  <a:pt x="4" y="125"/>
                </a:lnTo>
                <a:lnTo>
                  <a:pt x="5" y="127"/>
                </a:lnTo>
                <a:lnTo>
                  <a:pt x="8" y="127"/>
                </a:lnTo>
                <a:lnTo>
                  <a:pt x="10" y="127"/>
                </a:lnTo>
                <a:lnTo>
                  <a:pt x="13" y="129"/>
                </a:lnTo>
                <a:lnTo>
                  <a:pt x="16" y="132"/>
                </a:lnTo>
                <a:lnTo>
                  <a:pt x="16" y="135"/>
                </a:lnTo>
                <a:lnTo>
                  <a:pt x="18" y="138"/>
                </a:lnTo>
                <a:lnTo>
                  <a:pt x="20" y="141"/>
                </a:lnTo>
                <a:lnTo>
                  <a:pt x="26" y="146"/>
                </a:lnTo>
                <a:lnTo>
                  <a:pt x="28" y="147"/>
                </a:lnTo>
                <a:lnTo>
                  <a:pt x="28" y="152"/>
                </a:lnTo>
                <a:lnTo>
                  <a:pt x="32" y="160"/>
                </a:lnTo>
                <a:lnTo>
                  <a:pt x="33" y="163"/>
                </a:lnTo>
                <a:lnTo>
                  <a:pt x="34" y="166"/>
                </a:lnTo>
                <a:lnTo>
                  <a:pt x="41" y="168"/>
                </a:lnTo>
                <a:lnTo>
                  <a:pt x="44" y="169"/>
                </a:lnTo>
                <a:lnTo>
                  <a:pt x="44" y="171"/>
                </a:lnTo>
                <a:lnTo>
                  <a:pt x="44" y="174"/>
                </a:lnTo>
                <a:lnTo>
                  <a:pt x="42" y="182"/>
                </a:lnTo>
                <a:lnTo>
                  <a:pt x="46" y="183"/>
                </a:lnTo>
                <a:lnTo>
                  <a:pt x="50" y="182"/>
                </a:lnTo>
                <a:lnTo>
                  <a:pt x="56" y="183"/>
                </a:lnTo>
                <a:lnTo>
                  <a:pt x="60" y="185"/>
                </a:lnTo>
                <a:lnTo>
                  <a:pt x="70" y="193"/>
                </a:lnTo>
                <a:lnTo>
                  <a:pt x="73" y="196"/>
                </a:lnTo>
                <a:lnTo>
                  <a:pt x="78" y="199"/>
                </a:lnTo>
                <a:lnTo>
                  <a:pt x="84" y="199"/>
                </a:lnTo>
                <a:lnTo>
                  <a:pt x="90" y="201"/>
                </a:lnTo>
                <a:lnTo>
                  <a:pt x="96" y="201"/>
                </a:lnTo>
                <a:lnTo>
                  <a:pt x="102" y="198"/>
                </a:lnTo>
                <a:lnTo>
                  <a:pt x="108" y="191"/>
                </a:lnTo>
                <a:lnTo>
                  <a:pt x="113" y="190"/>
                </a:lnTo>
                <a:lnTo>
                  <a:pt x="118" y="188"/>
                </a:lnTo>
                <a:lnTo>
                  <a:pt x="126" y="194"/>
                </a:lnTo>
                <a:lnTo>
                  <a:pt x="130" y="193"/>
                </a:lnTo>
                <a:lnTo>
                  <a:pt x="133" y="194"/>
                </a:lnTo>
                <a:lnTo>
                  <a:pt x="134" y="194"/>
                </a:lnTo>
                <a:lnTo>
                  <a:pt x="135" y="193"/>
                </a:lnTo>
                <a:lnTo>
                  <a:pt x="139" y="190"/>
                </a:lnTo>
                <a:lnTo>
                  <a:pt x="149" y="187"/>
                </a:lnTo>
                <a:lnTo>
                  <a:pt x="153" y="182"/>
                </a:lnTo>
                <a:lnTo>
                  <a:pt x="155" y="179"/>
                </a:lnTo>
                <a:lnTo>
                  <a:pt x="162" y="177"/>
                </a:lnTo>
                <a:lnTo>
                  <a:pt x="163" y="176"/>
                </a:lnTo>
                <a:lnTo>
                  <a:pt x="182" y="174"/>
                </a:lnTo>
                <a:lnTo>
                  <a:pt x="203" y="147"/>
                </a:lnTo>
                <a:lnTo>
                  <a:pt x="223" y="125"/>
                </a:lnTo>
                <a:lnTo>
                  <a:pt x="226" y="121"/>
                </a:lnTo>
                <a:lnTo>
                  <a:pt x="227" y="121"/>
                </a:lnTo>
                <a:lnTo>
                  <a:pt x="213" y="121"/>
                </a:lnTo>
                <a:lnTo>
                  <a:pt x="189" y="111"/>
                </a:lnTo>
                <a:lnTo>
                  <a:pt x="166" y="102"/>
                </a:lnTo>
                <a:lnTo>
                  <a:pt x="165" y="100"/>
                </a:lnTo>
                <a:lnTo>
                  <a:pt x="159" y="94"/>
                </a:lnTo>
                <a:lnTo>
                  <a:pt x="157" y="92"/>
                </a:lnTo>
                <a:lnTo>
                  <a:pt x="155" y="89"/>
                </a:lnTo>
                <a:lnTo>
                  <a:pt x="155" y="88"/>
                </a:lnTo>
                <a:lnTo>
                  <a:pt x="154" y="86"/>
                </a:lnTo>
                <a:lnTo>
                  <a:pt x="151" y="85"/>
                </a:lnTo>
                <a:lnTo>
                  <a:pt x="151" y="83"/>
                </a:lnTo>
                <a:lnTo>
                  <a:pt x="149" y="80"/>
                </a:lnTo>
                <a:lnTo>
                  <a:pt x="147" y="74"/>
                </a:lnTo>
                <a:lnTo>
                  <a:pt x="149" y="72"/>
                </a:lnTo>
                <a:lnTo>
                  <a:pt x="149" y="70"/>
                </a:lnTo>
                <a:lnTo>
                  <a:pt x="149" y="69"/>
                </a:lnTo>
                <a:lnTo>
                  <a:pt x="147" y="67"/>
                </a:lnTo>
                <a:lnTo>
                  <a:pt x="146" y="67"/>
                </a:lnTo>
                <a:lnTo>
                  <a:pt x="142" y="69"/>
                </a:lnTo>
                <a:lnTo>
                  <a:pt x="141" y="69"/>
                </a:lnTo>
                <a:lnTo>
                  <a:pt x="139" y="69"/>
                </a:lnTo>
                <a:lnTo>
                  <a:pt x="138" y="69"/>
                </a:lnTo>
                <a:lnTo>
                  <a:pt x="135" y="69"/>
                </a:lnTo>
                <a:lnTo>
                  <a:pt x="133" y="67"/>
                </a:lnTo>
                <a:lnTo>
                  <a:pt x="133" y="64"/>
                </a:lnTo>
                <a:lnTo>
                  <a:pt x="133" y="63"/>
                </a:lnTo>
                <a:lnTo>
                  <a:pt x="135" y="59"/>
                </a:lnTo>
                <a:lnTo>
                  <a:pt x="137" y="56"/>
                </a:lnTo>
                <a:lnTo>
                  <a:pt x="138" y="53"/>
                </a:lnTo>
                <a:lnTo>
                  <a:pt x="139" y="45"/>
                </a:lnTo>
                <a:lnTo>
                  <a:pt x="141" y="44"/>
                </a:lnTo>
                <a:lnTo>
                  <a:pt x="139" y="42"/>
                </a:lnTo>
                <a:lnTo>
                  <a:pt x="138" y="39"/>
                </a:lnTo>
                <a:lnTo>
                  <a:pt x="135" y="37"/>
                </a:lnTo>
                <a:lnTo>
                  <a:pt x="134" y="36"/>
                </a:lnTo>
                <a:lnTo>
                  <a:pt x="133" y="34"/>
                </a:lnTo>
                <a:lnTo>
                  <a:pt x="131" y="31"/>
                </a:lnTo>
                <a:lnTo>
                  <a:pt x="130" y="30"/>
                </a:lnTo>
                <a:lnTo>
                  <a:pt x="127" y="26"/>
                </a:lnTo>
                <a:lnTo>
                  <a:pt x="122" y="22"/>
                </a:lnTo>
                <a:lnTo>
                  <a:pt x="121" y="19"/>
                </a:lnTo>
                <a:lnTo>
                  <a:pt x="120" y="15"/>
                </a:lnTo>
                <a:lnTo>
                  <a:pt x="116" y="12"/>
                </a:lnTo>
                <a:lnTo>
                  <a:pt x="114" y="12"/>
                </a:lnTo>
                <a:lnTo>
                  <a:pt x="110" y="11"/>
                </a:lnTo>
                <a:lnTo>
                  <a:pt x="108" y="8"/>
                </a:lnTo>
                <a:lnTo>
                  <a:pt x="104" y="8"/>
                </a:lnTo>
                <a:lnTo>
                  <a:pt x="102" y="8"/>
                </a:lnTo>
                <a:lnTo>
                  <a:pt x="102" y="6"/>
                </a:lnTo>
                <a:lnTo>
                  <a:pt x="100" y="6"/>
                </a:lnTo>
                <a:lnTo>
                  <a:pt x="98" y="6"/>
                </a:lnTo>
                <a:lnTo>
                  <a:pt x="97" y="6"/>
                </a:lnTo>
                <a:lnTo>
                  <a:pt x="96" y="6"/>
                </a:lnTo>
                <a:lnTo>
                  <a:pt x="94" y="8"/>
                </a:lnTo>
                <a:lnTo>
                  <a:pt x="93" y="8"/>
                </a:lnTo>
                <a:lnTo>
                  <a:pt x="92" y="6"/>
                </a:lnTo>
                <a:lnTo>
                  <a:pt x="90" y="4"/>
                </a:lnTo>
                <a:lnTo>
                  <a:pt x="89" y="4"/>
                </a:lnTo>
                <a:lnTo>
                  <a:pt x="89" y="6"/>
                </a:lnTo>
                <a:lnTo>
                  <a:pt x="88" y="6"/>
                </a:lnTo>
                <a:lnTo>
                  <a:pt x="84" y="8"/>
                </a:lnTo>
                <a:lnTo>
                  <a:pt x="82" y="8"/>
                </a:lnTo>
                <a:lnTo>
                  <a:pt x="81" y="8"/>
                </a:lnTo>
                <a:lnTo>
                  <a:pt x="78" y="4"/>
                </a:lnTo>
                <a:lnTo>
                  <a:pt x="78" y="3"/>
                </a:lnTo>
                <a:lnTo>
                  <a:pt x="77" y="3"/>
                </a:lnTo>
                <a:lnTo>
                  <a:pt x="76" y="3"/>
                </a:lnTo>
                <a:lnTo>
                  <a:pt x="74" y="1"/>
                </a:lnTo>
                <a:lnTo>
                  <a:pt x="73" y="0"/>
                </a:lnTo>
                <a:lnTo>
                  <a:pt x="68" y="14"/>
                </a:lnTo>
                <a:lnTo>
                  <a:pt x="65" y="11"/>
                </a:lnTo>
                <a:lnTo>
                  <a:pt x="65" y="9"/>
                </a:lnTo>
                <a:lnTo>
                  <a:pt x="64" y="8"/>
                </a:lnTo>
                <a:lnTo>
                  <a:pt x="61" y="8"/>
                </a:lnTo>
                <a:lnTo>
                  <a:pt x="61" y="9"/>
                </a:lnTo>
                <a:lnTo>
                  <a:pt x="60" y="11"/>
                </a:lnTo>
                <a:lnTo>
                  <a:pt x="58" y="11"/>
                </a:lnTo>
                <a:lnTo>
                  <a:pt x="57" y="11"/>
                </a:lnTo>
                <a:lnTo>
                  <a:pt x="53" y="11"/>
                </a:lnTo>
                <a:lnTo>
                  <a:pt x="53" y="9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55" name="Freeform 52"/>
          <p:cNvSpPr>
            <a:spLocks/>
          </p:cNvSpPr>
          <p:nvPr/>
        </p:nvSpPr>
        <p:spPr bwMode="auto">
          <a:xfrm>
            <a:off x="6621550" y="3820244"/>
            <a:ext cx="434585" cy="399455"/>
          </a:xfrm>
          <a:custGeom>
            <a:avLst/>
            <a:gdLst/>
            <a:ahLst/>
            <a:cxnLst>
              <a:cxn ang="0">
                <a:pos x="48" y="33"/>
              </a:cxn>
              <a:cxn ang="0">
                <a:pos x="41" y="39"/>
              </a:cxn>
              <a:cxn ang="0">
                <a:pos x="29" y="69"/>
              </a:cxn>
              <a:cxn ang="0">
                <a:pos x="22" y="72"/>
              </a:cxn>
              <a:cxn ang="0">
                <a:pos x="18" y="77"/>
              </a:cxn>
              <a:cxn ang="0">
                <a:pos x="18" y="86"/>
              </a:cxn>
              <a:cxn ang="0">
                <a:pos x="17" y="110"/>
              </a:cxn>
              <a:cxn ang="0">
                <a:pos x="7" y="113"/>
              </a:cxn>
              <a:cxn ang="0">
                <a:pos x="1" y="121"/>
              </a:cxn>
              <a:cxn ang="0">
                <a:pos x="4" y="125"/>
              </a:cxn>
              <a:cxn ang="0">
                <a:pos x="10" y="127"/>
              </a:cxn>
              <a:cxn ang="0">
                <a:pos x="16" y="135"/>
              </a:cxn>
              <a:cxn ang="0">
                <a:pos x="26" y="146"/>
              </a:cxn>
              <a:cxn ang="0">
                <a:pos x="32" y="160"/>
              </a:cxn>
              <a:cxn ang="0">
                <a:pos x="41" y="168"/>
              </a:cxn>
              <a:cxn ang="0">
                <a:pos x="44" y="174"/>
              </a:cxn>
              <a:cxn ang="0">
                <a:pos x="50" y="182"/>
              </a:cxn>
              <a:cxn ang="0">
                <a:pos x="70" y="193"/>
              </a:cxn>
              <a:cxn ang="0">
                <a:pos x="84" y="199"/>
              </a:cxn>
              <a:cxn ang="0">
                <a:pos x="102" y="198"/>
              </a:cxn>
              <a:cxn ang="0">
                <a:pos x="118" y="188"/>
              </a:cxn>
              <a:cxn ang="0">
                <a:pos x="133" y="194"/>
              </a:cxn>
              <a:cxn ang="0">
                <a:pos x="139" y="190"/>
              </a:cxn>
              <a:cxn ang="0">
                <a:pos x="155" y="179"/>
              </a:cxn>
              <a:cxn ang="0">
                <a:pos x="182" y="174"/>
              </a:cxn>
              <a:cxn ang="0">
                <a:pos x="226" y="121"/>
              </a:cxn>
              <a:cxn ang="0">
                <a:pos x="189" y="111"/>
              </a:cxn>
              <a:cxn ang="0">
                <a:pos x="159" y="94"/>
              </a:cxn>
              <a:cxn ang="0">
                <a:pos x="155" y="88"/>
              </a:cxn>
              <a:cxn ang="0">
                <a:pos x="151" y="83"/>
              </a:cxn>
              <a:cxn ang="0">
                <a:pos x="149" y="72"/>
              </a:cxn>
              <a:cxn ang="0">
                <a:pos x="147" y="67"/>
              </a:cxn>
              <a:cxn ang="0">
                <a:pos x="141" y="69"/>
              </a:cxn>
              <a:cxn ang="0">
                <a:pos x="135" y="69"/>
              </a:cxn>
              <a:cxn ang="0">
                <a:pos x="133" y="63"/>
              </a:cxn>
              <a:cxn ang="0">
                <a:pos x="138" y="53"/>
              </a:cxn>
              <a:cxn ang="0">
                <a:pos x="139" y="42"/>
              </a:cxn>
              <a:cxn ang="0">
                <a:pos x="134" y="36"/>
              </a:cxn>
              <a:cxn ang="0">
                <a:pos x="130" y="30"/>
              </a:cxn>
              <a:cxn ang="0">
                <a:pos x="121" y="19"/>
              </a:cxn>
              <a:cxn ang="0">
                <a:pos x="114" y="12"/>
              </a:cxn>
              <a:cxn ang="0">
                <a:pos x="104" y="8"/>
              </a:cxn>
              <a:cxn ang="0">
                <a:pos x="100" y="6"/>
              </a:cxn>
              <a:cxn ang="0">
                <a:pos x="96" y="6"/>
              </a:cxn>
              <a:cxn ang="0">
                <a:pos x="92" y="6"/>
              </a:cxn>
              <a:cxn ang="0">
                <a:pos x="89" y="6"/>
              </a:cxn>
              <a:cxn ang="0">
                <a:pos x="82" y="8"/>
              </a:cxn>
              <a:cxn ang="0">
                <a:pos x="78" y="3"/>
              </a:cxn>
              <a:cxn ang="0">
                <a:pos x="74" y="1"/>
              </a:cxn>
              <a:cxn ang="0">
                <a:pos x="65" y="11"/>
              </a:cxn>
              <a:cxn ang="0">
                <a:pos x="61" y="8"/>
              </a:cxn>
              <a:cxn ang="0">
                <a:pos x="58" y="11"/>
              </a:cxn>
              <a:cxn ang="0">
                <a:pos x="53" y="9"/>
              </a:cxn>
            </a:cxnLst>
            <a:rect l="0" t="0" r="r" b="b"/>
            <a:pathLst>
              <a:path w="227" h="201">
                <a:moveTo>
                  <a:pt x="53" y="9"/>
                </a:moveTo>
                <a:lnTo>
                  <a:pt x="53" y="14"/>
                </a:lnTo>
                <a:lnTo>
                  <a:pt x="48" y="33"/>
                </a:lnTo>
                <a:lnTo>
                  <a:pt x="46" y="36"/>
                </a:lnTo>
                <a:lnTo>
                  <a:pt x="44" y="36"/>
                </a:lnTo>
                <a:lnTo>
                  <a:pt x="41" y="39"/>
                </a:lnTo>
                <a:lnTo>
                  <a:pt x="32" y="55"/>
                </a:lnTo>
                <a:lnTo>
                  <a:pt x="30" y="59"/>
                </a:lnTo>
                <a:lnTo>
                  <a:pt x="29" y="69"/>
                </a:lnTo>
                <a:lnTo>
                  <a:pt x="28" y="70"/>
                </a:lnTo>
                <a:lnTo>
                  <a:pt x="25" y="69"/>
                </a:lnTo>
                <a:lnTo>
                  <a:pt x="22" y="72"/>
                </a:lnTo>
                <a:lnTo>
                  <a:pt x="21" y="75"/>
                </a:lnTo>
                <a:lnTo>
                  <a:pt x="20" y="78"/>
                </a:lnTo>
                <a:lnTo>
                  <a:pt x="18" y="77"/>
                </a:lnTo>
                <a:lnTo>
                  <a:pt x="18" y="80"/>
                </a:lnTo>
                <a:lnTo>
                  <a:pt x="18" y="83"/>
                </a:lnTo>
                <a:lnTo>
                  <a:pt x="18" y="86"/>
                </a:lnTo>
                <a:lnTo>
                  <a:pt x="17" y="91"/>
                </a:lnTo>
                <a:lnTo>
                  <a:pt x="17" y="107"/>
                </a:lnTo>
                <a:lnTo>
                  <a:pt x="17" y="110"/>
                </a:lnTo>
                <a:lnTo>
                  <a:pt x="14" y="113"/>
                </a:lnTo>
                <a:lnTo>
                  <a:pt x="12" y="114"/>
                </a:lnTo>
                <a:lnTo>
                  <a:pt x="7" y="113"/>
                </a:lnTo>
                <a:lnTo>
                  <a:pt x="4" y="114"/>
                </a:lnTo>
                <a:lnTo>
                  <a:pt x="4" y="119"/>
                </a:lnTo>
                <a:lnTo>
                  <a:pt x="1" y="121"/>
                </a:lnTo>
                <a:lnTo>
                  <a:pt x="0" y="124"/>
                </a:lnTo>
                <a:lnTo>
                  <a:pt x="1" y="124"/>
                </a:lnTo>
                <a:lnTo>
                  <a:pt x="4" y="125"/>
                </a:lnTo>
                <a:lnTo>
                  <a:pt x="5" y="127"/>
                </a:lnTo>
                <a:lnTo>
                  <a:pt x="8" y="127"/>
                </a:lnTo>
                <a:lnTo>
                  <a:pt x="10" y="127"/>
                </a:lnTo>
                <a:lnTo>
                  <a:pt x="13" y="129"/>
                </a:lnTo>
                <a:lnTo>
                  <a:pt x="16" y="132"/>
                </a:lnTo>
                <a:lnTo>
                  <a:pt x="16" y="135"/>
                </a:lnTo>
                <a:lnTo>
                  <a:pt x="18" y="138"/>
                </a:lnTo>
                <a:lnTo>
                  <a:pt x="20" y="141"/>
                </a:lnTo>
                <a:lnTo>
                  <a:pt x="26" y="146"/>
                </a:lnTo>
                <a:lnTo>
                  <a:pt x="28" y="147"/>
                </a:lnTo>
                <a:lnTo>
                  <a:pt x="28" y="152"/>
                </a:lnTo>
                <a:lnTo>
                  <a:pt x="32" y="160"/>
                </a:lnTo>
                <a:lnTo>
                  <a:pt x="33" y="163"/>
                </a:lnTo>
                <a:lnTo>
                  <a:pt x="34" y="166"/>
                </a:lnTo>
                <a:lnTo>
                  <a:pt x="41" y="168"/>
                </a:lnTo>
                <a:lnTo>
                  <a:pt x="44" y="169"/>
                </a:lnTo>
                <a:lnTo>
                  <a:pt x="44" y="171"/>
                </a:lnTo>
                <a:lnTo>
                  <a:pt x="44" y="174"/>
                </a:lnTo>
                <a:lnTo>
                  <a:pt x="42" y="182"/>
                </a:lnTo>
                <a:lnTo>
                  <a:pt x="46" y="183"/>
                </a:lnTo>
                <a:lnTo>
                  <a:pt x="50" y="182"/>
                </a:lnTo>
                <a:lnTo>
                  <a:pt x="56" y="183"/>
                </a:lnTo>
                <a:lnTo>
                  <a:pt x="60" y="185"/>
                </a:lnTo>
                <a:lnTo>
                  <a:pt x="70" y="193"/>
                </a:lnTo>
                <a:lnTo>
                  <a:pt x="73" y="196"/>
                </a:lnTo>
                <a:lnTo>
                  <a:pt x="78" y="199"/>
                </a:lnTo>
                <a:lnTo>
                  <a:pt x="84" y="199"/>
                </a:lnTo>
                <a:lnTo>
                  <a:pt x="90" y="201"/>
                </a:lnTo>
                <a:lnTo>
                  <a:pt x="96" y="201"/>
                </a:lnTo>
                <a:lnTo>
                  <a:pt x="102" y="198"/>
                </a:lnTo>
                <a:lnTo>
                  <a:pt x="108" y="191"/>
                </a:lnTo>
                <a:lnTo>
                  <a:pt x="113" y="190"/>
                </a:lnTo>
                <a:lnTo>
                  <a:pt x="118" y="188"/>
                </a:lnTo>
                <a:lnTo>
                  <a:pt x="126" y="194"/>
                </a:lnTo>
                <a:lnTo>
                  <a:pt x="130" y="193"/>
                </a:lnTo>
                <a:lnTo>
                  <a:pt x="133" y="194"/>
                </a:lnTo>
                <a:lnTo>
                  <a:pt x="134" y="194"/>
                </a:lnTo>
                <a:lnTo>
                  <a:pt x="135" y="193"/>
                </a:lnTo>
                <a:lnTo>
                  <a:pt x="139" y="190"/>
                </a:lnTo>
                <a:lnTo>
                  <a:pt x="149" y="187"/>
                </a:lnTo>
                <a:lnTo>
                  <a:pt x="153" y="182"/>
                </a:lnTo>
                <a:lnTo>
                  <a:pt x="155" y="179"/>
                </a:lnTo>
                <a:lnTo>
                  <a:pt x="162" y="177"/>
                </a:lnTo>
                <a:lnTo>
                  <a:pt x="163" y="176"/>
                </a:lnTo>
                <a:lnTo>
                  <a:pt x="182" y="174"/>
                </a:lnTo>
                <a:lnTo>
                  <a:pt x="203" y="147"/>
                </a:lnTo>
                <a:lnTo>
                  <a:pt x="223" y="125"/>
                </a:lnTo>
                <a:lnTo>
                  <a:pt x="226" y="121"/>
                </a:lnTo>
                <a:lnTo>
                  <a:pt x="227" y="121"/>
                </a:lnTo>
                <a:lnTo>
                  <a:pt x="213" y="121"/>
                </a:lnTo>
                <a:lnTo>
                  <a:pt x="189" y="111"/>
                </a:lnTo>
                <a:lnTo>
                  <a:pt x="166" y="102"/>
                </a:lnTo>
                <a:lnTo>
                  <a:pt x="165" y="100"/>
                </a:lnTo>
                <a:lnTo>
                  <a:pt x="159" y="94"/>
                </a:lnTo>
                <a:lnTo>
                  <a:pt x="157" y="92"/>
                </a:lnTo>
                <a:lnTo>
                  <a:pt x="155" y="89"/>
                </a:lnTo>
                <a:lnTo>
                  <a:pt x="155" y="88"/>
                </a:lnTo>
                <a:lnTo>
                  <a:pt x="154" y="86"/>
                </a:lnTo>
                <a:lnTo>
                  <a:pt x="151" y="85"/>
                </a:lnTo>
                <a:lnTo>
                  <a:pt x="151" y="83"/>
                </a:lnTo>
                <a:lnTo>
                  <a:pt x="149" y="80"/>
                </a:lnTo>
                <a:lnTo>
                  <a:pt x="147" y="74"/>
                </a:lnTo>
                <a:lnTo>
                  <a:pt x="149" y="72"/>
                </a:lnTo>
                <a:lnTo>
                  <a:pt x="149" y="70"/>
                </a:lnTo>
                <a:lnTo>
                  <a:pt x="149" y="69"/>
                </a:lnTo>
                <a:lnTo>
                  <a:pt x="147" y="67"/>
                </a:lnTo>
                <a:lnTo>
                  <a:pt x="146" y="67"/>
                </a:lnTo>
                <a:lnTo>
                  <a:pt x="142" y="69"/>
                </a:lnTo>
                <a:lnTo>
                  <a:pt x="141" y="69"/>
                </a:lnTo>
                <a:lnTo>
                  <a:pt x="139" y="69"/>
                </a:lnTo>
                <a:lnTo>
                  <a:pt x="138" y="69"/>
                </a:lnTo>
                <a:lnTo>
                  <a:pt x="135" y="69"/>
                </a:lnTo>
                <a:lnTo>
                  <a:pt x="133" y="67"/>
                </a:lnTo>
                <a:lnTo>
                  <a:pt x="133" y="64"/>
                </a:lnTo>
                <a:lnTo>
                  <a:pt x="133" y="63"/>
                </a:lnTo>
                <a:lnTo>
                  <a:pt x="135" y="59"/>
                </a:lnTo>
                <a:lnTo>
                  <a:pt x="137" y="56"/>
                </a:lnTo>
                <a:lnTo>
                  <a:pt x="138" y="53"/>
                </a:lnTo>
                <a:lnTo>
                  <a:pt x="139" y="45"/>
                </a:lnTo>
                <a:lnTo>
                  <a:pt x="141" y="44"/>
                </a:lnTo>
                <a:lnTo>
                  <a:pt x="139" y="42"/>
                </a:lnTo>
                <a:lnTo>
                  <a:pt x="138" y="39"/>
                </a:lnTo>
                <a:lnTo>
                  <a:pt x="135" y="37"/>
                </a:lnTo>
                <a:lnTo>
                  <a:pt x="134" y="36"/>
                </a:lnTo>
                <a:lnTo>
                  <a:pt x="133" y="34"/>
                </a:lnTo>
                <a:lnTo>
                  <a:pt x="131" y="31"/>
                </a:lnTo>
                <a:lnTo>
                  <a:pt x="130" y="30"/>
                </a:lnTo>
                <a:lnTo>
                  <a:pt x="127" y="26"/>
                </a:lnTo>
                <a:lnTo>
                  <a:pt x="122" y="22"/>
                </a:lnTo>
                <a:lnTo>
                  <a:pt x="121" y="19"/>
                </a:lnTo>
                <a:lnTo>
                  <a:pt x="120" y="15"/>
                </a:lnTo>
                <a:lnTo>
                  <a:pt x="116" y="12"/>
                </a:lnTo>
                <a:lnTo>
                  <a:pt x="114" y="12"/>
                </a:lnTo>
                <a:lnTo>
                  <a:pt x="110" y="11"/>
                </a:lnTo>
                <a:lnTo>
                  <a:pt x="108" y="8"/>
                </a:lnTo>
                <a:lnTo>
                  <a:pt x="104" y="8"/>
                </a:lnTo>
                <a:lnTo>
                  <a:pt x="102" y="8"/>
                </a:lnTo>
                <a:lnTo>
                  <a:pt x="102" y="6"/>
                </a:lnTo>
                <a:lnTo>
                  <a:pt x="100" y="6"/>
                </a:lnTo>
                <a:lnTo>
                  <a:pt x="98" y="6"/>
                </a:lnTo>
                <a:lnTo>
                  <a:pt x="97" y="6"/>
                </a:lnTo>
                <a:lnTo>
                  <a:pt x="96" y="6"/>
                </a:lnTo>
                <a:lnTo>
                  <a:pt x="94" y="8"/>
                </a:lnTo>
                <a:lnTo>
                  <a:pt x="93" y="8"/>
                </a:lnTo>
                <a:lnTo>
                  <a:pt x="92" y="6"/>
                </a:lnTo>
                <a:lnTo>
                  <a:pt x="90" y="4"/>
                </a:lnTo>
                <a:lnTo>
                  <a:pt x="89" y="4"/>
                </a:lnTo>
                <a:lnTo>
                  <a:pt x="89" y="6"/>
                </a:lnTo>
                <a:lnTo>
                  <a:pt x="88" y="6"/>
                </a:lnTo>
                <a:lnTo>
                  <a:pt x="84" y="8"/>
                </a:lnTo>
                <a:lnTo>
                  <a:pt x="82" y="8"/>
                </a:lnTo>
                <a:lnTo>
                  <a:pt x="81" y="8"/>
                </a:lnTo>
                <a:lnTo>
                  <a:pt x="78" y="4"/>
                </a:lnTo>
                <a:lnTo>
                  <a:pt x="78" y="3"/>
                </a:lnTo>
                <a:lnTo>
                  <a:pt x="77" y="3"/>
                </a:lnTo>
                <a:lnTo>
                  <a:pt x="76" y="3"/>
                </a:lnTo>
                <a:lnTo>
                  <a:pt x="74" y="1"/>
                </a:lnTo>
                <a:lnTo>
                  <a:pt x="73" y="0"/>
                </a:lnTo>
                <a:lnTo>
                  <a:pt x="68" y="14"/>
                </a:lnTo>
                <a:lnTo>
                  <a:pt x="65" y="11"/>
                </a:lnTo>
                <a:lnTo>
                  <a:pt x="65" y="9"/>
                </a:lnTo>
                <a:lnTo>
                  <a:pt x="64" y="8"/>
                </a:lnTo>
                <a:lnTo>
                  <a:pt x="61" y="8"/>
                </a:lnTo>
                <a:lnTo>
                  <a:pt x="61" y="9"/>
                </a:lnTo>
                <a:lnTo>
                  <a:pt x="60" y="11"/>
                </a:lnTo>
                <a:lnTo>
                  <a:pt x="58" y="11"/>
                </a:lnTo>
                <a:lnTo>
                  <a:pt x="57" y="11"/>
                </a:lnTo>
                <a:lnTo>
                  <a:pt x="53" y="11"/>
                </a:lnTo>
                <a:lnTo>
                  <a:pt x="53" y="9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56" name="Freeform 53"/>
          <p:cNvSpPr>
            <a:spLocks/>
          </p:cNvSpPr>
          <p:nvPr/>
        </p:nvSpPr>
        <p:spPr bwMode="auto">
          <a:xfrm>
            <a:off x="6535803" y="4715795"/>
            <a:ext cx="307913" cy="571264"/>
          </a:xfrm>
          <a:custGeom>
            <a:avLst/>
            <a:gdLst/>
            <a:ahLst/>
            <a:cxnLst>
              <a:cxn ang="0">
                <a:pos x="161" y="10"/>
              </a:cxn>
              <a:cxn ang="0">
                <a:pos x="155" y="22"/>
              </a:cxn>
              <a:cxn ang="0">
                <a:pos x="155" y="43"/>
              </a:cxn>
              <a:cxn ang="0">
                <a:pos x="157" y="63"/>
              </a:cxn>
              <a:cxn ang="0">
                <a:pos x="158" y="71"/>
              </a:cxn>
              <a:cxn ang="0">
                <a:pos x="159" y="77"/>
              </a:cxn>
              <a:cxn ang="0">
                <a:pos x="158" y="87"/>
              </a:cxn>
              <a:cxn ang="0">
                <a:pos x="149" y="101"/>
              </a:cxn>
              <a:cxn ang="0">
                <a:pos x="142" y="110"/>
              </a:cxn>
              <a:cxn ang="0">
                <a:pos x="131" y="118"/>
              </a:cxn>
              <a:cxn ang="0">
                <a:pos x="103" y="134"/>
              </a:cxn>
              <a:cxn ang="0">
                <a:pos x="99" y="140"/>
              </a:cxn>
              <a:cxn ang="0">
                <a:pos x="90" y="146"/>
              </a:cxn>
              <a:cxn ang="0">
                <a:pos x="78" y="162"/>
              </a:cxn>
              <a:cxn ang="0">
                <a:pos x="69" y="178"/>
              </a:cxn>
              <a:cxn ang="0">
                <a:pos x="74" y="187"/>
              </a:cxn>
              <a:cxn ang="0">
                <a:pos x="79" y="208"/>
              </a:cxn>
              <a:cxn ang="0">
                <a:pos x="82" y="216"/>
              </a:cxn>
              <a:cxn ang="0">
                <a:pos x="79" y="241"/>
              </a:cxn>
              <a:cxn ang="0">
                <a:pos x="79" y="247"/>
              </a:cxn>
              <a:cxn ang="0">
                <a:pos x="62" y="258"/>
              </a:cxn>
              <a:cxn ang="0">
                <a:pos x="45" y="267"/>
              </a:cxn>
              <a:cxn ang="0">
                <a:pos x="37" y="277"/>
              </a:cxn>
              <a:cxn ang="0">
                <a:pos x="44" y="278"/>
              </a:cxn>
              <a:cxn ang="0">
                <a:pos x="30" y="280"/>
              </a:cxn>
              <a:cxn ang="0">
                <a:pos x="25" y="231"/>
              </a:cxn>
              <a:cxn ang="0">
                <a:pos x="24" y="208"/>
              </a:cxn>
              <a:cxn ang="0">
                <a:pos x="36" y="189"/>
              </a:cxn>
              <a:cxn ang="0">
                <a:pos x="41" y="156"/>
              </a:cxn>
              <a:cxn ang="0">
                <a:pos x="45" y="139"/>
              </a:cxn>
              <a:cxn ang="0">
                <a:pos x="42" y="114"/>
              </a:cxn>
              <a:cxn ang="0">
                <a:pos x="24" y="99"/>
              </a:cxn>
              <a:cxn ang="0">
                <a:pos x="4" y="98"/>
              </a:cxn>
              <a:cxn ang="0">
                <a:pos x="0" y="82"/>
              </a:cxn>
              <a:cxn ang="0">
                <a:pos x="52" y="70"/>
              </a:cxn>
              <a:cxn ang="0">
                <a:pos x="66" y="71"/>
              </a:cxn>
              <a:cxn ang="0">
                <a:pos x="69" y="85"/>
              </a:cxn>
              <a:cxn ang="0">
                <a:pos x="66" y="93"/>
              </a:cxn>
              <a:cxn ang="0">
                <a:pos x="67" y="104"/>
              </a:cxn>
              <a:cxn ang="0">
                <a:pos x="73" y="110"/>
              </a:cxn>
              <a:cxn ang="0">
                <a:pos x="78" y="115"/>
              </a:cxn>
              <a:cxn ang="0">
                <a:pos x="79" y="114"/>
              </a:cxn>
              <a:cxn ang="0">
                <a:pos x="78" y="107"/>
              </a:cxn>
              <a:cxn ang="0">
                <a:pos x="83" y="101"/>
              </a:cxn>
              <a:cxn ang="0">
                <a:pos x="87" y="92"/>
              </a:cxn>
              <a:cxn ang="0">
                <a:pos x="89" y="79"/>
              </a:cxn>
              <a:cxn ang="0">
                <a:pos x="82" y="65"/>
              </a:cxn>
              <a:cxn ang="0">
                <a:pos x="73" y="51"/>
              </a:cxn>
              <a:cxn ang="0">
                <a:pos x="71" y="38"/>
              </a:cxn>
              <a:cxn ang="0">
                <a:pos x="75" y="19"/>
              </a:cxn>
              <a:cxn ang="0">
                <a:pos x="91" y="18"/>
              </a:cxn>
              <a:cxn ang="0">
                <a:pos x="97" y="22"/>
              </a:cxn>
              <a:cxn ang="0">
                <a:pos x="113" y="19"/>
              </a:cxn>
              <a:cxn ang="0">
                <a:pos x="126" y="13"/>
              </a:cxn>
              <a:cxn ang="0">
                <a:pos x="143" y="11"/>
              </a:cxn>
              <a:cxn ang="0">
                <a:pos x="158" y="2"/>
              </a:cxn>
            </a:cxnLst>
            <a:rect l="0" t="0" r="r" b="b"/>
            <a:pathLst>
              <a:path w="161" h="289">
                <a:moveTo>
                  <a:pt x="159" y="0"/>
                </a:moveTo>
                <a:lnTo>
                  <a:pt x="161" y="2"/>
                </a:lnTo>
                <a:lnTo>
                  <a:pt x="161" y="4"/>
                </a:lnTo>
                <a:lnTo>
                  <a:pt x="161" y="10"/>
                </a:lnTo>
                <a:lnTo>
                  <a:pt x="161" y="11"/>
                </a:lnTo>
                <a:lnTo>
                  <a:pt x="158" y="15"/>
                </a:lnTo>
                <a:lnTo>
                  <a:pt x="157" y="19"/>
                </a:lnTo>
                <a:lnTo>
                  <a:pt x="155" y="22"/>
                </a:lnTo>
                <a:lnTo>
                  <a:pt x="155" y="30"/>
                </a:lnTo>
                <a:lnTo>
                  <a:pt x="157" y="37"/>
                </a:lnTo>
                <a:lnTo>
                  <a:pt x="157" y="41"/>
                </a:lnTo>
                <a:lnTo>
                  <a:pt x="155" y="43"/>
                </a:lnTo>
                <a:lnTo>
                  <a:pt x="155" y="46"/>
                </a:lnTo>
                <a:lnTo>
                  <a:pt x="157" y="46"/>
                </a:lnTo>
                <a:lnTo>
                  <a:pt x="157" y="57"/>
                </a:lnTo>
                <a:lnTo>
                  <a:pt x="157" y="63"/>
                </a:lnTo>
                <a:lnTo>
                  <a:pt x="157" y="66"/>
                </a:lnTo>
                <a:lnTo>
                  <a:pt x="158" y="66"/>
                </a:lnTo>
                <a:lnTo>
                  <a:pt x="159" y="68"/>
                </a:lnTo>
                <a:lnTo>
                  <a:pt x="158" y="71"/>
                </a:lnTo>
                <a:lnTo>
                  <a:pt x="159" y="71"/>
                </a:lnTo>
                <a:lnTo>
                  <a:pt x="161" y="71"/>
                </a:lnTo>
                <a:lnTo>
                  <a:pt x="161" y="74"/>
                </a:lnTo>
                <a:lnTo>
                  <a:pt x="159" y="77"/>
                </a:lnTo>
                <a:lnTo>
                  <a:pt x="158" y="81"/>
                </a:lnTo>
                <a:lnTo>
                  <a:pt x="155" y="84"/>
                </a:lnTo>
                <a:lnTo>
                  <a:pt x="158" y="85"/>
                </a:lnTo>
                <a:lnTo>
                  <a:pt x="158" y="87"/>
                </a:lnTo>
                <a:lnTo>
                  <a:pt x="157" y="90"/>
                </a:lnTo>
                <a:lnTo>
                  <a:pt x="155" y="92"/>
                </a:lnTo>
                <a:lnTo>
                  <a:pt x="150" y="98"/>
                </a:lnTo>
                <a:lnTo>
                  <a:pt x="149" y="101"/>
                </a:lnTo>
                <a:lnTo>
                  <a:pt x="145" y="103"/>
                </a:lnTo>
                <a:lnTo>
                  <a:pt x="146" y="104"/>
                </a:lnTo>
                <a:lnTo>
                  <a:pt x="145" y="107"/>
                </a:lnTo>
                <a:lnTo>
                  <a:pt x="142" y="110"/>
                </a:lnTo>
                <a:lnTo>
                  <a:pt x="139" y="112"/>
                </a:lnTo>
                <a:lnTo>
                  <a:pt x="137" y="114"/>
                </a:lnTo>
                <a:lnTo>
                  <a:pt x="134" y="117"/>
                </a:lnTo>
                <a:lnTo>
                  <a:pt x="131" y="118"/>
                </a:lnTo>
                <a:lnTo>
                  <a:pt x="126" y="118"/>
                </a:lnTo>
                <a:lnTo>
                  <a:pt x="122" y="120"/>
                </a:lnTo>
                <a:lnTo>
                  <a:pt x="110" y="126"/>
                </a:lnTo>
                <a:lnTo>
                  <a:pt x="103" y="134"/>
                </a:lnTo>
                <a:lnTo>
                  <a:pt x="102" y="137"/>
                </a:lnTo>
                <a:lnTo>
                  <a:pt x="101" y="137"/>
                </a:lnTo>
                <a:lnTo>
                  <a:pt x="98" y="139"/>
                </a:lnTo>
                <a:lnTo>
                  <a:pt x="99" y="140"/>
                </a:lnTo>
                <a:lnTo>
                  <a:pt x="94" y="146"/>
                </a:lnTo>
                <a:lnTo>
                  <a:pt x="93" y="150"/>
                </a:lnTo>
                <a:lnTo>
                  <a:pt x="91" y="150"/>
                </a:lnTo>
                <a:lnTo>
                  <a:pt x="90" y="146"/>
                </a:lnTo>
                <a:lnTo>
                  <a:pt x="89" y="151"/>
                </a:lnTo>
                <a:lnTo>
                  <a:pt x="86" y="153"/>
                </a:lnTo>
                <a:lnTo>
                  <a:pt x="83" y="156"/>
                </a:lnTo>
                <a:lnTo>
                  <a:pt x="78" y="162"/>
                </a:lnTo>
                <a:lnTo>
                  <a:pt x="75" y="164"/>
                </a:lnTo>
                <a:lnTo>
                  <a:pt x="73" y="167"/>
                </a:lnTo>
                <a:lnTo>
                  <a:pt x="70" y="168"/>
                </a:lnTo>
                <a:lnTo>
                  <a:pt x="69" y="178"/>
                </a:lnTo>
                <a:lnTo>
                  <a:pt x="70" y="181"/>
                </a:lnTo>
                <a:lnTo>
                  <a:pt x="73" y="184"/>
                </a:lnTo>
                <a:lnTo>
                  <a:pt x="74" y="186"/>
                </a:lnTo>
                <a:lnTo>
                  <a:pt x="74" y="187"/>
                </a:lnTo>
                <a:lnTo>
                  <a:pt x="75" y="189"/>
                </a:lnTo>
                <a:lnTo>
                  <a:pt x="75" y="190"/>
                </a:lnTo>
                <a:lnTo>
                  <a:pt x="78" y="201"/>
                </a:lnTo>
                <a:lnTo>
                  <a:pt x="79" y="208"/>
                </a:lnTo>
                <a:lnTo>
                  <a:pt x="79" y="209"/>
                </a:lnTo>
                <a:lnTo>
                  <a:pt x="81" y="208"/>
                </a:lnTo>
                <a:lnTo>
                  <a:pt x="82" y="208"/>
                </a:lnTo>
                <a:lnTo>
                  <a:pt x="82" y="216"/>
                </a:lnTo>
                <a:lnTo>
                  <a:pt x="81" y="227"/>
                </a:lnTo>
                <a:lnTo>
                  <a:pt x="78" y="241"/>
                </a:lnTo>
                <a:lnTo>
                  <a:pt x="78" y="244"/>
                </a:lnTo>
                <a:lnTo>
                  <a:pt x="79" y="241"/>
                </a:lnTo>
                <a:lnTo>
                  <a:pt x="81" y="238"/>
                </a:lnTo>
                <a:lnTo>
                  <a:pt x="81" y="239"/>
                </a:lnTo>
                <a:lnTo>
                  <a:pt x="81" y="244"/>
                </a:lnTo>
                <a:lnTo>
                  <a:pt x="79" y="247"/>
                </a:lnTo>
                <a:lnTo>
                  <a:pt x="74" y="252"/>
                </a:lnTo>
                <a:lnTo>
                  <a:pt x="71" y="255"/>
                </a:lnTo>
                <a:lnTo>
                  <a:pt x="66" y="258"/>
                </a:lnTo>
                <a:lnTo>
                  <a:pt x="62" y="258"/>
                </a:lnTo>
                <a:lnTo>
                  <a:pt x="53" y="261"/>
                </a:lnTo>
                <a:lnTo>
                  <a:pt x="50" y="263"/>
                </a:lnTo>
                <a:lnTo>
                  <a:pt x="49" y="266"/>
                </a:lnTo>
                <a:lnTo>
                  <a:pt x="45" y="267"/>
                </a:lnTo>
                <a:lnTo>
                  <a:pt x="44" y="267"/>
                </a:lnTo>
                <a:lnTo>
                  <a:pt x="42" y="269"/>
                </a:lnTo>
                <a:lnTo>
                  <a:pt x="40" y="272"/>
                </a:lnTo>
                <a:lnTo>
                  <a:pt x="37" y="277"/>
                </a:lnTo>
                <a:lnTo>
                  <a:pt x="38" y="278"/>
                </a:lnTo>
                <a:lnTo>
                  <a:pt x="41" y="282"/>
                </a:lnTo>
                <a:lnTo>
                  <a:pt x="42" y="280"/>
                </a:lnTo>
                <a:lnTo>
                  <a:pt x="44" y="278"/>
                </a:lnTo>
                <a:lnTo>
                  <a:pt x="42" y="289"/>
                </a:lnTo>
                <a:lnTo>
                  <a:pt x="41" y="289"/>
                </a:lnTo>
                <a:lnTo>
                  <a:pt x="30" y="289"/>
                </a:lnTo>
                <a:lnTo>
                  <a:pt x="30" y="280"/>
                </a:lnTo>
                <a:lnTo>
                  <a:pt x="30" y="275"/>
                </a:lnTo>
                <a:lnTo>
                  <a:pt x="30" y="272"/>
                </a:lnTo>
                <a:lnTo>
                  <a:pt x="29" y="245"/>
                </a:lnTo>
                <a:lnTo>
                  <a:pt x="25" y="231"/>
                </a:lnTo>
                <a:lnTo>
                  <a:pt x="24" y="222"/>
                </a:lnTo>
                <a:lnTo>
                  <a:pt x="24" y="216"/>
                </a:lnTo>
                <a:lnTo>
                  <a:pt x="24" y="211"/>
                </a:lnTo>
                <a:lnTo>
                  <a:pt x="24" y="208"/>
                </a:lnTo>
                <a:lnTo>
                  <a:pt x="26" y="205"/>
                </a:lnTo>
                <a:lnTo>
                  <a:pt x="29" y="201"/>
                </a:lnTo>
                <a:lnTo>
                  <a:pt x="32" y="200"/>
                </a:lnTo>
                <a:lnTo>
                  <a:pt x="36" y="189"/>
                </a:lnTo>
                <a:lnTo>
                  <a:pt x="38" y="179"/>
                </a:lnTo>
                <a:lnTo>
                  <a:pt x="42" y="168"/>
                </a:lnTo>
                <a:lnTo>
                  <a:pt x="42" y="161"/>
                </a:lnTo>
                <a:lnTo>
                  <a:pt x="41" y="156"/>
                </a:lnTo>
                <a:lnTo>
                  <a:pt x="41" y="151"/>
                </a:lnTo>
                <a:lnTo>
                  <a:pt x="44" y="146"/>
                </a:lnTo>
                <a:lnTo>
                  <a:pt x="44" y="143"/>
                </a:lnTo>
                <a:lnTo>
                  <a:pt x="45" y="139"/>
                </a:lnTo>
                <a:lnTo>
                  <a:pt x="44" y="135"/>
                </a:lnTo>
                <a:lnTo>
                  <a:pt x="45" y="124"/>
                </a:lnTo>
                <a:lnTo>
                  <a:pt x="44" y="117"/>
                </a:lnTo>
                <a:lnTo>
                  <a:pt x="42" y="114"/>
                </a:lnTo>
                <a:lnTo>
                  <a:pt x="42" y="109"/>
                </a:lnTo>
                <a:lnTo>
                  <a:pt x="40" y="107"/>
                </a:lnTo>
                <a:lnTo>
                  <a:pt x="32" y="104"/>
                </a:lnTo>
                <a:lnTo>
                  <a:pt x="24" y="99"/>
                </a:lnTo>
                <a:lnTo>
                  <a:pt x="20" y="98"/>
                </a:lnTo>
                <a:lnTo>
                  <a:pt x="16" y="96"/>
                </a:lnTo>
                <a:lnTo>
                  <a:pt x="9" y="98"/>
                </a:lnTo>
                <a:lnTo>
                  <a:pt x="4" y="98"/>
                </a:lnTo>
                <a:lnTo>
                  <a:pt x="4" y="92"/>
                </a:lnTo>
                <a:lnTo>
                  <a:pt x="2" y="90"/>
                </a:lnTo>
                <a:lnTo>
                  <a:pt x="2" y="87"/>
                </a:lnTo>
                <a:lnTo>
                  <a:pt x="0" y="82"/>
                </a:lnTo>
                <a:lnTo>
                  <a:pt x="45" y="63"/>
                </a:lnTo>
                <a:lnTo>
                  <a:pt x="48" y="63"/>
                </a:lnTo>
                <a:lnTo>
                  <a:pt x="49" y="65"/>
                </a:lnTo>
                <a:lnTo>
                  <a:pt x="52" y="70"/>
                </a:lnTo>
                <a:lnTo>
                  <a:pt x="54" y="73"/>
                </a:lnTo>
                <a:lnTo>
                  <a:pt x="55" y="73"/>
                </a:lnTo>
                <a:lnTo>
                  <a:pt x="58" y="73"/>
                </a:lnTo>
                <a:lnTo>
                  <a:pt x="66" y="71"/>
                </a:lnTo>
                <a:lnTo>
                  <a:pt x="67" y="73"/>
                </a:lnTo>
                <a:lnTo>
                  <a:pt x="69" y="77"/>
                </a:lnTo>
                <a:lnTo>
                  <a:pt x="69" y="79"/>
                </a:lnTo>
                <a:lnTo>
                  <a:pt x="69" y="85"/>
                </a:lnTo>
                <a:lnTo>
                  <a:pt x="69" y="87"/>
                </a:lnTo>
                <a:lnTo>
                  <a:pt x="67" y="90"/>
                </a:lnTo>
                <a:lnTo>
                  <a:pt x="67" y="92"/>
                </a:lnTo>
                <a:lnTo>
                  <a:pt x="66" y="93"/>
                </a:lnTo>
                <a:lnTo>
                  <a:pt x="65" y="96"/>
                </a:lnTo>
                <a:lnTo>
                  <a:pt x="66" y="98"/>
                </a:lnTo>
                <a:lnTo>
                  <a:pt x="67" y="103"/>
                </a:lnTo>
                <a:lnTo>
                  <a:pt x="67" y="104"/>
                </a:lnTo>
                <a:lnTo>
                  <a:pt x="69" y="104"/>
                </a:lnTo>
                <a:lnTo>
                  <a:pt x="70" y="106"/>
                </a:lnTo>
                <a:lnTo>
                  <a:pt x="73" y="109"/>
                </a:lnTo>
                <a:lnTo>
                  <a:pt x="73" y="110"/>
                </a:lnTo>
                <a:lnTo>
                  <a:pt x="74" y="112"/>
                </a:lnTo>
                <a:lnTo>
                  <a:pt x="77" y="112"/>
                </a:lnTo>
                <a:lnTo>
                  <a:pt x="78" y="114"/>
                </a:lnTo>
                <a:lnTo>
                  <a:pt x="78" y="115"/>
                </a:lnTo>
                <a:lnTo>
                  <a:pt x="77" y="117"/>
                </a:lnTo>
                <a:lnTo>
                  <a:pt x="79" y="117"/>
                </a:lnTo>
                <a:lnTo>
                  <a:pt x="81" y="117"/>
                </a:lnTo>
                <a:lnTo>
                  <a:pt x="79" y="114"/>
                </a:lnTo>
                <a:lnTo>
                  <a:pt x="81" y="112"/>
                </a:lnTo>
                <a:lnTo>
                  <a:pt x="79" y="110"/>
                </a:lnTo>
                <a:lnTo>
                  <a:pt x="78" y="109"/>
                </a:lnTo>
                <a:lnTo>
                  <a:pt x="78" y="107"/>
                </a:lnTo>
                <a:lnTo>
                  <a:pt x="79" y="106"/>
                </a:lnTo>
                <a:lnTo>
                  <a:pt x="79" y="104"/>
                </a:lnTo>
                <a:lnTo>
                  <a:pt x="79" y="103"/>
                </a:lnTo>
                <a:lnTo>
                  <a:pt x="83" y="101"/>
                </a:lnTo>
                <a:lnTo>
                  <a:pt x="85" y="99"/>
                </a:lnTo>
                <a:lnTo>
                  <a:pt x="86" y="99"/>
                </a:lnTo>
                <a:lnTo>
                  <a:pt x="87" y="98"/>
                </a:lnTo>
                <a:lnTo>
                  <a:pt x="87" y="92"/>
                </a:lnTo>
                <a:lnTo>
                  <a:pt x="89" y="88"/>
                </a:lnTo>
                <a:lnTo>
                  <a:pt x="87" y="84"/>
                </a:lnTo>
                <a:lnTo>
                  <a:pt x="89" y="81"/>
                </a:lnTo>
                <a:lnTo>
                  <a:pt x="89" y="79"/>
                </a:lnTo>
                <a:lnTo>
                  <a:pt x="89" y="74"/>
                </a:lnTo>
                <a:lnTo>
                  <a:pt x="87" y="73"/>
                </a:lnTo>
                <a:lnTo>
                  <a:pt x="83" y="68"/>
                </a:lnTo>
                <a:lnTo>
                  <a:pt x="82" y="65"/>
                </a:lnTo>
                <a:lnTo>
                  <a:pt x="78" y="60"/>
                </a:lnTo>
                <a:lnTo>
                  <a:pt x="75" y="57"/>
                </a:lnTo>
                <a:lnTo>
                  <a:pt x="73" y="54"/>
                </a:lnTo>
                <a:lnTo>
                  <a:pt x="73" y="51"/>
                </a:lnTo>
                <a:lnTo>
                  <a:pt x="73" y="48"/>
                </a:lnTo>
                <a:lnTo>
                  <a:pt x="71" y="44"/>
                </a:lnTo>
                <a:lnTo>
                  <a:pt x="71" y="40"/>
                </a:lnTo>
                <a:lnTo>
                  <a:pt x="71" y="38"/>
                </a:lnTo>
                <a:lnTo>
                  <a:pt x="70" y="35"/>
                </a:lnTo>
                <a:lnTo>
                  <a:pt x="71" y="30"/>
                </a:lnTo>
                <a:lnTo>
                  <a:pt x="74" y="26"/>
                </a:lnTo>
                <a:lnTo>
                  <a:pt x="75" y="19"/>
                </a:lnTo>
                <a:lnTo>
                  <a:pt x="86" y="19"/>
                </a:lnTo>
                <a:lnTo>
                  <a:pt x="87" y="19"/>
                </a:lnTo>
                <a:lnTo>
                  <a:pt x="89" y="18"/>
                </a:lnTo>
                <a:lnTo>
                  <a:pt x="91" y="18"/>
                </a:lnTo>
                <a:lnTo>
                  <a:pt x="93" y="18"/>
                </a:lnTo>
                <a:lnTo>
                  <a:pt x="94" y="21"/>
                </a:lnTo>
                <a:lnTo>
                  <a:pt x="95" y="21"/>
                </a:lnTo>
                <a:lnTo>
                  <a:pt x="97" y="22"/>
                </a:lnTo>
                <a:lnTo>
                  <a:pt x="99" y="21"/>
                </a:lnTo>
                <a:lnTo>
                  <a:pt x="102" y="21"/>
                </a:lnTo>
                <a:lnTo>
                  <a:pt x="105" y="19"/>
                </a:lnTo>
                <a:lnTo>
                  <a:pt x="113" y="19"/>
                </a:lnTo>
                <a:lnTo>
                  <a:pt x="115" y="19"/>
                </a:lnTo>
                <a:lnTo>
                  <a:pt x="119" y="15"/>
                </a:lnTo>
                <a:lnTo>
                  <a:pt x="123" y="15"/>
                </a:lnTo>
                <a:lnTo>
                  <a:pt x="126" y="13"/>
                </a:lnTo>
                <a:lnTo>
                  <a:pt x="130" y="15"/>
                </a:lnTo>
                <a:lnTo>
                  <a:pt x="133" y="16"/>
                </a:lnTo>
                <a:lnTo>
                  <a:pt x="135" y="15"/>
                </a:lnTo>
                <a:lnTo>
                  <a:pt x="143" y="11"/>
                </a:lnTo>
                <a:lnTo>
                  <a:pt x="149" y="10"/>
                </a:lnTo>
                <a:lnTo>
                  <a:pt x="150" y="8"/>
                </a:lnTo>
                <a:lnTo>
                  <a:pt x="154" y="5"/>
                </a:lnTo>
                <a:lnTo>
                  <a:pt x="158" y="2"/>
                </a:lnTo>
                <a:lnTo>
                  <a:pt x="159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57" name="Freeform 54"/>
          <p:cNvSpPr>
            <a:spLocks/>
          </p:cNvSpPr>
          <p:nvPr/>
        </p:nvSpPr>
        <p:spPr bwMode="auto">
          <a:xfrm>
            <a:off x="6535803" y="4715795"/>
            <a:ext cx="307913" cy="571264"/>
          </a:xfrm>
          <a:custGeom>
            <a:avLst/>
            <a:gdLst/>
            <a:ahLst/>
            <a:cxnLst>
              <a:cxn ang="0">
                <a:pos x="161" y="10"/>
              </a:cxn>
              <a:cxn ang="0">
                <a:pos x="155" y="22"/>
              </a:cxn>
              <a:cxn ang="0">
                <a:pos x="155" y="43"/>
              </a:cxn>
              <a:cxn ang="0">
                <a:pos x="157" y="63"/>
              </a:cxn>
              <a:cxn ang="0">
                <a:pos x="158" y="71"/>
              </a:cxn>
              <a:cxn ang="0">
                <a:pos x="159" y="77"/>
              </a:cxn>
              <a:cxn ang="0">
                <a:pos x="158" y="87"/>
              </a:cxn>
              <a:cxn ang="0">
                <a:pos x="149" y="101"/>
              </a:cxn>
              <a:cxn ang="0">
                <a:pos x="142" y="110"/>
              </a:cxn>
              <a:cxn ang="0">
                <a:pos x="131" y="118"/>
              </a:cxn>
              <a:cxn ang="0">
                <a:pos x="103" y="134"/>
              </a:cxn>
              <a:cxn ang="0">
                <a:pos x="99" y="140"/>
              </a:cxn>
              <a:cxn ang="0">
                <a:pos x="90" y="146"/>
              </a:cxn>
              <a:cxn ang="0">
                <a:pos x="78" y="162"/>
              </a:cxn>
              <a:cxn ang="0">
                <a:pos x="69" y="178"/>
              </a:cxn>
              <a:cxn ang="0">
                <a:pos x="74" y="187"/>
              </a:cxn>
              <a:cxn ang="0">
                <a:pos x="79" y="208"/>
              </a:cxn>
              <a:cxn ang="0">
                <a:pos x="82" y="216"/>
              </a:cxn>
              <a:cxn ang="0">
                <a:pos x="79" y="241"/>
              </a:cxn>
              <a:cxn ang="0">
                <a:pos x="79" y="247"/>
              </a:cxn>
              <a:cxn ang="0">
                <a:pos x="62" y="258"/>
              </a:cxn>
              <a:cxn ang="0">
                <a:pos x="45" y="267"/>
              </a:cxn>
              <a:cxn ang="0">
                <a:pos x="37" y="277"/>
              </a:cxn>
              <a:cxn ang="0">
                <a:pos x="44" y="278"/>
              </a:cxn>
              <a:cxn ang="0">
                <a:pos x="30" y="280"/>
              </a:cxn>
              <a:cxn ang="0">
                <a:pos x="25" y="231"/>
              </a:cxn>
              <a:cxn ang="0">
                <a:pos x="24" y="208"/>
              </a:cxn>
              <a:cxn ang="0">
                <a:pos x="36" y="189"/>
              </a:cxn>
              <a:cxn ang="0">
                <a:pos x="41" y="156"/>
              </a:cxn>
              <a:cxn ang="0">
                <a:pos x="45" y="139"/>
              </a:cxn>
              <a:cxn ang="0">
                <a:pos x="42" y="114"/>
              </a:cxn>
              <a:cxn ang="0">
                <a:pos x="24" y="99"/>
              </a:cxn>
              <a:cxn ang="0">
                <a:pos x="4" y="98"/>
              </a:cxn>
              <a:cxn ang="0">
                <a:pos x="0" y="82"/>
              </a:cxn>
              <a:cxn ang="0">
                <a:pos x="52" y="70"/>
              </a:cxn>
              <a:cxn ang="0">
                <a:pos x="66" y="71"/>
              </a:cxn>
              <a:cxn ang="0">
                <a:pos x="69" y="85"/>
              </a:cxn>
              <a:cxn ang="0">
                <a:pos x="66" y="93"/>
              </a:cxn>
              <a:cxn ang="0">
                <a:pos x="67" y="104"/>
              </a:cxn>
              <a:cxn ang="0">
                <a:pos x="73" y="110"/>
              </a:cxn>
              <a:cxn ang="0">
                <a:pos x="78" y="115"/>
              </a:cxn>
              <a:cxn ang="0">
                <a:pos x="79" y="114"/>
              </a:cxn>
              <a:cxn ang="0">
                <a:pos x="78" y="107"/>
              </a:cxn>
              <a:cxn ang="0">
                <a:pos x="83" y="101"/>
              </a:cxn>
              <a:cxn ang="0">
                <a:pos x="87" y="92"/>
              </a:cxn>
              <a:cxn ang="0">
                <a:pos x="89" y="79"/>
              </a:cxn>
              <a:cxn ang="0">
                <a:pos x="82" y="65"/>
              </a:cxn>
              <a:cxn ang="0">
                <a:pos x="73" y="51"/>
              </a:cxn>
              <a:cxn ang="0">
                <a:pos x="71" y="38"/>
              </a:cxn>
            </a:cxnLst>
            <a:rect l="0" t="0" r="r" b="b"/>
            <a:pathLst>
              <a:path w="161" h="289">
                <a:moveTo>
                  <a:pt x="159" y="0"/>
                </a:moveTo>
                <a:lnTo>
                  <a:pt x="161" y="2"/>
                </a:lnTo>
                <a:lnTo>
                  <a:pt x="161" y="4"/>
                </a:lnTo>
                <a:lnTo>
                  <a:pt x="161" y="10"/>
                </a:lnTo>
                <a:lnTo>
                  <a:pt x="161" y="11"/>
                </a:lnTo>
                <a:lnTo>
                  <a:pt x="158" y="15"/>
                </a:lnTo>
                <a:lnTo>
                  <a:pt x="157" y="19"/>
                </a:lnTo>
                <a:lnTo>
                  <a:pt x="155" y="22"/>
                </a:lnTo>
                <a:lnTo>
                  <a:pt x="155" y="30"/>
                </a:lnTo>
                <a:lnTo>
                  <a:pt x="157" y="37"/>
                </a:lnTo>
                <a:lnTo>
                  <a:pt x="157" y="41"/>
                </a:lnTo>
                <a:lnTo>
                  <a:pt x="155" y="43"/>
                </a:lnTo>
                <a:lnTo>
                  <a:pt x="155" y="46"/>
                </a:lnTo>
                <a:lnTo>
                  <a:pt x="157" y="46"/>
                </a:lnTo>
                <a:lnTo>
                  <a:pt x="157" y="57"/>
                </a:lnTo>
                <a:lnTo>
                  <a:pt x="157" y="63"/>
                </a:lnTo>
                <a:lnTo>
                  <a:pt x="157" y="66"/>
                </a:lnTo>
                <a:lnTo>
                  <a:pt x="158" y="66"/>
                </a:lnTo>
                <a:lnTo>
                  <a:pt x="159" y="68"/>
                </a:lnTo>
                <a:lnTo>
                  <a:pt x="158" y="71"/>
                </a:lnTo>
                <a:lnTo>
                  <a:pt x="159" y="71"/>
                </a:lnTo>
                <a:lnTo>
                  <a:pt x="161" y="71"/>
                </a:lnTo>
                <a:lnTo>
                  <a:pt x="161" y="74"/>
                </a:lnTo>
                <a:lnTo>
                  <a:pt x="159" y="77"/>
                </a:lnTo>
                <a:lnTo>
                  <a:pt x="158" y="81"/>
                </a:lnTo>
                <a:lnTo>
                  <a:pt x="155" y="84"/>
                </a:lnTo>
                <a:lnTo>
                  <a:pt x="158" y="85"/>
                </a:lnTo>
                <a:lnTo>
                  <a:pt x="158" y="87"/>
                </a:lnTo>
                <a:lnTo>
                  <a:pt x="157" y="90"/>
                </a:lnTo>
                <a:lnTo>
                  <a:pt x="155" y="92"/>
                </a:lnTo>
                <a:lnTo>
                  <a:pt x="150" y="98"/>
                </a:lnTo>
                <a:lnTo>
                  <a:pt x="149" y="101"/>
                </a:lnTo>
                <a:lnTo>
                  <a:pt x="145" y="103"/>
                </a:lnTo>
                <a:lnTo>
                  <a:pt x="146" y="104"/>
                </a:lnTo>
                <a:lnTo>
                  <a:pt x="145" y="107"/>
                </a:lnTo>
                <a:lnTo>
                  <a:pt x="142" y="110"/>
                </a:lnTo>
                <a:lnTo>
                  <a:pt x="139" y="112"/>
                </a:lnTo>
                <a:lnTo>
                  <a:pt x="137" y="114"/>
                </a:lnTo>
                <a:lnTo>
                  <a:pt x="134" y="117"/>
                </a:lnTo>
                <a:lnTo>
                  <a:pt x="131" y="118"/>
                </a:lnTo>
                <a:lnTo>
                  <a:pt x="126" y="118"/>
                </a:lnTo>
                <a:lnTo>
                  <a:pt x="122" y="120"/>
                </a:lnTo>
                <a:lnTo>
                  <a:pt x="110" y="126"/>
                </a:lnTo>
                <a:lnTo>
                  <a:pt x="103" y="134"/>
                </a:lnTo>
                <a:lnTo>
                  <a:pt x="102" y="137"/>
                </a:lnTo>
                <a:lnTo>
                  <a:pt x="101" y="137"/>
                </a:lnTo>
                <a:lnTo>
                  <a:pt x="98" y="139"/>
                </a:lnTo>
                <a:lnTo>
                  <a:pt x="99" y="140"/>
                </a:lnTo>
                <a:lnTo>
                  <a:pt x="94" y="146"/>
                </a:lnTo>
                <a:lnTo>
                  <a:pt x="93" y="150"/>
                </a:lnTo>
                <a:lnTo>
                  <a:pt x="91" y="150"/>
                </a:lnTo>
                <a:lnTo>
                  <a:pt x="90" y="146"/>
                </a:lnTo>
                <a:lnTo>
                  <a:pt x="89" y="151"/>
                </a:lnTo>
                <a:lnTo>
                  <a:pt x="86" y="153"/>
                </a:lnTo>
                <a:lnTo>
                  <a:pt x="83" y="156"/>
                </a:lnTo>
                <a:lnTo>
                  <a:pt x="78" y="162"/>
                </a:lnTo>
                <a:lnTo>
                  <a:pt x="75" y="164"/>
                </a:lnTo>
                <a:lnTo>
                  <a:pt x="73" y="167"/>
                </a:lnTo>
                <a:lnTo>
                  <a:pt x="70" y="168"/>
                </a:lnTo>
                <a:lnTo>
                  <a:pt x="69" y="178"/>
                </a:lnTo>
                <a:lnTo>
                  <a:pt x="70" y="181"/>
                </a:lnTo>
                <a:lnTo>
                  <a:pt x="73" y="184"/>
                </a:lnTo>
                <a:lnTo>
                  <a:pt x="74" y="186"/>
                </a:lnTo>
                <a:lnTo>
                  <a:pt x="74" y="187"/>
                </a:lnTo>
                <a:lnTo>
                  <a:pt x="75" y="189"/>
                </a:lnTo>
                <a:lnTo>
                  <a:pt x="75" y="190"/>
                </a:lnTo>
                <a:lnTo>
                  <a:pt x="78" y="201"/>
                </a:lnTo>
                <a:lnTo>
                  <a:pt x="79" y="208"/>
                </a:lnTo>
                <a:lnTo>
                  <a:pt x="79" y="209"/>
                </a:lnTo>
                <a:lnTo>
                  <a:pt x="81" y="208"/>
                </a:lnTo>
                <a:lnTo>
                  <a:pt x="82" y="208"/>
                </a:lnTo>
                <a:lnTo>
                  <a:pt x="82" y="216"/>
                </a:lnTo>
                <a:lnTo>
                  <a:pt x="81" y="227"/>
                </a:lnTo>
                <a:lnTo>
                  <a:pt x="78" y="241"/>
                </a:lnTo>
                <a:lnTo>
                  <a:pt x="78" y="244"/>
                </a:lnTo>
                <a:lnTo>
                  <a:pt x="79" y="241"/>
                </a:lnTo>
                <a:lnTo>
                  <a:pt x="81" y="238"/>
                </a:lnTo>
                <a:lnTo>
                  <a:pt x="81" y="239"/>
                </a:lnTo>
                <a:lnTo>
                  <a:pt x="81" y="244"/>
                </a:lnTo>
                <a:lnTo>
                  <a:pt x="79" y="247"/>
                </a:lnTo>
                <a:lnTo>
                  <a:pt x="74" y="252"/>
                </a:lnTo>
                <a:lnTo>
                  <a:pt x="71" y="255"/>
                </a:lnTo>
                <a:lnTo>
                  <a:pt x="66" y="258"/>
                </a:lnTo>
                <a:lnTo>
                  <a:pt x="62" y="258"/>
                </a:lnTo>
                <a:lnTo>
                  <a:pt x="53" y="261"/>
                </a:lnTo>
                <a:lnTo>
                  <a:pt x="50" y="263"/>
                </a:lnTo>
                <a:lnTo>
                  <a:pt x="49" y="266"/>
                </a:lnTo>
                <a:lnTo>
                  <a:pt x="45" y="267"/>
                </a:lnTo>
                <a:lnTo>
                  <a:pt x="44" y="267"/>
                </a:lnTo>
                <a:lnTo>
                  <a:pt x="42" y="269"/>
                </a:lnTo>
                <a:lnTo>
                  <a:pt x="40" y="272"/>
                </a:lnTo>
                <a:lnTo>
                  <a:pt x="37" y="277"/>
                </a:lnTo>
                <a:lnTo>
                  <a:pt x="38" y="278"/>
                </a:lnTo>
                <a:lnTo>
                  <a:pt x="41" y="282"/>
                </a:lnTo>
                <a:lnTo>
                  <a:pt x="42" y="280"/>
                </a:lnTo>
                <a:lnTo>
                  <a:pt x="44" y="278"/>
                </a:lnTo>
                <a:lnTo>
                  <a:pt x="42" y="289"/>
                </a:lnTo>
                <a:lnTo>
                  <a:pt x="41" y="289"/>
                </a:lnTo>
                <a:lnTo>
                  <a:pt x="30" y="289"/>
                </a:lnTo>
                <a:lnTo>
                  <a:pt x="30" y="280"/>
                </a:lnTo>
                <a:lnTo>
                  <a:pt x="30" y="275"/>
                </a:lnTo>
                <a:lnTo>
                  <a:pt x="30" y="272"/>
                </a:lnTo>
                <a:lnTo>
                  <a:pt x="29" y="245"/>
                </a:lnTo>
                <a:lnTo>
                  <a:pt x="25" y="231"/>
                </a:lnTo>
                <a:lnTo>
                  <a:pt x="24" y="222"/>
                </a:lnTo>
                <a:lnTo>
                  <a:pt x="24" y="216"/>
                </a:lnTo>
                <a:lnTo>
                  <a:pt x="24" y="211"/>
                </a:lnTo>
                <a:lnTo>
                  <a:pt x="24" y="208"/>
                </a:lnTo>
                <a:lnTo>
                  <a:pt x="26" y="205"/>
                </a:lnTo>
                <a:lnTo>
                  <a:pt x="29" y="201"/>
                </a:lnTo>
                <a:lnTo>
                  <a:pt x="32" y="200"/>
                </a:lnTo>
                <a:lnTo>
                  <a:pt x="36" y="189"/>
                </a:lnTo>
                <a:lnTo>
                  <a:pt x="38" y="179"/>
                </a:lnTo>
                <a:lnTo>
                  <a:pt x="42" y="168"/>
                </a:lnTo>
                <a:lnTo>
                  <a:pt x="42" y="161"/>
                </a:lnTo>
                <a:lnTo>
                  <a:pt x="41" y="156"/>
                </a:lnTo>
                <a:lnTo>
                  <a:pt x="41" y="151"/>
                </a:lnTo>
                <a:lnTo>
                  <a:pt x="44" y="146"/>
                </a:lnTo>
                <a:lnTo>
                  <a:pt x="44" y="143"/>
                </a:lnTo>
                <a:lnTo>
                  <a:pt x="45" y="139"/>
                </a:lnTo>
                <a:lnTo>
                  <a:pt x="44" y="135"/>
                </a:lnTo>
                <a:lnTo>
                  <a:pt x="45" y="124"/>
                </a:lnTo>
                <a:lnTo>
                  <a:pt x="44" y="117"/>
                </a:lnTo>
                <a:lnTo>
                  <a:pt x="42" y="114"/>
                </a:lnTo>
                <a:lnTo>
                  <a:pt x="42" y="109"/>
                </a:lnTo>
                <a:lnTo>
                  <a:pt x="40" y="107"/>
                </a:lnTo>
                <a:lnTo>
                  <a:pt x="32" y="104"/>
                </a:lnTo>
                <a:lnTo>
                  <a:pt x="24" y="99"/>
                </a:lnTo>
                <a:lnTo>
                  <a:pt x="20" y="98"/>
                </a:lnTo>
                <a:lnTo>
                  <a:pt x="16" y="96"/>
                </a:lnTo>
                <a:lnTo>
                  <a:pt x="9" y="98"/>
                </a:lnTo>
                <a:lnTo>
                  <a:pt x="4" y="98"/>
                </a:lnTo>
                <a:lnTo>
                  <a:pt x="4" y="92"/>
                </a:lnTo>
                <a:lnTo>
                  <a:pt x="2" y="90"/>
                </a:lnTo>
                <a:lnTo>
                  <a:pt x="2" y="87"/>
                </a:lnTo>
                <a:lnTo>
                  <a:pt x="0" y="82"/>
                </a:lnTo>
                <a:lnTo>
                  <a:pt x="45" y="63"/>
                </a:lnTo>
                <a:lnTo>
                  <a:pt x="48" y="63"/>
                </a:lnTo>
                <a:lnTo>
                  <a:pt x="49" y="65"/>
                </a:lnTo>
                <a:lnTo>
                  <a:pt x="52" y="70"/>
                </a:lnTo>
                <a:lnTo>
                  <a:pt x="54" y="73"/>
                </a:lnTo>
                <a:lnTo>
                  <a:pt x="55" y="73"/>
                </a:lnTo>
                <a:lnTo>
                  <a:pt x="58" y="73"/>
                </a:lnTo>
                <a:lnTo>
                  <a:pt x="66" y="71"/>
                </a:lnTo>
                <a:lnTo>
                  <a:pt x="67" y="73"/>
                </a:lnTo>
                <a:lnTo>
                  <a:pt x="69" y="77"/>
                </a:lnTo>
                <a:lnTo>
                  <a:pt x="69" y="79"/>
                </a:lnTo>
                <a:lnTo>
                  <a:pt x="69" y="85"/>
                </a:lnTo>
                <a:lnTo>
                  <a:pt x="69" y="87"/>
                </a:lnTo>
                <a:lnTo>
                  <a:pt x="67" y="90"/>
                </a:lnTo>
                <a:lnTo>
                  <a:pt x="67" y="92"/>
                </a:lnTo>
                <a:lnTo>
                  <a:pt x="66" y="93"/>
                </a:lnTo>
                <a:lnTo>
                  <a:pt x="65" y="96"/>
                </a:lnTo>
                <a:lnTo>
                  <a:pt x="66" y="98"/>
                </a:lnTo>
                <a:lnTo>
                  <a:pt x="67" y="103"/>
                </a:lnTo>
                <a:lnTo>
                  <a:pt x="67" y="104"/>
                </a:lnTo>
                <a:lnTo>
                  <a:pt x="69" y="104"/>
                </a:lnTo>
                <a:lnTo>
                  <a:pt x="70" y="106"/>
                </a:lnTo>
                <a:lnTo>
                  <a:pt x="73" y="109"/>
                </a:lnTo>
                <a:lnTo>
                  <a:pt x="73" y="110"/>
                </a:lnTo>
                <a:lnTo>
                  <a:pt x="74" y="112"/>
                </a:lnTo>
                <a:lnTo>
                  <a:pt x="77" y="112"/>
                </a:lnTo>
                <a:lnTo>
                  <a:pt x="78" y="114"/>
                </a:lnTo>
                <a:lnTo>
                  <a:pt x="78" y="115"/>
                </a:lnTo>
                <a:lnTo>
                  <a:pt x="77" y="117"/>
                </a:lnTo>
                <a:lnTo>
                  <a:pt x="79" y="117"/>
                </a:lnTo>
                <a:lnTo>
                  <a:pt x="81" y="117"/>
                </a:lnTo>
                <a:lnTo>
                  <a:pt x="79" y="114"/>
                </a:lnTo>
                <a:lnTo>
                  <a:pt x="81" y="112"/>
                </a:lnTo>
                <a:lnTo>
                  <a:pt x="79" y="110"/>
                </a:lnTo>
                <a:lnTo>
                  <a:pt x="78" y="109"/>
                </a:lnTo>
                <a:lnTo>
                  <a:pt x="78" y="107"/>
                </a:lnTo>
                <a:lnTo>
                  <a:pt x="79" y="106"/>
                </a:lnTo>
                <a:lnTo>
                  <a:pt x="79" y="104"/>
                </a:lnTo>
                <a:lnTo>
                  <a:pt x="79" y="103"/>
                </a:lnTo>
                <a:lnTo>
                  <a:pt x="83" y="101"/>
                </a:lnTo>
                <a:lnTo>
                  <a:pt x="85" y="99"/>
                </a:lnTo>
                <a:lnTo>
                  <a:pt x="86" y="99"/>
                </a:lnTo>
                <a:lnTo>
                  <a:pt x="87" y="98"/>
                </a:lnTo>
                <a:lnTo>
                  <a:pt x="87" y="92"/>
                </a:lnTo>
                <a:lnTo>
                  <a:pt x="89" y="88"/>
                </a:lnTo>
                <a:lnTo>
                  <a:pt x="87" y="84"/>
                </a:lnTo>
                <a:lnTo>
                  <a:pt x="89" y="81"/>
                </a:lnTo>
                <a:lnTo>
                  <a:pt x="89" y="79"/>
                </a:lnTo>
                <a:lnTo>
                  <a:pt x="89" y="74"/>
                </a:lnTo>
                <a:lnTo>
                  <a:pt x="87" y="73"/>
                </a:lnTo>
                <a:lnTo>
                  <a:pt x="83" y="68"/>
                </a:lnTo>
                <a:lnTo>
                  <a:pt x="82" y="65"/>
                </a:lnTo>
                <a:lnTo>
                  <a:pt x="78" y="60"/>
                </a:lnTo>
                <a:lnTo>
                  <a:pt x="75" y="57"/>
                </a:lnTo>
                <a:lnTo>
                  <a:pt x="73" y="54"/>
                </a:lnTo>
                <a:lnTo>
                  <a:pt x="73" y="51"/>
                </a:lnTo>
                <a:lnTo>
                  <a:pt x="73" y="48"/>
                </a:lnTo>
                <a:lnTo>
                  <a:pt x="71" y="44"/>
                </a:lnTo>
                <a:lnTo>
                  <a:pt x="71" y="40"/>
                </a:lnTo>
                <a:lnTo>
                  <a:pt x="71" y="38"/>
                </a:lnTo>
                <a:lnTo>
                  <a:pt x="70" y="35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FFC000"/>
              </a:solidFill>
            </a:endParaRPr>
          </a:p>
        </p:txBody>
      </p:sp>
      <p:sp>
        <p:nvSpPr>
          <p:cNvPr id="158" name="Freeform 55"/>
          <p:cNvSpPr>
            <a:spLocks/>
          </p:cNvSpPr>
          <p:nvPr/>
        </p:nvSpPr>
        <p:spPr bwMode="auto">
          <a:xfrm>
            <a:off x="6670271" y="4715795"/>
            <a:ext cx="169547" cy="68724"/>
          </a:xfrm>
          <a:custGeom>
            <a:avLst/>
            <a:gdLst/>
            <a:ahLst/>
            <a:cxnLst>
              <a:cxn ang="0">
                <a:pos x="0" y="35"/>
              </a:cxn>
              <a:cxn ang="0">
                <a:pos x="1" y="30"/>
              </a:cxn>
              <a:cxn ang="0">
                <a:pos x="4" y="26"/>
              </a:cxn>
              <a:cxn ang="0">
                <a:pos x="5" y="19"/>
              </a:cxn>
              <a:cxn ang="0">
                <a:pos x="16" y="19"/>
              </a:cxn>
              <a:cxn ang="0">
                <a:pos x="17" y="19"/>
              </a:cxn>
              <a:cxn ang="0">
                <a:pos x="19" y="18"/>
              </a:cxn>
              <a:cxn ang="0">
                <a:pos x="21" y="18"/>
              </a:cxn>
              <a:cxn ang="0">
                <a:pos x="23" y="18"/>
              </a:cxn>
              <a:cxn ang="0">
                <a:pos x="24" y="21"/>
              </a:cxn>
              <a:cxn ang="0">
                <a:pos x="25" y="21"/>
              </a:cxn>
              <a:cxn ang="0">
                <a:pos x="27" y="22"/>
              </a:cxn>
              <a:cxn ang="0">
                <a:pos x="29" y="21"/>
              </a:cxn>
              <a:cxn ang="0">
                <a:pos x="32" y="21"/>
              </a:cxn>
              <a:cxn ang="0">
                <a:pos x="35" y="19"/>
              </a:cxn>
              <a:cxn ang="0">
                <a:pos x="43" y="19"/>
              </a:cxn>
              <a:cxn ang="0">
                <a:pos x="45" y="19"/>
              </a:cxn>
              <a:cxn ang="0">
                <a:pos x="49" y="15"/>
              </a:cxn>
              <a:cxn ang="0">
                <a:pos x="53" y="15"/>
              </a:cxn>
              <a:cxn ang="0">
                <a:pos x="56" y="13"/>
              </a:cxn>
              <a:cxn ang="0">
                <a:pos x="60" y="15"/>
              </a:cxn>
              <a:cxn ang="0">
                <a:pos x="63" y="16"/>
              </a:cxn>
              <a:cxn ang="0">
                <a:pos x="65" y="15"/>
              </a:cxn>
              <a:cxn ang="0">
                <a:pos x="73" y="11"/>
              </a:cxn>
              <a:cxn ang="0">
                <a:pos x="79" y="10"/>
              </a:cxn>
              <a:cxn ang="0">
                <a:pos x="80" y="8"/>
              </a:cxn>
              <a:cxn ang="0">
                <a:pos x="84" y="5"/>
              </a:cxn>
              <a:cxn ang="0">
                <a:pos x="88" y="2"/>
              </a:cxn>
              <a:cxn ang="0">
                <a:pos x="89" y="0"/>
              </a:cxn>
            </a:cxnLst>
            <a:rect l="0" t="0" r="r" b="b"/>
            <a:pathLst>
              <a:path w="89" h="35">
                <a:moveTo>
                  <a:pt x="0" y="35"/>
                </a:moveTo>
                <a:lnTo>
                  <a:pt x="1" y="30"/>
                </a:lnTo>
                <a:lnTo>
                  <a:pt x="4" y="26"/>
                </a:lnTo>
                <a:lnTo>
                  <a:pt x="5" y="19"/>
                </a:lnTo>
                <a:lnTo>
                  <a:pt x="16" y="19"/>
                </a:lnTo>
                <a:lnTo>
                  <a:pt x="17" y="19"/>
                </a:lnTo>
                <a:lnTo>
                  <a:pt x="19" y="18"/>
                </a:lnTo>
                <a:lnTo>
                  <a:pt x="21" y="18"/>
                </a:lnTo>
                <a:lnTo>
                  <a:pt x="23" y="18"/>
                </a:lnTo>
                <a:lnTo>
                  <a:pt x="24" y="21"/>
                </a:lnTo>
                <a:lnTo>
                  <a:pt x="25" y="21"/>
                </a:lnTo>
                <a:lnTo>
                  <a:pt x="27" y="22"/>
                </a:lnTo>
                <a:lnTo>
                  <a:pt x="29" y="21"/>
                </a:lnTo>
                <a:lnTo>
                  <a:pt x="32" y="21"/>
                </a:lnTo>
                <a:lnTo>
                  <a:pt x="35" y="19"/>
                </a:lnTo>
                <a:lnTo>
                  <a:pt x="43" y="19"/>
                </a:lnTo>
                <a:lnTo>
                  <a:pt x="45" y="19"/>
                </a:lnTo>
                <a:lnTo>
                  <a:pt x="49" y="15"/>
                </a:lnTo>
                <a:lnTo>
                  <a:pt x="53" y="15"/>
                </a:lnTo>
                <a:lnTo>
                  <a:pt x="56" y="13"/>
                </a:lnTo>
                <a:lnTo>
                  <a:pt x="60" y="15"/>
                </a:lnTo>
                <a:lnTo>
                  <a:pt x="63" y="16"/>
                </a:lnTo>
                <a:lnTo>
                  <a:pt x="65" y="15"/>
                </a:lnTo>
                <a:lnTo>
                  <a:pt x="73" y="11"/>
                </a:lnTo>
                <a:lnTo>
                  <a:pt x="79" y="10"/>
                </a:lnTo>
                <a:lnTo>
                  <a:pt x="80" y="8"/>
                </a:lnTo>
                <a:lnTo>
                  <a:pt x="84" y="5"/>
                </a:lnTo>
                <a:lnTo>
                  <a:pt x="88" y="2"/>
                </a:lnTo>
                <a:lnTo>
                  <a:pt x="89" y="0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59" name="Freeform 56"/>
          <p:cNvSpPr>
            <a:spLocks/>
          </p:cNvSpPr>
          <p:nvPr/>
        </p:nvSpPr>
        <p:spPr bwMode="auto">
          <a:xfrm>
            <a:off x="6962591" y="2941872"/>
            <a:ext cx="31181" cy="27920"/>
          </a:xfrm>
          <a:custGeom>
            <a:avLst/>
            <a:gdLst/>
            <a:ahLst/>
            <a:cxnLst>
              <a:cxn ang="0">
                <a:pos x="17" y="14"/>
              </a:cxn>
              <a:cxn ang="0">
                <a:pos x="13" y="14"/>
              </a:cxn>
              <a:cxn ang="0">
                <a:pos x="9" y="12"/>
              </a:cxn>
              <a:cxn ang="0">
                <a:pos x="1" y="2"/>
              </a:cxn>
              <a:cxn ang="0">
                <a:pos x="0" y="0"/>
              </a:cxn>
              <a:cxn ang="0">
                <a:pos x="3" y="0"/>
              </a:cxn>
              <a:cxn ang="0">
                <a:pos x="4" y="0"/>
              </a:cxn>
              <a:cxn ang="0">
                <a:pos x="5" y="2"/>
              </a:cxn>
              <a:cxn ang="0">
                <a:pos x="8" y="3"/>
              </a:cxn>
              <a:cxn ang="0">
                <a:pos x="9" y="3"/>
              </a:cxn>
              <a:cxn ang="0">
                <a:pos x="12" y="2"/>
              </a:cxn>
              <a:cxn ang="0">
                <a:pos x="13" y="3"/>
              </a:cxn>
              <a:cxn ang="0">
                <a:pos x="15" y="5"/>
              </a:cxn>
              <a:cxn ang="0">
                <a:pos x="16" y="6"/>
              </a:cxn>
              <a:cxn ang="0">
                <a:pos x="17" y="8"/>
              </a:cxn>
              <a:cxn ang="0">
                <a:pos x="17" y="14"/>
              </a:cxn>
            </a:cxnLst>
            <a:rect l="0" t="0" r="r" b="b"/>
            <a:pathLst>
              <a:path w="17" h="14">
                <a:moveTo>
                  <a:pt x="17" y="14"/>
                </a:moveTo>
                <a:lnTo>
                  <a:pt x="13" y="14"/>
                </a:lnTo>
                <a:lnTo>
                  <a:pt x="9" y="12"/>
                </a:lnTo>
                <a:lnTo>
                  <a:pt x="1" y="2"/>
                </a:lnTo>
                <a:lnTo>
                  <a:pt x="0" y="0"/>
                </a:lnTo>
                <a:lnTo>
                  <a:pt x="3" y="0"/>
                </a:lnTo>
                <a:lnTo>
                  <a:pt x="4" y="0"/>
                </a:lnTo>
                <a:lnTo>
                  <a:pt x="5" y="2"/>
                </a:lnTo>
                <a:lnTo>
                  <a:pt x="8" y="3"/>
                </a:lnTo>
                <a:lnTo>
                  <a:pt x="9" y="3"/>
                </a:lnTo>
                <a:lnTo>
                  <a:pt x="12" y="2"/>
                </a:lnTo>
                <a:lnTo>
                  <a:pt x="13" y="3"/>
                </a:lnTo>
                <a:lnTo>
                  <a:pt x="15" y="5"/>
                </a:lnTo>
                <a:lnTo>
                  <a:pt x="16" y="6"/>
                </a:lnTo>
                <a:lnTo>
                  <a:pt x="17" y="8"/>
                </a:lnTo>
                <a:lnTo>
                  <a:pt x="17" y="14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60" name="Freeform 57"/>
          <p:cNvSpPr>
            <a:spLocks/>
          </p:cNvSpPr>
          <p:nvPr/>
        </p:nvSpPr>
        <p:spPr bwMode="auto">
          <a:xfrm>
            <a:off x="6962591" y="2941872"/>
            <a:ext cx="31181" cy="27920"/>
          </a:xfrm>
          <a:custGeom>
            <a:avLst/>
            <a:gdLst/>
            <a:ahLst/>
            <a:cxnLst>
              <a:cxn ang="0">
                <a:pos x="17" y="14"/>
              </a:cxn>
              <a:cxn ang="0">
                <a:pos x="13" y="14"/>
              </a:cxn>
              <a:cxn ang="0">
                <a:pos x="9" y="12"/>
              </a:cxn>
              <a:cxn ang="0">
                <a:pos x="1" y="2"/>
              </a:cxn>
              <a:cxn ang="0">
                <a:pos x="0" y="0"/>
              </a:cxn>
              <a:cxn ang="0">
                <a:pos x="3" y="0"/>
              </a:cxn>
              <a:cxn ang="0">
                <a:pos x="4" y="0"/>
              </a:cxn>
              <a:cxn ang="0">
                <a:pos x="5" y="2"/>
              </a:cxn>
              <a:cxn ang="0">
                <a:pos x="8" y="3"/>
              </a:cxn>
              <a:cxn ang="0">
                <a:pos x="9" y="3"/>
              </a:cxn>
              <a:cxn ang="0">
                <a:pos x="12" y="2"/>
              </a:cxn>
              <a:cxn ang="0">
                <a:pos x="13" y="3"/>
              </a:cxn>
              <a:cxn ang="0">
                <a:pos x="15" y="5"/>
              </a:cxn>
              <a:cxn ang="0">
                <a:pos x="16" y="6"/>
              </a:cxn>
              <a:cxn ang="0">
                <a:pos x="17" y="8"/>
              </a:cxn>
              <a:cxn ang="0">
                <a:pos x="17" y="14"/>
              </a:cxn>
            </a:cxnLst>
            <a:rect l="0" t="0" r="r" b="b"/>
            <a:pathLst>
              <a:path w="17" h="14">
                <a:moveTo>
                  <a:pt x="17" y="14"/>
                </a:moveTo>
                <a:lnTo>
                  <a:pt x="13" y="14"/>
                </a:lnTo>
                <a:lnTo>
                  <a:pt x="9" y="12"/>
                </a:lnTo>
                <a:lnTo>
                  <a:pt x="1" y="2"/>
                </a:lnTo>
                <a:lnTo>
                  <a:pt x="0" y="0"/>
                </a:lnTo>
                <a:lnTo>
                  <a:pt x="3" y="0"/>
                </a:lnTo>
                <a:lnTo>
                  <a:pt x="4" y="0"/>
                </a:lnTo>
                <a:lnTo>
                  <a:pt x="5" y="2"/>
                </a:lnTo>
                <a:lnTo>
                  <a:pt x="8" y="3"/>
                </a:lnTo>
                <a:lnTo>
                  <a:pt x="9" y="3"/>
                </a:lnTo>
                <a:lnTo>
                  <a:pt x="12" y="2"/>
                </a:lnTo>
                <a:lnTo>
                  <a:pt x="13" y="3"/>
                </a:lnTo>
                <a:lnTo>
                  <a:pt x="15" y="5"/>
                </a:lnTo>
                <a:lnTo>
                  <a:pt x="16" y="6"/>
                </a:lnTo>
                <a:lnTo>
                  <a:pt x="17" y="8"/>
                </a:lnTo>
                <a:lnTo>
                  <a:pt x="17" y="14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61" name="Freeform 58"/>
          <p:cNvSpPr>
            <a:spLocks/>
          </p:cNvSpPr>
          <p:nvPr/>
        </p:nvSpPr>
        <p:spPr bwMode="auto">
          <a:xfrm>
            <a:off x="6968440" y="2866705"/>
            <a:ext cx="150058" cy="120266"/>
          </a:xfrm>
          <a:custGeom>
            <a:avLst/>
            <a:gdLst/>
            <a:ahLst/>
            <a:cxnLst>
              <a:cxn ang="0">
                <a:pos x="24" y="1"/>
              </a:cxn>
              <a:cxn ang="0">
                <a:pos x="29" y="3"/>
              </a:cxn>
              <a:cxn ang="0">
                <a:pos x="32" y="6"/>
              </a:cxn>
              <a:cxn ang="0">
                <a:pos x="34" y="11"/>
              </a:cxn>
              <a:cxn ang="0">
                <a:pos x="41" y="12"/>
              </a:cxn>
              <a:cxn ang="0">
                <a:pos x="44" y="9"/>
              </a:cxn>
              <a:cxn ang="0">
                <a:pos x="48" y="4"/>
              </a:cxn>
              <a:cxn ang="0">
                <a:pos x="50" y="3"/>
              </a:cxn>
              <a:cxn ang="0">
                <a:pos x="59" y="8"/>
              </a:cxn>
              <a:cxn ang="0">
                <a:pos x="66" y="20"/>
              </a:cxn>
              <a:cxn ang="0">
                <a:pos x="70" y="23"/>
              </a:cxn>
              <a:cxn ang="0">
                <a:pos x="77" y="23"/>
              </a:cxn>
              <a:cxn ang="0">
                <a:pos x="79" y="26"/>
              </a:cxn>
              <a:cxn ang="0">
                <a:pos x="77" y="26"/>
              </a:cxn>
              <a:cxn ang="0">
                <a:pos x="70" y="28"/>
              </a:cxn>
              <a:cxn ang="0">
                <a:pos x="67" y="36"/>
              </a:cxn>
              <a:cxn ang="0">
                <a:pos x="65" y="44"/>
              </a:cxn>
              <a:cxn ang="0">
                <a:pos x="61" y="47"/>
              </a:cxn>
              <a:cxn ang="0">
                <a:pos x="58" y="50"/>
              </a:cxn>
              <a:cxn ang="0">
                <a:pos x="58" y="59"/>
              </a:cxn>
              <a:cxn ang="0">
                <a:pos x="55" y="59"/>
              </a:cxn>
              <a:cxn ang="0">
                <a:pos x="52" y="58"/>
              </a:cxn>
              <a:cxn ang="0">
                <a:pos x="48" y="55"/>
              </a:cxn>
              <a:cxn ang="0">
                <a:pos x="45" y="53"/>
              </a:cxn>
              <a:cxn ang="0">
                <a:pos x="48" y="45"/>
              </a:cxn>
              <a:cxn ang="0">
                <a:pos x="44" y="39"/>
              </a:cxn>
              <a:cxn ang="0">
                <a:pos x="33" y="44"/>
              </a:cxn>
              <a:cxn ang="0">
                <a:pos x="28" y="50"/>
              </a:cxn>
              <a:cxn ang="0">
                <a:pos x="22" y="53"/>
              </a:cxn>
              <a:cxn ang="0">
                <a:pos x="21" y="50"/>
              </a:cxn>
              <a:cxn ang="0">
                <a:pos x="22" y="47"/>
              </a:cxn>
              <a:cxn ang="0">
                <a:pos x="21" y="44"/>
              </a:cxn>
              <a:cxn ang="0">
                <a:pos x="22" y="41"/>
              </a:cxn>
              <a:cxn ang="0">
                <a:pos x="17" y="41"/>
              </a:cxn>
              <a:cxn ang="0">
                <a:pos x="10" y="34"/>
              </a:cxn>
              <a:cxn ang="0">
                <a:pos x="13" y="33"/>
              </a:cxn>
              <a:cxn ang="0">
                <a:pos x="13" y="28"/>
              </a:cxn>
              <a:cxn ang="0">
                <a:pos x="8" y="25"/>
              </a:cxn>
              <a:cxn ang="0">
                <a:pos x="5" y="22"/>
              </a:cxn>
              <a:cxn ang="0">
                <a:pos x="6" y="19"/>
              </a:cxn>
              <a:cxn ang="0">
                <a:pos x="5" y="15"/>
              </a:cxn>
              <a:cxn ang="0">
                <a:pos x="0" y="12"/>
              </a:cxn>
              <a:cxn ang="0">
                <a:pos x="4" y="8"/>
              </a:cxn>
              <a:cxn ang="0">
                <a:pos x="9" y="8"/>
              </a:cxn>
              <a:cxn ang="0">
                <a:pos x="14" y="11"/>
              </a:cxn>
              <a:cxn ang="0">
                <a:pos x="21" y="12"/>
              </a:cxn>
              <a:cxn ang="0">
                <a:pos x="24" y="11"/>
              </a:cxn>
              <a:cxn ang="0">
                <a:pos x="20" y="8"/>
              </a:cxn>
              <a:cxn ang="0">
                <a:pos x="17" y="4"/>
              </a:cxn>
              <a:cxn ang="0">
                <a:pos x="21" y="0"/>
              </a:cxn>
            </a:cxnLst>
            <a:rect l="0" t="0" r="r" b="b"/>
            <a:pathLst>
              <a:path w="79" h="61">
                <a:moveTo>
                  <a:pt x="21" y="0"/>
                </a:moveTo>
                <a:lnTo>
                  <a:pt x="24" y="1"/>
                </a:lnTo>
                <a:lnTo>
                  <a:pt x="25" y="1"/>
                </a:lnTo>
                <a:lnTo>
                  <a:pt x="29" y="3"/>
                </a:lnTo>
                <a:lnTo>
                  <a:pt x="29" y="4"/>
                </a:lnTo>
                <a:lnTo>
                  <a:pt x="32" y="6"/>
                </a:lnTo>
                <a:lnTo>
                  <a:pt x="33" y="9"/>
                </a:lnTo>
                <a:lnTo>
                  <a:pt x="34" y="11"/>
                </a:lnTo>
                <a:lnTo>
                  <a:pt x="36" y="11"/>
                </a:lnTo>
                <a:lnTo>
                  <a:pt x="41" y="12"/>
                </a:lnTo>
                <a:lnTo>
                  <a:pt x="42" y="11"/>
                </a:lnTo>
                <a:lnTo>
                  <a:pt x="44" y="9"/>
                </a:lnTo>
                <a:lnTo>
                  <a:pt x="46" y="6"/>
                </a:lnTo>
                <a:lnTo>
                  <a:pt x="48" y="4"/>
                </a:lnTo>
                <a:lnTo>
                  <a:pt x="50" y="4"/>
                </a:lnTo>
                <a:lnTo>
                  <a:pt x="50" y="3"/>
                </a:lnTo>
                <a:lnTo>
                  <a:pt x="52" y="0"/>
                </a:lnTo>
                <a:lnTo>
                  <a:pt x="59" y="8"/>
                </a:lnTo>
                <a:lnTo>
                  <a:pt x="63" y="15"/>
                </a:lnTo>
                <a:lnTo>
                  <a:pt x="66" y="20"/>
                </a:lnTo>
                <a:lnTo>
                  <a:pt x="69" y="22"/>
                </a:lnTo>
                <a:lnTo>
                  <a:pt x="70" y="23"/>
                </a:lnTo>
                <a:lnTo>
                  <a:pt x="74" y="22"/>
                </a:lnTo>
                <a:lnTo>
                  <a:pt x="77" y="23"/>
                </a:lnTo>
                <a:lnTo>
                  <a:pt x="78" y="23"/>
                </a:lnTo>
                <a:lnTo>
                  <a:pt x="79" y="26"/>
                </a:lnTo>
                <a:lnTo>
                  <a:pt x="79" y="28"/>
                </a:lnTo>
                <a:lnTo>
                  <a:pt x="77" y="26"/>
                </a:lnTo>
                <a:lnTo>
                  <a:pt x="73" y="26"/>
                </a:lnTo>
                <a:lnTo>
                  <a:pt x="70" y="28"/>
                </a:lnTo>
                <a:lnTo>
                  <a:pt x="67" y="31"/>
                </a:lnTo>
                <a:lnTo>
                  <a:pt x="67" y="36"/>
                </a:lnTo>
                <a:lnTo>
                  <a:pt x="66" y="41"/>
                </a:lnTo>
                <a:lnTo>
                  <a:pt x="65" y="44"/>
                </a:lnTo>
                <a:lnTo>
                  <a:pt x="63" y="50"/>
                </a:lnTo>
                <a:lnTo>
                  <a:pt x="61" y="47"/>
                </a:lnTo>
                <a:lnTo>
                  <a:pt x="58" y="48"/>
                </a:lnTo>
                <a:lnTo>
                  <a:pt x="58" y="50"/>
                </a:lnTo>
                <a:lnTo>
                  <a:pt x="57" y="56"/>
                </a:lnTo>
                <a:lnTo>
                  <a:pt x="58" y="59"/>
                </a:lnTo>
                <a:lnTo>
                  <a:pt x="57" y="61"/>
                </a:lnTo>
                <a:lnTo>
                  <a:pt x="55" y="59"/>
                </a:lnTo>
                <a:lnTo>
                  <a:pt x="53" y="59"/>
                </a:lnTo>
                <a:lnTo>
                  <a:pt x="52" y="58"/>
                </a:lnTo>
                <a:lnTo>
                  <a:pt x="49" y="56"/>
                </a:lnTo>
                <a:lnTo>
                  <a:pt x="48" y="55"/>
                </a:lnTo>
                <a:lnTo>
                  <a:pt x="45" y="55"/>
                </a:lnTo>
                <a:lnTo>
                  <a:pt x="45" y="53"/>
                </a:lnTo>
                <a:lnTo>
                  <a:pt x="50" y="50"/>
                </a:lnTo>
                <a:lnTo>
                  <a:pt x="48" y="45"/>
                </a:lnTo>
                <a:lnTo>
                  <a:pt x="48" y="42"/>
                </a:lnTo>
                <a:lnTo>
                  <a:pt x="44" y="39"/>
                </a:lnTo>
                <a:lnTo>
                  <a:pt x="36" y="41"/>
                </a:lnTo>
                <a:lnTo>
                  <a:pt x="33" y="44"/>
                </a:lnTo>
                <a:lnTo>
                  <a:pt x="30" y="45"/>
                </a:lnTo>
                <a:lnTo>
                  <a:pt x="28" y="50"/>
                </a:lnTo>
                <a:lnTo>
                  <a:pt x="25" y="53"/>
                </a:lnTo>
                <a:lnTo>
                  <a:pt x="22" y="53"/>
                </a:lnTo>
                <a:lnTo>
                  <a:pt x="22" y="51"/>
                </a:lnTo>
                <a:lnTo>
                  <a:pt x="21" y="50"/>
                </a:lnTo>
                <a:lnTo>
                  <a:pt x="20" y="48"/>
                </a:lnTo>
                <a:lnTo>
                  <a:pt x="22" y="47"/>
                </a:lnTo>
                <a:lnTo>
                  <a:pt x="22" y="45"/>
                </a:lnTo>
                <a:lnTo>
                  <a:pt x="21" y="44"/>
                </a:lnTo>
                <a:lnTo>
                  <a:pt x="21" y="42"/>
                </a:lnTo>
                <a:lnTo>
                  <a:pt x="22" y="41"/>
                </a:lnTo>
                <a:lnTo>
                  <a:pt x="20" y="41"/>
                </a:lnTo>
                <a:lnTo>
                  <a:pt x="17" y="41"/>
                </a:lnTo>
                <a:lnTo>
                  <a:pt x="13" y="37"/>
                </a:lnTo>
                <a:lnTo>
                  <a:pt x="10" y="34"/>
                </a:lnTo>
                <a:lnTo>
                  <a:pt x="10" y="33"/>
                </a:lnTo>
                <a:lnTo>
                  <a:pt x="13" y="33"/>
                </a:lnTo>
                <a:lnTo>
                  <a:pt x="13" y="31"/>
                </a:lnTo>
                <a:lnTo>
                  <a:pt x="13" y="28"/>
                </a:lnTo>
                <a:lnTo>
                  <a:pt x="9" y="26"/>
                </a:lnTo>
                <a:lnTo>
                  <a:pt x="8" y="25"/>
                </a:lnTo>
                <a:lnTo>
                  <a:pt x="6" y="23"/>
                </a:lnTo>
                <a:lnTo>
                  <a:pt x="5" y="22"/>
                </a:lnTo>
                <a:lnTo>
                  <a:pt x="6" y="20"/>
                </a:lnTo>
                <a:lnTo>
                  <a:pt x="6" y="19"/>
                </a:lnTo>
                <a:lnTo>
                  <a:pt x="6" y="15"/>
                </a:lnTo>
                <a:lnTo>
                  <a:pt x="5" y="15"/>
                </a:lnTo>
                <a:lnTo>
                  <a:pt x="2" y="15"/>
                </a:lnTo>
                <a:lnTo>
                  <a:pt x="0" y="12"/>
                </a:lnTo>
                <a:lnTo>
                  <a:pt x="0" y="9"/>
                </a:lnTo>
                <a:lnTo>
                  <a:pt x="4" y="8"/>
                </a:lnTo>
                <a:lnTo>
                  <a:pt x="6" y="8"/>
                </a:lnTo>
                <a:lnTo>
                  <a:pt x="9" y="8"/>
                </a:lnTo>
                <a:lnTo>
                  <a:pt x="10" y="9"/>
                </a:lnTo>
                <a:lnTo>
                  <a:pt x="14" y="11"/>
                </a:lnTo>
                <a:lnTo>
                  <a:pt x="17" y="11"/>
                </a:lnTo>
                <a:lnTo>
                  <a:pt x="21" y="12"/>
                </a:lnTo>
                <a:lnTo>
                  <a:pt x="22" y="12"/>
                </a:lnTo>
                <a:lnTo>
                  <a:pt x="24" y="11"/>
                </a:lnTo>
                <a:lnTo>
                  <a:pt x="24" y="9"/>
                </a:lnTo>
                <a:lnTo>
                  <a:pt x="20" y="8"/>
                </a:lnTo>
                <a:lnTo>
                  <a:pt x="18" y="6"/>
                </a:lnTo>
                <a:lnTo>
                  <a:pt x="17" y="4"/>
                </a:lnTo>
                <a:lnTo>
                  <a:pt x="17" y="1"/>
                </a:lnTo>
                <a:lnTo>
                  <a:pt x="21" y="0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62" name="Freeform 59"/>
          <p:cNvSpPr>
            <a:spLocks/>
          </p:cNvSpPr>
          <p:nvPr/>
        </p:nvSpPr>
        <p:spPr bwMode="auto">
          <a:xfrm>
            <a:off x="6968440" y="2866705"/>
            <a:ext cx="150058" cy="120266"/>
          </a:xfrm>
          <a:custGeom>
            <a:avLst/>
            <a:gdLst/>
            <a:ahLst/>
            <a:cxnLst>
              <a:cxn ang="0">
                <a:pos x="24" y="1"/>
              </a:cxn>
              <a:cxn ang="0">
                <a:pos x="29" y="3"/>
              </a:cxn>
              <a:cxn ang="0">
                <a:pos x="32" y="6"/>
              </a:cxn>
              <a:cxn ang="0">
                <a:pos x="34" y="11"/>
              </a:cxn>
              <a:cxn ang="0">
                <a:pos x="41" y="12"/>
              </a:cxn>
              <a:cxn ang="0">
                <a:pos x="44" y="9"/>
              </a:cxn>
              <a:cxn ang="0">
                <a:pos x="48" y="4"/>
              </a:cxn>
              <a:cxn ang="0">
                <a:pos x="50" y="3"/>
              </a:cxn>
              <a:cxn ang="0">
                <a:pos x="59" y="8"/>
              </a:cxn>
              <a:cxn ang="0">
                <a:pos x="66" y="20"/>
              </a:cxn>
              <a:cxn ang="0">
                <a:pos x="70" y="23"/>
              </a:cxn>
              <a:cxn ang="0">
                <a:pos x="77" y="23"/>
              </a:cxn>
              <a:cxn ang="0">
                <a:pos x="79" y="26"/>
              </a:cxn>
              <a:cxn ang="0">
                <a:pos x="77" y="26"/>
              </a:cxn>
              <a:cxn ang="0">
                <a:pos x="70" y="28"/>
              </a:cxn>
              <a:cxn ang="0">
                <a:pos x="67" y="36"/>
              </a:cxn>
              <a:cxn ang="0">
                <a:pos x="65" y="44"/>
              </a:cxn>
              <a:cxn ang="0">
                <a:pos x="61" y="47"/>
              </a:cxn>
              <a:cxn ang="0">
                <a:pos x="58" y="50"/>
              </a:cxn>
              <a:cxn ang="0">
                <a:pos x="58" y="59"/>
              </a:cxn>
              <a:cxn ang="0">
                <a:pos x="55" y="59"/>
              </a:cxn>
              <a:cxn ang="0">
                <a:pos x="52" y="58"/>
              </a:cxn>
              <a:cxn ang="0">
                <a:pos x="48" y="55"/>
              </a:cxn>
              <a:cxn ang="0">
                <a:pos x="45" y="53"/>
              </a:cxn>
              <a:cxn ang="0">
                <a:pos x="48" y="45"/>
              </a:cxn>
              <a:cxn ang="0">
                <a:pos x="44" y="39"/>
              </a:cxn>
              <a:cxn ang="0">
                <a:pos x="33" y="44"/>
              </a:cxn>
              <a:cxn ang="0">
                <a:pos x="28" y="50"/>
              </a:cxn>
              <a:cxn ang="0">
                <a:pos x="22" y="53"/>
              </a:cxn>
              <a:cxn ang="0">
                <a:pos x="21" y="50"/>
              </a:cxn>
              <a:cxn ang="0">
                <a:pos x="22" y="47"/>
              </a:cxn>
              <a:cxn ang="0">
                <a:pos x="21" y="44"/>
              </a:cxn>
              <a:cxn ang="0">
                <a:pos x="22" y="41"/>
              </a:cxn>
              <a:cxn ang="0">
                <a:pos x="17" y="41"/>
              </a:cxn>
              <a:cxn ang="0">
                <a:pos x="10" y="34"/>
              </a:cxn>
              <a:cxn ang="0">
                <a:pos x="13" y="33"/>
              </a:cxn>
              <a:cxn ang="0">
                <a:pos x="13" y="28"/>
              </a:cxn>
              <a:cxn ang="0">
                <a:pos x="8" y="25"/>
              </a:cxn>
              <a:cxn ang="0">
                <a:pos x="5" y="22"/>
              </a:cxn>
              <a:cxn ang="0">
                <a:pos x="6" y="19"/>
              </a:cxn>
              <a:cxn ang="0">
                <a:pos x="5" y="15"/>
              </a:cxn>
              <a:cxn ang="0">
                <a:pos x="0" y="12"/>
              </a:cxn>
              <a:cxn ang="0">
                <a:pos x="4" y="8"/>
              </a:cxn>
              <a:cxn ang="0">
                <a:pos x="9" y="8"/>
              </a:cxn>
              <a:cxn ang="0">
                <a:pos x="14" y="11"/>
              </a:cxn>
              <a:cxn ang="0">
                <a:pos x="21" y="12"/>
              </a:cxn>
              <a:cxn ang="0">
                <a:pos x="24" y="11"/>
              </a:cxn>
              <a:cxn ang="0">
                <a:pos x="20" y="8"/>
              </a:cxn>
              <a:cxn ang="0">
                <a:pos x="17" y="4"/>
              </a:cxn>
              <a:cxn ang="0">
                <a:pos x="21" y="0"/>
              </a:cxn>
            </a:cxnLst>
            <a:rect l="0" t="0" r="r" b="b"/>
            <a:pathLst>
              <a:path w="79" h="61">
                <a:moveTo>
                  <a:pt x="21" y="0"/>
                </a:moveTo>
                <a:lnTo>
                  <a:pt x="24" y="1"/>
                </a:lnTo>
                <a:lnTo>
                  <a:pt x="25" y="1"/>
                </a:lnTo>
                <a:lnTo>
                  <a:pt x="29" y="3"/>
                </a:lnTo>
                <a:lnTo>
                  <a:pt x="29" y="4"/>
                </a:lnTo>
                <a:lnTo>
                  <a:pt x="32" y="6"/>
                </a:lnTo>
                <a:lnTo>
                  <a:pt x="33" y="9"/>
                </a:lnTo>
                <a:lnTo>
                  <a:pt x="34" y="11"/>
                </a:lnTo>
                <a:lnTo>
                  <a:pt x="36" y="11"/>
                </a:lnTo>
                <a:lnTo>
                  <a:pt x="41" y="12"/>
                </a:lnTo>
                <a:lnTo>
                  <a:pt x="42" y="11"/>
                </a:lnTo>
                <a:lnTo>
                  <a:pt x="44" y="9"/>
                </a:lnTo>
                <a:lnTo>
                  <a:pt x="46" y="6"/>
                </a:lnTo>
                <a:lnTo>
                  <a:pt x="48" y="4"/>
                </a:lnTo>
                <a:lnTo>
                  <a:pt x="50" y="4"/>
                </a:lnTo>
                <a:lnTo>
                  <a:pt x="50" y="3"/>
                </a:lnTo>
                <a:lnTo>
                  <a:pt x="52" y="0"/>
                </a:lnTo>
                <a:lnTo>
                  <a:pt x="59" y="8"/>
                </a:lnTo>
                <a:lnTo>
                  <a:pt x="63" y="15"/>
                </a:lnTo>
                <a:lnTo>
                  <a:pt x="66" y="20"/>
                </a:lnTo>
                <a:lnTo>
                  <a:pt x="69" y="22"/>
                </a:lnTo>
                <a:lnTo>
                  <a:pt x="70" y="23"/>
                </a:lnTo>
                <a:lnTo>
                  <a:pt x="74" y="22"/>
                </a:lnTo>
                <a:lnTo>
                  <a:pt x="77" y="23"/>
                </a:lnTo>
                <a:lnTo>
                  <a:pt x="78" y="23"/>
                </a:lnTo>
                <a:lnTo>
                  <a:pt x="79" y="26"/>
                </a:lnTo>
                <a:lnTo>
                  <a:pt x="79" y="28"/>
                </a:lnTo>
                <a:lnTo>
                  <a:pt x="77" y="26"/>
                </a:lnTo>
                <a:lnTo>
                  <a:pt x="73" y="26"/>
                </a:lnTo>
                <a:lnTo>
                  <a:pt x="70" y="28"/>
                </a:lnTo>
                <a:lnTo>
                  <a:pt x="67" y="31"/>
                </a:lnTo>
                <a:lnTo>
                  <a:pt x="67" y="36"/>
                </a:lnTo>
                <a:lnTo>
                  <a:pt x="66" y="41"/>
                </a:lnTo>
                <a:lnTo>
                  <a:pt x="65" y="44"/>
                </a:lnTo>
                <a:lnTo>
                  <a:pt x="63" y="50"/>
                </a:lnTo>
                <a:lnTo>
                  <a:pt x="61" y="47"/>
                </a:lnTo>
                <a:lnTo>
                  <a:pt x="58" y="48"/>
                </a:lnTo>
                <a:lnTo>
                  <a:pt x="58" y="50"/>
                </a:lnTo>
                <a:lnTo>
                  <a:pt x="57" y="56"/>
                </a:lnTo>
                <a:lnTo>
                  <a:pt x="58" y="59"/>
                </a:lnTo>
                <a:lnTo>
                  <a:pt x="57" y="61"/>
                </a:lnTo>
                <a:lnTo>
                  <a:pt x="55" y="59"/>
                </a:lnTo>
                <a:lnTo>
                  <a:pt x="53" y="59"/>
                </a:lnTo>
                <a:lnTo>
                  <a:pt x="52" y="58"/>
                </a:lnTo>
                <a:lnTo>
                  <a:pt x="49" y="56"/>
                </a:lnTo>
                <a:lnTo>
                  <a:pt x="48" y="55"/>
                </a:lnTo>
                <a:lnTo>
                  <a:pt x="45" y="55"/>
                </a:lnTo>
                <a:lnTo>
                  <a:pt x="45" y="53"/>
                </a:lnTo>
                <a:lnTo>
                  <a:pt x="50" y="50"/>
                </a:lnTo>
                <a:lnTo>
                  <a:pt x="48" y="45"/>
                </a:lnTo>
                <a:lnTo>
                  <a:pt x="48" y="42"/>
                </a:lnTo>
                <a:lnTo>
                  <a:pt x="44" y="39"/>
                </a:lnTo>
                <a:lnTo>
                  <a:pt x="36" y="41"/>
                </a:lnTo>
                <a:lnTo>
                  <a:pt x="33" y="44"/>
                </a:lnTo>
                <a:lnTo>
                  <a:pt x="30" y="45"/>
                </a:lnTo>
                <a:lnTo>
                  <a:pt x="28" y="50"/>
                </a:lnTo>
                <a:lnTo>
                  <a:pt x="25" y="53"/>
                </a:lnTo>
                <a:lnTo>
                  <a:pt x="22" y="53"/>
                </a:lnTo>
                <a:lnTo>
                  <a:pt x="22" y="51"/>
                </a:lnTo>
                <a:lnTo>
                  <a:pt x="21" y="50"/>
                </a:lnTo>
                <a:lnTo>
                  <a:pt x="20" y="48"/>
                </a:lnTo>
                <a:lnTo>
                  <a:pt x="22" y="47"/>
                </a:lnTo>
                <a:lnTo>
                  <a:pt x="22" y="45"/>
                </a:lnTo>
                <a:lnTo>
                  <a:pt x="21" y="44"/>
                </a:lnTo>
                <a:lnTo>
                  <a:pt x="21" y="42"/>
                </a:lnTo>
                <a:lnTo>
                  <a:pt x="22" y="41"/>
                </a:lnTo>
                <a:lnTo>
                  <a:pt x="20" y="41"/>
                </a:lnTo>
                <a:lnTo>
                  <a:pt x="17" y="41"/>
                </a:lnTo>
                <a:lnTo>
                  <a:pt x="13" y="37"/>
                </a:lnTo>
                <a:lnTo>
                  <a:pt x="10" y="34"/>
                </a:lnTo>
                <a:lnTo>
                  <a:pt x="10" y="33"/>
                </a:lnTo>
                <a:lnTo>
                  <a:pt x="13" y="33"/>
                </a:lnTo>
                <a:lnTo>
                  <a:pt x="13" y="31"/>
                </a:lnTo>
                <a:lnTo>
                  <a:pt x="13" y="28"/>
                </a:lnTo>
                <a:lnTo>
                  <a:pt x="9" y="26"/>
                </a:lnTo>
                <a:lnTo>
                  <a:pt x="8" y="25"/>
                </a:lnTo>
                <a:lnTo>
                  <a:pt x="6" y="23"/>
                </a:lnTo>
                <a:lnTo>
                  <a:pt x="5" y="22"/>
                </a:lnTo>
                <a:lnTo>
                  <a:pt x="6" y="20"/>
                </a:lnTo>
                <a:lnTo>
                  <a:pt x="6" y="19"/>
                </a:lnTo>
                <a:lnTo>
                  <a:pt x="6" y="15"/>
                </a:lnTo>
                <a:lnTo>
                  <a:pt x="5" y="15"/>
                </a:lnTo>
                <a:lnTo>
                  <a:pt x="2" y="15"/>
                </a:lnTo>
                <a:lnTo>
                  <a:pt x="0" y="12"/>
                </a:lnTo>
                <a:lnTo>
                  <a:pt x="0" y="9"/>
                </a:lnTo>
                <a:lnTo>
                  <a:pt x="4" y="8"/>
                </a:lnTo>
                <a:lnTo>
                  <a:pt x="6" y="8"/>
                </a:lnTo>
                <a:lnTo>
                  <a:pt x="9" y="8"/>
                </a:lnTo>
                <a:lnTo>
                  <a:pt x="10" y="9"/>
                </a:lnTo>
                <a:lnTo>
                  <a:pt x="14" y="11"/>
                </a:lnTo>
                <a:lnTo>
                  <a:pt x="17" y="11"/>
                </a:lnTo>
                <a:lnTo>
                  <a:pt x="21" y="12"/>
                </a:lnTo>
                <a:lnTo>
                  <a:pt x="22" y="12"/>
                </a:lnTo>
                <a:lnTo>
                  <a:pt x="24" y="11"/>
                </a:lnTo>
                <a:lnTo>
                  <a:pt x="24" y="9"/>
                </a:lnTo>
                <a:lnTo>
                  <a:pt x="20" y="8"/>
                </a:lnTo>
                <a:lnTo>
                  <a:pt x="18" y="6"/>
                </a:lnTo>
                <a:lnTo>
                  <a:pt x="17" y="4"/>
                </a:lnTo>
                <a:lnTo>
                  <a:pt x="17" y="1"/>
                </a:lnTo>
                <a:lnTo>
                  <a:pt x="21" y="0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63" name="Freeform 60"/>
          <p:cNvSpPr>
            <a:spLocks/>
          </p:cNvSpPr>
          <p:nvPr/>
        </p:nvSpPr>
        <p:spPr bwMode="auto">
          <a:xfrm>
            <a:off x="5937515" y="3175961"/>
            <a:ext cx="456023" cy="481064"/>
          </a:xfrm>
          <a:custGeom>
            <a:avLst/>
            <a:gdLst/>
            <a:ahLst/>
            <a:cxnLst>
              <a:cxn ang="0">
                <a:pos x="37" y="165"/>
              </a:cxn>
              <a:cxn ang="0">
                <a:pos x="21" y="152"/>
              </a:cxn>
              <a:cxn ang="0">
                <a:pos x="12" y="144"/>
              </a:cxn>
              <a:cxn ang="0">
                <a:pos x="3" y="127"/>
              </a:cxn>
              <a:cxn ang="0">
                <a:pos x="5" y="119"/>
              </a:cxn>
              <a:cxn ang="0">
                <a:pos x="9" y="95"/>
              </a:cxn>
              <a:cxn ang="0">
                <a:pos x="8" y="80"/>
              </a:cxn>
              <a:cxn ang="0">
                <a:pos x="3" y="61"/>
              </a:cxn>
              <a:cxn ang="0">
                <a:pos x="3" y="50"/>
              </a:cxn>
              <a:cxn ang="0">
                <a:pos x="11" y="47"/>
              </a:cxn>
              <a:cxn ang="0">
                <a:pos x="15" y="39"/>
              </a:cxn>
              <a:cxn ang="0">
                <a:pos x="15" y="26"/>
              </a:cxn>
              <a:cxn ang="0">
                <a:pos x="23" y="20"/>
              </a:cxn>
              <a:cxn ang="0">
                <a:pos x="33" y="11"/>
              </a:cxn>
              <a:cxn ang="0">
                <a:pos x="40" y="1"/>
              </a:cxn>
              <a:cxn ang="0">
                <a:pos x="58" y="4"/>
              </a:cxn>
              <a:cxn ang="0">
                <a:pos x="69" y="6"/>
              </a:cxn>
              <a:cxn ang="0">
                <a:pos x="81" y="11"/>
              </a:cxn>
              <a:cxn ang="0">
                <a:pos x="90" y="15"/>
              </a:cxn>
              <a:cxn ang="0">
                <a:pos x="94" y="26"/>
              </a:cxn>
              <a:cxn ang="0">
                <a:pos x="105" y="33"/>
              </a:cxn>
              <a:cxn ang="0">
                <a:pos x="126" y="37"/>
              </a:cxn>
              <a:cxn ang="0">
                <a:pos x="134" y="42"/>
              </a:cxn>
              <a:cxn ang="0">
                <a:pos x="145" y="50"/>
              </a:cxn>
              <a:cxn ang="0">
                <a:pos x="157" y="47"/>
              </a:cxn>
              <a:cxn ang="0">
                <a:pos x="163" y="37"/>
              </a:cxn>
              <a:cxn ang="0">
                <a:pos x="162" y="30"/>
              </a:cxn>
              <a:cxn ang="0">
                <a:pos x="161" y="19"/>
              </a:cxn>
              <a:cxn ang="0">
                <a:pos x="171" y="8"/>
              </a:cxn>
              <a:cxn ang="0">
                <a:pos x="183" y="4"/>
              </a:cxn>
              <a:cxn ang="0">
                <a:pos x="202" y="8"/>
              </a:cxn>
              <a:cxn ang="0">
                <a:pos x="207" y="12"/>
              </a:cxn>
              <a:cxn ang="0">
                <a:pos x="210" y="15"/>
              </a:cxn>
              <a:cxn ang="0">
                <a:pos x="217" y="17"/>
              </a:cxn>
              <a:cxn ang="0">
                <a:pos x="223" y="20"/>
              </a:cxn>
              <a:cxn ang="0">
                <a:pos x="238" y="22"/>
              </a:cxn>
              <a:cxn ang="0">
                <a:pos x="237" y="26"/>
              </a:cxn>
              <a:cxn ang="0">
                <a:pos x="234" y="33"/>
              </a:cxn>
              <a:cxn ang="0">
                <a:pos x="237" y="47"/>
              </a:cxn>
              <a:cxn ang="0">
                <a:pos x="233" y="53"/>
              </a:cxn>
              <a:cxn ang="0">
                <a:pos x="235" y="64"/>
              </a:cxn>
              <a:cxn ang="0">
                <a:pos x="239" y="85"/>
              </a:cxn>
              <a:cxn ang="0">
                <a:pos x="239" y="135"/>
              </a:cxn>
              <a:cxn ang="0">
                <a:pos x="239" y="187"/>
              </a:cxn>
              <a:cxn ang="0">
                <a:pos x="239" y="232"/>
              </a:cxn>
              <a:cxn ang="0">
                <a:pos x="222" y="242"/>
              </a:cxn>
              <a:cxn ang="0">
                <a:pos x="183" y="220"/>
              </a:cxn>
              <a:cxn ang="0">
                <a:pos x="145" y="196"/>
              </a:cxn>
              <a:cxn ang="0">
                <a:pos x="106" y="174"/>
              </a:cxn>
              <a:cxn ang="0">
                <a:pos x="88" y="179"/>
              </a:cxn>
              <a:cxn ang="0">
                <a:pos x="81" y="176"/>
              </a:cxn>
              <a:cxn ang="0">
                <a:pos x="74" y="171"/>
              </a:cxn>
              <a:cxn ang="0">
                <a:pos x="49" y="171"/>
              </a:cxn>
              <a:cxn ang="0">
                <a:pos x="38" y="171"/>
              </a:cxn>
            </a:cxnLst>
            <a:rect l="0" t="0" r="r" b="b"/>
            <a:pathLst>
              <a:path w="239" h="242">
                <a:moveTo>
                  <a:pt x="38" y="171"/>
                </a:moveTo>
                <a:lnTo>
                  <a:pt x="38" y="169"/>
                </a:lnTo>
                <a:lnTo>
                  <a:pt x="37" y="165"/>
                </a:lnTo>
                <a:lnTo>
                  <a:pt x="32" y="155"/>
                </a:lnTo>
                <a:lnTo>
                  <a:pt x="24" y="152"/>
                </a:lnTo>
                <a:lnTo>
                  <a:pt x="21" y="152"/>
                </a:lnTo>
                <a:lnTo>
                  <a:pt x="16" y="152"/>
                </a:lnTo>
                <a:lnTo>
                  <a:pt x="12" y="147"/>
                </a:lnTo>
                <a:lnTo>
                  <a:pt x="12" y="144"/>
                </a:lnTo>
                <a:lnTo>
                  <a:pt x="11" y="138"/>
                </a:lnTo>
                <a:lnTo>
                  <a:pt x="8" y="133"/>
                </a:lnTo>
                <a:lnTo>
                  <a:pt x="3" y="127"/>
                </a:lnTo>
                <a:lnTo>
                  <a:pt x="1" y="122"/>
                </a:lnTo>
                <a:lnTo>
                  <a:pt x="3" y="121"/>
                </a:lnTo>
                <a:lnTo>
                  <a:pt x="5" y="119"/>
                </a:lnTo>
                <a:lnTo>
                  <a:pt x="8" y="117"/>
                </a:lnTo>
                <a:lnTo>
                  <a:pt x="8" y="102"/>
                </a:lnTo>
                <a:lnTo>
                  <a:pt x="9" y="95"/>
                </a:lnTo>
                <a:lnTo>
                  <a:pt x="9" y="91"/>
                </a:lnTo>
                <a:lnTo>
                  <a:pt x="8" y="89"/>
                </a:lnTo>
                <a:lnTo>
                  <a:pt x="8" y="80"/>
                </a:lnTo>
                <a:lnTo>
                  <a:pt x="8" y="74"/>
                </a:lnTo>
                <a:lnTo>
                  <a:pt x="7" y="67"/>
                </a:lnTo>
                <a:lnTo>
                  <a:pt x="3" y="61"/>
                </a:lnTo>
                <a:lnTo>
                  <a:pt x="0" y="56"/>
                </a:lnTo>
                <a:lnTo>
                  <a:pt x="0" y="52"/>
                </a:lnTo>
                <a:lnTo>
                  <a:pt x="3" y="50"/>
                </a:lnTo>
                <a:lnTo>
                  <a:pt x="4" y="50"/>
                </a:lnTo>
                <a:lnTo>
                  <a:pt x="7" y="48"/>
                </a:lnTo>
                <a:lnTo>
                  <a:pt x="11" y="47"/>
                </a:lnTo>
                <a:lnTo>
                  <a:pt x="13" y="44"/>
                </a:lnTo>
                <a:lnTo>
                  <a:pt x="15" y="42"/>
                </a:lnTo>
                <a:lnTo>
                  <a:pt x="15" y="39"/>
                </a:lnTo>
                <a:lnTo>
                  <a:pt x="13" y="31"/>
                </a:lnTo>
                <a:lnTo>
                  <a:pt x="13" y="28"/>
                </a:lnTo>
                <a:lnTo>
                  <a:pt x="15" y="26"/>
                </a:lnTo>
                <a:lnTo>
                  <a:pt x="19" y="25"/>
                </a:lnTo>
                <a:lnTo>
                  <a:pt x="21" y="23"/>
                </a:lnTo>
                <a:lnTo>
                  <a:pt x="23" y="20"/>
                </a:lnTo>
                <a:lnTo>
                  <a:pt x="30" y="14"/>
                </a:lnTo>
                <a:lnTo>
                  <a:pt x="32" y="12"/>
                </a:lnTo>
                <a:lnTo>
                  <a:pt x="33" y="11"/>
                </a:lnTo>
                <a:lnTo>
                  <a:pt x="33" y="0"/>
                </a:lnTo>
                <a:lnTo>
                  <a:pt x="36" y="0"/>
                </a:lnTo>
                <a:lnTo>
                  <a:pt x="40" y="1"/>
                </a:lnTo>
                <a:lnTo>
                  <a:pt x="46" y="4"/>
                </a:lnTo>
                <a:lnTo>
                  <a:pt x="52" y="6"/>
                </a:lnTo>
                <a:lnTo>
                  <a:pt x="58" y="4"/>
                </a:lnTo>
                <a:lnTo>
                  <a:pt x="62" y="4"/>
                </a:lnTo>
                <a:lnTo>
                  <a:pt x="65" y="6"/>
                </a:lnTo>
                <a:lnTo>
                  <a:pt x="69" y="6"/>
                </a:lnTo>
                <a:lnTo>
                  <a:pt x="73" y="8"/>
                </a:lnTo>
                <a:lnTo>
                  <a:pt x="76" y="9"/>
                </a:lnTo>
                <a:lnTo>
                  <a:pt x="81" y="11"/>
                </a:lnTo>
                <a:lnTo>
                  <a:pt x="85" y="12"/>
                </a:lnTo>
                <a:lnTo>
                  <a:pt x="89" y="14"/>
                </a:lnTo>
                <a:lnTo>
                  <a:pt x="90" y="15"/>
                </a:lnTo>
                <a:lnTo>
                  <a:pt x="92" y="19"/>
                </a:lnTo>
                <a:lnTo>
                  <a:pt x="92" y="22"/>
                </a:lnTo>
                <a:lnTo>
                  <a:pt x="94" y="26"/>
                </a:lnTo>
                <a:lnTo>
                  <a:pt x="98" y="31"/>
                </a:lnTo>
                <a:lnTo>
                  <a:pt x="102" y="33"/>
                </a:lnTo>
                <a:lnTo>
                  <a:pt x="105" y="33"/>
                </a:lnTo>
                <a:lnTo>
                  <a:pt x="114" y="34"/>
                </a:lnTo>
                <a:lnTo>
                  <a:pt x="118" y="34"/>
                </a:lnTo>
                <a:lnTo>
                  <a:pt x="126" y="37"/>
                </a:lnTo>
                <a:lnTo>
                  <a:pt x="130" y="41"/>
                </a:lnTo>
                <a:lnTo>
                  <a:pt x="133" y="41"/>
                </a:lnTo>
                <a:lnTo>
                  <a:pt x="134" y="42"/>
                </a:lnTo>
                <a:lnTo>
                  <a:pt x="137" y="44"/>
                </a:lnTo>
                <a:lnTo>
                  <a:pt x="141" y="48"/>
                </a:lnTo>
                <a:lnTo>
                  <a:pt x="145" y="50"/>
                </a:lnTo>
                <a:lnTo>
                  <a:pt x="149" y="50"/>
                </a:lnTo>
                <a:lnTo>
                  <a:pt x="154" y="48"/>
                </a:lnTo>
                <a:lnTo>
                  <a:pt x="157" y="47"/>
                </a:lnTo>
                <a:lnTo>
                  <a:pt x="159" y="44"/>
                </a:lnTo>
                <a:lnTo>
                  <a:pt x="161" y="41"/>
                </a:lnTo>
                <a:lnTo>
                  <a:pt x="163" y="37"/>
                </a:lnTo>
                <a:lnTo>
                  <a:pt x="163" y="36"/>
                </a:lnTo>
                <a:lnTo>
                  <a:pt x="162" y="31"/>
                </a:lnTo>
                <a:lnTo>
                  <a:pt x="162" y="30"/>
                </a:lnTo>
                <a:lnTo>
                  <a:pt x="159" y="26"/>
                </a:lnTo>
                <a:lnTo>
                  <a:pt x="159" y="22"/>
                </a:lnTo>
                <a:lnTo>
                  <a:pt x="161" y="19"/>
                </a:lnTo>
                <a:lnTo>
                  <a:pt x="165" y="14"/>
                </a:lnTo>
                <a:lnTo>
                  <a:pt x="166" y="12"/>
                </a:lnTo>
                <a:lnTo>
                  <a:pt x="171" y="8"/>
                </a:lnTo>
                <a:lnTo>
                  <a:pt x="177" y="6"/>
                </a:lnTo>
                <a:lnTo>
                  <a:pt x="181" y="4"/>
                </a:lnTo>
                <a:lnTo>
                  <a:pt x="183" y="4"/>
                </a:lnTo>
                <a:lnTo>
                  <a:pt x="193" y="3"/>
                </a:lnTo>
                <a:lnTo>
                  <a:pt x="201" y="6"/>
                </a:lnTo>
                <a:lnTo>
                  <a:pt x="202" y="8"/>
                </a:lnTo>
                <a:lnTo>
                  <a:pt x="205" y="8"/>
                </a:lnTo>
                <a:lnTo>
                  <a:pt x="207" y="9"/>
                </a:lnTo>
                <a:lnTo>
                  <a:pt x="207" y="12"/>
                </a:lnTo>
                <a:lnTo>
                  <a:pt x="206" y="12"/>
                </a:lnTo>
                <a:lnTo>
                  <a:pt x="207" y="14"/>
                </a:lnTo>
                <a:lnTo>
                  <a:pt x="210" y="15"/>
                </a:lnTo>
                <a:lnTo>
                  <a:pt x="211" y="17"/>
                </a:lnTo>
                <a:lnTo>
                  <a:pt x="213" y="17"/>
                </a:lnTo>
                <a:lnTo>
                  <a:pt x="217" y="17"/>
                </a:lnTo>
                <a:lnTo>
                  <a:pt x="219" y="17"/>
                </a:lnTo>
                <a:lnTo>
                  <a:pt x="219" y="19"/>
                </a:lnTo>
                <a:lnTo>
                  <a:pt x="223" y="20"/>
                </a:lnTo>
                <a:lnTo>
                  <a:pt x="229" y="20"/>
                </a:lnTo>
                <a:lnTo>
                  <a:pt x="235" y="20"/>
                </a:lnTo>
                <a:lnTo>
                  <a:pt x="238" y="22"/>
                </a:lnTo>
                <a:lnTo>
                  <a:pt x="239" y="25"/>
                </a:lnTo>
                <a:lnTo>
                  <a:pt x="239" y="26"/>
                </a:lnTo>
                <a:lnTo>
                  <a:pt x="237" y="26"/>
                </a:lnTo>
                <a:lnTo>
                  <a:pt x="237" y="30"/>
                </a:lnTo>
                <a:lnTo>
                  <a:pt x="234" y="31"/>
                </a:lnTo>
                <a:lnTo>
                  <a:pt x="234" y="33"/>
                </a:lnTo>
                <a:lnTo>
                  <a:pt x="235" y="34"/>
                </a:lnTo>
                <a:lnTo>
                  <a:pt x="235" y="42"/>
                </a:lnTo>
                <a:lnTo>
                  <a:pt x="237" y="47"/>
                </a:lnTo>
                <a:lnTo>
                  <a:pt x="235" y="50"/>
                </a:lnTo>
                <a:lnTo>
                  <a:pt x="234" y="52"/>
                </a:lnTo>
                <a:lnTo>
                  <a:pt x="233" y="53"/>
                </a:lnTo>
                <a:lnTo>
                  <a:pt x="233" y="59"/>
                </a:lnTo>
                <a:lnTo>
                  <a:pt x="234" y="63"/>
                </a:lnTo>
                <a:lnTo>
                  <a:pt x="235" y="64"/>
                </a:lnTo>
                <a:lnTo>
                  <a:pt x="234" y="67"/>
                </a:lnTo>
                <a:lnTo>
                  <a:pt x="239" y="72"/>
                </a:lnTo>
                <a:lnTo>
                  <a:pt x="239" y="85"/>
                </a:lnTo>
                <a:lnTo>
                  <a:pt x="239" y="102"/>
                </a:lnTo>
                <a:lnTo>
                  <a:pt x="239" y="117"/>
                </a:lnTo>
                <a:lnTo>
                  <a:pt x="239" y="135"/>
                </a:lnTo>
                <a:lnTo>
                  <a:pt x="239" y="152"/>
                </a:lnTo>
                <a:lnTo>
                  <a:pt x="239" y="169"/>
                </a:lnTo>
                <a:lnTo>
                  <a:pt x="239" y="187"/>
                </a:lnTo>
                <a:lnTo>
                  <a:pt x="239" y="198"/>
                </a:lnTo>
                <a:lnTo>
                  <a:pt x="239" y="213"/>
                </a:lnTo>
                <a:lnTo>
                  <a:pt x="239" y="232"/>
                </a:lnTo>
                <a:lnTo>
                  <a:pt x="225" y="232"/>
                </a:lnTo>
                <a:lnTo>
                  <a:pt x="225" y="242"/>
                </a:lnTo>
                <a:lnTo>
                  <a:pt x="222" y="242"/>
                </a:lnTo>
                <a:lnTo>
                  <a:pt x="209" y="234"/>
                </a:lnTo>
                <a:lnTo>
                  <a:pt x="197" y="226"/>
                </a:lnTo>
                <a:lnTo>
                  <a:pt x="183" y="220"/>
                </a:lnTo>
                <a:lnTo>
                  <a:pt x="170" y="212"/>
                </a:lnTo>
                <a:lnTo>
                  <a:pt x="158" y="204"/>
                </a:lnTo>
                <a:lnTo>
                  <a:pt x="145" y="196"/>
                </a:lnTo>
                <a:lnTo>
                  <a:pt x="132" y="190"/>
                </a:lnTo>
                <a:lnTo>
                  <a:pt x="120" y="182"/>
                </a:lnTo>
                <a:lnTo>
                  <a:pt x="106" y="174"/>
                </a:lnTo>
                <a:lnTo>
                  <a:pt x="104" y="172"/>
                </a:lnTo>
                <a:lnTo>
                  <a:pt x="90" y="177"/>
                </a:lnTo>
                <a:lnTo>
                  <a:pt x="88" y="179"/>
                </a:lnTo>
                <a:lnTo>
                  <a:pt x="84" y="180"/>
                </a:lnTo>
                <a:lnTo>
                  <a:pt x="82" y="177"/>
                </a:lnTo>
                <a:lnTo>
                  <a:pt x="81" y="176"/>
                </a:lnTo>
                <a:lnTo>
                  <a:pt x="77" y="174"/>
                </a:lnTo>
                <a:lnTo>
                  <a:pt x="76" y="172"/>
                </a:lnTo>
                <a:lnTo>
                  <a:pt x="74" y="171"/>
                </a:lnTo>
                <a:lnTo>
                  <a:pt x="72" y="171"/>
                </a:lnTo>
                <a:lnTo>
                  <a:pt x="61" y="169"/>
                </a:lnTo>
                <a:lnTo>
                  <a:pt x="49" y="171"/>
                </a:lnTo>
                <a:lnTo>
                  <a:pt x="41" y="169"/>
                </a:lnTo>
                <a:lnTo>
                  <a:pt x="40" y="169"/>
                </a:lnTo>
                <a:lnTo>
                  <a:pt x="38" y="17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64" name="Freeform 61"/>
          <p:cNvSpPr>
            <a:spLocks/>
          </p:cNvSpPr>
          <p:nvPr/>
        </p:nvSpPr>
        <p:spPr bwMode="auto">
          <a:xfrm>
            <a:off x="5937515" y="3175961"/>
            <a:ext cx="456023" cy="481064"/>
          </a:xfrm>
          <a:custGeom>
            <a:avLst/>
            <a:gdLst/>
            <a:ahLst/>
            <a:cxnLst>
              <a:cxn ang="0">
                <a:pos x="37" y="165"/>
              </a:cxn>
              <a:cxn ang="0">
                <a:pos x="21" y="152"/>
              </a:cxn>
              <a:cxn ang="0">
                <a:pos x="12" y="144"/>
              </a:cxn>
              <a:cxn ang="0">
                <a:pos x="3" y="127"/>
              </a:cxn>
              <a:cxn ang="0">
                <a:pos x="5" y="119"/>
              </a:cxn>
              <a:cxn ang="0">
                <a:pos x="9" y="95"/>
              </a:cxn>
              <a:cxn ang="0">
                <a:pos x="8" y="80"/>
              </a:cxn>
              <a:cxn ang="0">
                <a:pos x="3" y="61"/>
              </a:cxn>
              <a:cxn ang="0">
                <a:pos x="3" y="50"/>
              </a:cxn>
              <a:cxn ang="0">
                <a:pos x="11" y="47"/>
              </a:cxn>
              <a:cxn ang="0">
                <a:pos x="15" y="39"/>
              </a:cxn>
              <a:cxn ang="0">
                <a:pos x="15" y="26"/>
              </a:cxn>
              <a:cxn ang="0">
                <a:pos x="23" y="20"/>
              </a:cxn>
              <a:cxn ang="0">
                <a:pos x="33" y="11"/>
              </a:cxn>
              <a:cxn ang="0">
                <a:pos x="40" y="1"/>
              </a:cxn>
              <a:cxn ang="0">
                <a:pos x="58" y="4"/>
              </a:cxn>
              <a:cxn ang="0">
                <a:pos x="69" y="6"/>
              </a:cxn>
              <a:cxn ang="0">
                <a:pos x="81" y="11"/>
              </a:cxn>
              <a:cxn ang="0">
                <a:pos x="90" y="15"/>
              </a:cxn>
              <a:cxn ang="0">
                <a:pos x="94" y="26"/>
              </a:cxn>
              <a:cxn ang="0">
                <a:pos x="105" y="33"/>
              </a:cxn>
              <a:cxn ang="0">
                <a:pos x="126" y="37"/>
              </a:cxn>
              <a:cxn ang="0">
                <a:pos x="134" y="42"/>
              </a:cxn>
              <a:cxn ang="0">
                <a:pos x="145" y="50"/>
              </a:cxn>
              <a:cxn ang="0">
                <a:pos x="157" y="47"/>
              </a:cxn>
              <a:cxn ang="0">
                <a:pos x="163" y="37"/>
              </a:cxn>
              <a:cxn ang="0">
                <a:pos x="162" y="30"/>
              </a:cxn>
              <a:cxn ang="0">
                <a:pos x="161" y="19"/>
              </a:cxn>
              <a:cxn ang="0">
                <a:pos x="171" y="8"/>
              </a:cxn>
              <a:cxn ang="0">
                <a:pos x="183" y="4"/>
              </a:cxn>
              <a:cxn ang="0">
                <a:pos x="202" y="8"/>
              </a:cxn>
              <a:cxn ang="0">
                <a:pos x="207" y="12"/>
              </a:cxn>
              <a:cxn ang="0">
                <a:pos x="210" y="15"/>
              </a:cxn>
              <a:cxn ang="0">
                <a:pos x="217" y="17"/>
              </a:cxn>
              <a:cxn ang="0">
                <a:pos x="223" y="20"/>
              </a:cxn>
              <a:cxn ang="0">
                <a:pos x="238" y="22"/>
              </a:cxn>
              <a:cxn ang="0">
                <a:pos x="237" y="26"/>
              </a:cxn>
              <a:cxn ang="0">
                <a:pos x="234" y="33"/>
              </a:cxn>
              <a:cxn ang="0">
                <a:pos x="237" y="47"/>
              </a:cxn>
              <a:cxn ang="0">
                <a:pos x="233" y="53"/>
              </a:cxn>
              <a:cxn ang="0">
                <a:pos x="235" y="64"/>
              </a:cxn>
              <a:cxn ang="0">
                <a:pos x="239" y="85"/>
              </a:cxn>
              <a:cxn ang="0">
                <a:pos x="239" y="135"/>
              </a:cxn>
              <a:cxn ang="0">
                <a:pos x="239" y="187"/>
              </a:cxn>
              <a:cxn ang="0">
                <a:pos x="239" y="232"/>
              </a:cxn>
              <a:cxn ang="0">
                <a:pos x="222" y="242"/>
              </a:cxn>
              <a:cxn ang="0">
                <a:pos x="183" y="220"/>
              </a:cxn>
              <a:cxn ang="0">
                <a:pos x="145" y="196"/>
              </a:cxn>
              <a:cxn ang="0">
                <a:pos x="106" y="174"/>
              </a:cxn>
              <a:cxn ang="0">
                <a:pos x="88" y="179"/>
              </a:cxn>
              <a:cxn ang="0">
                <a:pos x="81" y="176"/>
              </a:cxn>
              <a:cxn ang="0">
                <a:pos x="74" y="171"/>
              </a:cxn>
              <a:cxn ang="0">
                <a:pos x="49" y="171"/>
              </a:cxn>
              <a:cxn ang="0">
                <a:pos x="38" y="171"/>
              </a:cxn>
            </a:cxnLst>
            <a:rect l="0" t="0" r="r" b="b"/>
            <a:pathLst>
              <a:path w="239" h="242">
                <a:moveTo>
                  <a:pt x="38" y="171"/>
                </a:moveTo>
                <a:lnTo>
                  <a:pt x="38" y="169"/>
                </a:lnTo>
                <a:lnTo>
                  <a:pt x="37" y="165"/>
                </a:lnTo>
                <a:lnTo>
                  <a:pt x="32" y="155"/>
                </a:lnTo>
                <a:lnTo>
                  <a:pt x="24" y="152"/>
                </a:lnTo>
                <a:lnTo>
                  <a:pt x="21" y="152"/>
                </a:lnTo>
                <a:lnTo>
                  <a:pt x="16" y="152"/>
                </a:lnTo>
                <a:lnTo>
                  <a:pt x="12" y="147"/>
                </a:lnTo>
                <a:lnTo>
                  <a:pt x="12" y="144"/>
                </a:lnTo>
                <a:lnTo>
                  <a:pt x="11" y="138"/>
                </a:lnTo>
                <a:lnTo>
                  <a:pt x="8" y="133"/>
                </a:lnTo>
                <a:lnTo>
                  <a:pt x="3" y="127"/>
                </a:lnTo>
                <a:lnTo>
                  <a:pt x="1" y="122"/>
                </a:lnTo>
                <a:lnTo>
                  <a:pt x="3" y="121"/>
                </a:lnTo>
                <a:lnTo>
                  <a:pt x="5" y="119"/>
                </a:lnTo>
                <a:lnTo>
                  <a:pt x="8" y="117"/>
                </a:lnTo>
                <a:lnTo>
                  <a:pt x="8" y="102"/>
                </a:lnTo>
                <a:lnTo>
                  <a:pt x="9" y="95"/>
                </a:lnTo>
                <a:lnTo>
                  <a:pt x="9" y="91"/>
                </a:lnTo>
                <a:lnTo>
                  <a:pt x="8" y="89"/>
                </a:lnTo>
                <a:lnTo>
                  <a:pt x="8" y="80"/>
                </a:lnTo>
                <a:lnTo>
                  <a:pt x="8" y="74"/>
                </a:lnTo>
                <a:lnTo>
                  <a:pt x="7" y="67"/>
                </a:lnTo>
                <a:lnTo>
                  <a:pt x="3" y="61"/>
                </a:lnTo>
                <a:lnTo>
                  <a:pt x="0" y="56"/>
                </a:lnTo>
                <a:lnTo>
                  <a:pt x="0" y="52"/>
                </a:lnTo>
                <a:lnTo>
                  <a:pt x="3" y="50"/>
                </a:lnTo>
                <a:lnTo>
                  <a:pt x="4" y="50"/>
                </a:lnTo>
                <a:lnTo>
                  <a:pt x="7" y="48"/>
                </a:lnTo>
                <a:lnTo>
                  <a:pt x="11" y="47"/>
                </a:lnTo>
                <a:lnTo>
                  <a:pt x="13" y="44"/>
                </a:lnTo>
                <a:lnTo>
                  <a:pt x="15" y="42"/>
                </a:lnTo>
                <a:lnTo>
                  <a:pt x="15" y="39"/>
                </a:lnTo>
                <a:lnTo>
                  <a:pt x="13" y="31"/>
                </a:lnTo>
                <a:lnTo>
                  <a:pt x="13" y="28"/>
                </a:lnTo>
                <a:lnTo>
                  <a:pt x="15" y="26"/>
                </a:lnTo>
                <a:lnTo>
                  <a:pt x="19" y="25"/>
                </a:lnTo>
                <a:lnTo>
                  <a:pt x="21" y="23"/>
                </a:lnTo>
                <a:lnTo>
                  <a:pt x="23" y="20"/>
                </a:lnTo>
                <a:lnTo>
                  <a:pt x="30" y="14"/>
                </a:lnTo>
                <a:lnTo>
                  <a:pt x="32" y="12"/>
                </a:lnTo>
                <a:lnTo>
                  <a:pt x="33" y="11"/>
                </a:lnTo>
                <a:lnTo>
                  <a:pt x="33" y="0"/>
                </a:lnTo>
                <a:lnTo>
                  <a:pt x="36" y="0"/>
                </a:lnTo>
                <a:lnTo>
                  <a:pt x="40" y="1"/>
                </a:lnTo>
                <a:lnTo>
                  <a:pt x="46" y="4"/>
                </a:lnTo>
                <a:lnTo>
                  <a:pt x="52" y="6"/>
                </a:lnTo>
                <a:lnTo>
                  <a:pt x="58" y="4"/>
                </a:lnTo>
                <a:lnTo>
                  <a:pt x="62" y="4"/>
                </a:lnTo>
                <a:lnTo>
                  <a:pt x="65" y="6"/>
                </a:lnTo>
                <a:lnTo>
                  <a:pt x="69" y="6"/>
                </a:lnTo>
                <a:lnTo>
                  <a:pt x="73" y="8"/>
                </a:lnTo>
                <a:lnTo>
                  <a:pt x="76" y="9"/>
                </a:lnTo>
                <a:lnTo>
                  <a:pt x="81" y="11"/>
                </a:lnTo>
                <a:lnTo>
                  <a:pt x="85" y="12"/>
                </a:lnTo>
                <a:lnTo>
                  <a:pt x="89" y="14"/>
                </a:lnTo>
                <a:lnTo>
                  <a:pt x="90" y="15"/>
                </a:lnTo>
                <a:lnTo>
                  <a:pt x="92" y="19"/>
                </a:lnTo>
                <a:lnTo>
                  <a:pt x="92" y="22"/>
                </a:lnTo>
                <a:lnTo>
                  <a:pt x="94" y="26"/>
                </a:lnTo>
                <a:lnTo>
                  <a:pt x="98" y="31"/>
                </a:lnTo>
                <a:lnTo>
                  <a:pt x="102" y="33"/>
                </a:lnTo>
                <a:lnTo>
                  <a:pt x="105" y="33"/>
                </a:lnTo>
                <a:lnTo>
                  <a:pt x="114" y="34"/>
                </a:lnTo>
                <a:lnTo>
                  <a:pt x="118" y="34"/>
                </a:lnTo>
                <a:lnTo>
                  <a:pt x="126" y="37"/>
                </a:lnTo>
                <a:lnTo>
                  <a:pt x="130" y="41"/>
                </a:lnTo>
                <a:lnTo>
                  <a:pt x="133" y="41"/>
                </a:lnTo>
                <a:lnTo>
                  <a:pt x="134" y="42"/>
                </a:lnTo>
                <a:lnTo>
                  <a:pt x="137" y="44"/>
                </a:lnTo>
                <a:lnTo>
                  <a:pt x="141" y="48"/>
                </a:lnTo>
                <a:lnTo>
                  <a:pt x="145" y="50"/>
                </a:lnTo>
                <a:lnTo>
                  <a:pt x="149" y="50"/>
                </a:lnTo>
                <a:lnTo>
                  <a:pt x="154" y="48"/>
                </a:lnTo>
                <a:lnTo>
                  <a:pt x="157" y="47"/>
                </a:lnTo>
                <a:lnTo>
                  <a:pt x="159" y="44"/>
                </a:lnTo>
                <a:lnTo>
                  <a:pt x="161" y="41"/>
                </a:lnTo>
                <a:lnTo>
                  <a:pt x="163" y="37"/>
                </a:lnTo>
                <a:lnTo>
                  <a:pt x="163" y="36"/>
                </a:lnTo>
                <a:lnTo>
                  <a:pt x="162" y="31"/>
                </a:lnTo>
                <a:lnTo>
                  <a:pt x="162" y="30"/>
                </a:lnTo>
                <a:lnTo>
                  <a:pt x="159" y="26"/>
                </a:lnTo>
                <a:lnTo>
                  <a:pt x="159" y="22"/>
                </a:lnTo>
                <a:lnTo>
                  <a:pt x="161" y="19"/>
                </a:lnTo>
                <a:lnTo>
                  <a:pt x="165" y="14"/>
                </a:lnTo>
                <a:lnTo>
                  <a:pt x="166" y="12"/>
                </a:lnTo>
                <a:lnTo>
                  <a:pt x="171" y="8"/>
                </a:lnTo>
                <a:lnTo>
                  <a:pt x="177" y="6"/>
                </a:lnTo>
                <a:lnTo>
                  <a:pt x="181" y="4"/>
                </a:lnTo>
                <a:lnTo>
                  <a:pt x="183" y="4"/>
                </a:lnTo>
                <a:lnTo>
                  <a:pt x="193" y="3"/>
                </a:lnTo>
                <a:lnTo>
                  <a:pt x="201" y="6"/>
                </a:lnTo>
                <a:lnTo>
                  <a:pt x="202" y="8"/>
                </a:lnTo>
                <a:lnTo>
                  <a:pt x="205" y="8"/>
                </a:lnTo>
                <a:lnTo>
                  <a:pt x="207" y="9"/>
                </a:lnTo>
                <a:lnTo>
                  <a:pt x="207" y="12"/>
                </a:lnTo>
                <a:lnTo>
                  <a:pt x="206" y="12"/>
                </a:lnTo>
                <a:lnTo>
                  <a:pt x="207" y="14"/>
                </a:lnTo>
                <a:lnTo>
                  <a:pt x="210" y="15"/>
                </a:lnTo>
                <a:lnTo>
                  <a:pt x="211" y="17"/>
                </a:lnTo>
                <a:lnTo>
                  <a:pt x="213" y="17"/>
                </a:lnTo>
                <a:lnTo>
                  <a:pt x="217" y="17"/>
                </a:lnTo>
                <a:lnTo>
                  <a:pt x="219" y="17"/>
                </a:lnTo>
                <a:lnTo>
                  <a:pt x="219" y="19"/>
                </a:lnTo>
                <a:lnTo>
                  <a:pt x="223" y="20"/>
                </a:lnTo>
                <a:lnTo>
                  <a:pt x="229" y="20"/>
                </a:lnTo>
                <a:lnTo>
                  <a:pt x="235" y="20"/>
                </a:lnTo>
                <a:lnTo>
                  <a:pt x="238" y="22"/>
                </a:lnTo>
                <a:lnTo>
                  <a:pt x="239" y="25"/>
                </a:lnTo>
                <a:lnTo>
                  <a:pt x="239" y="26"/>
                </a:lnTo>
                <a:lnTo>
                  <a:pt x="237" y="26"/>
                </a:lnTo>
                <a:lnTo>
                  <a:pt x="237" y="30"/>
                </a:lnTo>
                <a:lnTo>
                  <a:pt x="234" y="31"/>
                </a:lnTo>
                <a:lnTo>
                  <a:pt x="234" y="33"/>
                </a:lnTo>
                <a:lnTo>
                  <a:pt x="235" y="34"/>
                </a:lnTo>
                <a:lnTo>
                  <a:pt x="235" y="42"/>
                </a:lnTo>
                <a:lnTo>
                  <a:pt x="237" y="47"/>
                </a:lnTo>
                <a:lnTo>
                  <a:pt x="235" y="50"/>
                </a:lnTo>
                <a:lnTo>
                  <a:pt x="234" y="52"/>
                </a:lnTo>
                <a:lnTo>
                  <a:pt x="233" y="53"/>
                </a:lnTo>
                <a:lnTo>
                  <a:pt x="233" y="59"/>
                </a:lnTo>
                <a:lnTo>
                  <a:pt x="234" y="63"/>
                </a:lnTo>
                <a:lnTo>
                  <a:pt x="235" y="64"/>
                </a:lnTo>
                <a:lnTo>
                  <a:pt x="234" y="67"/>
                </a:lnTo>
                <a:lnTo>
                  <a:pt x="239" y="72"/>
                </a:lnTo>
                <a:lnTo>
                  <a:pt x="239" y="85"/>
                </a:lnTo>
                <a:lnTo>
                  <a:pt x="239" y="102"/>
                </a:lnTo>
                <a:lnTo>
                  <a:pt x="239" y="117"/>
                </a:lnTo>
                <a:lnTo>
                  <a:pt x="239" y="135"/>
                </a:lnTo>
                <a:lnTo>
                  <a:pt x="239" y="152"/>
                </a:lnTo>
                <a:lnTo>
                  <a:pt x="239" y="169"/>
                </a:lnTo>
                <a:lnTo>
                  <a:pt x="239" y="187"/>
                </a:lnTo>
                <a:lnTo>
                  <a:pt x="239" y="198"/>
                </a:lnTo>
                <a:lnTo>
                  <a:pt x="239" y="213"/>
                </a:lnTo>
                <a:lnTo>
                  <a:pt x="239" y="232"/>
                </a:lnTo>
                <a:lnTo>
                  <a:pt x="225" y="232"/>
                </a:lnTo>
                <a:lnTo>
                  <a:pt x="225" y="242"/>
                </a:lnTo>
                <a:lnTo>
                  <a:pt x="222" y="242"/>
                </a:lnTo>
                <a:lnTo>
                  <a:pt x="209" y="234"/>
                </a:lnTo>
                <a:lnTo>
                  <a:pt x="197" y="226"/>
                </a:lnTo>
                <a:lnTo>
                  <a:pt x="183" y="220"/>
                </a:lnTo>
                <a:lnTo>
                  <a:pt x="170" y="212"/>
                </a:lnTo>
                <a:lnTo>
                  <a:pt x="158" y="204"/>
                </a:lnTo>
                <a:lnTo>
                  <a:pt x="145" y="196"/>
                </a:lnTo>
                <a:lnTo>
                  <a:pt x="132" y="190"/>
                </a:lnTo>
                <a:lnTo>
                  <a:pt x="120" y="182"/>
                </a:lnTo>
                <a:lnTo>
                  <a:pt x="106" y="174"/>
                </a:lnTo>
                <a:lnTo>
                  <a:pt x="104" y="172"/>
                </a:lnTo>
                <a:lnTo>
                  <a:pt x="90" y="177"/>
                </a:lnTo>
                <a:lnTo>
                  <a:pt x="88" y="179"/>
                </a:lnTo>
                <a:lnTo>
                  <a:pt x="84" y="180"/>
                </a:lnTo>
                <a:lnTo>
                  <a:pt x="82" y="177"/>
                </a:lnTo>
                <a:lnTo>
                  <a:pt x="81" y="176"/>
                </a:lnTo>
                <a:lnTo>
                  <a:pt x="77" y="174"/>
                </a:lnTo>
                <a:lnTo>
                  <a:pt x="76" y="172"/>
                </a:lnTo>
                <a:lnTo>
                  <a:pt x="74" y="171"/>
                </a:lnTo>
                <a:lnTo>
                  <a:pt x="72" y="171"/>
                </a:lnTo>
                <a:lnTo>
                  <a:pt x="61" y="169"/>
                </a:lnTo>
                <a:lnTo>
                  <a:pt x="49" y="171"/>
                </a:lnTo>
                <a:lnTo>
                  <a:pt x="41" y="169"/>
                </a:lnTo>
                <a:lnTo>
                  <a:pt x="40" y="169"/>
                </a:lnTo>
                <a:lnTo>
                  <a:pt x="38" y="171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65" name="Freeform 62"/>
          <p:cNvSpPr>
            <a:spLocks/>
          </p:cNvSpPr>
          <p:nvPr/>
        </p:nvSpPr>
        <p:spPr bwMode="auto">
          <a:xfrm>
            <a:off x="5325588" y="3461593"/>
            <a:ext cx="465767" cy="524016"/>
          </a:xfrm>
          <a:custGeom>
            <a:avLst/>
            <a:gdLst/>
            <a:ahLst/>
            <a:cxnLst>
              <a:cxn ang="0">
                <a:pos x="200" y="69"/>
              </a:cxn>
              <a:cxn ang="0">
                <a:pos x="203" y="76"/>
              </a:cxn>
              <a:cxn ang="0">
                <a:pos x="210" y="82"/>
              </a:cxn>
              <a:cxn ang="0">
                <a:pos x="218" y="83"/>
              </a:cxn>
              <a:cxn ang="0">
                <a:pos x="223" y="88"/>
              </a:cxn>
              <a:cxn ang="0">
                <a:pos x="230" y="91"/>
              </a:cxn>
              <a:cxn ang="0">
                <a:pos x="231" y="96"/>
              </a:cxn>
              <a:cxn ang="0">
                <a:pos x="231" y="101"/>
              </a:cxn>
              <a:cxn ang="0">
                <a:pos x="234" y="107"/>
              </a:cxn>
              <a:cxn ang="0">
                <a:pos x="243" y="104"/>
              </a:cxn>
              <a:cxn ang="0">
                <a:pos x="244" y="142"/>
              </a:cxn>
              <a:cxn ang="0">
                <a:pos x="240" y="163"/>
              </a:cxn>
              <a:cxn ang="0">
                <a:pos x="235" y="170"/>
              </a:cxn>
              <a:cxn ang="0">
                <a:pos x="227" y="171"/>
              </a:cxn>
              <a:cxn ang="0">
                <a:pos x="184" y="178"/>
              </a:cxn>
              <a:cxn ang="0">
                <a:pos x="164" y="185"/>
              </a:cxn>
              <a:cxn ang="0">
                <a:pos x="135" y="206"/>
              </a:cxn>
              <a:cxn ang="0">
                <a:pos x="124" y="211"/>
              </a:cxn>
              <a:cxn ang="0">
                <a:pos x="119" y="226"/>
              </a:cxn>
              <a:cxn ang="0">
                <a:pos x="109" y="237"/>
              </a:cxn>
              <a:cxn ang="0">
                <a:pos x="103" y="251"/>
              </a:cxn>
              <a:cxn ang="0">
                <a:pos x="99" y="259"/>
              </a:cxn>
              <a:cxn ang="0">
                <a:pos x="93" y="261"/>
              </a:cxn>
              <a:cxn ang="0">
                <a:pos x="90" y="258"/>
              </a:cxn>
              <a:cxn ang="0">
                <a:pos x="89" y="253"/>
              </a:cxn>
              <a:cxn ang="0">
                <a:pos x="85" y="256"/>
              </a:cxn>
              <a:cxn ang="0">
                <a:pos x="82" y="259"/>
              </a:cxn>
              <a:cxn ang="0">
                <a:pos x="77" y="264"/>
              </a:cxn>
              <a:cxn ang="0">
                <a:pos x="73" y="261"/>
              </a:cxn>
              <a:cxn ang="0">
                <a:pos x="69" y="258"/>
              </a:cxn>
              <a:cxn ang="0">
                <a:pos x="65" y="261"/>
              </a:cxn>
              <a:cxn ang="0">
                <a:pos x="61" y="259"/>
              </a:cxn>
              <a:cxn ang="0">
                <a:pos x="58" y="248"/>
              </a:cxn>
              <a:cxn ang="0">
                <a:pos x="53" y="250"/>
              </a:cxn>
              <a:cxn ang="0">
                <a:pos x="55" y="244"/>
              </a:cxn>
              <a:cxn ang="0">
                <a:pos x="55" y="240"/>
              </a:cxn>
              <a:cxn ang="0">
                <a:pos x="50" y="237"/>
              </a:cxn>
              <a:cxn ang="0">
                <a:pos x="49" y="228"/>
              </a:cxn>
              <a:cxn ang="0">
                <a:pos x="47" y="222"/>
              </a:cxn>
              <a:cxn ang="0">
                <a:pos x="42" y="225"/>
              </a:cxn>
              <a:cxn ang="0">
                <a:pos x="37" y="229"/>
              </a:cxn>
              <a:cxn ang="0">
                <a:pos x="26" y="228"/>
              </a:cxn>
              <a:cxn ang="0">
                <a:pos x="19" y="228"/>
              </a:cxn>
              <a:cxn ang="0">
                <a:pos x="14" y="229"/>
              </a:cxn>
              <a:cxn ang="0">
                <a:pos x="10" y="226"/>
              </a:cxn>
              <a:cxn ang="0">
                <a:pos x="11" y="220"/>
              </a:cxn>
              <a:cxn ang="0">
                <a:pos x="11" y="215"/>
              </a:cxn>
              <a:cxn ang="0">
                <a:pos x="11" y="211"/>
              </a:cxn>
              <a:cxn ang="0">
                <a:pos x="9" y="206"/>
              </a:cxn>
              <a:cxn ang="0">
                <a:pos x="5" y="204"/>
              </a:cxn>
              <a:cxn ang="0">
                <a:pos x="4" y="196"/>
              </a:cxn>
              <a:cxn ang="0">
                <a:pos x="2" y="189"/>
              </a:cxn>
              <a:cxn ang="0">
                <a:pos x="0" y="185"/>
              </a:cxn>
              <a:cxn ang="0">
                <a:pos x="6" y="174"/>
              </a:cxn>
              <a:cxn ang="0">
                <a:pos x="11" y="162"/>
              </a:cxn>
              <a:cxn ang="0">
                <a:pos x="17" y="168"/>
              </a:cxn>
              <a:cxn ang="0">
                <a:pos x="54" y="168"/>
              </a:cxn>
              <a:cxn ang="0">
                <a:pos x="103" y="154"/>
              </a:cxn>
              <a:cxn ang="0">
                <a:pos x="91" y="101"/>
              </a:cxn>
              <a:cxn ang="0">
                <a:pos x="86" y="33"/>
              </a:cxn>
              <a:cxn ang="0">
                <a:pos x="127" y="13"/>
              </a:cxn>
            </a:cxnLst>
            <a:rect l="0" t="0" r="r" b="b"/>
            <a:pathLst>
              <a:path w="244" h="264">
                <a:moveTo>
                  <a:pt x="127" y="13"/>
                </a:moveTo>
                <a:lnTo>
                  <a:pt x="199" y="68"/>
                </a:lnTo>
                <a:lnTo>
                  <a:pt x="199" y="69"/>
                </a:lnTo>
                <a:lnTo>
                  <a:pt x="200" y="69"/>
                </a:lnTo>
                <a:lnTo>
                  <a:pt x="199" y="72"/>
                </a:lnTo>
                <a:lnTo>
                  <a:pt x="199" y="74"/>
                </a:lnTo>
                <a:lnTo>
                  <a:pt x="202" y="74"/>
                </a:lnTo>
                <a:lnTo>
                  <a:pt x="203" y="76"/>
                </a:lnTo>
                <a:lnTo>
                  <a:pt x="207" y="77"/>
                </a:lnTo>
                <a:lnTo>
                  <a:pt x="207" y="79"/>
                </a:lnTo>
                <a:lnTo>
                  <a:pt x="208" y="80"/>
                </a:lnTo>
                <a:lnTo>
                  <a:pt x="210" y="82"/>
                </a:lnTo>
                <a:lnTo>
                  <a:pt x="211" y="83"/>
                </a:lnTo>
                <a:lnTo>
                  <a:pt x="214" y="83"/>
                </a:lnTo>
                <a:lnTo>
                  <a:pt x="216" y="83"/>
                </a:lnTo>
                <a:lnTo>
                  <a:pt x="218" y="83"/>
                </a:lnTo>
                <a:lnTo>
                  <a:pt x="218" y="87"/>
                </a:lnTo>
                <a:lnTo>
                  <a:pt x="219" y="87"/>
                </a:lnTo>
                <a:lnTo>
                  <a:pt x="222" y="87"/>
                </a:lnTo>
                <a:lnTo>
                  <a:pt x="223" y="88"/>
                </a:lnTo>
                <a:lnTo>
                  <a:pt x="224" y="88"/>
                </a:lnTo>
                <a:lnTo>
                  <a:pt x="227" y="90"/>
                </a:lnTo>
                <a:lnTo>
                  <a:pt x="230" y="90"/>
                </a:lnTo>
                <a:lnTo>
                  <a:pt x="230" y="91"/>
                </a:lnTo>
                <a:lnTo>
                  <a:pt x="231" y="91"/>
                </a:lnTo>
                <a:lnTo>
                  <a:pt x="231" y="93"/>
                </a:lnTo>
                <a:lnTo>
                  <a:pt x="231" y="94"/>
                </a:lnTo>
                <a:lnTo>
                  <a:pt x="231" y="96"/>
                </a:lnTo>
                <a:lnTo>
                  <a:pt x="231" y="98"/>
                </a:lnTo>
                <a:lnTo>
                  <a:pt x="231" y="99"/>
                </a:lnTo>
                <a:lnTo>
                  <a:pt x="230" y="99"/>
                </a:lnTo>
                <a:lnTo>
                  <a:pt x="231" y="101"/>
                </a:lnTo>
                <a:lnTo>
                  <a:pt x="230" y="102"/>
                </a:lnTo>
                <a:lnTo>
                  <a:pt x="230" y="104"/>
                </a:lnTo>
                <a:lnTo>
                  <a:pt x="232" y="107"/>
                </a:lnTo>
                <a:lnTo>
                  <a:pt x="234" y="107"/>
                </a:lnTo>
                <a:lnTo>
                  <a:pt x="235" y="107"/>
                </a:lnTo>
                <a:lnTo>
                  <a:pt x="237" y="105"/>
                </a:lnTo>
                <a:lnTo>
                  <a:pt x="240" y="105"/>
                </a:lnTo>
                <a:lnTo>
                  <a:pt x="243" y="104"/>
                </a:lnTo>
                <a:lnTo>
                  <a:pt x="244" y="104"/>
                </a:lnTo>
                <a:lnTo>
                  <a:pt x="244" y="109"/>
                </a:lnTo>
                <a:lnTo>
                  <a:pt x="244" y="124"/>
                </a:lnTo>
                <a:lnTo>
                  <a:pt x="244" y="142"/>
                </a:lnTo>
                <a:lnTo>
                  <a:pt x="244" y="159"/>
                </a:lnTo>
                <a:lnTo>
                  <a:pt x="243" y="159"/>
                </a:lnTo>
                <a:lnTo>
                  <a:pt x="240" y="160"/>
                </a:lnTo>
                <a:lnTo>
                  <a:pt x="240" y="163"/>
                </a:lnTo>
                <a:lnTo>
                  <a:pt x="239" y="165"/>
                </a:lnTo>
                <a:lnTo>
                  <a:pt x="236" y="167"/>
                </a:lnTo>
                <a:lnTo>
                  <a:pt x="235" y="168"/>
                </a:lnTo>
                <a:lnTo>
                  <a:pt x="235" y="170"/>
                </a:lnTo>
                <a:lnTo>
                  <a:pt x="235" y="171"/>
                </a:lnTo>
                <a:lnTo>
                  <a:pt x="231" y="170"/>
                </a:lnTo>
                <a:lnTo>
                  <a:pt x="227" y="170"/>
                </a:lnTo>
                <a:lnTo>
                  <a:pt x="227" y="171"/>
                </a:lnTo>
                <a:lnTo>
                  <a:pt x="226" y="171"/>
                </a:lnTo>
                <a:lnTo>
                  <a:pt x="202" y="171"/>
                </a:lnTo>
                <a:lnTo>
                  <a:pt x="195" y="178"/>
                </a:lnTo>
                <a:lnTo>
                  <a:pt x="184" y="178"/>
                </a:lnTo>
                <a:lnTo>
                  <a:pt x="176" y="178"/>
                </a:lnTo>
                <a:lnTo>
                  <a:pt x="171" y="181"/>
                </a:lnTo>
                <a:lnTo>
                  <a:pt x="168" y="182"/>
                </a:lnTo>
                <a:lnTo>
                  <a:pt x="164" y="185"/>
                </a:lnTo>
                <a:lnTo>
                  <a:pt x="154" y="193"/>
                </a:lnTo>
                <a:lnTo>
                  <a:pt x="150" y="198"/>
                </a:lnTo>
                <a:lnTo>
                  <a:pt x="146" y="203"/>
                </a:lnTo>
                <a:lnTo>
                  <a:pt x="135" y="206"/>
                </a:lnTo>
                <a:lnTo>
                  <a:pt x="131" y="207"/>
                </a:lnTo>
                <a:lnTo>
                  <a:pt x="128" y="207"/>
                </a:lnTo>
                <a:lnTo>
                  <a:pt x="127" y="207"/>
                </a:lnTo>
                <a:lnTo>
                  <a:pt x="124" y="211"/>
                </a:lnTo>
                <a:lnTo>
                  <a:pt x="123" y="212"/>
                </a:lnTo>
                <a:lnTo>
                  <a:pt x="122" y="215"/>
                </a:lnTo>
                <a:lnTo>
                  <a:pt x="121" y="220"/>
                </a:lnTo>
                <a:lnTo>
                  <a:pt x="119" y="226"/>
                </a:lnTo>
                <a:lnTo>
                  <a:pt x="117" y="229"/>
                </a:lnTo>
                <a:lnTo>
                  <a:pt x="111" y="233"/>
                </a:lnTo>
                <a:lnTo>
                  <a:pt x="110" y="236"/>
                </a:lnTo>
                <a:lnTo>
                  <a:pt x="109" y="237"/>
                </a:lnTo>
                <a:lnTo>
                  <a:pt x="107" y="240"/>
                </a:lnTo>
                <a:lnTo>
                  <a:pt x="107" y="244"/>
                </a:lnTo>
                <a:lnTo>
                  <a:pt x="105" y="248"/>
                </a:lnTo>
                <a:lnTo>
                  <a:pt x="103" y="251"/>
                </a:lnTo>
                <a:lnTo>
                  <a:pt x="103" y="256"/>
                </a:lnTo>
                <a:lnTo>
                  <a:pt x="105" y="261"/>
                </a:lnTo>
                <a:lnTo>
                  <a:pt x="101" y="261"/>
                </a:lnTo>
                <a:lnTo>
                  <a:pt x="99" y="259"/>
                </a:lnTo>
                <a:lnTo>
                  <a:pt x="99" y="258"/>
                </a:lnTo>
                <a:lnTo>
                  <a:pt x="95" y="258"/>
                </a:lnTo>
                <a:lnTo>
                  <a:pt x="94" y="261"/>
                </a:lnTo>
                <a:lnTo>
                  <a:pt x="93" y="261"/>
                </a:lnTo>
                <a:lnTo>
                  <a:pt x="93" y="262"/>
                </a:lnTo>
                <a:lnTo>
                  <a:pt x="90" y="262"/>
                </a:lnTo>
                <a:lnTo>
                  <a:pt x="90" y="261"/>
                </a:lnTo>
                <a:lnTo>
                  <a:pt x="90" y="258"/>
                </a:lnTo>
                <a:lnTo>
                  <a:pt x="89" y="256"/>
                </a:lnTo>
                <a:lnTo>
                  <a:pt x="90" y="256"/>
                </a:lnTo>
                <a:lnTo>
                  <a:pt x="89" y="255"/>
                </a:lnTo>
                <a:lnTo>
                  <a:pt x="89" y="253"/>
                </a:lnTo>
                <a:lnTo>
                  <a:pt x="87" y="253"/>
                </a:lnTo>
                <a:lnTo>
                  <a:pt x="86" y="253"/>
                </a:lnTo>
                <a:lnTo>
                  <a:pt x="86" y="256"/>
                </a:lnTo>
                <a:lnTo>
                  <a:pt x="85" y="256"/>
                </a:lnTo>
                <a:lnTo>
                  <a:pt x="83" y="255"/>
                </a:lnTo>
                <a:lnTo>
                  <a:pt x="82" y="256"/>
                </a:lnTo>
                <a:lnTo>
                  <a:pt x="82" y="258"/>
                </a:lnTo>
                <a:lnTo>
                  <a:pt x="82" y="259"/>
                </a:lnTo>
                <a:lnTo>
                  <a:pt x="79" y="259"/>
                </a:lnTo>
                <a:lnTo>
                  <a:pt x="78" y="261"/>
                </a:lnTo>
                <a:lnTo>
                  <a:pt x="77" y="262"/>
                </a:lnTo>
                <a:lnTo>
                  <a:pt x="77" y="264"/>
                </a:lnTo>
                <a:lnTo>
                  <a:pt x="75" y="262"/>
                </a:lnTo>
                <a:lnTo>
                  <a:pt x="74" y="262"/>
                </a:lnTo>
                <a:lnTo>
                  <a:pt x="74" y="261"/>
                </a:lnTo>
                <a:lnTo>
                  <a:pt x="73" y="261"/>
                </a:lnTo>
                <a:lnTo>
                  <a:pt x="71" y="262"/>
                </a:lnTo>
                <a:lnTo>
                  <a:pt x="71" y="259"/>
                </a:lnTo>
                <a:lnTo>
                  <a:pt x="70" y="258"/>
                </a:lnTo>
                <a:lnTo>
                  <a:pt x="69" y="258"/>
                </a:lnTo>
                <a:lnTo>
                  <a:pt x="69" y="259"/>
                </a:lnTo>
                <a:lnTo>
                  <a:pt x="67" y="259"/>
                </a:lnTo>
                <a:lnTo>
                  <a:pt x="66" y="259"/>
                </a:lnTo>
                <a:lnTo>
                  <a:pt x="65" y="261"/>
                </a:lnTo>
                <a:lnTo>
                  <a:pt x="65" y="262"/>
                </a:lnTo>
                <a:lnTo>
                  <a:pt x="62" y="262"/>
                </a:lnTo>
                <a:lnTo>
                  <a:pt x="62" y="261"/>
                </a:lnTo>
                <a:lnTo>
                  <a:pt x="61" y="259"/>
                </a:lnTo>
                <a:lnTo>
                  <a:pt x="61" y="258"/>
                </a:lnTo>
                <a:lnTo>
                  <a:pt x="59" y="258"/>
                </a:lnTo>
                <a:lnTo>
                  <a:pt x="58" y="256"/>
                </a:lnTo>
                <a:lnTo>
                  <a:pt x="58" y="248"/>
                </a:lnTo>
                <a:lnTo>
                  <a:pt x="57" y="247"/>
                </a:lnTo>
                <a:lnTo>
                  <a:pt x="55" y="247"/>
                </a:lnTo>
                <a:lnTo>
                  <a:pt x="54" y="247"/>
                </a:lnTo>
                <a:lnTo>
                  <a:pt x="53" y="250"/>
                </a:lnTo>
                <a:lnTo>
                  <a:pt x="53" y="247"/>
                </a:lnTo>
                <a:lnTo>
                  <a:pt x="54" y="245"/>
                </a:lnTo>
                <a:lnTo>
                  <a:pt x="55" y="245"/>
                </a:lnTo>
                <a:lnTo>
                  <a:pt x="55" y="244"/>
                </a:lnTo>
                <a:lnTo>
                  <a:pt x="57" y="244"/>
                </a:lnTo>
                <a:lnTo>
                  <a:pt x="57" y="242"/>
                </a:lnTo>
                <a:lnTo>
                  <a:pt x="57" y="240"/>
                </a:lnTo>
                <a:lnTo>
                  <a:pt x="55" y="240"/>
                </a:lnTo>
                <a:lnTo>
                  <a:pt x="54" y="240"/>
                </a:lnTo>
                <a:lnTo>
                  <a:pt x="53" y="239"/>
                </a:lnTo>
                <a:lnTo>
                  <a:pt x="51" y="236"/>
                </a:lnTo>
                <a:lnTo>
                  <a:pt x="50" y="237"/>
                </a:lnTo>
                <a:lnTo>
                  <a:pt x="50" y="231"/>
                </a:lnTo>
                <a:lnTo>
                  <a:pt x="50" y="229"/>
                </a:lnTo>
                <a:lnTo>
                  <a:pt x="49" y="229"/>
                </a:lnTo>
                <a:lnTo>
                  <a:pt x="49" y="228"/>
                </a:lnTo>
                <a:lnTo>
                  <a:pt x="49" y="226"/>
                </a:lnTo>
                <a:lnTo>
                  <a:pt x="47" y="226"/>
                </a:lnTo>
                <a:lnTo>
                  <a:pt x="47" y="223"/>
                </a:lnTo>
                <a:lnTo>
                  <a:pt x="47" y="222"/>
                </a:lnTo>
                <a:lnTo>
                  <a:pt x="46" y="222"/>
                </a:lnTo>
                <a:lnTo>
                  <a:pt x="45" y="223"/>
                </a:lnTo>
                <a:lnTo>
                  <a:pt x="42" y="222"/>
                </a:lnTo>
                <a:lnTo>
                  <a:pt x="42" y="225"/>
                </a:lnTo>
                <a:lnTo>
                  <a:pt x="41" y="225"/>
                </a:lnTo>
                <a:lnTo>
                  <a:pt x="37" y="226"/>
                </a:lnTo>
                <a:lnTo>
                  <a:pt x="37" y="228"/>
                </a:lnTo>
                <a:lnTo>
                  <a:pt x="37" y="229"/>
                </a:lnTo>
                <a:lnTo>
                  <a:pt x="33" y="228"/>
                </a:lnTo>
                <a:lnTo>
                  <a:pt x="30" y="226"/>
                </a:lnTo>
                <a:lnTo>
                  <a:pt x="27" y="226"/>
                </a:lnTo>
                <a:lnTo>
                  <a:pt x="26" y="228"/>
                </a:lnTo>
                <a:lnTo>
                  <a:pt x="25" y="229"/>
                </a:lnTo>
                <a:lnTo>
                  <a:pt x="23" y="231"/>
                </a:lnTo>
                <a:lnTo>
                  <a:pt x="21" y="231"/>
                </a:lnTo>
                <a:lnTo>
                  <a:pt x="19" y="228"/>
                </a:lnTo>
                <a:lnTo>
                  <a:pt x="18" y="226"/>
                </a:lnTo>
                <a:lnTo>
                  <a:pt x="17" y="226"/>
                </a:lnTo>
                <a:lnTo>
                  <a:pt x="15" y="229"/>
                </a:lnTo>
                <a:lnTo>
                  <a:pt x="14" y="229"/>
                </a:lnTo>
                <a:lnTo>
                  <a:pt x="13" y="229"/>
                </a:lnTo>
                <a:lnTo>
                  <a:pt x="11" y="229"/>
                </a:lnTo>
                <a:lnTo>
                  <a:pt x="10" y="228"/>
                </a:lnTo>
                <a:lnTo>
                  <a:pt x="10" y="226"/>
                </a:lnTo>
                <a:lnTo>
                  <a:pt x="11" y="225"/>
                </a:lnTo>
                <a:lnTo>
                  <a:pt x="13" y="223"/>
                </a:lnTo>
                <a:lnTo>
                  <a:pt x="13" y="222"/>
                </a:lnTo>
                <a:lnTo>
                  <a:pt x="11" y="220"/>
                </a:lnTo>
                <a:lnTo>
                  <a:pt x="11" y="218"/>
                </a:lnTo>
                <a:lnTo>
                  <a:pt x="13" y="217"/>
                </a:lnTo>
                <a:lnTo>
                  <a:pt x="13" y="215"/>
                </a:lnTo>
                <a:lnTo>
                  <a:pt x="11" y="215"/>
                </a:lnTo>
                <a:lnTo>
                  <a:pt x="11" y="214"/>
                </a:lnTo>
                <a:lnTo>
                  <a:pt x="13" y="214"/>
                </a:lnTo>
                <a:lnTo>
                  <a:pt x="13" y="212"/>
                </a:lnTo>
                <a:lnTo>
                  <a:pt x="11" y="211"/>
                </a:lnTo>
                <a:lnTo>
                  <a:pt x="10" y="209"/>
                </a:lnTo>
                <a:lnTo>
                  <a:pt x="10" y="207"/>
                </a:lnTo>
                <a:lnTo>
                  <a:pt x="9" y="207"/>
                </a:lnTo>
                <a:lnTo>
                  <a:pt x="9" y="206"/>
                </a:lnTo>
                <a:lnTo>
                  <a:pt x="8" y="206"/>
                </a:lnTo>
                <a:lnTo>
                  <a:pt x="6" y="206"/>
                </a:lnTo>
                <a:lnTo>
                  <a:pt x="5" y="206"/>
                </a:lnTo>
                <a:lnTo>
                  <a:pt x="5" y="204"/>
                </a:lnTo>
                <a:lnTo>
                  <a:pt x="2" y="201"/>
                </a:lnTo>
                <a:lnTo>
                  <a:pt x="2" y="200"/>
                </a:lnTo>
                <a:lnTo>
                  <a:pt x="4" y="198"/>
                </a:lnTo>
                <a:lnTo>
                  <a:pt x="4" y="196"/>
                </a:lnTo>
                <a:lnTo>
                  <a:pt x="2" y="195"/>
                </a:lnTo>
                <a:lnTo>
                  <a:pt x="2" y="192"/>
                </a:lnTo>
                <a:lnTo>
                  <a:pt x="2" y="190"/>
                </a:lnTo>
                <a:lnTo>
                  <a:pt x="2" y="189"/>
                </a:lnTo>
                <a:lnTo>
                  <a:pt x="1" y="189"/>
                </a:lnTo>
                <a:lnTo>
                  <a:pt x="1" y="187"/>
                </a:lnTo>
                <a:lnTo>
                  <a:pt x="0" y="187"/>
                </a:lnTo>
                <a:lnTo>
                  <a:pt x="0" y="185"/>
                </a:lnTo>
                <a:lnTo>
                  <a:pt x="1" y="184"/>
                </a:lnTo>
                <a:lnTo>
                  <a:pt x="1" y="182"/>
                </a:lnTo>
                <a:lnTo>
                  <a:pt x="0" y="181"/>
                </a:lnTo>
                <a:lnTo>
                  <a:pt x="6" y="174"/>
                </a:lnTo>
                <a:lnTo>
                  <a:pt x="8" y="168"/>
                </a:lnTo>
                <a:lnTo>
                  <a:pt x="9" y="165"/>
                </a:lnTo>
                <a:lnTo>
                  <a:pt x="10" y="162"/>
                </a:lnTo>
                <a:lnTo>
                  <a:pt x="11" y="162"/>
                </a:lnTo>
                <a:lnTo>
                  <a:pt x="13" y="162"/>
                </a:lnTo>
                <a:lnTo>
                  <a:pt x="14" y="162"/>
                </a:lnTo>
                <a:lnTo>
                  <a:pt x="15" y="163"/>
                </a:lnTo>
                <a:lnTo>
                  <a:pt x="17" y="168"/>
                </a:lnTo>
                <a:lnTo>
                  <a:pt x="18" y="173"/>
                </a:lnTo>
                <a:lnTo>
                  <a:pt x="23" y="174"/>
                </a:lnTo>
                <a:lnTo>
                  <a:pt x="30" y="168"/>
                </a:lnTo>
                <a:lnTo>
                  <a:pt x="54" y="168"/>
                </a:lnTo>
                <a:lnTo>
                  <a:pt x="74" y="168"/>
                </a:lnTo>
                <a:lnTo>
                  <a:pt x="94" y="170"/>
                </a:lnTo>
                <a:lnTo>
                  <a:pt x="99" y="170"/>
                </a:lnTo>
                <a:lnTo>
                  <a:pt x="103" y="154"/>
                </a:lnTo>
                <a:lnTo>
                  <a:pt x="97" y="152"/>
                </a:lnTo>
                <a:lnTo>
                  <a:pt x="95" y="134"/>
                </a:lnTo>
                <a:lnTo>
                  <a:pt x="94" y="118"/>
                </a:lnTo>
                <a:lnTo>
                  <a:pt x="91" y="101"/>
                </a:lnTo>
                <a:lnTo>
                  <a:pt x="90" y="83"/>
                </a:lnTo>
                <a:lnTo>
                  <a:pt x="89" y="68"/>
                </a:lnTo>
                <a:lnTo>
                  <a:pt x="87" y="50"/>
                </a:lnTo>
                <a:lnTo>
                  <a:pt x="86" y="33"/>
                </a:lnTo>
                <a:lnTo>
                  <a:pt x="85" y="16"/>
                </a:lnTo>
                <a:lnTo>
                  <a:pt x="82" y="0"/>
                </a:lnTo>
                <a:lnTo>
                  <a:pt x="109" y="0"/>
                </a:lnTo>
                <a:lnTo>
                  <a:pt x="127" y="1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66" name="Freeform 63"/>
          <p:cNvSpPr>
            <a:spLocks/>
          </p:cNvSpPr>
          <p:nvPr/>
        </p:nvSpPr>
        <p:spPr bwMode="auto">
          <a:xfrm>
            <a:off x="5341177" y="3489511"/>
            <a:ext cx="450177" cy="496097"/>
          </a:xfrm>
          <a:custGeom>
            <a:avLst/>
            <a:gdLst/>
            <a:ahLst/>
            <a:cxnLst>
              <a:cxn ang="0">
                <a:pos x="192" y="56"/>
              </a:cxn>
              <a:cxn ang="0">
                <a:pos x="195" y="63"/>
              </a:cxn>
              <a:cxn ang="0">
                <a:pos x="202" y="69"/>
              </a:cxn>
              <a:cxn ang="0">
                <a:pos x="210" y="70"/>
              </a:cxn>
              <a:cxn ang="0">
                <a:pos x="215" y="75"/>
              </a:cxn>
              <a:cxn ang="0">
                <a:pos x="222" y="78"/>
              </a:cxn>
              <a:cxn ang="0">
                <a:pos x="223" y="83"/>
              </a:cxn>
              <a:cxn ang="0">
                <a:pos x="223" y="88"/>
              </a:cxn>
              <a:cxn ang="0">
                <a:pos x="226" y="94"/>
              </a:cxn>
              <a:cxn ang="0">
                <a:pos x="235" y="91"/>
              </a:cxn>
              <a:cxn ang="0">
                <a:pos x="236" y="129"/>
              </a:cxn>
              <a:cxn ang="0">
                <a:pos x="232" y="150"/>
              </a:cxn>
              <a:cxn ang="0">
                <a:pos x="227" y="157"/>
              </a:cxn>
              <a:cxn ang="0">
                <a:pos x="219" y="158"/>
              </a:cxn>
              <a:cxn ang="0">
                <a:pos x="176" y="165"/>
              </a:cxn>
              <a:cxn ang="0">
                <a:pos x="156" y="172"/>
              </a:cxn>
              <a:cxn ang="0">
                <a:pos x="127" y="193"/>
              </a:cxn>
              <a:cxn ang="0">
                <a:pos x="116" y="198"/>
              </a:cxn>
              <a:cxn ang="0">
                <a:pos x="111" y="213"/>
              </a:cxn>
              <a:cxn ang="0">
                <a:pos x="101" y="224"/>
              </a:cxn>
              <a:cxn ang="0">
                <a:pos x="95" y="238"/>
              </a:cxn>
              <a:cxn ang="0">
                <a:pos x="91" y="246"/>
              </a:cxn>
              <a:cxn ang="0">
                <a:pos x="85" y="248"/>
              </a:cxn>
              <a:cxn ang="0">
                <a:pos x="82" y="245"/>
              </a:cxn>
              <a:cxn ang="0">
                <a:pos x="81" y="240"/>
              </a:cxn>
              <a:cxn ang="0">
                <a:pos x="77" y="243"/>
              </a:cxn>
              <a:cxn ang="0">
                <a:pos x="74" y="246"/>
              </a:cxn>
              <a:cxn ang="0">
                <a:pos x="69" y="251"/>
              </a:cxn>
              <a:cxn ang="0">
                <a:pos x="65" y="248"/>
              </a:cxn>
              <a:cxn ang="0">
                <a:pos x="61" y="245"/>
              </a:cxn>
              <a:cxn ang="0">
                <a:pos x="57" y="248"/>
              </a:cxn>
              <a:cxn ang="0">
                <a:pos x="53" y="246"/>
              </a:cxn>
              <a:cxn ang="0">
                <a:pos x="50" y="235"/>
              </a:cxn>
              <a:cxn ang="0">
                <a:pos x="45" y="237"/>
              </a:cxn>
              <a:cxn ang="0">
                <a:pos x="47" y="231"/>
              </a:cxn>
              <a:cxn ang="0">
                <a:pos x="47" y="227"/>
              </a:cxn>
              <a:cxn ang="0">
                <a:pos x="42" y="224"/>
              </a:cxn>
              <a:cxn ang="0">
                <a:pos x="41" y="215"/>
              </a:cxn>
              <a:cxn ang="0">
                <a:pos x="39" y="209"/>
              </a:cxn>
              <a:cxn ang="0">
                <a:pos x="34" y="212"/>
              </a:cxn>
              <a:cxn ang="0">
                <a:pos x="29" y="216"/>
              </a:cxn>
              <a:cxn ang="0">
                <a:pos x="18" y="215"/>
              </a:cxn>
              <a:cxn ang="0">
                <a:pos x="11" y="215"/>
              </a:cxn>
              <a:cxn ang="0">
                <a:pos x="6" y="216"/>
              </a:cxn>
              <a:cxn ang="0">
                <a:pos x="2" y="213"/>
              </a:cxn>
              <a:cxn ang="0">
                <a:pos x="3" y="207"/>
              </a:cxn>
              <a:cxn ang="0">
                <a:pos x="3" y="202"/>
              </a:cxn>
              <a:cxn ang="0">
                <a:pos x="3" y="198"/>
              </a:cxn>
              <a:cxn ang="0">
                <a:pos x="1" y="193"/>
              </a:cxn>
            </a:cxnLst>
            <a:rect l="0" t="0" r="r" b="b"/>
            <a:pathLst>
              <a:path w="236" h="251">
                <a:moveTo>
                  <a:pt x="119" y="0"/>
                </a:moveTo>
                <a:lnTo>
                  <a:pt x="191" y="55"/>
                </a:lnTo>
                <a:lnTo>
                  <a:pt x="191" y="56"/>
                </a:lnTo>
                <a:lnTo>
                  <a:pt x="192" y="56"/>
                </a:lnTo>
                <a:lnTo>
                  <a:pt x="191" y="59"/>
                </a:lnTo>
                <a:lnTo>
                  <a:pt x="191" y="61"/>
                </a:lnTo>
                <a:lnTo>
                  <a:pt x="194" y="61"/>
                </a:lnTo>
                <a:lnTo>
                  <a:pt x="195" y="63"/>
                </a:lnTo>
                <a:lnTo>
                  <a:pt x="199" y="64"/>
                </a:lnTo>
                <a:lnTo>
                  <a:pt x="199" y="66"/>
                </a:lnTo>
                <a:lnTo>
                  <a:pt x="200" y="67"/>
                </a:lnTo>
                <a:lnTo>
                  <a:pt x="202" y="69"/>
                </a:lnTo>
                <a:lnTo>
                  <a:pt x="203" y="70"/>
                </a:lnTo>
                <a:lnTo>
                  <a:pt x="206" y="70"/>
                </a:lnTo>
                <a:lnTo>
                  <a:pt x="208" y="70"/>
                </a:lnTo>
                <a:lnTo>
                  <a:pt x="210" y="70"/>
                </a:lnTo>
                <a:lnTo>
                  <a:pt x="210" y="74"/>
                </a:lnTo>
                <a:lnTo>
                  <a:pt x="211" y="74"/>
                </a:lnTo>
                <a:lnTo>
                  <a:pt x="214" y="74"/>
                </a:lnTo>
                <a:lnTo>
                  <a:pt x="215" y="75"/>
                </a:lnTo>
                <a:lnTo>
                  <a:pt x="216" y="75"/>
                </a:lnTo>
                <a:lnTo>
                  <a:pt x="219" y="77"/>
                </a:lnTo>
                <a:lnTo>
                  <a:pt x="222" y="77"/>
                </a:lnTo>
                <a:lnTo>
                  <a:pt x="222" y="78"/>
                </a:lnTo>
                <a:lnTo>
                  <a:pt x="223" y="78"/>
                </a:lnTo>
                <a:lnTo>
                  <a:pt x="223" y="80"/>
                </a:lnTo>
                <a:lnTo>
                  <a:pt x="223" y="81"/>
                </a:lnTo>
                <a:lnTo>
                  <a:pt x="223" y="83"/>
                </a:lnTo>
                <a:lnTo>
                  <a:pt x="223" y="85"/>
                </a:lnTo>
                <a:lnTo>
                  <a:pt x="223" y="86"/>
                </a:lnTo>
                <a:lnTo>
                  <a:pt x="222" y="86"/>
                </a:lnTo>
                <a:lnTo>
                  <a:pt x="223" y="88"/>
                </a:lnTo>
                <a:lnTo>
                  <a:pt x="222" y="89"/>
                </a:lnTo>
                <a:lnTo>
                  <a:pt x="222" y="91"/>
                </a:lnTo>
                <a:lnTo>
                  <a:pt x="224" y="94"/>
                </a:lnTo>
                <a:lnTo>
                  <a:pt x="226" y="94"/>
                </a:lnTo>
                <a:lnTo>
                  <a:pt x="227" y="94"/>
                </a:lnTo>
                <a:lnTo>
                  <a:pt x="229" y="92"/>
                </a:lnTo>
                <a:lnTo>
                  <a:pt x="232" y="92"/>
                </a:lnTo>
                <a:lnTo>
                  <a:pt x="235" y="91"/>
                </a:lnTo>
                <a:lnTo>
                  <a:pt x="236" y="91"/>
                </a:lnTo>
                <a:lnTo>
                  <a:pt x="236" y="96"/>
                </a:lnTo>
                <a:lnTo>
                  <a:pt x="236" y="111"/>
                </a:lnTo>
                <a:lnTo>
                  <a:pt x="236" y="129"/>
                </a:lnTo>
                <a:lnTo>
                  <a:pt x="236" y="146"/>
                </a:lnTo>
                <a:lnTo>
                  <a:pt x="235" y="146"/>
                </a:lnTo>
                <a:lnTo>
                  <a:pt x="232" y="147"/>
                </a:lnTo>
                <a:lnTo>
                  <a:pt x="232" y="150"/>
                </a:lnTo>
                <a:lnTo>
                  <a:pt x="231" y="152"/>
                </a:lnTo>
                <a:lnTo>
                  <a:pt x="228" y="154"/>
                </a:lnTo>
                <a:lnTo>
                  <a:pt x="227" y="155"/>
                </a:lnTo>
                <a:lnTo>
                  <a:pt x="227" y="157"/>
                </a:lnTo>
                <a:lnTo>
                  <a:pt x="227" y="158"/>
                </a:lnTo>
                <a:lnTo>
                  <a:pt x="223" y="157"/>
                </a:lnTo>
                <a:lnTo>
                  <a:pt x="219" y="157"/>
                </a:lnTo>
                <a:lnTo>
                  <a:pt x="219" y="158"/>
                </a:lnTo>
                <a:lnTo>
                  <a:pt x="218" y="158"/>
                </a:lnTo>
                <a:lnTo>
                  <a:pt x="194" y="158"/>
                </a:lnTo>
                <a:lnTo>
                  <a:pt x="187" y="165"/>
                </a:lnTo>
                <a:lnTo>
                  <a:pt x="176" y="165"/>
                </a:lnTo>
                <a:lnTo>
                  <a:pt x="168" y="165"/>
                </a:lnTo>
                <a:lnTo>
                  <a:pt x="163" y="168"/>
                </a:lnTo>
                <a:lnTo>
                  <a:pt x="160" y="169"/>
                </a:lnTo>
                <a:lnTo>
                  <a:pt x="156" y="172"/>
                </a:lnTo>
                <a:lnTo>
                  <a:pt x="146" y="180"/>
                </a:lnTo>
                <a:lnTo>
                  <a:pt x="142" y="185"/>
                </a:lnTo>
                <a:lnTo>
                  <a:pt x="138" y="190"/>
                </a:lnTo>
                <a:lnTo>
                  <a:pt x="127" y="193"/>
                </a:lnTo>
                <a:lnTo>
                  <a:pt x="123" y="194"/>
                </a:lnTo>
                <a:lnTo>
                  <a:pt x="120" y="194"/>
                </a:lnTo>
                <a:lnTo>
                  <a:pt x="119" y="194"/>
                </a:lnTo>
                <a:lnTo>
                  <a:pt x="116" y="198"/>
                </a:lnTo>
                <a:lnTo>
                  <a:pt x="115" y="199"/>
                </a:lnTo>
                <a:lnTo>
                  <a:pt x="114" y="202"/>
                </a:lnTo>
                <a:lnTo>
                  <a:pt x="113" y="207"/>
                </a:lnTo>
                <a:lnTo>
                  <a:pt x="111" y="213"/>
                </a:lnTo>
                <a:lnTo>
                  <a:pt x="109" y="216"/>
                </a:lnTo>
                <a:lnTo>
                  <a:pt x="103" y="220"/>
                </a:lnTo>
                <a:lnTo>
                  <a:pt x="102" y="223"/>
                </a:lnTo>
                <a:lnTo>
                  <a:pt x="101" y="224"/>
                </a:lnTo>
                <a:lnTo>
                  <a:pt x="99" y="227"/>
                </a:lnTo>
                <a:lnTo>
                  <a:pt x="99" y="231"/>
                </a:lnTo>
                <a:lnTo>
                  <a:pt x="97" y="235"/>
                </a:lnTo>
                <a:lnTo>
                  <a:pt x="95" y="238"/>
                </a:lnTo>
                <a:lnTo>
                  <a:pt x="95" y="243"/>
                </a:lnTo>
                <a:lnTo>
                  <a:pt x="97" y="248"/>
                </a:lnTo>
                <a:lnTo>
                  <a:pt x="93" y="248"/>
                </a:lnTo>
                <a:lnTo>
                  <a:pt x="91" y="246"/>
                </a:lnTo>
                <a:lnTo>
                  <a:pt x="91" y="245"/>
                </a:lnTo>
                <a:lnTo>
                  <a:pt x="87" y="245"/>
                </a:lnTo>
                <a:lnTo>
                  <a:pt x="86" y="248"/>
                </a:lnTo>
                <a:lnTo>
                  <a:pt x="85" y="248"/>
                </a:lnTo>
                <a:lnTo>
                  <a:pt x="85" y="249"/>
                </a:lnTo>
                <a:lnTo>
                  <a:pt x="82" y="249"/>
                </a:lnTo>
                <a:lnTo>
                  <a:pt x="82" y="248"/>
                </a:lnTo>
                <a:lnTo>
                  <a:pt x="82" y="245"/>
                </a:lnTo>
                <a:lnTo>
                  <a:pt x="81" y="243"/>
                </a:lnTo>
                <a:lnTo>
                  <a:pt x="82" y="243"/>
                </a:lnTo>
                <a:lnTo>
                  <a:pt x="81" y="242"/>
                </a:lnTo>
                <a:lnTo>
                  <a:pt x="81" y="240"/>
                </a:lnTo>
                <a:lnTo>
                  <a:pt x="79" y="240"/>
                </a:lnTo>
                <a:lnTo>
                  <a:pt x="78" y="240"/>
                </a:lnTo>
                <a:lnTo>
                  <a:pt x="78" y="243"/>
                </a:lnTo>
                <a:lnTo>
                  <a:pt x="77" y="243"/>
                </a:lnTo>
                <a:lnTo>
                  <a:pt x="75" y="242"/>
                </a:lnTo>
                <a:lnTo>
                  <a:pt x="74" y="243"/>
                </a:lnTo>
                <a:lnTo>
                  <a:pt x="74" y="245"/>
                </a:lnTo>
                <a:lnTo>
                  <a:pt x="74" y="246"/>
                </a:lnTo>
                <a:lnTo>
                  <a:pt x="71" y="246"/>
                </a:lnTo>
                <a:lnTo>
                  <a:pt x="70" y="248"/>
                </a:lnTo>
                <a:lnTo>
                  <a:pt x="69" y="249"/>
                </a:lnTo>
                <a:lnTo>
                  <a:pt x="69" y="251"/>
                </a:lnTo>
                <a:lnTo>
                  <a:pt x="67" y="249"/>
                </a:lnTo>
                <a:lnTo>
                  <a:pt x="66" y="249"/>
                </a:lnTo>
                <a:lnTo>
                  <a:pt x="66" y="248"/>
                </a:lnTo>
                <a:lnTo>
                  <a:pt x="65" y="248"/>
                </a:lnTo>
                <a:lnTo>
                  <a:pt x="63" y="249"/>
                </a:lnTo>
                <a:lnTo>
                  <a:pt x="63" y="246"/>
                </a:lnTo>
                <a:lnTo>
                  <a:pt x="62" y="245"/>
                </a:lnTo>
                <a:lnTo>
                  <a:pt x="61" y="245"/>
                </a:lnTo>
                <a:lnTo>
                  <a:pt x="61" y="246"/>
                </a:lnTo>
                <a:lnTo>
                  <a:pt x="59" y="246"/>
                </a:lnTo>
                <a:lnTo>
                  <a:pt x="58" y="246"/>
                </a:lnTo>
                <a:lnTo>
                  <a:pt x="57" y="248"/>
                </a:lnTo>
                <a:lnTo>
                  <a:pt x="57" y="249"/>
                </a:lnTo>
                <a:lnTo>
                  <a:pt x="54" y="249"/>
                </a:lnTo>
                <a:lnTo>
                  <a:pt x="54" y="248"/>
                </a:lnTo>
                <a:lnTo>
                  <a:pt x="53" y="246"/>
                </a:lnTo>
                <a:lnTo>
                  <a:pt x="53" y="245"/>
                </a:lnTo>
                <a:lnTo>
                  <a:pt x="51" y="245"/>
                </a:lnTo>
                <a:lnTo>
                  <a:pt x="50" y="243"/>
                </a:lnTo>
                <a:lnTo>
                  <a:pt x="50" y="235"/>
                </a:lnTo>
                <a:lnTo>
                  <a:pt x="49" y="234"/>
                </a:lnTo>
                <a:lnTo>
                  <a:pt x="47" y="234"/>
                </a:lnTo>
                <a:lnTo>
                  <a:pt x="46" y="234"/>
                </a:lnTo>
                <a:lnTo>
                  <a:pt x="45" y="237"/>
                </a:lnTo>
                <a:lnTo>
                  <a:pt x="45" y="234"/>
                </a:lnTo>
                <a:lnTo>
                  <a:pt x="46" y="232"/>
                </a:lnTo>
                <a:lnTo>
                  <a:pt x="47" y="232"/>
                </a:lnTo>
                <a:lnTo>
                  <a:pt x="47" y="231"/>
                </a:lnTo>
                <a:lnTo>
                  <a:pt x="49" y="231"/>
                </a:lnTo>
                <a:lnTo>
                  <a:pt x="49" y="229"/>
                </a:lnTo>
                <a:lnTo>
                  <a:pt x="49" y="227"/>
                </a:lnTo>
                <a:lnTo>
                  <a:pt x="47" y="227"/>
                </a:lnTo>
                <a:lnTo>
                  <a:pt x="46" y="227"/>
                </a:lnTo>
                <a:lnTo>
                  <a:pt x="45" y="226"/>
                </a:lnTo>
                <a:lnTo>
                  <a:pt x="43" y="223"/>
                </a:lnTo>
                <a:lnTo>
                  <a:pt x="42" y="224"/>
                </a:lnTo>
                <a:lnTo>
                  <a:pt x="42" y="218"/>
                </a:lnTo>
                <a:lnTo>
                  <a:pt x="42" y="216"/>
                </a:lnTo>
                <a:lnTo>
                  <a:pt x="41" y="216"/>
                </a:lnTo>
                <a:lnTo>
                  <a:pt x="41" y="215"/>
                </a:lnTo>
                <a:lnTo>
                  <a:pt x="41" y="213"/>
                </a:lnTo>
                <a:lnTo>
                  <a:pt x="39" y="213"/>
                </a:lnTo>
                <a:lnTo>
                  <a:pt x="39" y="210"/>
                </a:lnTo>
                <a:lnTo>
                  <a:pt x="39" y="209"/>
                </a:lnTo>
                <a:lnTo>
                  <a:pt x="38" y="209"/>
                </a:lnTo>
                <a:lnTo>
                  <a:pt x="37" y="210"/>
                </a:lnTo>
                <a:lnTo>
                  <a:pt x="34" y="209"/>
                </a:lnTo>
                <a:lnTo>
                  <a:pt x="34" y="212"/>
                </a:lnTo>
                <a:lnTo>
                  <a:pt x="33" y="212"/>
                </a:lnTo>
                <a:lnTo>
                  <a:pt x="29" y="213"/>
                </a:lnTo>
                <a:lnTo>
                  <a:pt x="29" y="215"/>
                </a:lnTo>
                <a:lnTo>
                  <a:pt x="29" y="216"/>
                </a:lnTo>
                <a:lnTo>
                  <a:pt x="25" y="215"/>
                </a:lnTo>
                <a:lnTo>
                  <a:pt x="22" y="213"/>
                </a:lnTo>
                <a:lnTo>
                  <a:pt x="19" y="213"/>
                </a:lnTo>
                <a:lnTo>
                  <a:pt x="18" y="215"/>
                </a:lnTo>
                <a:lnTo>
                  <a:pt x="17" y="216"/>
                </a:lnTo>
                <a:lnTo>
                  <a:pt x="15" y="218"/>
                </a:lnTo>
                <a:lnTo>
                  <a:pt x="13" y="218"/>
                </a:lnTo>
                <a:lnTo>
                  <a:pt x="11" y="215"/>
                </a:lnTo>
                <a:lnTo>
                  <a:pt x="10" y="213"/>
                </a:lnTo>
                <a:lnTo>
                  <a:pt x="9" y="213"/>
                </a:lnTo>
                <a:lnTo>
                  <a:pt x="7" y="216"/>
                </a:lnTo>
                <a:lnTo>
                  <a:pt x="6" y="216"/>
                </a:lnTo>
                <a:lnTo>
                  <a:pt x="5" y="216"/>
                </a:lnTo>
                <a:lnTo>
                  <a:pt x="3" y="216"/>
                </a:lnTo>
                <a:lnTo>
                  <a:pt x="2" y="215"/>
                </a:lnTo>
                <a:lnTo>
                  <a:pt x="2" y="213"/>
                </a:lnTo>
                <a:lnTo>
                  <a:pt x="3" y="212"/>
                </a:lnTo>
                <a:lnTo>
                  <a:pt x="5" y="210"/>
                </a:lnTo>
                <a:lnTo>
                  <a:pt x="5" y="209"/>
                </a:lnTo>
                <a:lnTo>
                  <a:pt x="3" y="207"/>
                </a:lnTo>
                <a:lnTo>
                  <a:pt x="3" y="205"/>
                </a:lnTo>
                <a:lnTo>
                  <a:pt x="5" y="204"/>
                </a:lnTo>
                <a:lnTo>
                  <a:pt x="5" y="202"/>
                </a:lnTo>
                <a:lnTo>
                  <a:pt x="3" y="202"/>
                </a:lnTo>
                <a:lnTo>
                  <a:pt x="3" y="201"/>
                </a:lnTo>
                <a:lnTo>
                  <a:pt x="5" y="201"/>
                </a:lnTo>
                <a:lnTo>
                  <a:pt x="5" y="199"/>
                </a:lnTo>
                <a:lnTo>
                  <a:pt x="3" y="198"/>
                </a:lnTo>
                <a:lnTo>
                  <a:pt x="2" y="196"/>
                </a:lnTo>
                <a:lnTo>
                  <a:pt x="2" y="194"/>
                </a:lnTo>
                <a:lnTo>
                  <a:pt x="1" y="194"/>
                </a:lnTo>
                <a:lnTo>
                  <a:pt x="1" y="193"/>
                </a:lnTo>
                <a:lnTo>
                  <a:pt x="0" y="193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FFC000"/>
              </a:solidFill>
            </a:endParaRPr>
          </a:p>
        </p:txBody>
      </p:sp>
      <p:sp>
        <p:nvSpPr>
          <p:cNvPr id="167" name="Freeform 64"/>
          <p:cNvSpPr>
            <a:spLocks/>
          </p:cNvSpPr>
          <p:nvPr/>
        </p:nvSpPr>
        <p:spPr bwMode="auto">
          <a:xfrm>
            <a:off x="5325586" y="3461593"/>
            <a:ext cx="241653" cy="410194"/>
          </a:xfrm>
          <a:custGeom>
            <a:avLst/>
            <a:gdLst/>
            <a:ahLst/>
            <a:cxnLst>
              <a:cxn ang="0">
                <a:pos x="8" y="206"/>
              </a:cxn>
              <a:cxn ang="0">
                <a:pos x="6" y="206"/>
              </a:cxn>
              <a:cxn ang="0">
                <a:pos x="5" y="206"/>
              </a:cxn>
              <a:cxn ang="0">
                <a:pos x="5" y="204"/>
              </a:cxn>
              <a:cxn ang="0">
                <a:pos x="2" y="201"/>
              </a:cxn>
              <a:cxn ang="0">
                <a:pos x="2" y="200"/>
              </a:cxn>
              <a:cxn ang="0">
                <a:pos x="4" y="198"/>
              </a:cxn>
              <a:cxn ang="0">
                <a:pos x="4" y="196"/>
              </a:cxn>
              <a:cxn ang="0">
                <a:pos x="2" y="195"/>
              </a:cxn>
              <a:cxn ang="0">
                <a:pos x="2" y="192"/>
              </a:cxn>
              <a:cxn ang="0">
                <a:pos x="2" y="190"/>
              </a:cxn>
              <a:cxn ang="0">
                <a:pos x="2" y="189"/>
              </a:cxn>
              <a:cxn ang="0">
                <a:pos x="1" y="189"/>
              </a:cxn>
              <a:cxn ang="0">
                <a:pos x="1" y="187"/>
              </a:cxn>
              <a:cxn ang="0">
                <a:pos x="0" y="187"/>
              </a:cxn>
              <a:cxn ang="0">
                <a:pos x="0" y="185"/>
              </a:cxn>
              <a:cxn ang="0">
                <a:pos x="1" y="184"/>
              </a:cxn>
              <a:cxn ang="0">
                <a:pos x="1" y="182"/>
              </a:cxn>
              <a:cxn ang="0">
                <a:pos x="0" y="181"/>
              </a:cxn>
              <a:cxn ang="0">
                <a:pos x="6" y="174"/>
              </a:cxn>
              <a:cxn ang="0">
                <a:pos x="8" y="168"/>
              </a:cxn>
              <a:cxn ang="0">
                <a:pos x="9" y="165"/>
              </a:cxn>
              <a:cxn ang="0">
                <a:pos x="10" y="162"/>
              </a:cxn>
              <a:cxn ang="0">
                <a:pos x="11" y="162"/>
              </a:cxn>
              <a:cxn ang="0">
                <a:pos x="13" y="162"/>
              </a:cxn>
              <a:cxn ang="0">
                <a:pos x="14" y="162"/>
              </a:cxn>
              <a:cxn ang="0">
                <a:pos x="15" y="163"/>
              </a:cxn>
              <a:cxn ang="0">
                <a:pos x="17" y="168"/>
              </a:cxn>
              <a:cxn ang="0">
                <a:pos x="18" y="173"/>
              </a:cxn>
              <a:cxn ang="0">
                <a:pos x="23" y="174"/>
              </a:cxn>
              <a:cxn ang="0">
                <a:pos x="30" y="168"/>
              </a:cxn>
              <a:cxn ang="0">
                <a:pos x="54" y="168"/>
              </a:cxn>
              <a:cxn ang="0">
                <a:pos x="74" y="168"/>
              </a:cxn>
              <a:cxn ang="0">
                <a:pos x="94" y="170"/>
              </a:cxn>
              <a:cxn ang="0">
                <a:pos x="99" y="170"/>
              </a:cxn>
              <a:cxn ang="0">
                <a:pos x="103" y="154"/>
              </a:cxn>
              <a:cxn ang="0">
                <a:pos x="97" y="152"/>
              </a:cxn>
              <a:cxn ang="0">
                <a:pos x="95" y="134"/>
              </a:cxn>
              <a:cxn ang="0">
                <a:pos x="94" y="118"/>
              </a:cxn>
              <a:cxn ang="0">
                <a:pos x="91" y="101"/>
              </a:cxn>
              <a:cxn ang="0">
                <a:pos x="90" y="83"/>
              </a:cxn>
              <a:cxn ang="0">
                <a:pos x="89" y="68"/>
              </a:cxn>
              <a:cxn ang="0">
                <a:pos x="87" y="50"/>
              </a:cxn>
              <a:cxn ang="0">
                <a:pos x="86" y="33"/>
              </a:cxn>
              <a:cxn ang="0">
                <a:pos x="85" y="16"/>
              </a:cxn>
              <a:cxn ang="0">
                <a:pos x="82" y="0"/>
              </a:cxn>
              <a:cxn ang="0">
                <a:pos x="109" y="0"/>
              </a:cxn>
              <a:cxn ang="0">
                <a:pos x="127" y="13"/>
              </a:cxn>
            </a:cxnLst>
            <a:rect l="0" t="0" r="r" b="b"/>
            <a:pathLst>
              <a:path w="127" h="206">
                <a:moveTo>
                  <a:pt x="8" y="206"/>
                </a:moveTo>
                <a:lnTo>
                  <a:pt x="6" y="206"/>
                </a:lnTo>
                <a:lnTo>
                  <a:pt x="5" y="206"/>
                </a:lnTo>
                <a:lnTo>
                  <a:pt x="5" y="204"/>
                </a:lnTo>
                <a:lnTo>
                  <a:pt x="2" y="201"/>
                </a:lnTo>
                <a:lnTo>
                  <a:pt x="2" y="200"/>
                </a:lnTo>
                <a:lnTo>
                  <a:pt x="4" y="198"/>
                </a:lnTo>
                <a:lnTo>
                  <a:pt x="4" y="196"/>
                </a:lnTo>
                <a:lnTo>
                  <a:pt x="2" y="195"/>
                </a:lnTo>
                <a:lnTo>
                  <a:pt x="2" y="192"/>
                </a:lnTo>
                <a:lnTo>
                  <a:pt x="2" y="190"/>
                </a:lnTo>
                <a:lnTo>
                  <a:pt x="2" y="189"/>
                </a:lnTo>
                <a:lnTo>
                  <a:pt x="1" y="189"/>
                </a:lnTo>
                <a:lnTo>
                  <a:pt x="1" y="187"/>
                </a:lnTo>
                <a:lnTo>
                  <a:pt x="0" y="187"/>
                </a:lnTo>
                <a:lnTo>
                  <a:pt x="0" y="185"/>
                </a:lnTo>
                <a:lnTo>
                  <a:pt x="1" y="184"/>
                </a:lnTo>
                <a:lnTo>
                  <a:pt x="1" y="182"/>
                </a:lnTo>
                <a:lnTo>
                  <a:pt x="0" y="181"/>
                </a:lnTo>
                <a:lnTo>
                  <a:pt x="6" y="174"/>
                </a:lnTo>
                <a:lnTo>
                  <a:pt x="8" y="168"/>
                </a:lnTo>
                <a:lnTo>
                  <a:pt x="9" y="165"/>
                </a:lnTo>
                <a:lnTo>
                  <a:pt x="10" y="162"/>
                </a:lnTo>
                <a:lnTo>
                  <a:pt x="11" y="162"/>
                </a:lnTo>
                <a:lnTo>
                  <a:pt x="13" y="162"/>
                </a:lnTo>
                <a:lnTo>
                  <a:pt x="14" y="162"/>
                </a:lnTo>
                <a:lnTo>
                  <a:pt x="15" y="163"/>
                </a:lnTo>
                <a:lnTo>
                  <a:pt x="17" y="168"/>
                </a:lnTo>
                <a:lnTo>
                  <a:pt x="18" y="173"/>
                </a:lnTo>
                <a:lnTo>
                  <a:pt x="23" y="174"/>
                </a:lnTo>
                <a:lnTo>
                  <a:pt x="30" y="168"/>
                </a:lnTo>
                <a:lnTo>
                  <a:pt x="54" y="168"/>
                </a:lnTo>
                <a:lnTo>
                  <a:pt x="74" y="168"/>
                </a:lnTo>
                <a:lnTo>
                  <a:pt x="94" y="170"/>
                </a:lnTo>
                <a:lnTo>
                  <a:pt x="99" y="170"/>
                </a:lnTo>
                <a:lnTo>
                  <a:pt x="103" y="154"/>
                </a:lnTo>
                <a:lnTo>
                  <a:pt x="97" y="152"/>
                </a:lnTo>
                <a:lnTo>
                  <a:pt x="95" y="134"/>
                </a:lnTo>
                <a:lnTo>
                  <a:pt x="94" y="118"/>
                </a:lnTo>
                <a:lnTo>
                  <a:pt x="91" y="101"/>
                </a:lnTo>
                <a:lnTo>
                  <a:pt x="90" y="83"/>
                </a:lnTo>
                <a:lnTo>
                  <a:pt x="89" y="68"/>
                </a:lnTo>
                <a:lnTo>
                  <a:pt x="87" y="50"/>
                </a:lnTo>
                <a:lnTo>
                  <a:pt x="86" y="33"/>
                </a:lnTo>
                <a:lnTo>
                  <a:pt x="85" y="16"/>
                </a:lnTo>
                <a:lnTo>
                  <a:pt x="82" y="0"/>
                </a:lnTo>
                <a:lnTo>
                  <a:pt x="109" y="0"/>
                </a:lnTo>
                <a:lnTo>
                  <a:pt x="127" y="13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FFC000"/>
              </a:solidFill>
            </a:endParaRPr>
          </a:p>
        </p:txBody>
      </p:sp>
      <p:sp>
        <p:nvSpPr>
          <p:cNvPr id="168" name="Freeform 65"/>
          <p:cNvSpPr>
            <a:spLocks/>
          </p:cNvSpPr>
          <p:nvPr/>
        </p:nvSpPr>
        <p:spPr bwMode="auto">
          <a:xfrm>
            <a:off x="5187222" y="3362803"/>
            <a:ext cx="241653" cy="240532"/>
          </a:xfrm>
          <a:custGeom>
            <a:avLst/>
            <a:gdLst/>
            <a:ahLst/>
            <a:cxnLst>
              <a:cxn ang="0">
                <a:pos x="54" y="112"/>
              </a:cxn>
              <a:cxn ang="0">
                <a:pos x="41" y="112"/>
              </a:cxn>
              <a:cxn ang="0">
                <a:pos x="26" y="112"/>
              </a:cxn>
              <a:cxn ang="0">
                <a:pos x="12" y="112"/>
              </a:cxn>
              <a:cxn ang="0">
                <a:pos x="4" y="112"/>
              </a:cxn>
              <a:cxn ang="0">
                <a:pos x="4" y="115"/>
              </a:cxn>
              <a:cxn ang="0">
                <a:pos x="1" y="117"/>
              </a:cxn>
              <a:cxn ang="0">
                <a:pos x="0" y="118"/>
              </a:cxn>
              <a:cxn ang="0">
                <a:pos x="1" y="118"/>
              </a:cxn>
              <a:cxn ang="0">
                <a:pos x="0" y="120"/>
              </a:cxn>
              <a:cxn ang="0">
                <a:pos x="0" y="117"/>
              </a:cxn>
              <a:cxn ang="0">
                <a:pos x="1" y="106"/>
              </a:cxn>
              <a:cxn ang="0">
                <a:pos x="4" y="98"/>
              </a:cxn>
              <a:cxn ang="0">
                <a:pos x="8" y="96"/>
              </a:cxn>
              <a:cxn ang="0">
                <a:pos x="10" y="87"/>
              </a:cxn>
              <a:cxn ang="0">
                <a:pos x="13" y="84"/>
              </a:cxn>
              <a:cxn ang="0">
                <a:pos x="12" y="81"/>
              </a:cxn>
              <a:cxn ang="0">
                <a:pos x="17" y="73"/>
              </a:cxn>
              <a:cxn ang="0">
                <a:pos x="18" y="71"/>
              </a:cxn>
              <a:cxn ang="0">
                <a:pos x="20" y="68"/>
              </a:cxn>
              <a:cxn ang="0">
                <a:pos x="21" y="65"/>
              </a:cxn>
              <a:cxn ang="0">
                <a:pos x="29" y="55"/>
              </a:cxn>
              <a:cxn ang="0">
                <a:pos x="33" y="48"/>
              </a:cxn>
              <a:cxn ang="0">
                <a:pos x="33" y="43"/>
              </a:cxn>
              <a:cxn ang="0">
                <a:pos x="36" y="35"/>
              </a:cxn>
              <a:cxn ang="0">
                <a:pos x="37" y="29"/>
              </a:cxn>
              <a:cxn ang="0">
                <a:pos x="42" y="24"/>
              </a:cxn>
              <a:cxn ang="0">
                <a:pos x="48" y="21"/>
              </a:cxn>
              <a:cxn ang="0">
                <a:pos x="52" y="16"/>
              </a:cxn>
              <a:cxn ang="0">
                <a:pos x="53" y="11"/>
              </a:cxn>
              <a:cxn ang="0">
                <a:pos x="54" y="10"/>
              </a:cxn>
              <a:cxn ang="0">
                <a:pos x="56" y="7"/>
              </a:cxn>
              <a:cxn ang="0">
                <a:pos x="58" y="2"/>
              </a:cxn>
              <a:cxn ang="0">
                <a:pos x="60" y="0"/>
              </a:cxn>
              <a:cxn ang="0">
                <a:pos x="62" y="0"/>
              </a:cxn>
              <a:cxn ang="0">
                <a:pos x="72" y="0"/>
              </a:cxn>
              <a:cxn ang="0">
                <a:pos x="81" y="0"/>
              </a:cxn>
              <a:cxn ang="0">
                <a:pos x="93" y="0"/>
              </a:cxn>
              <a:cxn ang="0">
                <a:pos x="103" y="0"/>
              </a:cxn>
              <a:cxn ang="0">
                <a:pos x="115" y="0"/>
              </a:cxn>
              <a:cxn ang="0">
                <a:pos x="126" y="0"/>
              </a:cxn>
              <a:cxn ang="0">
                <a:pos x="126" y="10"/>
              </a:cxn>
              <a:cxn ang="0">
                <a:pos x="126" y="30"/>
              </a:cxn>
              <a:cxn ang="0">
                <a:pos x="111" y="30"/>
              </a:cxn>
              <a:cxn ang="0">
                <a:pos x="97" y="30"/>
              </a:cxn>
              <a:cxn ang="0">
                <a:pos x="82" y="30"/>
              </a:cxn>
              <a:cxn ang="0">
                <a:pos x="77" y="30"/>
              </a:cxn>
              <a:cxn ang="0">
                <a:pos x="77" y="48"/>
              </a:cxn>
              <a:cxn ang="0">
                <a:pos x="77" y="65"/>
              </a:cxn>
              <a:cxn ang="0">
                <a:pos x="77" y="76"/>
              </a:cxn>
              <a:cxn ang="0">
                <a:pos x="72" y="77"/>
              </a:cxn>
              <a:cxn ang="0">
                <a:pos x="66" y="77"/>
              </a:cxn>
              <a:cxn ang="0">
                <a:pos x="62" y="79"/>
              </a:cxn>
              <a:cxn ang="0">
                <a:pos x="61" y="81"/>
              </a:cxn>
              <a:cxn ang="0">
                <a:pos x="60" y="82"/>
              </a:cxn>
              <a:cxn ang="0">
                <a:pos x="58" y="85"/>
              </a:cxn>
              <a:cxn ang="0">
                <a:pos x="58" y="87"/>
              </a:cxn>
              <a:cxn ang="0">
                <a:pos x="58" y="95"/>
              </a:cxn>
              <a:cxn ang="0">
                <a:pos x="60" y="101"/>
              </a:cxn>
              <a:cxn ang="0">
                <a:pos x="60" y="107"/>
              </a:cxn>
              <a:cxn ang="0">
                <a:pos x="61" y="112"/>
              </a:cxn>
              <a:cxn ang="0">
                <a:pos x="54" y="112"/>
              </a:cxn>
            </a:cxnLst>
            <a:rect l="0" t="0" r="r" b="b"/>
            <a:pathLst>
              <a:path w="126" h="120">
                <a:moveTo>
                  <a:pt x="54" y="112"/>
                </a:moveTo>
                <a:lnTo>
                  <a:pt x="41" y="112"/>
                </a:lnTo>
                <a:lnTo>
                  <a:pt x="26" y="112"/>
                </a:lnTo>
                <a:lnTo>
                  <a:pt x="12" y="112"/>
                </a:lnTo>
                <a:lnTo>
                  <a:pt x="4" y="112"/>
                </a:lnTo>
                <a:lnTo>
                  <a:pt x="4" y="115"/>
                </a:lnTo>
                <a:lnTo>
                  <a:pt x="1" y="117"/>
                </a:lnTo>
                <a:lnTo>
                  <a:pt x="0" y="118"/>
                </a:lnTo>
                <a:lnTo>
                  <a:pt x="1" y="118"/>
                </a:lnTo>
                <a:lnTo>
                  <a:pt x="0" y="120"/>
                </a:lnTo>
                <a:lnTo>
                  <a:pt x="0" y="117"/>
                </a:lnTo>
                <a:lnTo>
                  <a:pt x="1" y="106"/>
                </a:lnTo>
                <a:lnTo>
                  <a:pt x="4" y="98"/>
                </a:lnTo>
                <a:lnTo>
                  <a:pt x="8" y="96"/>
                </a:lnTo>
                <a:lnTo>
                  <a:pt x="10" y="87"/>
                </a:lnTo>
                <a:lnTo>
                  <a:pt x="13" y="84"/>
                </a:lnTo>
                <a:lnTo>
                  <a:pt x="12" y="81"/>
                </a:lnTo>
                <a:lnTo>
                  <a:pt x="17" y="73"/>
                </a:lnTo>
                <a:lnTo>
                  <a:pt x="18" y="71"/>
                </a:lnTo>
                <a:lnTo>
                  <a:pt x="20" y="68"/>
                </a:lnTo>
                <a:lnTo>
                  <a:pt x="21" y="65"/>
                </a:lnTo>
                <a:lnTo>
                  <a:pt x="29" y="55"/>
                </a:lnTo>
                <a:lnTo>
                  <a:pt x="33" y="48"/>
                </a:lnTo>
                <a:lnTo>
                  <a:pt x="33" y="43"/>
                </a:lnTo>
                <a:lnTo>
                  <a:pt x="36" y="35"/>
                </a:lnTo>
                <a:lnTo>
                  <a:pt x="37" y="29"/>
                </a:lnTo>
                <a:lnTo>
                  <a:pt x="42" y="24"/>
                </a:lnTo>
                <a:lnTo>
                  <a:pt x="48" y="21"/>
                </a:lnTo>
                <a:lnTo>
                  <a:pt x="52" y="16"/>
                </a:lnTo>
                <a:lnTo>
                  <a:pt x="53" y="11"/>
                </a:lnTo>
                <a:lnTo>
                  <a:pt x="54" y="10"/>
                </a:lnTo>
                <a:lnTo>
                  <a:pt x="56" y="7"/>
                </a:lnTo>
                <a:lnTo>
                  <a:pt x="58" y="2"/>
                </a:lnTo>
                <a:lnTo>
                  <a:pt x="60" y="0"/>
                </a:lnTo>
                <a:lnTo>
                  <a:pt x="62" y="0"/>
                </a:lnTo>
                <a:lnTo>
                  <a:pt x="72" y="0"/>
                </a:lnTo>
                <a:lnTo>
                  <a:pt x="81" y="0"/>
                </a:lnTo>
                <a:lnTo>
                  <a:pt x="93" y="0"/>
                </a:lnTo>
                <a:lnTo>
                  <a:pt x="103" y="0"/>
                </a:lnTo>
                <a:lnTo>
                  <a:pt x="115" y="0"/>
                </a:lnTo>
                <a:lnTo>
                  <a:pt x="126" y="0"/>
                </a:lnTo>
                <a:lnTo>
                  <a:pt x="126" y="10"/>
                </a:lnTo>
                <a:lnTo>
                  <a:pt x="126" y="30"/>
                </a:lnTo>
                <a:lnTo>
                  <a:pt x="111" y="30"/>
                </a:lnTo>
                <a:lnTo>
                  <a:pt x="97" y="30"/>
                </a:lnTo>
                <a:lnTo>
                  <a:pt x="82" y="30"/>
                </a:lnTo>
                <a:lnTo>
                  <a:pt x="77" y="30"/>
                </a:lnTo>
                <a:lnTo>
                  <a:pt x="77" y="48"/>
                </a:lnTo>
                <a:lnTo>
                  <a:pt x="77" y="65"/>
                </a:lnTo>
                <a:lnTo>
                  <a:pt x="77" y="76"/>
                </a:lnTo>
                <a:lnTo>
                  <a:pt x="72" y="77"/>
                </a:lnTo>
                <a:lnTo>
                  <a:pt x="66" y="77"/>
                </a:lnTo>
                <a:lnTo>
                  <a:pt x="62" y="79"/>
                </a:lnTo>
                <a:lnTo>
                  <a:pt x="61" y="81"/>
                </a:lnTo>
                <a:lnTo>
                  <a:pt x="60" y="82"/>
                </a:lnTo>
                <a:lnTo>
                  <a:pt x="58" y="85"/>
                </a:lnTo>
                <a:lnTo>
                  <a:pt x="58" y="87"/>
                </a:lnTo>
                <a:lnTo>
                  <a:pt x="58" y="95"/>
                </a:lnTo>
                <a:lnTo>
                  <a:pt x="60" y="101"/>
                </a:lnTo>
                <a:lnTo>
                  <a:pt x="60" y="107"/>
                </a:lnTo>
                <a:lnTo>
                  <a:pt x="61" y="112"/>
                </a:lnTo>
                <a:lnTo>
                  <a:pt x="54" y="11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69" name="Freeform 66"/>
          <p:cNvSpPr>
            <a:spLocks/>
          </p:cNvSpPr>
          <p:nvPr/>
        </p:nvSpPr>
        <p:spPr bwMode="auto">
          <a:xfrm>
            <a:off x="5187222" y="3362803"/>
            <a:ext cx="241653" cy="240532"/>
          </a:xfrm>
          <a:custGeom>
            <a:avLst/>
            <a:gdLst/>
            <a:ahLst/>
            <a:cxnLst>
              <a:cxn ang="0">
                <a:pos x="54" y="112"/>
              </a:cxn>
              <a:cxn ang="0">
                <a:pos x="41" y="112"/>
              </a:cxn>
              <a:cxn ang="0">
                <a:pos x="26" y="112"/>
              </a:cxn>
              <a:cxn ang="0">
                <a:pos x="12" y="112"/>
              </a:cxn>
              <a:cxn ang="0">
                <a:pos x="4" y="112"/>
              </a:cxn>
              <a:cxn ang="0">
                <a:pos x="4" y="115"/>
              </a:cxn>
              <a:cxn ang="0">
                <a:pos x="1" y="117"/>
              </a:cxn>
              <a:cxn ang="0">
                <a:pos x="0" y="118"/>
              </a:cxn>
              <a:cxn ang="0">
                <a:pos x="1" y="118"/>
              </a:cxn>
              <a:cxn ang="0">
                <a:pos x="0" y="120"/>
              </a:cxn>
              <a:cxn ang="0">
                <a:pos x="0" y="117"/>
              </a:cxn>
              <a:cxn ang="0">
                <a:pos x="1" y="106"/>
              </a:cxn>
              <a:cxn ang="0">
                <a:pos x="4" y="98"/>
              </a:cxn>
              <a:cxn ang="0">
                <a:pos x="8" y="96"/>
              </a:cxn>
              <a:cxn ang="0">
                <a:pos x="10" y="87"/>
              </a:cxn>
              <a:cxn ang="0">
                <a:pos x="13" y="84"/>
              </a:cxn>
              <a:cxn ang="0">
                <a:pos x="12" y="81"/>
              </a:cxn>
              <a:cxn ang="0">
                <a:pos x="17" y="73"/>
              </a:cxn>
              <a:cxn ang="0">
                <a:pos x="18" y="71"/>
              </a:cxn>
              <a:cxn ang="0">
                <a:pos x="20" y="68"/>
              </a:cxn>
              <a:cxn ang="0">
                <a:pos x="21" y="65"/>
              </a:cxn>
              <a:cxn ang="0">
                <a:pos x="29" y="55"/>
              </a:cxn>
              <a:cxn ang="0">
                <a:pos x="33" y="48"/>
              </a:cxn>
              <a:cxn ang="0">
                <a:pos x="33" y="43"/>
              </a:cxn>
              <a:cxn ang="0">
                <a:pos x="36" y="35"/>
              </a:cxn>
              <a:cxn ang="0">
                <a:pos x="37" y="29"/>
              </a:cxn>
              <a:cxn ang="0">
                <a:pos x="42" y="24"/>
              </a:cxn>
              <a:cxn ang="0">
                <a:pos x="48" y="21"/>
              </a:cxn>
              <a:cxn ang="0">
                <a:pos x="52" y="16"/>
              </a:cxn>
              <a:cxn ang="0">
                <a:pos x="53" y="11"/>
              </a:cxn>
              <a:cxn ang="0">
                <a:pos x="54" y="10"/>
              </a:cxn>
              <a:cxn ang="0">
                <a:pos x="56" y="7"/>
              </a:cxn>
              <a:cxn ang="0">
                <a:pos x="58" y="2"/>
              </a:cxn>
              <a:cxn ang="0">
                <a:pos x="60" y="0"/>
              </a:cxn>
              <a:cxn ang="0">
                <a:pos x="62" y="0"/>
              </a:cxn>
              <a:cxn ang="0">
                <a:pos x="72" y="0"/>
              </a:cxn>
              <a:cxn ang="0">
                <a:pos x="81" y="0"/>
              </a:cxn>
              <a:cxn ang="0">
                <a:pos x="93" y="0"/>
              </a:cxn>
              <a:cxn ang="0">
                <a:pos x="103" y="0"/>
              </a:cxn>
              <a:cxn ang="0">
                <a:pos x="115" y="0"/>
              </a:cxn>
              <a:cxn ang="0">
                <a:pos x="126" y="0"/>
              </a:cxn>
              <a:cxn ang="0">
                <a:pos x="126" y="10"/>
              </a:cxn>
              <a:cxn ang="0">
                <a:pos x="126" y="30"/>
              </a:cxn>
              <a:cxn ang="0">
                <a:pos x="111" y="30"/>
              </a:cxn>
              <a:cxn ang="0">
                <a:pos x="97" y="30"/>
              </a:cxn>
              <a:cxn ang="0">
                <a:pos x="82" y="30"/>
              </a:cxn>
              <a:cxn ang="0">
                <a:pos x="77" y="30"/>
              </a:cxn>
              <a:cxn ang="0">
                <a:pos x="77" y="48"/>
              </a:cxn>
              <a:cxn ang="0">
                <a:pos x="77" y="65"/>
              </a:cxn>
              <a:cxn ang="0">
                <a:pos x="77" y="76"/>
              </a:cxn>
              <a:cxn ang="0">
                <a:pos x="72" y="77"/>
              </a:cxn>
              <a:cxn ang="0">
                <a:pos x="66" y="77"/>
              </a:cxn>
              <a:cxn ang="0">
                <a:pos x="62" y="79"/>
              </a:cxn>
              <a:cxn ang="0">
                <a:pos x="61" y="81"/>
              </a:cxn>
              <a:cxn ang="0">
                <a:pos x="60" y="82"/>
              </a:cxn>
              <a:cxn ang="0">
                <a:pos x="58" y="85"/>
              </a:cxn>
              <a:cxn ang="0">
                <a:pos x="58" y="87"/>
              </a:cxn>
              <a:cxn ang="0">
                <a:pos x="58" y="95"/>
              </a:cxn>
              <a:cxn ang="0">
                <a:pos x="60" y="101"/>
              </a:cxn>
              <a:cxn ang="0">
                <a:pos x="60" y="107"/>
              </a:cxn>
              <a:cxn ang="0">
                <a:pos x="61" y="112"/>
              </a:cxn>
              <a:cxn ang="0">
                <a:pos x="54" y="112"/>
              </a:cxn>
            </a:cxnLst>
            <a:rect l="0" t="0" r="r" b="b"/>
            <a:pathLst>
              <a:path w="126" h="120">
                <a:moveTo>
                  <a:pt x="54" y="112"/>
                </a:moveTo>
                <a:lnTo>
                  <a:pt x="41" y="112"/>
                </a:lnTo>
                <a:lnTo>
                  <a:pt x="26" y="112"/>
                </a:lnTo>
                <a:lnTo>
                  <a:pt x="12" y="112"/>
                </a:lnTo>
                <a:lnTo>
                  <a:pt x="4" y="112"/>
                </a:lnTo>
                <a:lnTo>
                  <a:pt x="4" y="115"/>
                </a:lnTo>
                <a:lnTo>
                  <a:pt x="1" y="117"/>
                </a:lnTo>
                <a:lnTo>
                  <a:pt x="0" y="118"/>
                </a:lnTo>
                <a:lnTo>
                  <a:pt x="1" y="118"/>
                </a:lnTo>
                <a:lnTo>
                  <a:pt x="0" y="120"/>
                </a:lnTo>
                <a:lnTo>
                  <a:pt x="0" y="117"/>
                </a:lnTo>
                <a:lnTo>
                  <a:pt x="1" y="106"/>
                </a:lnTo>
                <a:lnTo>
                  <a:pt x="4" y="98"/>
                </a:lnTo>
                <a:lnTo>
                  <a:pt x="8" y="96"/>
                </a:lnTo>
                <a:lnTo>
                  <a:pt x="10" y="87"/>
                </a:lnTo>
                <a:lnTo>
                  <a:pt x="13" y="84"/>
                </a:lnTo>
                <a:lnTo>
                  <a:pt x="12" y="81"/>
                </a:lnTo>
                <a:lnTo>
                  <a:pt x="17" y="73"/>
                </a:lnTo>
                <a:lnTo>
                  <a:pt x="18" y="71"/>
                </a:lnTo>
                <a:lnTo>
                  <a:pt x="20" y="68"/>
                </a:lnTo>
                <a:lnTo>
                  <a:pt x="21" y="65"/>
                </a:lnTo>
                <a:lnTo>
                  <a:pt x="29" y="55"/>
                </a:lnTo>
                <a:lnTo>
                  <a:pt x="33" y="48"/>
                </a:lnTo>
                <a:lnTo>
                  <a:pt x="33" y="43"/>
                </a:lnTo>
                <a:lnTo>
                  <a:pt x="36" y="35"/>
                </a:lnTo>
                <a:lnTo>
                  <a:pt x="37" y="29"/>
                </a:lnTo>
                <a:lnTo>
                  <a:pt x="42" y="24"/>
                </a:lnTo>
                <a:lnTo>
                  <a:pt x="48" y="21"/>
                </a:lnTo>
                <a:lnTo>
                  <a:pt x="52" y="16"/>
                </a:lnTo>
                <a:lnTo>
                  <a:pt x="53" y="11"/>
                </a:lnTo>
                <a:lnTo>
                  <a:pt x="54" y="10"/>
                </a:lnTo>
                <a:lnTo>
                  <a:pt x="56" y="7"/>
                </a:lnTo>
                <a:lnTo>
                  <a:pt x="58" y="2"/>
                </a:lnTo>
                <a:lnTo>
                  <a:pt x="60" y="0"/>
                </a:lnTo>
                <a:lnTo>
                  <a:pt x="62" y="0"/>
                </a:lnTo>
                <a:lnTo>
                  <a:pt x="72" y="0"/>
                </a:lnTo>
                <a:lnTo>
                  <a:pt x="81" y="0"/>
                </a:lnTo>
                <a:lnTo>
                  <a:pt x="93" y="0"/>
                </a:lnTo>
                <a:lnTo>
                  <a:pt x="103" y="0"/>
                </a:lnTo>
                <a:lnTo>
                  <a:pt x="115" y="0"/>
                </a:lnTo>
                <a:lnTo>
                  <a:pt x="126" y="0"/>
                </a:lnTo>
                <a:lnTo>
                  <a:pt x="126" y="10"/>
                </a:lnTo>
                <a:lnTo>
                  <a:pt x="126" y="30"/>
                </a:lnTo>
                <a:lnTo>
                  <a:pt x="111" y="30"/>
                </a:lnTo>
                <a:lnTo>
                  <a:pt x="97" y="30"/>
                </a:lnTo>
                <a:lnTo>
                  <a:pt x="82" y="30"/>
                </a:lnTo>
                <a:lnTo>
                  <a:pt x="77" y="30"/>
                </a:lnTo>
                <a:lnTo>
                  <a:pt x="77" y="48"/>
                </a:lnTo>
                <a:lnTo>
                  <a:pt x="77" y="65"/>
                </a:lnTo>
                <a:lnTo>
                  <a:pt x="77" y="76"/>
                </a:lnTo>
                <a:lnTo>
                  <a:pt x="72" y="77"/>
                </a:lnTo>
                <a:lnTo>
                  <a:pt x="66" y="77"/>
                </a:lnTo>
                <a:lnTo>
                  <a:pt x="62" y="79"/>
                </a:lnTo>
                <a:lnTo>
                  <a:pt x="61" y="81"/>
                </a:lnTo>
                <a:lnTo>
                  <a:pt x="60" y="82"/>
                </a:lnTo>
                <a:lnTo>
                  <a:pt x="58" y="85"/>
                </a:lnTo>
                <a:lnTo>
                  <a:pt x="58" y="87"/>
                </a:lnTo>
                <a:lnTo>
                  <a:pt x="58" y="95"/>
                </a:lnTo>
                <a:lnTo>
                  <a:pt x="60" y="101"/>
                </a:lnTo>
                <a:lnTo>
                  <a:pt x="60" y="107"/>
                </a:lnTo>
                <a:lnTo>
                  <a:pt x="61" y="112"/>
                </a:lnTo>
                <a:lnTo>
                  <a:pt x="54" y="11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70" name="Freeform 67"/>
          <p:cNvSpPr>
            <a:spLocks/>
          </p:cNvSpPr>
          <p:nvPr/>
        </p:nvSpPr>
        <p:spPr bwMode="auto">
          <a:xfrm>
            <a:off x="6243479" y="4969214"/>
            <a:ext cx="270885" cy="322141"/>
          </a:xfrm>
          <a:custGeom>
            <a:avLst/>
            <a:gdLst/>
            <a:ahLst/>
            <a:cxnLst>
              <a:cxn ang="0">
                <a:pos x="0" y="109"/>
              </a:cxn>
              <a:cxn ang="0">
                <a:pos x="0" y="76"/>
              </a:cxn>
              <a:cxn ang="0">
                <a:pos x="16" y="63"/>
              </a:cxn>
              <a:cxn ang="0">
                <a:pos x="16" y="28"/>
              </a:cxn>
              <a:cxn ang="0">
                <a:pos x="17" y="11"/>
              </a:cxn>
              <a:cxn ang="0">
                <a:pos x="44" y="6"/>
              </a:cxn>
              <a:cxn ang="0">
                <a:pos x="50" y="6"/>
              </a:cxn>
              <a:cxn ang="0">
                <a:pos x="54" y="11"/>
              </a:cxn>
              <a:cxn ang="0">
                <a:pos x="57" y="13"/>
              </a:cxn>
              <a:cxn ang="0">
                <a:pos x="64" y="6"/>
              </a:cxn>
              <a:cxn ang="0">
                <a:pos x="73" y="2"/>
              </a:cxn>
              <a:cxn ang="0">
                <a:pos x="78" y="0"/>
              </a:cxn>
              <a:cxn ang="0">
                <a:pos x="80" y="3"/>
              </a:cxn>
              <a:cxn ang="0">
                <a:pos x="85" y="13"/>
              </a:cxn>
              <a:cxn ang="0">
                <a:pos x="88" y="19"/>
              </a:cxn>
              <a:cxn ang="0">
                <a:pos x="93" y="28"/>
              </a:cxn>
              <a:cxn ang="0">
                <a:pos x="106" y="39"/>
              </a:cxn>
              <a:cxn ang="0">
                <a:pos x="111" y="47"/>
              </a:cxn>
              <a:cxn ang="0">
                <a:pos x="118" y="50"/>
              </a:cxn>
              <a:cxn ang="0">
                <a:pos x="119" y="63"/>
              </a:cxn>
              <a:cxn ang="0">
                <a:pos x="123" y="69"/>
              </a:cxn>
              <a:cxn ang="0">
                <a:pos x="129" y="72"/>
              </a:cxn>
              <a:cxn ang="0">
                <a:pos x="137" y="74"/>
              </a:cxn>
              <a:cxn ang="0">
                <a:pos x="142" y="77"/>
              </a:cxn>
              <a:cxn ang="0">
                <a:pos x="139" y="80"/>
              </a:cxn>
              <a:cxn ang="0">
                <a:pos x="125" y="88"/>
              </a:cxn>
              <a:cxn ang="0">
                <a:pos x="115" y="98"/>
              </a:cxn>
              <a:cxn ang="0">
                <a:pos x="106" y="107"/>
              </a:cxn>
              <a:cxn ang="0">
                <a:pos x="94" y="121"/>
              </a:cxn>
              <a:cxn ang="0">
                <a:pos x="86" y="137"/>
              </a:cxn>
              <a:cxn ang="0">
                <a:pos x="82" y="140"/>
              </a:cxn>
              <a:cxn ang="0">
                <a:pos x="73" y="142"/>
              </a:cxn>
              <a:cxn ang="0">
                <a:pos x="62" y="137"/>
              </a:cxn>
              <a:cxn ang="0">
                <a:pos x="56" y="135"/>
              </a:cxn>
              <a:cxn ang="0">
                <a:pos x="46" y="142"/>
              </a:cxn>
              <a:cxn ang="0">
                <a:pos x="44" y="148"/>
              </a:cxn>
              <a:cxn ang="0">
                <a:pos x="38" y="153"/>
              </a:cxn>
              <a:cxn ang="0">
                <a:pos x="34" y="159"/>
              </a:cxn>
              <a:cxn ang="0">
                <a:pos x="20" y="160"/>
              </a:cxn>
              <a:cxn ang="0">
                <a:pos x="13" y="159"/>
              </a:cxn>
              <a:cxn ang="0">
                <a:pos x="13" y="151"/>
              </a:cxn>
              <a:cxn ang="0">
                <a:pos x="14" y="145"/>
              </a:cxn>
              <a:cxn ang="0">
                <a:pos x="12" y="137"/>
              </a:cxn>
              <a:cxn ang="0">
                <a:pos x="6" y="131"/>
              </a:cxn>
              <a:cxn ang="0">
                <a:pos x="2" y="126"/>
              </a:cxn>
              <a:cxn ang="0">
                <a:pos x="0" y="124"/>
              </a:cxn>
            </a:cxnLst>
            <a:rect l="0" t="0" r="r" b="b"/>
            <a:pathLst>
              <a:path w="142" h="162">
                <a:moveTo>
                  <a:pt x="0" y="124"/>
                </a:moveTo>
                <a:lnTo>
                  <a:pt x="0" y="109"/>
                </a:lnTo>
                <a:lnTo>
                  <a:pt x="0" y="91"/>
                </a:lnTo>
                <a:lnTo>
                  <a:pt x="0" y="76"/>
                </a:lnTo>
                <a:lnTo>
                  <a:pt x="16" y="76"/>
                </a:lnTo>
                <a:lnTo>
                  <a:pt x="16" y="63"/>
                </a:lnTo>
                <a:lnTo>
                  <a:pt x="16" y="46"/>
                </a:lnTo>
                <a:lnTo>
                  <a:pt x="16" y="28"/>
                </a:lnTo>
                <a:lnTo>
                  <a:pt x="16" y="13"/>
                </a:lnTo>
                <a:lnTo>
                  <a:pt x="17" y="11"/>
                </a:lnTo>
                <a:lnTo>
                  <a:pt x="38" y="6"/>
                </a:lnTo>
                <a:lnTo>
                  <a:pt x="44" y="6"/>
                </a:lnTo>
                <a:lnTo>
                  <a:pt x="45" y="6"/>
                </a:lnTo>
                <a:lnTo>
                  <a:pt x="50" y="6"/>
                </a:lnTo>
                <a:lnTo>
                  <a:pt x="53" y="6"/>
                </a:lnTo>
                <a:lnTo>
                  <a:pt x="54" y="11"/>
                </a:lnTo>
                <a:lnTo>
                  <a:pt x="56" y="16"/>
                </a:lnTo>
                <a:lnTo>
                  <a:pt x="57" y="13"/>
                </a:lnTo>
                <a:lnTo>
                  <a:pt x="60" y="10"/>
                </a:lnTo>
                <a:lnTo>
                  <a:pt x="64" y="6"/>
                </a:lnTo>
                <a:lnTo>
                  <a:pt x="72" y="3"/>
                </a:lnTo>
                <a:lnTo>
                  <a:pt x="73" y="2"/>
                </a:lnTo>
                <a:lnTo>
                  <a:pt x="74" y="0"/>
                </a:lnTo>
                <a:lnTo>
                  <a:pt x="78" y="0"/>
                </a:lnTo>
                <a:lnTo>
                  <a:pt x="80" y="2"/>
                </a:lnTo>
                <a:lnTo>
                  <a:pt x="80" y="3"/>
                </a:lnTo>
                <a:lnTo>
                  <a:pt x="81" y="6"/>
                </a:lnTo>
                <a:lnTo>
                  <a:pt x="85" y="13"/>
                </a:lnTo>
                <a:lnTo>
                  <a:pt x="88" y="16"/>
                </a:lnTo>
                <a:lnTo>
                  <a:pt x="88" y="19"/>
                </a:lnTo>
                <a:lnTo>
                  <a:pt x="89" y="24"/>
                </a:lnTo>
                <a:lnTo>
                  <a:pt x="93" y="28"/>
                </a:lnTo>
                <a:lnTo>
                  <a:pt x="101" y="38"/>
                </a:lnTo>
                <a:lnTo>
                  <a:pt x="106" y="39"/>
                </a:lnTo>
                <a:lnTo>
                  <a:pt x="109" y="43"/>
                </a:lnTo>
                <a:lnTo>
                  <a:pt x="111" y="47"/>
                </a:lnTo>
                <a:lnTo>
                  <a:pt x="115" y="49"/>
                </a:lnTo>
                <a:lnTo>
                  <a:pt x="118" y="50"/>
                </a:lnTo>
                <a:lnTo>
                  <a:pt x="118" y="57"/>
                </a:lnTo>
                <a:lnTo>
                  <a:pt x="119" y="63"/>
                </a:lnTo>
                <a:lnTo>
                  <a:pt x="121" y="68"/>
                </a:lnTo>
                <a:lnTo>
                  <a:pt x="123" y="69"/>
                </a:lnTo>
                <a:lnTo>
                  <a:pt x="126" y="71"/>
                </a:lnTo>
                <a:lnTo>
                  <a:pt x="129" y="72"/>
                </a:lnTo>
                <a:lnTo>
                  <a:pt x="133" y="72"/>
                </a:lnTo>
                <a:lnTo>
                  <a:pt x="137" y="74"/>
                </a:lnTo>
                <a:lnTo>
                  <a:pt x="139" y="76"/>
                </a:lnTo>
                <a:lnTo>
                  <a:pt x="142" y="77"/>
                </a:lnTo>
                <a:lnTo>
                  <a:pt x="142" y="79"/>
                </a:lnTo>
                <a:lnTo>
                  <a:pt x="139" y="80"/>
                </a:lnTo>
                <a:lnTo>
                  <a:pt x="135" y="83"/>
                </a:lnTo>
                <a:lnTo>
                  <a:pt x="125" y="88"/>
                </a:lnTo>
                <a:lnTo>
                  <a:pt x="121" y="94"/>
                </a:lnTo>
                <a:lnTo>
                  <a:pt x="115" y="98"/>
                </a:lnTo>
                <a:lnTo>
                  <a:pt x="110" y="102"/>
                </a:lnTo>
                <a:lnTo>
                  <a:pt x="106" y="107"/>
                </a:lnTo>
                <a:lnTo>
                  <a:pt x="102" y="115"/>
                </a:lnTo>
                <a:lnTo>
                  <a:pt x="94" y="121"/>
                </a:lnTo>
                <a:lnTo>
                  <a:pt x="90" y="126"/>
                </a:lnTo>
                <a:lnTo>
                  <a:pt x="86" y="137"/>
                </a:lnTo>
                <a:lnTo>
                  <a:pt x="85" y="138"/>
                </a:lnTo>
                <a:lnTo>
                  <a:pt x="82" y="140"/>
                </a:lnTo>
                <a:lnTo>
                  <a:pt x="80" y="140"/>
                </a:lnTo>
                <a:lnTo>
                  <a:pt x="73" y="142"/>
                </a:lnTo>
                <a:lnTo>
                  <a:pt x="69" y="142"/>
                </a:lnTo>
                <a:lnTo>
                  <a:pt x="62" y="137"/>
                </a:lnTo>
                <a:lnTo>
                  <a:pt x="60" y="135"/>
                </a:lnTo>
                <a:lnTo>
                  <a:pt x="56" y="135"/>
                </a:lnTo>
                <a:lnTo>
                  <a:pt x="52" y="137"/>
                </a:lnTo>
                <a:lnTo>
                  <a:pt x="46" y="142"/>
                </a:lnTo>
                <a:lnTo>
                  <a:pt x="45" y="145"/>
                </a:lnTo>
                <a:lnTo>
                  <a:pt x="44" y="148"/>
                </a:lnTo>
                <a:lnTo>
                  <a:pt x="41" y="149"/>
                </a:lnTo>
                <a:lnTo>
                  <a:pt x="38" y="153"/>
                </a:lnTo>
                <a:lnTo>
                  <a:pt x="37" y="154"/>
                </a:lnTo>
                <a:lnTo>
                  <a:pt x="34" y="159"/>
                </a:lnTo>
                <a:lnTo>
                  <a:pt x="25" y="162"/>
                </a:lnTo>
                <a:lnTo>
                  <a:pt x="20" y="160"/>
                </a:lnTo>
                <a:lnTo>
                  <a:pt x="16" y="160"/>
                </a:lnTo>
                <a:lnTo>
                  <a:pt x="13" y="159"/>
                </a:lnTo>
                <a:lnTo>
                  <a:pt x="12" y="157"/>
                </a:lnTo>
                <a:lnTo>
                  <a:pt x="13" y="151"/>
                </a:lnTo>
                <a:lnTo>
                  <a:pt x="14" y="146"/>
                </a:lnTo>
                <a:lnTo>
                  <a:pt x="14" y="145"/>
                </a:lnTo>
                <a:lnTo>
                  <a:pt x="14" y="140"/>
                </a:lnTo>
                <a:lnTo>
                  <a:pt x="12" y="137"/>
                </a:lnTo>
                <a:lnTo>
                  <a:pt x="9" y="134"/>
                </a:lnTo>
                <a:lnTo>
                  <a:pt x="6" y="131"/>
                </a:lnTo>
                <a:lnTo>
                  <a:pt x="4" y="127"/>
                </a:lnTo>
                <a:lnTo>
                  <a:pt x="2" y="126"/>
                </a:lnTo>
                <a:lnTo>
                  <a:pt x="1" y="124"/>
                </a:lnTo>
                <a:lnTo>
                  <a:pt x="0" y="12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71" name="Freeform 68"/>
          <p:cNvSpPr>
            <a:spLocks/>
          </p:cNvSpPr>
          <p:nvPr/>
        </p:nvSpPr>
        <p:spPr bwMode="auto">
          <a:xfrm>
            <a:off x="6243479" y="4969214"/>
            <a:ext cx="270885" cy="322141"/>
          </a:xfrm>
          <a:custGeom>
            <a:avLst/>
            <a:gdLst/>
            <a:ahLst/>
            <a:cxnLst>
              <a:cxn ang="0">
                <a:pos x="0" y="109"/>
              </a:cxn>
              <a:cxn ang="0">
                <a:pos x="0" y="76"/>
              </a:cxn>
              <a:cxn ang="0">
                <a:pos x="16" y="63"/>
              </a:cxn>
              <a:cxn ang="0">
                <a:pos x="16" y="28"/>
              </a:cxn>
              <a:cxn ang="0">
                <a:pos x="17" y="11"/>
              </a:cxn>
              <a:cxn ang="0">
                <a:pos x="44" y="6"/>
              </a:cxn>
              <a:cxn ang="0">
                <a:pos x="50" y="6"/>
              </a:cxn>
              <a:cxn ang="0">
                <a:pos x="54" y="11"/>
              </a:cxn>
              <a:cxn ang="0">
                <a:pos x="57" y="13"/>
              </a:cxn>
              <a:cxn ang="0">
                <a:pos x="64" y="6"/>
              </a:cxn>
              <a:cxn ang="0">
                <a:pos x="73" y="2"/>
              </a:cxn>
              <a:cxn ang="0">
                <a:pos x="78" y="0"/>
              </a:cxn>
              <a:cxn ang="0">
                <a:pos x="80" y="3"/>
              </a:cxn>
              <a:cxn ang="0">
                <a:pos x="85" y="13"/>
              </a:cxn>
              <a:cxn ang="0">
                <a:pos x="88" y="19"/>
              </a:cxn>
              <a:cxn ang="0">
                <a:pos x="93" y="28"/>
              </a:cxn>
              <a:cxn ang="0">
                <a:pos x="106" y="39"/>
              </a:cxn>
              <a:cxn ang="0">
                <a:pos x="111" y="47"/>
              </a:cxn>
              <a:cxn ang="0">
                <a:pos x="118" y="50"/>
              </a:cxn>
              <a:cxn ang="0">
                <a:pos x="119" y="63"/>
              </a:cxn>
              <a:cxn ang="0">
                <a:pos x="123" y="69"/>
              </a:cxn>
              <a:cxn ang="0">
                <a:pos x="129" y="72"/>
              </a:cxn>
              <a:cxn ang="0">
                <a:pos x="137" y="74"/>
              </a:cxn>
              <a:cxn ang="0">
                <a:pos x="142" y="77"/>
              </a:cxn>
              <a:cxn ang="0">
                <a:pos x="139" y="80"/>
              </a:cxn>
              <a:cxn ang="0">
                <a:pos x="125" y="88"/>
              </a:cxn>
              <a:cxn ang="0">
                <a:pos x="115" y="98"/>
              </a:cxn>
              <a:cxn ang="0">
                <a:pos x="106" y="107"/>
              </a:cxn>
              <a:cxn ang="0">
                <a:pos x="94" y="121"/>
              </a:cxn>
              <a:cxn ang="0">
                <a:pos x="86" y="137"/>
              </a:cxn>
              <a:cxn ang="0">
                <a:pos x="82" y="140"/>
              </a:cxn>
              <a:cxn ang="0">
                <a:pos x="73" y="142"/>
              </a:cxn>
              <a:cxn ang="0">
                <a:pos x="62" y="137"/>
              </a:cxn>
              <a:cxn ang="0">
                <a:pos x="56" y="135"/>
              </a:cxn>
              <a:cxn ang="0">
                <a:pos x="46" y="142"/>
              </a:cxn>
              <a:cxn ang="0">
                <a:pos x="44" y="148"/>
              </a:cxn>
              <a:cxn ang="0">
                <a:pos x="38" y="153"/>
              </a:cxn>
              <a:cxn ang="0">
                <a:pos x="34" y="159"/>
              </a:cxn>
              <a:cxn ang="0">
                <a:pos x="20" y="160"/>
              </a:cxn>
              <a:cxn ang="0">
                <a:pos x="13" y="159"/>
              </a:cxn>
              <a:cxn ang="0">
                <a:pos x="13" y="151"/>
              </a:cxn>
              <a:cxn ang="0">
                <a:pos x="14" y="145"/>
              </a:cxn>
              <a:cxn ang="0">
                <a:pos x="12" y="137"/>
              </a:cxn>
              <a:cxn ang="0">
                <a:pos x="6" y="131"/>
              </a:cxn>
              <a:cxn ang="0">
                <a:pos x="2" y="126"/>
              </a:cxn>
              <a:cxn ang="0">
                <a:pos x="0" y="124"/>
              </a:cxn>
            </a:cxnLst>
            <a:rect l="0" t="0" r="r" b="b"/>
            <a:pathLst>
              <a:path w="142" h="162">
                <a:moveTo>
                  <a:pt x="0" y="124"/>
                </a:moveTo>
                <a:lnTo>
                  <a:pt x="0" y="109"/>
                </a:lnTo>
                <a:lnTo>
                  <a:pt x="0" y="91"/>
                </a:lnTo>
                <a:lnTo>
                  <a:pt x="0" y="76"/>
                </a:lnTo>
                <a:lnTo>
                  <a:pt x="16" y="76"/>
                </a:lnTo>
                <a:lnTo>
                  <a:pt x="16" y="63"/>
                </a:lnTo>
                <a:lnTo>
                  <a:pt x="16" y="46"/>
                </a:lnTo>
                <a:lnTo>
                  <a:pt x="16" y="28"/>
                </a:lnTo>
                <a:lnTo>
                  <a:pt x="16" y="13"/>
                </a:lnTo>
                <a:lnTo>
                  <a:pt x="17" y="11"/>
                </a:lnTo>
                <a:lnTo>
                  <a:pt x="38" y="6"/>
                </a:lnTo>
                <a:lnTo>
                  <a:pt x="44" y="6"/>
                </a:lnTo>
                <a:lnTo>
                  <a:pt x="45" y="6"/>
                </a:lnTo>
                <a:lnTo>
                  <a:pt x="50" y="6"/>
                </a:lnTo>
                <a:lnTo>
                  <a:pt x="53" y="6"/>
                </a:lnTo>
                <a:lnTo>
                  <a:pt x="54" y="11"/>
                </a:lnTo>
                <a:lnTo>
                  <a:pt x="56" y="16"/>
                </a:lnTo>
                <a:lnTo>
                  <a:pt x="57" y="13"/>
                </a:lnTo>
                <a:lnTo>
                  <a:pt x="60" y="10"/>
                </a:lnTo>
                <a:lnTo>
                  <a:pt x="64" y="6"/>
                </a:lnTo>
                <a:lnTo>
                  <a:pt x="72" y="3"/>
                </a:lnTo>
                <a:lnTo>
                  <a:pt x="73" y="2"/>
                </a:lnTo>
                <a:lnTo>
                  <a:pt x="74" y="0"/>
                </a:lnTo>
                <a:lnTo>
                  <a:pt x="78" y="0"/>
                </a:lnTo>
                <a:lnTo>
                  <a:pt x="80" y="2"/>
                </a:lnTo>
                <a:lnTo>
                  <a:pt x="80" y="3"/>
                </a:lnTo>
                <a:lnTo>
                  <a:pt x="81" y="6"/>
                </a:lnTo>
                <a:lnTo>
                  <a:pt x="85" y="13"/>
                </a:lnTo>
                <a:lnTo>
                  <a:pt x="88" y="16"/>
                </a:lnTo>
                <a:lnTo>
                  <a:pt x="88" y="19"/>
                </a:lnTo>
                <a:lnTo>
                  <a:pt x="89" y="24"/>
                </a:lnTo>
                <a:lnTo>
                  <a:pt x="93" y="28"/>
                </a:lnTo>
                <a:lnTo>
                  <a:pt x="101" y="38"/>
                </a:lnTo>
                <a:lnTo>
                  <a:pt x="106" y="39"/>
                </a:lnTo>
                <a:lnTo>
                  <a:pt x="109" y="43"/>
                </a:lnTo>
                <a:lnTo>
                  <a:pt x="111" y="47"/>
                </a:lnTo>
                <a:lnTo>
                  <a:pt x="115" y="49"/>
                </a:lnTo>
                <a:lnTo>
                  <a:pt x="118" y="50"/>
                </a:lnTo>
                <a:lnTo>
                  <a:pt x="118" y="57"/>
                </a:lnTo>
                <a:lnTo>
                  <a:pt x="119" y="63"/>
                </a:lnTo>
                <a:lnTo>
                  <a:pt x="121" y="68"/>
                </a:lnTo>
                <a:lnTo>
                  <a:pt x="123" y="69"/>
                </a:lnTo>
                <a:lnTo>
                  <a:pt x="126" y="71"/>
                </a:lnTo>
                <a:lnTo>
                  <a:pt x="129" y="72"/>
                </a:lnTo>
                <a:lnTo>
                  <a:pt x="133" y="72"/>
                </a:lnTo>
                <a:lnTo>
                  <a:pt x="137" y="74"/>
                </a:lnTo>
                <a:lnTo>
                  <a:pt x="139" y="76"/>
                </a:lnTo>
                <a:lnTo>
                  <a:pt x="142" y="77"/>
                </a:lnTo>
                <a:lnTo>
                  <a:pt x="142" y="79"/>
                </a:lnTo>
                <a:lnTo>
                  <a:pt x="139" y="80"/>
                </a:lnTo>
                <a:lnTo>
                  <a:pt x="135" y="83"/>
                </a:lnTo>
                <a:lnTo>
                  <a:pt x="125" y="88"/>
                </a:lnTo>
                <a:lnTo>
                  <a:pt x="121" y="94"/>
                </a:lnTo>
                <a:lnTo>
                  <a:pt x="115" y="98"/>
                </a:lnTo>
                <a:lnTo>
                  <a:pt x="110" y="102"/>
                </a:lnTo>
                <a:lnTo>
                  <a:pt x="106" y="107"/>
                </a:lnTo>
                <a:lnTo>
                  <a:pt x="102" y="115"/>
                </a:lnTo>
                <a:lnTo>
                  <a:pt x="94" y="121"/>
                </a:lnTo>
                <a:lnTo>
                  <a:pt x="90" y="126"/>
                </a:lnTo>
                <a:lnTo>
                  <a:pt x="86" y="137"/>
                </a:lnTo>
                <a:lnTo>
                  <a:pt x="85" y="138"/>
                </a:lnTo>
                <a:lnTo>
                  <a:pt x="82" y="140"/>
                </a:lnTo>
                <a:lnTo>
                  <a:pt x="80" y="140"/>
                </a:lnTo>
                <a:lnTo>
                  <a:pt x="73" y="142"/>
                </a:lnTo>
                <a:lnTo>
                  <a:pt x="69" y="142"/>
                </a:lnTo>
                <a:lnTo>
                  <a:pt x="62" y="137"/>
                </a:lnTo>
                <a:lnTo>
                  <a:pt x="60" y="135"/>
                </a:lnTo>
                <a:lnTo>
                  <a:pt x="56" y="135"/>
                </a:lnTo>
                <a:lnTo>
                  <a:pt x="52" y="137"/>
                </a:lnTo>
                <a:lnTo>
                  <a:pt x="46" y="142"/>
                </a:lnTo>
                <a:lnTo>
                  <a:pt x="45" y="145"/>
                </a:lnTo>
                <a:lnTo>
                  <a:pt x="44" y="148"/>
                </a:lnTo>
                <a:lnTo>
                  <a:pt x="41" y="149"/>
                </a:lnTo>
                <a:lnTo>
                  <a:pt x="38" y="153"/>
                </a:lnTo>
                <a:lnTo>
                  <a:pt x="37" y="154"/>
                </a:lnTo>
                <a:lnTo>
                  <a:pt x="34" y="159"/>
                </a:lnTo>
                <a:lnTo>
                  <a:pt x="25" y="162"/>
                </a:lnTo>
                <a:lnTo>
                  <a:pt x="20" y="160"/>
                </a:lnTo>
                <a:lnTo>
                  <a:pt x="16" y="160"/>
                </a:lnTo>
                <a:lnTo>
                  <a:pt x="13" y="159"/>
                </a:lnTo>
                <a:lnTo>
                  <a:pt x="12" y="157"/>
                </a:lnTo>
                <a:lnTo>
                  <a:pt x="13" y="151"/>
                </a:lnTo>
                <a:lnTo>
                  <a:pt x="14" y="146"/>
                </a:lnTo>
                <a:lnTo>
                  <a:pt x="14" y="145"/>
                </a:lnTo>
                <a:lnTo>
                  <a:pt x="14" y="140"/>
                </a:lnTo>
                <a:lnTo>
                  <a:pt x="12" y="137"/>
                </a:lnTo>
                <a:lnTo>
                  <a:pt x="9" y="134"/>
                </a:lnTo>
                <a:lnTo>
                  <a:pt x="6" y="131"/>
                </a:lnTo>
                <a:lnTo>
                  <a:pt x="4" y="127"/>
                </a:lnTo>
                <a:lnTo>
                  <a:pt x="2" y="126"/>
                </a:lnTo>
                <a:lnTo>
                  <a:pt x="1" y="124"/>
                </a:lnTo>
                <a:lnTo>
                  <a:pt x="0" y="124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72" name="Freeform 69"/>
          <p:cNvSpPr>
            <a:spLocks/>
          </p:cNvSpPr>
          <p:nvPr/>
        </p:nvSpPr>
        <p:spPr bwMode="auto">
          <a:xfrm>
            <a:off x="7013261" y="2387788"/>
            <a:ext cx="1167341" cy="506836"/>
          </a:xfrm>
          <a:custGeom>
            <a:avLst/>
            <a:gdLst/>
            <a:ahLst/>
            <a:cxnLst>
              <a:cxn ang="0">
                <a:pos x="126" y="242"/>
              </a:cxn>
              <a:cxn ang="0">
                <a:pos x="97" y="236"/>
              </a:cxn>
              <a:cxn ang="0">
                <a:pos x="71" y="219"/>
              </a:cxn>
              <a:cxn ang="0">
                <a:pos x="67" y="194"/>
              </a:cxn>
              <a:cxn ang="0">
                <a:pos x="81" y="183"/>
              </a:cxn>
              <a:cxn ang="0">
                <a:pos x="113" y="183"/>
              </a:cxn>
              <a:cxn ang="0">
                <a:pos x="114" y="170"/>
              </a:cxn>
              <a:cxn ang="0">
                <a:pos x="91" y="148"/>
              </a:cxn>
              <a:cxn ang="0">
                <a:pos x="66" y="146"/>
              </a:cxn>
              <a:cxn ang="0">
                <a:pos x="26" y="161"/>
              </a:cxn>
              <a:cxn ang="0">
                <a:pos x="28" y="142"/>
              </a:cxn>
              <a:cxn ang="0">
                <a:pos x="8" y="132"/>
              </a:cxn>
              <a:cxn ang="0">
                <a:pos x="4" y="109"/>
              </a:cxn>
              <a:cxn ang="0">
                <a:pos x="17" y="90"/>
              </a:cxn>
              <a:cxn ang="0">
                <a:pos x="34" y="85"/>
              </a:cxn>
              <a:cxn ang="0">
                <a:pos x="51" y="74"/>
              </a:cxn>
              <a:cxn ang="0">
                <a:pos x="71" y="70"/>
              </a:cxn>
              <a:cxn ang="0">
                <a:pos x="90" y="70"/>
              </a:cxn>
              <a:cxn ang="0">
                <a:pos x="114" y="77"/>
              </a:cxn>
              <a:cxn ang="0">
                <a:pos x="121" y="81"/>
              </a:cxn>
              <a:cxn ang="0">
                <a:pos x="144" y="84"/>
              </a:cxn>
              <a:cxn ang="0">
                <a:pos x="160" y="79"/>
              </a:cxn>
              <a:cxn ang="0">
                <a:pos x="184" y="85"/>
              </a:cxn>
              <a:cxn ang="0">
                <a:pos x="212" y="85"/>
              </a:cxn>
              <a:cxn ang="0">
                <a:pos x="215" y="70"/>
              </a:cxn>
              <a:cxn ang="0">
                <a:pos x="212" y="59"/>
              </a:cxn>
              <a:cxn ang="0">
                <a:pos x="223" y="44"/>
              </a:cxn>
              <a:cxn ang="0">
                <a:pos x="220" y="35"/>
              </a:cxn>
              <a:cxn ang="0">
                <a:pos x="216" y="27"/>
              </a:cxn>
              <a:cxn ang="0">
                <a:pos x="243" y="26"/>
              </a:cxn>
              <a:cxn ang="0">
                <a:pos x="268" y="21"/>
              </a:cxn>
              <a:cxn ang="0">
                <a:pos x="285" y="15"/>
              </a:cxn>
              <a:cxn ang="0">
                <a:pos x="325" y="5"/>
              </a:cxn>
              <a:cxn ang="0">
                <a:pos x="343" y="0"/>
              </a:cxn>
              <a:cxn ang="0">
                <a:pos x="367" y="4"/>
              </a:cxn>
              <a:cxn ang="0">
                <a:pos x="369" y="22"/>
              </a:cxn>
              <a:cxn ang="0">
                <a:pos x="386" y="19"/>
              </a:cxn>
              <a:cxn ang="0">
                <a:pos x="397" y="24"/>
              </a:cxn>
              <a:cxn ang="0">
                <a:pos x="404" y="29"/>
              </a:cxn>
              <a:cxn ang="0">
                <a:pos x="417" y="33"/>
              </a:cxn>
              <a:cxn ang="0">
                <a:pos x="438" y="22"/>
              </a:cxn>
              <a:cxn ang="0">
                <a:pos x="450" y="22"/>
              </a:cxn>
              <a:cxn ang="0">
                <a:pos x="514" y="74"/>
              </a:cxn>
              <a:cxn ang="0">
                <a:pos x="538" y="84"/>
              </a:cxn>
              <a:cxn ang="0">
                <a:pos x="559" y="82"/>
              </a:cxn>
              <a:cxn ang="0">
                <a:pos x="577" y="96"/>
              </a:cxn>
              <a:cxn ang="0">
                <a:pos x="596" y="106"/>
              </a:cxn>
              <a:cxn ang="0">
                <a:pos x="607" y="117"/>
              </a:cxn>
              <a:cxn ang="0">
                <a:pos x="575" y="153"/>
              </a:cxn>
              <a:cxn ang="0">
                <a:pos x="537" y="170"/>
              </a:cxn>
              <a:cxn ang="0">
                <a:pos x="503" y="190"/>
              </a:cxn>
              <a:cxn ang="0">
                <a:pos x="506" y="230"/>
              </a:cxn>
              <a:cxn ang="0">
                <a:pos x="478" y="223"/>
              </a:cxn>
              <a:cxn ang="0">
                <a:pos x="433" y="223"/>
              </a:cxn>
              <a:cxn ang="0">
                <a:pos x="405" y="222"/>
              </a:cxn>
              <a:cxn ang="0">
                <a:pos x="382" y="225"/>
              </a:cxn>
              <a:cxn ang="0">
                <a:pos x="364" y="234"/>
              </a:cxn>
              <a:cxn ang="0">
                <a:pos x="339" y="250"/>
              </a:cxn>
              <a:cxn ang="0">
                <a:pos x="303" y="242"/>
              </a:cxn>
              <a:cxn ang="0">
                <a:pos x="277" y="209"/>
              </a:cxn>
              <a:cxn ang="0">
                <a:pos x="188" y="178"/>
              </a:cxn>
            </a:cxnLst>
            <a:rect l="0" t="0" r="r" b="b"/>
            <a:pathLst>
              <a:path w="611" h="256">
                <a:moveTo>
                  <a:pt x="142" y="186"/>
                </a:moveTo>
                <a:lnTo>
                  <a:pt x="142" y="203"/>
                </a:lnTo>
                <a:lnTo>
                  <a:pt x="142" y="220"/>
                </a:lnTo>
                <a:lnTo>
                  <a:pt x="142" y="236"/>
                </a:lnTo>
                <a:lnTo>
                  <a:pt x="142" y="250"/>
                </a:lnTo>
                <a:lnTo>
                  <a:pt x="138" y="252"/>
                </a:lnTo>
                <a:lnTo>
                  <a:pt x="133" y="252"/>
                </a:lnTo>
                <a:lnTo>
                  <a:pt x="130" y="250"/>
                </a:lnTo>
                <a:lnTo>
                  <a:pt x="127" y="244"/>
                </a:lnTo>
                <a:lnTo>
                  <a:pt x="126" y="242"/>
                </a:lnTo>
                <a:lnTo>
                  <a:pt x="125" y="241"/>
                </a:lnTo>
                <a:lnTo>
                  <a:pt x="123" y="238"/>
                </a:lnTo>
                <a:lnTo>
                  <a:pt x="122" y="236"/>
                </a:lnTo>
                <a:lnTo>
                  <a:pt x="118" y="234"/>
                </a:lnTo>
                <a:lnTo>
                  <a:pt x="115" y="233"/>
                </a:lnTo>
                <a:lnTo>
                  <a:pt x="114" y="231"/>
                </a:lnTo>
                <a:lnTo>
                  <a:pt x="111" y="231"/>
                </a:lnTo>
                <a:lnTo>
                  <a:pt x="109" y="233"/>
                </a:lnTo>
                <a:lnTo>
                  <a:pt x="103" y="234"/>
                </a:lnTo>
                <a:lnTo>
                  <a:pt x="97" y="236"/>
                </a:lnTo>
                <a:lnTo>
                  <a:pt x="89" y="242"/>
                </a:lnTo>
                <a:lnTo>
                  <a:pt x="87" y="233"/>
                </a:lnTo>
                <a:lnTo>
                  <a:pt x="90" y="230"/>
                </a:lnTo>
                <a:lnTo>
                  <a:pt x="91" y="225"/>
                </a:lnTo>
                <a:lnTo>
                  <a:pt x="87" y="225"/>
                </a:lnTo>
                <a:lnTo>
                  <a:pt x="85" y="223"/>
                </a:lnTo>
                <a:lnTo>
                  <a:pt x="79" y="222"/>
                </a:lnTo>
                <a:lnTo>
                  <a:pt x="77" y="219"/>
                </a:lnTo>
                <a:lnTo>
                  <a:pt x="74" y="219"/>
                </a:lnTo>
                <a:lnTo>
                  <a:pt x="71" y="219"/>
                </a:lnTo>
                <a:lnTo>
                  <a:pt x="70" y="209"/>
                </a:lnTo>
                <a:lnTo>
                  <a:pt x="67" y="205"/>
                </a:lnTo>
                <a:lnTo>
                  <a:pt x="65" y="203"/>
                </a:lnTo>
                <a:lnTo>
                  <a:pt x="62" y="200"/>
                </a:lnTo>
                <a:lnTo>
                  <a:pt x="57" y="197"/>
                </a:lnTo>
                <a:lnTo>
                  <a:pt x="53" y="194"/>
                </a:lnTo>
                <a:lnTo>
                  <a:pt x="55" y="192"/>
                </a:lnTo>
                <a:lnTo>
                  <a:pt x="61" y="192"/>
                </a:lnTo>
                <a:lnTo>
                  <a:pt x="65" y="194"/>
                </a:lnTo>
                <a:lnTo>
                  <a:pt x="67" y="194"/>
                </a:lnTo>
                <a:lnTo>
                  <a:pt x="70" y="194"/>
                </a:lnTo>
                <a:lnTo>
                  <a:pt x="74" y="194"/>
                </a:lnTo>
                <a:lnTo>
                  <a:pt x="73" y="192"/>
                </a:lnTo>
                <a:lnTo>
                  <a:pt x="71" y="190"/>
                </a:lnTo>
                <a:lnTo>
                  <a:pt x="70" y="186"/>
                </a:lnTo>
                <a:lnTo>
                  <a:pt x="73" y="183"/>
                </a:lnTo>
                <a:lnTo>
                  <a:pt x="75" y="181"/>
                </a:lnTo>
                <a:lnTo>
                  <a:pt x="75" y="183"/>
                </a:lnTo>
                <a:lnTo>
                  <a:pt x="78" y="184"/>
                </a:lnTo>
                <a:lnTo>
                  <a:pt x="81" y="183"/>
                </a:lnTo>
                <a:lnTo>
                  <a:pt x="82" y="181"/>
                </a:lnTo>
                <a:lnTo>
                  <a:pt x="85" y="178"/>
                </a:lnTo>
                <a:lnTo>
                  <a:pt x="89" y="178"/>
                </a:lnTo>
                <a:lnTo>
                  <a:pt x="93" y="181"/>
                </a:lnTo>
                <a:lnTo>
                  <a:pt x="98" y="183"/>
                </a:lnTo>
                <a:lnTo>
                  <a:pt x="102" y="181"/>
                </a:lnTo>
                <a:lnTo>
                  <a:pt x="105" y="179"/>
                </a:lnTo>
                <a:lnTo>
                  <a:pt x="106" y="179"/>
                </a:lnTo>
                <a:lnTo>
                  <a:pt x="107" y="181"/>
                </a:lnTo>
                <a:lnTo>
                  <a:pt x="113" y="183"/>
                </a:lnTo>
                <a:lnTo>
                  <a:pt x="115" y="184"/>
                </a:lnTo>
                <a:lnTo>
                  <a:pt x="118" y="183"/>
                </a:lnTo>
                <a:lnTo>
                  <a:pt x="122" y="184"/>
                </a:lnTo>
                <a:lnTo>
                  <a:pt x="122" y="183"/>
                </a:lnTo>
                <a:lnTo>
                  <a:pt x="121" y="179"/>
                </a:lnTo>
                <a:lnTo>
                  <a:pt x="123" y="179"/>
                </a:lnTo>
                <a:lnTo>
                  <a:pt x="122" y="176"/>
                </a:lnTo>
                <a:lnTo>
                  <a:pt x="118" y="173"/>
                </a:lnTo>
                <a:lnTo>
                  <a:pt x="115" y="172"/>
                </a:lnTo>
                <a:lnTo>
                  <a:pt x="114" y="170"/>
                </a:lnTo>
                <a:lnTo>
                  <a:pt x="111" y="168"/>
                </a:lnTo>
                <a:lnTo>
                  <a:pt x="109" y="165"/>
                </a:lnTo>
                <a:lnTo>
                  <a:pt x="106" y="161"/>
                </a:lnTo>
                <a:lnTo>
                  <a:pt x="105" y="157"/>
                </a:lnTo>
                <a:lnTo>
                  <a:pt x="103" y="159"/>
                </a:lnTo>
                <a:lnTo>
                  <a:pt x="102" y="156"/>
                </a:lnTo>
                <a:lnTo>
                  <a:pt x="101" y="156"/>
                </a:lnTo>
                <a:lnTo>
                  <a:pt x="99" y="153"/>
                </a:lnTo>
                <a:lnTo>
                  <a:pt x="94" y="150"/>
                </a:lnTo>
                <a:lnTo>
                  <a:pt x="91" y="148"/>
                </a:lnTo>
                <a:lnTo>
                  <a:pt x="91" y="146"/>
                </a:lnTo>
                <a:lnTo>
                  <a:pt x="87" y="146"/>
                </a:lnTo>
                <a:lnTo>
                  <a:pt x="85" y="148"/>
                </a:lnTo>
                <a:lnTo>
                  <a:pt x="82" y="148"/>
                </a:lnTo>
                <a:lnTo>
                  <a:pt x="79" y="150"/>
                </a:lnTo>
                <a:lnTo>
                  <a:pt x="78" y="146"/>
                </a:lnTo>
                <a:lnTo>
                  <a:pt x="74" y="146"/>
                </a:lnTo>
                <a:lnTo>
                  <a:pt x="73" y="146"/>
                </a:lnTo>
                <a:lnTo>
                  <a:pt x="69" y="146"/>
                </a:lnTo>
                <a:lnTo>
                  <a:pt x="66" y="146"/>
                </a:lnTo>
                <a:lnTo>
                  <a:pt x="55" y="153"/>
                </a:lnTo>
                <a:lnTo>
                  <a:pt x="50" y="153"/>
                </a:lnTo>
                <a:lnTo>
                  <a:pt x="43" y="156"/>
                </a:lnTo>
                <a:lnTo>
                  <a:pt x="37" y="156"/>
                </a:lnTo>
                <a:lnTo>
                  <a:pt x="30" y="157"/>
                </a:lnTo>
                <a:lnTo>
                  <a:pt x="37" y="161"/>
                </a:lnTo>
                <a:lnTo>
                  <a:pt x="31" y="162"/>
                </a:lnTo>
                <a:lnTo>
                  <a:pt x="30" y="162"/>
                </a:lnTo>
                <a:lnTo>
                  <a:pt x="29" y="161"/>
                </a:lnTo>
                <a:lnTo>
                  <a:pt x="26" y="161"/>
                </a:lnTo>
                <a:lnTo>
                  <a:pt x="25" y="161"/>
                </a:lnTo>
                <a:lnTo>
                  <a:pt x="22" y="159"/>
                </a:lnTo>
                <a:lnTo>
                  <a:pt x="22" y="157"/>
                </a:lnTo>
                <a:lnTo>
                  <a:pt x="24" y="156"/>
                </a:lnTo>
                <a:lnTo>
                  <a:pt x="24" y="154"/>
                </a:lnTo>
                <a:lnTo>
                  <a:pt x="26" y="154"/>
                </a:lnTo>
                <a:lnTo>
                  <a:pt x="28" y="156"/>
                </a:lnTo>
                <a:lnTo>
                  <a:pt x="31" y="154"/>
                </a:lnTo>
                <a:lnTo>
                  <a:pt x="29" y="142"/>
                </a:lnTo>
                <a:lnTo>
                  <a:pt x="28" y="142"/>
                </a:lnTo>
                <a:lnTo>
                  <a:pt x="26" y="140"/>
                </a:lnTo>
                <a:lnTo>
                  <a:pt x="25" y="139"/>
                </a:lnTo>
                <a:lnTo>
                  <a:pt x="24" y="137"/>
                </a:lnTo>
                <a:lnTo>
                  <a:pt x="22" y="135"/>
                </a:lnTo>
                <a:lnTo>
                  <a:pt x="21" y="135"/>
                </a:lnTo>
                <a:lnTo>
                  <a:pt x="16" y="135"/>
                </a:lnTo>
                <a:lnTo>
                  <a:pt x="12" y="135"/>
                </a:lnTo>
                <a:lnTo>
                  <a:pt x="12" y="137"/>
                </a:lnTo>
                <a:lnTo>
                  <a:pt x="9" y="134"/>
                </a:lnTo>
                <a:lnTo>
                  <a:pt x="8" y="132"/>
                </a:lnTo>
                <a:lnTo>
                  <a:pt x="8" y="131"/>
                </a:lnTo>
                <a:lnTo>
                  <a:pt x="9" y="129"/>
                </a:lnTo>
                <a:lnTo>
                  <a:pt x="8" y="128"/>
                </a:lnTo>
                <a:lnTo>
                  <a:pt x="6" y="126"/>
                </a:lnTo>
                <a:lnTo>
                  <a:pt x="0" y="124"/>
                </a:lnTo>
                <a:lnTo>
                  <a:pt x="2" y="115"/>
                </a:lnTo>
                <a:lnTo>
                  <a:pt x="6" y="113"/>
                </a:lnTo>
                <a:lnTo>
                  <a:pt x="8" y="112"/>
                </a:lnTo>
                <a:lnTo>
                  <a:pt x="6" y="110"/>
                </a:lnTo>
                <a:lnTo>
                  <a:pt x="4" y="109"/>
                </a:lnTo>
                <a:lnTo>
                  <a:pt x="6" y="98"/>
                </a:lnTo>
                <a:lnTo>
                  <a:pt x="10" y="96"/>
                </a:lnTo>
                <a:lnTo>
                  <a:pt x="12" y="95"/>
                </a:lnTo>
                <a:lnTo>
                  <a:pt x="10" y="93"/>
                </a:lnTo>
                <a:lnTo>
                  <a:pt x="12" y="91"/>
                </a:lnTo>
                <a:lnTo>
                  <a:pt x="12" y="90"/>
                </a:lnTo>
                <a:lnTo>
                  <a:pt x="13" y="88"/>
                </a:lnTo>
                <a:lnTo>
                  <a:pt x="14" y="87"/>
                </a:lnTo>
                <a:lnTo>
                  <a:pt x="16" y="88"/>
                </a:lnTo>
                <a:lnTo>
                  <a:pt x="17" y="90"/>
                </a:lnTo>
                <a:lnTo>
                  <a:pt x="20" y="91"/>
                </a:lnTo>
                <a:lnTo>
                  <a:pt x="25" y="99"/>
                </a:lnTo>
                <a:lnTo>
                  <a:pt x="26" y="101"/>
                </a:lnTo>
                <a:lnTo>
                  <a:pt x="34" y="96"/>
                </a:lnTo>
                <a:lnTo>
                  <a:pt x="33" y="95"/>
                </a:lnTo>
                <a:lnTo>
                  <a:pt x="33" y="93"/>
                </a:lnTo>
                <a:lnTo>
                  <a:pt x="31" y="88"/>
                </a:lnTo>
                <a:lnTo>
                  <a:pt x="29" y="85"/>
                </a:lnTo>
                <a:lnTo>
                  <a:pt x="31" y="85"/>
                </a:lnTo>
                <a:lnTo>
                  <a:pt x="34" y="85"/>
                </a:lnTo>
                <a:lnTo>
                  <a:pt x="39" y="82"/>
                </a:lnTo>
                <a:lnTo>
                  <a:pt x="41" y="82"/>
                </a:lnTo>
                <a:lnTo>
                  <a:pt x="42" y="81"/>
                </a:lnTo>
                <a:lnTo>
                  <a:pt x="42" y="79"/>
                </a:lnTo>
                <a:lnTo>
                  <a:pt x="42" y="77"/>
                </a:lnTo>
                <a:lnTo>
                  <a:pt x="45" y="76"/>
                </a:lnTo>
                <a:lnTo>
                  <a:pt x="46" y="77"/>
                </a:lnTo>
                <a:lnTo>
                  <a:pt x="49" y="76"/>
                </a:lnTo>
                <a:lnTo>
                  <a:pt x="50" y="74"/>
                </a:lnTo>
                <a:lnTo>
                  <a:pt x="51" y="74"/>
                </a:lnTo>
                <a:lnTo>
                  <a:pt x="54" y="74"/>
                </a:lnTo>
                <a:lnTo>
                  <a:pt x="55" y="73"/>
                </a:lnTo>
                <a:lnTo>
                  <a:pt x="58" y="71"/>
                </a:lnTo>
                <a:lnTo>
                  <a:pt x="59" y="70"/>
                </a:lnTo>
                <a:lnTo>
                  <a:pt x="59" y="68"/>
                </a:lnTo>
                <a:lnTo>
                  <a:pt x="61" y="68"/>
                </a:lnTo>
                <a:lnTo>
                  <a:pt x="65" y="66"/>
                </a:lnTo>
                <a:lnTo>
                  <a:pt x="70" y="66"/>
                </a:lnTo>
                <a:lnTo>
                  <a:pt x="70" y="68"/>
                </a:lnTo>
                <a:lnTo>
                  <a:pt x="71" y="70"/>
                </a:lnTo>
                <a:lnTo>
                  <a:pt x="75" y="70"/>
                </a:lnTo>
                <a:lnTo>
                  <a:pt x="77" y="70"/>
                </a:lnTo>
                <a:lnTo>
                  <a:pt x="78" y="70"/>
                </a:lnTo>
                <a:lnTo>
                  <a:pt x="79" y="66"/>
                </a:lnTo>
                <a:lnTo>
                  <a:pt x="81" y="66"/>
                </a:lnTo>
                <a:lnTo>
                  <a:pt x="82" y="66"/>
                </a:lnTo>
                <a:lnTo>
                  <a:pt x="85" y="65"/>
                </a:lnTo>
                <a:lnTo>
                  <a:pt x="86" y="65"/>
                </a:lnTo>
                <a:lnTo>
                  <a:pt x="89" y="68"/>
                </a:lnTo>
                <a:lnTo>
                  <a:pt x="90" y="70"/>
                </a:lnTo>
                <a:lnTo>
                  <a:pt x="91" y="70"/>
                </a:lnTo>
                <a:lnTo>
                  <a:pt x="94" y="70"/>
                </a:lnTo>
                <a:lnTo>
                  <a:pt x="95" y="70"/>
                </a:lnTo>
                <a:lnTo>
                  <a:pt x="101" y="70"/>
                </a:lnTo>
                <a:lnTo>
                  <a:pt x="102" y="70"/>
                </a:lnTo>
                <a:lnTo>
                  <a:pt x="105" y="70"/>
                </a:lnTo>
                <a:lnTo>
                  <a:pt x="106" y="71"/>
                </a:lnTo>
                <a:lnTo>
                  <a:pt x="107" y="74"/>
                </a:lnTo>
                <a:lnTo>
                  <a:pt x="113" y="76"/>
                </a:lnTo>
                <a:lnTo>
                  <a:pt x="114" y="77"/>
                </a:lnTo>
                <a:lnTo>
                  <a:pt x="115" y="79"/>
                </a:lnTo>
                <a:lnTo>
                  <a:pt x="118" y="82"/>
                </a:lnTo>
                <a:lnTo>
                  <a:pt x="118" y="84"/>
                </a:lnTo>
                <a:lnTo>
                  <a:pt x="118" y="85"/>
                </a:lnTo>
                <a:lnTo>
                  <a:pt x="119" y="87"/>
                </a:lnTo>
                <a:lnTo>
                  <a:pt x="122" y="87"/>
                </a:lnTo>
                <a:lnTo>
                  <a:pt x="122" y="84"/>
                </a:lnTo>
                <a:lnTo>
                  <a:pt x="122" y="82"/>
                </a:lnTo>
                <a:lnTo>
                  <a:pt x="122" y="81"/>
                </a:lnTo>
                <a:lnTo>
                  <a:pt x="121" y="81"/>
                </a:lnTo>
                <a:lnTo>
                  <a:pt x="122" y="79"/>
                </a:lnTo>
                <a:lnTo>
                  <a:pt x="123" y="79"/>
                </a:lnTo>
                <a:lnTo>
                  <a:pt x="125" y="81"/>
                </a:lnTo>
                <a:lnTo>
                  <a:pt x="126" y="81"/>
                </a:lnTo>
                <a:lnTo>
                  <a:pt x="127" y="82"/>
                </a:lnTo>
                <a:lnTo>
                  <a:pt x="129" y="84"/>
                </a:lnTo>
                <a:lnTo>
                  <a:pt x="133" y="85"/>
                </a:lnTo>
                <a:lnTo>
                  <a:pt x="137" y="87"/>
                </a:lnTo>
                <a:lnTo>
                  <a:pt x="139" y="85"/>
                </a:lnTo>
                <a:lnTo>
                  <a:pt x="144" y="84"/>
                </a:lnTo>
                <a:lnTo>
                  <a:pt x="144" y="81"/>
                </a:lnTo>
                <a:lnTo>
                  <a:pt x="146" y="81"/>
                </a:lnTo>
                <a:lnTo>
                  <a:pt x="148" y="79"/>
                </a:lnTo>
                <a:lnTo>
                  <a:pt x="150" y="79"/>
                </a:lnTo>
                <a:lnTo>
                  <a:pt x="152" y="81"/>
                </a:lnTo>
                <a:lnTo>
                  <a:pt x="152" y="77"/>
                </a:lnTo>
                <a:lnTo>
                  <a:pt x="155" y="77"/>
                </a:lnTo>
                <a:lnTo>
                  <a:pt x="156" y="79"/>
                </a:lnTo>
                <a:lnTo>
                  <a:pt x="159" y="77"/>
                </a:lnTo>
                <a:lnTo>
                  <a:pt x="160" y="79"/>
                </a:lnTo>
                <a:lnTo>
                  <a:pt x="164" y="81"/>
                </a:lnTo>
                <a:lnTo>
                  <a:pt x="168" y="79"/>
                </a:lnTo>
                <a:lnTo>
                  <a:pt x="168" y="77"/>
                </a:lnTo>
                <a:lnTo>
                  <a:pt x="172" y="77"/>
                </a:lnTo>
                <a:lnTo>
                  <a:pt x="175" y="77"/>
                </a:lnTo>
                <a:lnTo>
                  <a:pt x="179" y="77"/>
                </a:lnTo>
                <a:lnTo>
                  <a:pt x="180" y="79"/>
                </a:lnTo>
                <a:lnTo>
                  <a:pt x="180" y="82"/>
                </a:lnTo>
                <a:lnTo>
                  <a:pt x="183" y="84"/>
                </a:lnTo>
                <a:lnTo>
                  <a:pt x="184" y="85"/>
                </a:lnTo>
                <a:lnTo>
                  <a:pt x="188" y="85"/>
                </a:lnTo>
                <a:lnTo>
                  <a:pt x="192" y="85"/>
                </a:lnTo>
                <a:lnTo>
                  <a:pt x="194" y="87"/>
                </a:lnTo>
                <a:lnTo>
                  <a:pt x="198" y="87"/>
                </a:lnTo>
                <a:lnTo>
                  <a:pt x="199" y="87"/>
                </a:lnTo>
                <a:lnTo>
                  <a:pt x="202" y="84"/>
                </a:lnTo>
                <a:lnTo>
                  <a:pt x="203" y="82"/>
                </a:lnTo>
                <a:lnTo>
                  <a:pt x="204" y="82"/>
                </a:lnTo>
                <a:lnTo>
                  <a:pt x="207" y="85"/>
                </a:lnTo>
                <a:lnTo>
                  <a:pt x="212" y="85"/>
                </a:lnTo>
                <a:lnTo>
                  <a:pt x="216" y="85"/>
                </a:lnTo>
                <a:lnTo>
                  <a:pt x="219" y="84"/>
                </a:lnTo>
                <a:lnTo>
                  <a:pt x="223" y="82"/>
                </a:lnTo>
                <a:lnTo>
                  <a:pt x="226" y="74"/>
                </a:lnTo>
                <a:lnTo>
                  <a:pt x="227" y="73"/>
                </a:lnTo>
                <a:lnTo>
                  <a:pt x="226" y="73"/>
                </a:lnTo>
                <a:lnTo>
                  <a:pt x="224" y="71"/>
                </a:lnTo>
                <a:lnTo>
                  <a:pt x="222" y="71"/>
                </a:lnTo>
                <a:lnTo>
                  <a:pt x="216" y="71"/>
                </a:lnTo>
                <a:lnTo>
                  <a:pt x="215" y="70"/>
                </a:lnTo>
                <a:lnTo>
                  <a:pt x="214" y="68"/>
                </a:lnTo>
                <a:lnTo>
                  <a:pt x="210" y="68"/>
                </a:lnTo>
                <a:lnTo>
                  <a:pt x="207" y="66"/>
                </a:lnTo>
                <a:lnTo>
                  <a:pt x="207" y="65"/>
                </a:lnTo>
                <a:lnTo>
                  <a:pt x="207" y="63"/>
                </a:lnTo>
                <a:lnTo>
                  <a:pt x="202" y="63"/>
                </a:lnTo>
                <a:lnTo>
                  <a:pt x="202" y="62"/>
                </a:lnTo>
                <a:lnTo>
                  <a:pt x="204" y="62"/>
                </a:lnTo>
                <a:lnTo>
                  <a:pt x="207" y="59"/>
                </a:lnTo>
                <a:lnTo>
                  <a:pt x="212" y="59"/>
                </a:lnTo>
                <a:lnTo>
                  <a:pt x="216" y="57"/>
                </a:lnTo>
                <a:lnTo>
                  <a:pt x="216" y="55"/>
                </a:lnTo>
                <a:lnTo>
                  <a:pt x="218" y="54"/>
                </a:lnTo>
                <a:lnTo>
                  <a:pt x="212" y="48"/>
                </a:lnTo>
                <a:lnTo>
                  <a:pt x="214" y="48"/>
                </a:lnTo>
                <a:lnTo>
                  <a:pt x="216" y="46"/>
                </a:lnTo>
                <a:lnTo>
                  <a:pt x="216" y="44"/>
                </a:lnTo>
                <a:lnTo>
                  <a:pt x="218" y="43"/>
                </a:lnTo>
                <a:lnTo>
                  <a:pt x="220" y="43"/>
                </a:lnTo>
                <a:lnTo>
                  <a:pt x="223" y="44"/>
                </a:lnTo>
                <a:lnTo>
                  <a:pt x="224" y="43"/>
                </a:lnTo>
                <a:lnTo>
                  <a:pt x="227" y="44"/>
                </a:lnTo>
                <a:lnTo>
                  <a:pt x="231" y="44"/>
                </a:lnTo>
                <a:lnTo>
                  <a:pt x="234" y="43"/>
                </a:lnTo>
                <a:lnTo>
                  <a:pt x="235" y="41"/>
                </a:lnTo>
                <a:lnTo>
                  <a:pt x="234" y="40"/>
                </a:lnTo>
                <a:lnTo>
                  <a:pt x="230" y="38"/>
                </a:lnTo>
                <a:lnTo>
                  <a:pt x="220" y="38"/>
                </a:lnTo>
                <a:lnTo>
                  <a:pt x="219" y="37"/>
                </a:lnTo>
                <a:lnTo>
                  <a:pt x="220" y="35"/>
                </a:lnTo>
                <a:lnTo>
                  <a:pt x="222" y="35"/>
                </a:lnTo>
                <a:lnTo>
                  <a:pt x="224" y="35"/>
                </a:lnTo>
                <a:lnTo>
                  <a:pt x="226" y="33"/>
                </a:lnTo>
                <a:lnTo>
                  <a:pt x="223" y="32"/>
                </a:lnTo>
                <a:lnTo>
                  <a:pt x="222" y="33"/>
                </a:lnTo>
                <a:lnTo>
                  <a:pt x="218" y="33"/>
                </a:lnTo>
                <a:lnTo>
                  <a:pt x="218" y="32"/>
                </a:lnTo>
                <a:lnTo>
                  <a:pt x="218" y="30"/>
                </a:lnTo>
                <a:lnTo>
                  <a:pt x="219" y="29"/>
                </a:lnTo>
                <a:lnTo>
                  <a:pt x="216" y="27"/>
                </a:lnTo>
                <a:lnTo>
                  <a:pt x="220" y="26"/>
                </a:lnTo>
                <a:lnTo>
                  <a:pt x="222" y="26"/>
                </a:lnTo>
                <a:lnTo>
                  <a:pt x="224" y="26"/>
                </a:lnTo>
                <a:lnTo>
                  <a:pt x="226" y="26"/>
                </a:lnTo>
                <a:lnTo>
                  <a:pt x="228" y="26"/>
                </a:lnTo>
                <a:lnTo>
                  <a:pt x="230" y="26"/>
                </a:lnTo>
                <a:lnTo>
                  <a:pt x="232" y="26"/>
                </a:lnTo>
                <a:lnTo>
                  <a:pt x="239" y="26"/>
                </a:lnTo>
                <a:lnTo>
                  <a:pt x="240" y="27"/>
                </a:lnTo>
                <a:lnTo>
                  <a:pt x="243" y="26"/>
                </a:lnTo>
                <a:lnTo>
                  <a:pt x="244" y="24"/>
                </a:lnTo>
                <a:lnTo>
                  <a:pt x="250" y="24"/>
                </a:lnTo>
                <a:lnTo>
                  <a:pt x="251" y="24"/>
                </a:lnTo>
                <a:lnTo>
                  <a:pt x="254" y="22"/>
                </a:lnTo>
                <a:lnTo>
                  <a:pt x="256" y="21"/>
                </a:lnTo>
                <a:lnTo>
                  <a:pt x="259" y="21"/>
                </a:lnTo>
                <a:lnTo>
                  <a:pt x="260" y="22"/>
                </a:lnTo>
                <a:lnTo>
                  <a:pt x="263" y="22"/>
                </a:lnTo>
                <a:lnTo>
                  <a:pt x="263" y="21"/>
                </a:lnTo>
                <a:lnTo>
                  <a:pt x="268" y="21"/>
                </a:lnTo>
                <a:lnTo>
                  <a:pt x="269" y="19"/>
                </a:lnTo>
                <a:lnTo>
                  <a:pt x="272" y="19"/>
                </a:lnTo>
                <a:lnTo>
                  <a:pt x="273" y="19"/>
                </a:lnTo>
                <a:lnTo>
                  <a:pt x="276" y="19"/>
                </a:lnTo>
                <a:lnTo>
                  <a:pt x="279" y="19"/>
                </a:lnTo>
                <a:lnTo>
                  <a:pt x="279" y="18"/>
                </a:lnTo>
                <a:lnTo>
                  <a:pt x="280" y="16"/>
                </a:lnTo>
                <a:lnTo>
                  <a:pt x="280" y="15"/>
                </a:lnTo>
                <a:lnTo>
                  <a:pt x="283" y="15"/>
                </a:lnTo>
                <a:lnTo>
                  <a:pt x="285" y="15"/>
                </a:lnTo>
                <a:lnTo>
                  <a:pt x="287" y="15"/>
                </a:lnTo>
                <a:lnTo>
                  <a:pt x="292" y="13"/>
                </a:lnTo>
                <a:lnTo>
                  <a:pt x="301" y="11"/>
                </a:lnTo>
                <a:lnTo>
                  <a:pt x="311" y="11"/>
                </a:lnTo>
                <a:lnTo>
                  <a:pt x="319" y="10"/>
                </a:lnTo>
                <a:lnTo>
                  <a:pt x="320" y="8"/>
                </a:lnTo>
                <a:lnTo>
                  <a:pt x="323" y="8"/>
                </a:lnTo>
                <a:lnTo>
                  <a:pt x="325" y="8"/>
                </a:lnTo>
                <a:lnTo>
                  <a:pt x="327" y="7"/>
                </a:lnTo>
                <a:lnTo>
                  <a:pt x="325" y="5"/>
                </a:lnTo>
                <a:lnTo>
                  <a:pt x="325" y="4"/>
                </a:lnTo>
                <a:lnTo>
                  <a:pt x="328" y="4"/>
                </a:lnTo>
                <a:lnTo>
                  <a:pt x="331" y="4"/>
                </a:lnTo>
                <a:lnTo>
                  <a:pt x="332" y="2"/>
                </a:lnTo>
                <a:lnTo>
                  <a:pt x="333" y="2"/>
                </a:lnTo>
                <a:lnTo>
                  <a:pt x="336" y="2"/>
                </a:lnTo>
                <a:lnTo>
                  <a:pt x="337" y="0"/>
                </a:lnTo>
                <a:lnTo>
                  <a:pt x="339" y="0"/>
                </a:lnTo>
                <a:lnTo>
                  <a:pt x="341" y="2"/>
                </a:lnTo>
                <a:lnTo>
                  <a:pt x="343" y="0"/>
                </a:lnTo>
                <a:lnTo>
                  <a:pt x="345" y="2"/>
                </a:lnTo>
                <a:lnTo>
                  <a:pt x="347" y="2"/>
                </a:lnTo>
                <a:lnTo>
                  <a:pt x="349" y="2"/>
                </a:lnTo>
                <a:lnTo>
                  <a:pt x="351" y="4"/>
                </a:lnTo>
                <a:lnTo>
                  <a:pt x="355" y="5"/>
                </a:lnTo>
                <a:lnTo>
                  <a:pt x="356" y="4"/>
                </a:lnTo>
                <a:lnTo>
                  <a:pt x="359" y="4"/>
                </a:lnTo>
                <a:lnTo>
                  <a:pt x="363" y="2"/>
                </a:lnTo>
                <a:lnTo>
                  <a:pt x="365" y="4"/>
                </a:lnTo>
                <a:lnTo>
                  <a:pt x="367" y="4"/>
                </a:lnTo>
                <a:lnTo>
                  <a:pt x="368" y="5"/>
                </a:lnTo>
                <a:lnTo>
                  <a:pt x="368" y="8"/>
                </a:lnTo>
                <a:lnTo>
                  <a:pt x="368" y="10"/>
                </a:lnTo>
                <a:lnTo>
                  <a:pt x="368" y="11"/>
                </a:lnTo>
                <a:lnTo>
                  <a:pt x="372" y="13"/>
                </a:lnTo>
                <a:lnTo>
                  <a:pt x="370" y="15"/>
                </a:lnTo>
                <a:lnTo>
                  <a:pt x="370" y="18"/>
                </a:lnTo>
                <a:lnTo>
                  <a:pt x="369" y="19"/>
                </a:lnTo>
                <a:lnTo>
                  <a:pt x="368" y="21"/>
                </a:lnTo>
                <a:lnTo>
                  <a:pt x="369" y="22"/>
                </a:lnTo>
                <a:lnTo>
                  <a:pt x="369" y="24"/>
                </a:lnTo>
                <a:lnTo>
                  <a:pt x="374" y="22"/>
                </a:lnTo>
                <a:lnTo>
                  <a:pt x="376" y="24"/>
                </a:lnTo>
                <a:lnTo>
                  <a:pt x="378" y="24"/>
                </a:lnTo>
                <a:lnTo>
                  <a:pt x="378" y="22"/>
                </a:lnTo>
                <a:lnTo>
                  <a:pt x="381" y="21"/>
                </a:lnTo>
                <a:lnTo>
                  <a:pt x="382" y="22"/>
                </a:lnTo>
                <a:lnTo>
                  <a:pt x="384" y="21"/>
                </a:lnTo>
                <a:lnTo>
                  <a:pt x="384" y="19"/>
                </a:lnTo>
                <a:lnTo>
                  <a:pt x="386" y="19"/>
                </a:lnTo>
                <a:lnTo>
                  <a:pt x="386" y="21"/>
                </a:lnTo>
                <a:lnTo>
                  <a:pt x="388" y="22"/>
                </a:lnTo>
                <a:lnTo>
                  <a:pt x="389" y="24"/>
                </a:lnTo>
                <a:lnTo>
                  <a:pt x="388" y="24"/>
                </a:lnTo>
                <a:lnTo>
                  <a:pt x="388" y="26"/>
                </a:lnTo>
                <a:lnTo>
                  <a:pt x="392" y="27"/>
                </a:lnTo>
                <a:lnTo>
                  <a:pt x="392" y="26"/>
                </a:lnTo>
                <a:lnTo>
                  <a:pt x="390" y="24"/>
                </a:lnTo>
                <a:lnTo>
                  <a:pt x="392" y="24"/>
                </a:lnTo>
                <a:lnTo>
                  <a:pt x="397" y="24"/>
                </a:lnTo>
                <a:lnTo>
                  <a:pt x="398" y="26"/>
                </a:lnTo>
                <a:lnTo>
                  <a:pt x="400" y="26"/>
                </a:lnTo>
                <a:lnTo>
                  <a:pt x="402" y="27"/>
                </a:lnTo>
                <a:lnTo>
                  <a:pt x="404" y="27"/>
                </a:lnTo>
                <a:lnTo>
                  <a:pt x="405" y="26"/>
                </a:lnTo>
                <a:lnTo>
                  <a:pt x="408" y="24"/>
                </a:lnTo>
                <a:lnTo>
                  <a:pt x="408" y="26"/>
                </a:lnTo>
                <a:lnTo>
                  <a:pt x="408" y="27"/>
                </a:lnTo>
                <a:lnTo>
                  <a:pt x="405" y="29"/>
                </a:lnTo>
                <a:lnTo>
                  <a:pt x="404" y="29"/>
                </a:lnTo>
                <a:lnTo>
                  <a:pt x="402" y="30"/>
                </a:lnTo>
                <a:lnTo>
                  <a:pt x="402" y="32"/>
                </a:lnTo>
                <a:lnTo>
                  <a:pt x="402" y="33"/>
                </a:lnTo>
                <a:lnTo>
                  <a:pt x="404" y="35"/>
                </a:lnTo>
                <a:lnTo>
                  <a:pt x="405" y="35"/>
                </a:lnTo>
                <a:lnTo>
                  <a:pt x="406" y="33"/>
                </a:lnTo>
                <a:lnTo>
                  <a:pt x="412" y="32"/>
                </a:lnTo>
                <a:lnTo>
                  <a:pt x="413" y="33"/>
                </a:lnTo>
                <a:lnTo>
                  <a:pt x="416" y="33"/>
                </a:lnTo>
                <a:lnTo>
                  <a:pt x="417" y="33"/>
                </a:lnTo>
                <a:lnTo>
                  <a:pt x="420" y="33"/>
                </a:lnTo>
                <a:lnTo>
                  <a:pt x="418" y="32"/>
                </a:lnTo>
                <a:lnTo>
                  <a:pt x="420" y="32"/>
                </a:lnTo>
                <a:lnTo>
                  <a:pt x="422" y="32"/>
                </a:lnTo>
                <a:lnTo>
                  <a:pt x="425" y="29"/>
                </a:lnTo>
                <a:lnTo>
                  <a:pt x="429" y="29"/>
                </a:lnTo>
                <a:lnTo>
                  <a:pt x="433" y="26"/>
                </a:lnTo>
                <a:lnTo>
                  <a:pt x="434" y="24"/>
                </a:lnTo>
                <a:lnTo>
                  <a:pt x="436" y="22"/>
                </a:lnTo>
                <a:lnTo>
                  <a:pt x="438" y="22"/>
                </a:lnTo>
                <a:lnTo>
                  <a:pt x="442" y="22"/>
                </a:lnTo>
                <a:lnTo>
                  <a:pt x="445" y="21"/>
                </a:lnTo>
                <a:lnTo>
                  <a:pt x="446" y="21"/>
                </a:lnTo>
                <a:lnTo>
                  <a:pt x="450" y="19"/>
                </a:lnTo>
                <a:lnTo>
                  <a:pt x="454" y="18"/>
                </a:lnTo>
                <a:lnTo>
                  <a:pt x="454" y="19"/>
                </a:lnTo>
                <a:lnTo>
                  <a:pt x="456" y="21"/>
                </a:lnTo>
                <a:lnTo>
                  <a:pt x="454" y="22"/>
                </a:lnTo>
                <a:lnTo>
                  <a:pt x="452" y="22"/>
                </a:lnTo>
                <a:lnTo>
                  <a:pt x="450" y="22"/>
                </a:lnTo>
                <a:lnTo>
                  <a:pt x="449" y="24"/>
                </a:lnTo>
                <a:lnTo>
                  <a:pt x="450" y="26"/>
                </a:lnTo>
                <a:lnTo>
                  <a:pt x="452" y="26"/>
                </a:lnTo>
                <a:lnTo>
                  <a:pt x="472" y="40"/>
                </a:lnTo>
                <a:lnTo>
                  <a:pt x="505" y="82"/>
                </a:lnTo>
                <a:lnTo>
                  <a:pt x="507" y="81"/>
                </a:lnTo>
                <a:lnTo>
                  <a:pt x="509" y="79"/>
                </a:lnTo>
                <a:lnTo>
                  <a:pt x="509" y="77"/>
                </a:lnTo>
                <a:lnTo>
                  <a:pt x="511" y="74"/>
                </a:lnTo>
                <a:lnTo>
                  <a:pt x="514" y="74"/>
                </a:lnTo>
                <a:lnTo>
                  <a:pt x="515" y="76"/>
                </a:lnTo>
                <a:lnTo>
                  <a:pt x="518" y="76"/>
                </a:lnTo>
                <a:lnTo>
                  <a:pt x="521" y="77"/>
                </a:lnTo>
                <a:lnTo>
                  <a:pt x="521" y="79"/>
                </a:lnTo>
                <a:lnTo>
                  <a:pt x="522" y="81"/>
                </a:lnTo>
                <a:lnTo>
                  <a:pt x="523" y="81"/>
                </a:lnTo>
                <a:lnTo>
                  <a:pt x="525" y="84"/>
                </a:lnTo>
                <a:lnTo>
                  <a:pt x="531" y="84"/>
                </a:lnTo>
                <a:lnTo>
                  <a:pt x="535" y="84"/>
                </a:lnTo>
                <a:lnTo>
                  <a:pt x="538" y="84"/>
                </a:lnTo>
                <a:lnTo>
                  <a:pt x="542" y="84"/>
                </a:lnTo>
                <a:lnTo>
                  <a:pt x="543" y="82"/>
                </a:lnTo>
                <a:lnTo>
                  <a:pt x="545" y="81"/>
                </a:lnTo>
                <a:lnTo>
                  <a:pt x="546" y="82"/>
                </a:lnTo>
                <a:lnTo>
                  <a:pt x="549" y="81"/>
                </a:lnTo>
                <a:lnTo>
                  <a:pt x="550" y="79"/>
                </a:lnTo>
                <a:lnTo>
                  <a:pt x="551" y="79"/>
                </a:lnTo>
                <a:lnTo>
                  <a:pt x="555" y="79"/>
                </a:lnTo>
                <a:lnTo>
                  <a:pt x="558" y="81"/>
                </a:lnTo>
                <a:lnTo>
                  <a:pt x="559" y="82"/>
                </a:lnTo>
                <a:lnTo>
                  <a:pt x="561" y="82"/>
                </a:lnTo>
                <a:lnTo>
                  <a:pt x="563" y="85"/>
                </a:lnTo>
                <a:lnTo>
                  <a:pt x="566" y="85"/>
                </a:lnTo>
                <a:lnTo>
                  <a:pt x="566" y="87"/>
                </a:lnTo>
                <a:lnTo>
                  <a:pt x="566" y="90"/>
                </a:lnTo>
                <a:lnTo>
                  <a:pt x="566" y="91"/>
                </a:lnTo>
                <a:lnTo>
                  <a:pt x="567" y="93"/>
                </a:lnTo>
                <a:lnTo>
                  <a:pt x="570" y="93"/>
                </a:lnTo>
                <a:lnTo>
                  <a:pt x="575" y="95"/>
                </a:lnTo>
                <a:lnTo>
                  <a:pt x="577" y="96"/>
                </a:lnTo>
                <a:lnTo>
                  <a:pt x="577" y="98"/>
                </a:lnTo>
                <a:lnTo>
                  <a:pt x="578" y="99"/>
                </a:lnTo>
                <a:lnTo>
                  <a:pt x="579" y="99"/>
                </a:lnTo>
                <a:lnTo>
                  <a:pt x="582" y="102"/>
                </a:lnTo>
                <a:lnTo>
                  <a:pt x="583" y="104"/>
                </a:lnTo>
                <a:lnTo>
                  <a:pt x="587" y="104"/>
                </a:lnTo>
                <a:lnTo>
                  <a:pt x="590" y="106"/>
                </a:lnTo>
                <a:lnTo>
                  <a:pt x="593" y="106"/>
                </a:lnTo>
                <a:lnTo>
                  <a:pt x="594" y="106"/>
                </a:lnTo>
                <a:lnTo>
                  <a:pt x="596" y="106"/>
                </a:lnTo>
                <a:lnTo>
                  <a:pt x="598" y="104"/>
                </a:lnTo>
                <a:lnTo>
                  <a:pt x="599" y="102"/>
                </a:lnTo>
                <a:lnTo>
                  <a:pt x="603" y="102"/>
                </a:lnTo>
                <a:lnTo>
                  <a:pt x="603" y="104"/>
                </a:lnTo>
                <a:lnTo>
                  <a:pt x="604" y="106"/>
                </a:lnTo>
                <a:lnTo>
                  <a:pt x="606" y="106"/>
                </a:lnTo>
                <a:lnTo>
                  <a:pt x="608" y="109"/>
                </a:lnTo>
                <a:lnTo>
                  <a:pt x="610" y="110"/>
                </a:lnTo>
                <a:lnTo>
                  <a:pt x="611" y="112"/>
                </a:lnTo>
                <a:lnTo>
                  <a:pt x="607" y="117"/>
                </a:lnTo>
                <a:lnTo>
                  <a:pt x="604" y="121"/>
                </a:lnTo>
                <a:lnTo>
                  <a:pt x="600" y="124"/>
                </a:lnTo>
                <a:lnTo>
                  <a:pt x="595" y="126"/>
                </a:lnTo>
                <a:lnTo>
                  <a:pt x="591" y="126"/>
                </a:lnTo>
                <a:lnTo>
                  <a:pt x="587" y="131"/>
                </a:lnTo>
                <a:lnTo>
                  <a:pt x="586" y="135"/>
                </a:lnTo>
                <a:lnTo>
                  <a:pt x="587" y="140"/>
                </a:lnTo>
                <a:lnTo>
                  <a:pt x="586" y="150"/>
                </a:lnTo>
                <a:lnTo>
                  <a:pt x="579" y="151"/>
                </a:lnTo>
                <a:lnTo>
                  <a:pt x="575" y="153"/>
                </a:lnTo>
                <a:lnTo>
                  <a:pt x="574" y="151"/>
                </a:lnTo>
                <a:lnTo>
                  <a:pt x="571" y="150"/>
                </a:lnTo>
                <a:lnTo>
                  <a:pt x="561" y="151"/>
                </a:lnTo>
                <a:lnTo>
                  <a:pt x="557" y="150"/>
                </a:lnTo>
                <a:lnTo>
                  <a:pt x="554" y="148"/>
                </a:lnTo>
                <a:lnTo>
                  <a:pt x="547" y="148"/>
                </a:lnTo>
                <a:lnTo>
                  <a:pt x="545" y="153"/>
                </a:lnTo>
                <a:lnTo>
                  <a:pt x="542" y="157"/>
                </a:lnTo>
                <a:lnTo>
                  <a:pt x="538" y="164"/>
                </a:lnTo>
                <a:lnTo>
                  <a:pt x="537" y="170"/>
                </a:lnTo>
                <a:lnTo>
                  <a:pt x="535" y="173"/>
                </a:lnTo>
                <a:lnTo>
                  <a:pt x="537" y="178"/>
                </a:lnTo>
                <a:lnTo>
                  <a:pt x="538" y="181"/>
                </a:lnTo>
                <a:lnTo>
                  <a:pt x="537" y="183"/>
                </a:lnTo>
                <a:lnTo>
                  <a:pt x="521" y="183"/>
                </a:lnTo>
                <a:lnTo>
                  <a:pt x="515" y="184"/>
                </a:lnTo>
                <a:lnTo>
                  <a:pt x="510" y="186"/>
                </a:lnTo>
                <a:lnTo>
                  <a:pt x="505" y="187"/>
                </a:lnTo>
                <a:lnTo>
                  <a:pt x="502" y="189"/>
                </a:lnTo>
                <a:lnTo>
                  <a:pt x="503" y="190"/>
                </a:lnTo>
                <a:lnTo>
                  <a:pt x="506" y="194"/>
                </a:lnTo>
                <a:lnTo>
                  <a:pt x="507" y="203"/>
                </a:lnTo>
                <a:lnTo>
                  <a:pt x="509" y="206"/>
                </a:lnTo>
                <a:lnTo>
                  <a:pt x="510" y="209"/>
                </a:lnTo>
                <a:lnTo>
                  <a:pt x="513" y="216"/>
                </a:lnTo>
                <a:lnTo>
                  <a:pt x="513" y="219"/>
                </a:lnTo>
                <a:lnTo>
                  <a:pt x="509" y="222"/>
                </a:lnTo>
                <a:lnTo>
                  <a:pt x="510" y="225"/>
                </a:lnTo>
                <a:lnTo>
                  <a:pt x="507" y="227"/>
                </a:lnTo>
                <a:lnTo>
                  <a:pt x="506" y="230"/>
                </a:lnTo>
                <a:lnTo>
                  <a:pt x="506" y="233"/>
                </a:lnTo>
                <a:lnTo>
                  <a:pt x="505" y="234"/>
                </a:lnTo>
                <a:lnTo>
                  <a:pt x="499" y="230"/>
                </a:lnTo>
                <a:lnTo>
                  <a:pt x="495" y="230"/>
                </a:lnTo>
                <a:lnTo>
                  <a:pt x="491" y="225"/>
                </a:lnTo>
                <a:lnTo>
                  <a:pt x="486" y="225"/>
                </a:lnTo>
                <a:lnTo>
                  <a:pt x="485" y="225"/>
                </a:lnTo>
                <a:lnTo>
                  <a:pt x="482" y="225"/>
                </a:lnTo>
                <a:lnTo>
                  <a:pt x="481" y="223"/>
                </a:lnTo>
                <a:lnTo>
                  <a:pt x="478" y="223"/>
                </a:lnTo>
                <a:lnTo>
                  <a:pt x="472" y="223"/>
                </a:lnTo>
                <a:lnTo>
                  <a:pt x="465" y="223"/>
                </a:lnTo>
                <a:lnTo>
                  <a:pt x="462" y="223"/>
                </a:lnTo>
                <a:lnTo>
                  <a:pt x="458" y="222"/>
                </a:lnTo>
                <a:lnTo>
                  <a:pt x="457" y="222"/>
                </a:lnTo>
                <a:lnTo>
                  <a:pt x="453" y="223"/>
                </a:lnTo>
                <a:lnTo>
                  <a:pt x="444" y="222"/>
                </a:lnTo>
                <a:lnTo>
                  <a:pt x="441" y="222"/>
                </a:lnTo>
                <a:lnTo>
                  <a:pt x="437" y="223"/>
                </a:lnTo>
                <a:lnTo>
                  <a:pt x="433" y="223"/>
                </a:lnTo>
                <a:lnTo>
                  <a:pt x="430" y="222"/>
                </a:lnTo>
                <a:lnTo>
                  <a:pt x="429" y="222"/>
                </a:lnTo>
                <a:lnTo>
                  <a:pt x="426" y="220"/>
                </a:lnTo>
                <a:lnTo>
                  <a:pt x="422" y="222"/>
                </a:lnTo>
                <a:lnTo>
                  <a:pt x="420" y="220"/>
                </a:lnTo>
                <a:lnTo>
                  <a:pt x="414" y="217"/>
                </a:lnTo>
                <a:lnTo>
                  <a:pt x="413" y="219"/>
                </a:lnTo>
                <a:lnTo>
                  <a:pt x="410" y="219"/>
                </a:lnTo>
                <a:lnTo>
                  <a:pt x="408" y="219"/>
                </a:lnTo>
                <a:lnTo>
                  <a:pt x="405" y="222"/>
                </a:lnTo>
                <a:lnTo>
                  <a:pt x="405" y="223"/>
                </a:lnTo>
                <a:lnTo>
                  <a:pt x="404" y="225"/>
                </a:lnTo>
                <a:lnTo>
                  <a:pt x="402" y="228"/>
                </a:lnTo>
                <a:lnTo>
                  <a:pt x="401" y="230"/>
                </a:lnTo>
                <a:lnTo>
                  <a:pt x="397" y="230"/>
                </a:lnTo>
                <a:lnTo>
                  <a:pt x="393" y="228"/>
                </a:lnTo>
                <a:lnTo>
                  <a:pt x="389" y="227"/>
                </a:lnTo>
                <a:lnTo>
                  <a:pt x="388" y="225"/>
                </a:lnTo>
                <a:lnTo>
                  <a:pt x="385" y="225"/>
                </a:lnTo>
                <a:lnTo>
                  <a:pt x="382" y="225"/>
                </a:lnTo>
                <a:lnTo>
                  <a:pt x="378" y="225"/>
                </a:lnTo>
                <a:lnTo>
                  <a:pt x="376" y="225"/>
                </a:lnTo>
                <a:lnTo>
                  <a:pt x="374" y="223"/>
                </a:lnTo>
                <a:lnTo>
                  <a:pt x="369" y="225"/>
                </a:lnTo>
                <a:lnTo>
                  <a:pt x="368" y="225"/>
                </a:lnTo>
                <a:lnTo>
                  <a:pt x="367" y="228"/>
                </a:lnTo>
                <a:lnTo>
                  <a:pt x="368" y="230"/>
                </a:lnTo>
                <a:lnTo>
                  <a:pt x="367" y="231"/>
                </a:lnTo>
                <a:lnTo>
                  <a:pt x="365" y="233"/>
                </a:lnTo>
                <a:lnTo>
                  <a:pt x="364" y="234"/>
                </a:lnTo>
                <a:lnTo>
                  <a:pt x="361" y="238"/>
                </a:lnTo>
                <a:lnTo>
                  <a:pt x="360" y="238"/>
                </a:lnTo>
                <a:lnTo>
                  <a:pt x="357" y="238"/>
                </a:lnTo>
                <a:lnTo>
                  <a:pt x="356" y="241"/>
                </a:lnTo>
                <a:lnTo>
                  <a:pt x="355" y="242"/>
                </a:lnTo>
                <a:lnTo>
                  <a:pt x="348" y="245"/>
                </a:lnTo>
                <a:lnTo>
                  <a:pt x="344" y="247"/>
                </a:lnTo>
                <a:lnTo>
                  <a:pt x="343" y="249"/>
                </a:lnTo>
                <a:lnTo>
                  <a:pt x="340" y="249"/>
                </a:lnTo>
                <a:lnTo>
                  <a:pt x="339" y="250"/>
                </a:lnTo>
                <a:lnTo>
                  <a:pt x="337" y="252"/>
                </a:lnTo>
                <a:lnTo>
                  <a:pt x="337" y="253"/>
                </a:lnTo>
                <a:lnTo>
                  <a:pt x="335" y="255"/>
                </a:lnTo>
                <a:lnTo>
                  <a:pt x="333" y="256"/>
                </a:lnTo>
                <a:lnTo>
                  <a:pt x="331" y="255"/>
                </a:lnTo>
                <a:lnTo>
                  <a:pt x="327" y="253"/>
                </a:lnTo>
                <a:lnTo>
                  <a:pt x="324" y="253"/>
                </a:lnTo>
                <a:lnTo>
                  <a:pt x="320" y="252"/>
                </a:lnTo>
                <a:lnTo>
                  <a:pt x="305" y="253"/>
                </a:lnTo>
                <a:lnTo>
                  <a:pt x="303" y="242"/>
                </a:lnTo>
                <a:lnTo>
                  <a:pt x="293" y="241"/>
                </a:lnTo>
                <a:lnTo>
                  <a:pt x="293" y="238"/>
                </a:lnTo>
                <a:lnTo>
                  <a:pt x="293" y="233"/>
                </a:lnTo>
                <a:lnTo>
                  <a:pt x="295" y="233"/>
                </a:lnTo>
                <a:lnTo>
                  <a:pt x="295" y="222"/>
                </a:lnTo>
                <a:lnTo>
                  <a:pt x="291" y="223"/>
                </a:lnTo>
                <a:lnTo>
                  <a:pt x="287" y="216"/>
                </a:lnTo>
                <a:lnTo>
                  <a:pt x="283" y="212"/>
                </a:lnTo>
                <a:lnTo>
                  <a:pt x="281" y="211"/>
                </a:lnTo>
                <a:lnTo>
                  <a:pt x="277" y="209"/>
                </a:lnTo>
                <a:lnTo>
                  <a:pt x="276" y="208"/>
                </a:lnTo>
                <a:lnTo>
                  <a:pt x="272" y="209"/>
                </a:lnTo>
                <a:lnTo>
                  <a:pt x="252" y="209"/>
                </a:lnTo>
                <a:lnTo>
                  <a:pt x="232" y="212"/>
                </a:lnTo>
                <a:lnTo>
                  <a:pt x="224" y="206"/>
                </a:lnTo>
                <a:lnTo>
                  <a:pt x="212" y="194"/>
                </a:lnTo>
                <a:lnTo>
                  <a:pt x="203" y="186"/>
                </a:lnTo>
                <a:lnTo>
                  <a:pt x="199" y="184"/>
                </a:lnTo>
                <a:lnTo>
                  <a:pt x="194" y="181"/>
                </a:lnTo>
                <a:lnTo>
                  <a:pt x="188" y="178"/>
                </a:lnTo>
                <a:lnTo>
                  <a:pt x="180" y="175"/>
                </a:lnTo>
                <a:lnTo>
                  <a:pt x="142" y="186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73" name="Freeform 70"/>
          <p:cNvSpPr>
            <a:spLocks/>
          </p:cNvSpPr>
          <p:nvPr/>
        </p:nvSpPr>
        <p:spPr bwMode="auto">
          <a:xfrm>
            <a:off x="7013261" y="2516646"/>
            <a:ext cx="272834" cy="371537"/>
          </a:xfrm>
          <a:custGeom>
            <a:avLst/>
            <a:gdLst/>
            <a:ahLst/>
            <a:cxnLst>
              <a:cxn ang="0">
                <a:pos x="142" y="171"/>
              </a:cxn>
              <a:cxn ang="0">
                <a:pos x="130" y="185"/>
              </a:cxn>
              <a:cxn ang="0">
                <a:pos x="123" y="173"/>
              </a:cxn>
              <a:cxn ang="0">
                <a:pos x="114" y="166"/>
              </a:cxn>
              <a:cxn ang="0">
                <a:pos x="97" y="171"/>
              </a:cxn>
              <a:cxn ang="0">
                <a:pos x="91" y="160"/>
              </a:cxn>
              <a:cxn ang="0">
                <a:pos x="77" y="154"/>
              </a:cxn>
              <a:cxn ang="0">
                <a:pos x="67" y="140"/>
              </a:cxn>
              <a:cxn ang="0">
                <a:pos x="53" y="129"/>
              </a:cxn>
              <a:cxn ang="0">
                <a:pos x="67" y="129"/>
              </a:cxn>
              <a:cxn ang="0">
                <a:pos x="71" y="125"/>
              </a:cxn>
              <a:cxn ang="0">
                <a:pos x="75" y="118"/>
              </a:cxn>
              <a:cxn ang="0">
                <a:pos x="85" y="113"/>
              </a:cxn>
              <a:cxn ang="0">
                <a:pos x="102" y="116"/>
              </a:cxn>
              <a:cxn ang="0">
                <a:pos x="113" y="118"/>
              </a:cxn>
              <a:cxn ang="0">
                <a:pos x="122" y="118"/>
              </a:cxn>
              <a:cxn ang="0">
                <a:pos x="118" y="108"/>
              </a:cxn>
              <a:cxn ang="0">
                <a:pos x="109" y="100"/>
              </a:cxn>
              <a:cxn ang="0">
                <a:pos x="102" y="91"/>
              </a:cxn>
              <a:cxn ang="0">
                <a:pos x="91" y="83"/>
              </a:cxn>
              <a:cxn ang="0">
                <a:pos x="82" y="83"/>
              </a:cxn>
              <a:cxn ang="0">
                <a:pos x="73" y="81"/>
              </a:cxn>
              <a:cxn ang="0">
                <a:pos x="50" y="88"/>
              </a:cxn>
              <a:cxn ang="0">
                <a:pos x="37" y="96"/>
              </a:cxn>
              <a:cxn ang="0">
                <a:pos x="26" y="96"/>
              </a:cxn>
              <a:cxn ang="0">
                <a:pos x="24" y="91"/>
              </a:cxn>
              <a:cxn ang="0">
                <a:pos x="31" y="89"/>
              </a:cxn>
              <a:cxn ang="0">
                <a:pos x="25" y="74"/>
              </a:cxn>
              <a:cxn ang="0">
                <a:pos x="16" y="70"/>
              </a:cxn>
              <a:cxn ang="0">
                <a:pos x="8" y="67"/>
              </a:cxn>
              <a:cxn ang="0">
                <a:pos x="6" y="61"/>
              </a:cxn>
              <a:cxn ang="0">
                <a:pos x="8" y="47"/>
              </a:cxn>
              <a:cxn ang="0">
                <a:pos x="10" y="31"/>
              </a:cxn>
              <a:cxn ang="0">
                <a:pos x="12" y="25"/>
              </a:cxn>
              <a:cxn ang="0">
                <a:pos x="17" y="25"/>
              </a:cxn>
              <a:cxn ang="0">
                <a:pos x="34" y="31"/>
              </a:cxn>
              <a:cxn ang="0">
                <a:pos x="29" y="20"/>
              </a:cxn>
              <a:cxn ang="0">
                <a:pos x="41" y="17"/>
              </a:cxn>
              <a:cxn ang="0">
                <a:pos x="45" y="11"/>
              </a:cxn>
              <a:cxn ang="0">
                <a:pos x="51" y="9"/>
              </a:cxn>
              <a:cxn ang="0">
                <a:pos x="59" y="5"/>
              </a:cxn>
              <a:cxn ang="0">
                <a:pos x="70" y="1"/>
              </a:cxn>
              <a:cxn ang="0">
                <a:pos x="77" y="5"/>
              </a:cxn>
              <a:cxn ang="0">
                <a:pos x="82" y="1"/>
              </a:cxn>
              <a:cxn ang="0">
                <a:pos x="90" y="5"/>
              </a:cxn>
              <a:cxn ang="0">
                <a:pos x="101" y="5"/>
              </a:cxn>
              <a:cxn ang="0">
                <a:pos x="107" y="9"/>
              </a:cxn>
              <a:cxn ang="0">
                <a:pos x="118" y="17"/>
              </a:cxn>
              <a:cxn ang="0">
                <a:pos x="122" y="22"/>
              </a:cxn>
            </a:cxnLst>
            <a:rect l="0" t="0" r="r" b="b"/>
            <a:pathLst>
              <a:path w="142" h="187">
                <a:moveTo>
                  <a:pt x="142" y="121"/>
                </a:moveTo>
                <a:lnTo>
                  <a:pt x="142" y="138"/>
                </a:lnTo>
                <a:lnTo>
                  <a:pt x="142" y="155"/>
                </a:lnTo>
                <a:lnTo>
                  <a:pt x="142" y="171"/>
                </a:lnTo>
                <a:lnTo>
                  <a:pt x="142" y="185"/>
                </a:lnTo>
                <a:lnTo>
                  <a:pt x="138" y="187"/>
                </a:lnTo>
                <a:lnTo>
                  <a:pt x="133" y="187"/>
                </a:lnTo>
                <a:lnTo>
                  <a:pt x="130" y="185"/>
                </a:lnTo>
                <a:lnTo>
                  <a:pt x="127" y="179"/>
                </a:lnTo>
                <a:lnTo>
                  <a:pt x="126" y="177"/>
                </a:lnTo>
                <a:lnTo>
                  <a:pt x="125" y="176"/>
                </a:lnTo>
                <a:lnTo>
                  <a:pt x="123" y="173"/>
                </a:lnTo>
                <a:lnTo>
                  <a:pt x="122" y="171"/>
                </a:lnTo>
                <a:lnTo>
                  <a:pt x="118" y="169"/>
                </a:lnTo>
                <a:lnTo>
                  <a:pt x="115" y="168"/>
                </a:lnTo>
                <a:lnTo>
                  <a:pt x="114" y="166"/>
                </a:lnTo>
                <a:lnTo>
                  <a:pt x="111" y="166"/>
                </a:lnTo>
                <a:lnTo>
                  <a:pt x="109" y="168"/>
                </a:lnTo>
                <a:lnTo>
                  <a:pt x="103" y="169"/>
                </a:lnTo>
                <a:lnTo>
                  <a:pt x="97" y="171"/>
                </a:lnTo>
                <a:lnTo>
                  <a:pt x="89" y="177"/>
                </a:lnTo>
                <a:lnTo>
                  <a:pt x="87" y="168"/>
                </a:lnTo>
                <a:lnTo>
                  <a:pt x="90" y="165"/>
                </a:lnTo>
                <a:lnTo>
                  <a:pt x="91" y="160"/>
                </a:lnTo>
                <a:lnTo>
                  <a:pt x="87" y="160"/>
                </a:lnTo>
                <a:lnTo>
                  <a:pt x="85" y="158"/>
                </a:lnTo>
                <a:lnTo>
                  <a:pt x="79" y="157"/>
                </a:lnTo>
                <a:lnTo>
                  <a:pt x="77" y="154"/>
                </a:lnTo>
                <a:lnTo>
                  <a:pt x="74" y="154"/>
                </a:lnTo>
                <a:lnTo>
                  <a:pt x="71" y="154"/>
                </a:lnTo>
                <a:lnTo>
                  <a:pt x="70" y="144"/>
                </a:lnTo>
                <a:lnTo>
                  <a:pt x="67" y="140"/>
                </a:lnTo>
                <a:lnTo>
                  <a:pt x="65" y="138"/>
                </a:lnTo>
                <a:lnTo>
                  <a:pt x="62" y="135"/>
                </a:lnTo>
                <a:lnTo>
                  <a:pt x="57" y="132"/>
                </a:lnTo>
                <a:lnTo>
                  <a:pt x="53" y="129"/>
                </a:lnTo>
                <a:lnTo>
                  <a:pt x="55" y="127"/>
                </a:lnTo>
                <a:lnTo>
                  <a:pt x="61" y="127"/>
                </a:lnTo>
                <a:lnTo>
                  <a:pt x="65" y="129"/>
                </a:lnTo>
                <a:lnTo>
                  <a:pt x="67" y="129"/>
                </a:lnTo>
                <a:lnTo>
                  <a:pt x="70" y="129"/>
                </a:lnTo>
                <a:lnTo>
                  <a:pt x="74" y="129"/>
                </a:lnTo>
                <a:lnTo>
                  <a:pt x="73" y="127"/>
                </a:lnTo>
                <a:lnTo>
                  <a:pt x="71" y="125"/>
                </a:lnTo>
                <a:lnTo>
                  <a:pt x="70" y="121"/>
                </a:lnTo>
                <a:lnTo>
                  <a:pt x="73" y="118"/>
                </a:lnTo>
                <a:lnTo>
                  <a:pt x="75" y="116"/>
                </a:lnTo>
                <a:lnTo>
                  <a:pt x="75" y="118"/>
                </a:lnTo>
                <a:lnTo>
                  <a:pt x="78" y="119"/>
                </a:lnTo>
                <a:lnTo>
                  <a:pt x="81" y="118"/>
                </a:lnTo>
                <a:lnTo>
                  <a:pt x="82" y="116"/>
                </a:lnTo>
                <a:lnTo>
                  <a:pt x="85" y="113"/>
                </a:lnTo>
                <a:lnTo>
                  <a:pt x="89" y="113"/>
                </a:lnTo>
                <a:lnTo>
                  <a:pt x="93" y="116"/>
                </a:lnTo>
                <a:lnTo>
                  <a:pt x="98" y="118"/>
                </a:lnTo>
                <a:lnTo>
                  <a:pt x="102" y="116"/>
                </a:lnTo>
                <a:lnTo>
                  <a:pt x="105" y="114"/>
                </a:lnTo>
                <a:lnTo>
                  <a:pt x="106" y="114"/>
                </a:lnTo>
                <a:lnTo>
                  <a:pt x="107" y="116"/>
                </a:lnTo>
                <a:lnTo>
                  <a:pt x="113" y="118"/>
                </a:lnTo>
                <a:lnTo>
                  <a:pt x="115" y="119"/>
                </a:lnTo>
                <a:lnTo>
                  <a:pt x="118" y="118"/>
                </a:lnTo>
                <a:lnTo>
                  <a:pt x="122" y="119"/>
                </a:lnTo>
                <a:lnTo>
                  <a:pt x="122" y="118"/>
                </a:lnTo>
                <a:lnTo>
                  <a:pt x="121" y="114"/>
                </a:lnTo>
                <a:lnTo>
                  <a:pt x="123" y="114"/>
                </a:lnTo>
                <a:lnTo>
                  <a:pt x="122" y="111"/>
                </a:lnTo>
                <a:lnTo>
                  <a:pt x="118" y="108"/>
                </a:lnTo>
                <a:lnTo>
                  <a:pt x="115" y="107"/>
                </a:lnTo>
                <a:lnTo>
                  <a:pt x="114" y="105"/>
                </a:lnTo>
                <a:lnTo>
                  <a:pt x="111" y="103"/>
                </a:lnTo>
                <a:lnTo>
                  <a:pt x="109" y="100"/>
                </a:lnTo>
                <a:lnTo>
                  <a:pt x="106" y="96"/>
                </a:lnTo>
                <a:lnTo>
                  <a:pt x="105" y="92"/>
                </a:lnTo>
                <a:lnTo>
                  <a:pt x="103" y="94"/>
                </a:lnTo>
                <a:lnTo>
                  <a:pt x="102" y="91"/>
                </a:lnTo>
                <a:lnTo>
                  <a:pt x="101" y="91"/>
                </a:lnTo>
                <a:lnTo>
                  <a:pt x="99" y="88"/>
                </a:lnTo>
                <a:lnTo>
                  <a:pt x="94" y="85"/>
                </a:lnTo>
                <a:lnTo>
                  <a:pt x="91" y="83"/>
                </a:lnTo>
                <a:lnTo>
                  <a:pt x="91" y="81"/>
                </a:lnTo>
                <a:lnTo>
                  <a:pt x="87" y="81"/>
                </a:lnTo>
                <a:lnTo>
                  <a:pt x="85" y="83"/>
                </a:lnTo>
                <a:lnTo>
                  <a:pt x="82" y="83"/>
                </a:lnTo>
                <a:lnTo>
                  <a:pt x="79" y="85"/>
                </a:lnTo>
                <a:lnTo>
                  <a:pt x="78" y="81"/>
                </a:lnTo>
                <a:lnTo>
                  <a:pt x="74" y="81"/>
                </a:lnTo>
                <a:lnTo>
                  <a:pt x="73" y="81"/>
                </a:lnTo>
                <a:lnTo>
                  <a:pt x="69" y="81"/>
                </a:lnTo>
                <a:lnTo>
                  <a:pt x="66" y="81"/>
                </a:lnTo>
                <a:lnTo>
                  <a:pt x="55" y="88"/>
                </a:lnTo>
                <a:lnTo>
                  <a:pt x="50" y="88"/>
                </a:lnTo>
                <a:lnTo>
                  <a:pt x="43" y="91"/>
                </a:lnTo>
                <a:lnTo>
                  <a:pt x="37" y="91"/>
                </a:lnTo>
                <a:lnTo>
                  <a:pt x="30" y="92"/>
                </a:lnTo>
                <a:lnTo>
                  <a:pt x="37" y="96"/>
                </a:lnTo>
                <a:lnTo>
                  <a:pt x="31" y="97"/>
                </a:lnTo>
                <a:lnTo>
                  <a:pt x="30" y="97"/>
                </a:lnTo>
                <a:lnTo>
                  <a:pt x="29" y="96"/>
                </a:lnTo>
                <a:lnTo>
                  <a:pt x="26" y="96"/>
                </a:lnTo>
                <a:lnTo>
                  <a:pt x="25" y="96"/>
                </a:lnTo>
                <a:lnTo>
                  <a:pt x="22" y="94"/>
                </a:lnTo>
                <a:lnTo>
                  <a:pt x="22" y="92"/>
                </a:lnTo>
                <a:lnTo>
                  <a:pt x="24" y="91"/>
                </a:lnTo>
                <a:lnTo>
                  <a:pt x="24" y="89"/>
                </a:lnTo>
                <a:lnTo>
                  <a:pt x="26" y="89"/>
                </a:lnTo>
                <a:lnTo>
                  <a:pt x="28" y="91"/>
                </a:lnTo>
                <a:lnTo>
                  <a:pt x="31" y="89"/>
                </a:lnTo>
                <a:lnTo>
                  <a:pt x="29" y="77"/>
                </a:lnTo>
                <a:lnTo>
                  <a:pt x="28" y="77"/>
                </a:lnTo>
                <a:lnTo>
                  <a:pt x="26" y="75"/>
                </a:lnTo>
                <a:lnTo>
                  <a:pt x="25" y="74"/>
                </a:lnTo>
                <a:lnTo>
                  <a:pt x="24" y="72"/>
                </a:lnTo>
                <a:lnTo>
                  <a:pt x="22" y="70"/>
                </a:lnTo>
                <a:lnTo>
                  <a:pt x="21" y="70"/>
                </a:lnTo>
                <a:lnTo>
                  <a:pt x="16" y="70"/>
                </a:lnTo>
                <a:lnTo>
                  <a:pt x="12" y="70"/>
                </a:lnTo>
                <a:lnTo>
                  <a:pt x="12" y="72"/>
                </a:lnTo>
                <a:lnTo>
                  <a:pt x="9" y="69"/>
                </a:lnTo>
                <a:lnTo>
                  <a:pt x="8" y="67"/>
                </a:lnTo>
                <a:lnTo>
                  <a:pt x="8" y="66"/>
                </a:lnTo>
                <a:lnTo>
                  <a:pt x="9" y="64"/>
                </a:lnTo>
                <a:lnTo>
                  <a:pt x="8" y="63"/>
                </a:lnTo>
                <a:lnTo>
                  <a:pt x="6" y="61"/>
                </a:lnTo>
                <a:lnTo>
                  <a:pt x="0" y="59"/>
                </a:lnTo>
                <a:lnTo>
                  <a:pt x="2" y="50"/>
                </a:lnTo>
                <a:lnTo>
                  <a:pt x="6" y="48"/>
                </a:lnTo>
                <a:lnTo>
                  <a:pt x="8" y="47"/>
                </a:lnTo>
                <a:lnTo>
                  <a:pt x="6" y="45"/>
                </a:lnTo>
                <a:lnTo>
                  <a:pt x="4" y="44"/>
                </a:lnTo>
                <a:lnTo>
                  <a:pt x="6" y="33"/>
                </a:lnTo>
                <a:lnTo>
                  <a:pt x="10" y="31"/>
                </a:lnTo>
                <a:lnTo>
                  <a:pt x="12" y="30"/>
                </a:lnTo>
                <a:lnTo>
                  <a:pt x="10" y="28"/>
                </a:lnTo>
                <a:lnTo>
                  <a:pt x="12" y="26"/>
                </a:lnTo>
                <a:lnTo>
                  <a:pt x="12" y="25"/>
                </a:lnTo>
                <a:lnTo>
                  <a:pt x="13" y="23"/>
                </a:lnTo>
                <a:lnTo>
                  <a:pt x="14" y="22"/>
                </a:lnTo>
                <a:lnTo>
                  <a:pt x="16" y="23"/>
                </a:lnTo>
                <a:lnTo>
                  <a:pt x="17" y="25"/>
                </a:lnTo>
                <a:lnTo>
                  <a:pt x="20" y="26"/>
                </a:lnTo>
                <a:lnTo>
                  <a:pt x="25" y="34"/>
                </a:lnTo>
                <a:lnTo>
                  <a:pt x="26" y="36"/>
                </a:lnTo>
                <a:lnTo>
                  <a:pt x="34" y="31"/>
                </a:lnTo>
                <a:lnTo>
                  <a:pt x="33" y="30"/>
                </a:lnTo>
                <a:lnTo>
                  <a:pt x="33" y="28"/>
                </a:lnTo>
                <a:lnTo>
                  <a:pt x="31" y="23"/>
                </a:lnTo>
                <a:lnTo>
                  <a:pt x="29" y="20"/>
                </a:lnTo>
                <a:lnTo>
                  <a:pt x="31" y="20"/>
                </a:lnTo>
                <a:lnTo>
                  <a:pt x="34" y="20"/>
                </a:lnTo>
                <a:lnTo>
                  <a:pt x="39" y="17"/>
                </a:lnTo>
                <a:lnTo>
                  <a:pt x="41" y="17"/>
                </a:lnTo>
                <a:lnTo>
                  <a:pt x="42" y="16"/>
                </a:lnTo>
                <a:lnTo>
                  <a:pt x="42" y="14"/>
                </a:lnTo>
                <a:lnTo>
                  <a:pt x="42" y="12"/>
                </a:lnTo>
                <a:lnTo>
                  <a:pt x="45" y="11"/>
                </a:lnTo>
                <a:lnTo>
                  <a:pt x="46" y="12"/>
                </a:lnTo>
                <a:lnTo>
                  <a:pt x="49" y="11"/>
                </a:lnTo>
                <a:lnTo>
                  <a:pt x="50" y="9"/>
                </a:lnTo>
                <a:lnTo>
                  <a:pt x="51" y="9"/>
                </a:lnTo>
                <a:lnTo>
                  <a:pt x="54" y="9"/>
                </a:lnTo>
                <a:lnTo>
                  <a:pt x="55" y="8"/>
                </a:lnTo>
                <a:lnTo>
                  <a:pt x="58" y="6"/>
                </a:lnTo>
                <a:lnTo>
                  <a:pt x="59" y="5"/>
                </a:lnTo>
                <a:lnTo>
                  <a:pt x="59" y="3"/>
                </a:lnTo>
                <a:lnTo>
                  <a:pt x="61" y="3"/>
                </a:lnTo>
                <a:lnTo>
                  <a:pt x="65" y="1"/>
                </a:lnTo>
                <a:lnTo>
                  <a:pt x="70" y="1"/>
                </a:lnTo>
                <a:lnTo>
                  <a:pt x="70" y="3"/>
                </a:lnTo>
                <a:lnTo>
                  <a:pt x="71" y="5"/>
                </a:lnTo>
                <a:lnTo>
                  <a:pt x="75" y="5"/>
                </a:lnTo>
                <a:lnTo>
                  <a:pt x="77" y="5"/>
                </a:lnTo>
                <a:lnTo>
                  <a:pt x="78" y="5"/>
                </a:lnTo>
                <a:lnTo>
                  <a:pt x="79" y="1"/>
                </a:lnTo>
                <a:lnTo>
                  <a:pt x="81" y="1"/>
                </a:lnTo>
                <a:lnTo>
                  <a:pt x="82" y="1"/>
                </a:lnTo>
                <a:lnTo>
                  <a:pt x="85" y="0"/>
                </a:lnTo>
                <a:lnTo>
                  <a:pt x="86" y="0"/>
                </a:lnTo>
                <a:lnTo>
                  <a:pt x="89" y="3"/>
                </a:lnTo>
                <a:lnTo>
                  <a:pt x="90" y="5"/>
                </a:lnTo>
                <a:lnTo>
                  <a:pt x="91" y="5"/>
                </a:lnTo>
                <a:lnTo>
                  <a:pt x="94" y="5"/>
                </a:lnTo>
                <a:lnTo>
                  <a:pt x="95" y="5"/>
                </a:lnTo>
                <a:lnTo>
                  <a:pt x="101" y="5"/>
                </a:lnTo>
                <a:lnTo>
                  <a:pt x="102" y="5"/>
                </a:lnTo>
                <a:lnTo>
                  <a:pt x="105" y="5"/>
                </a:lnTo>
                <a:lnTo>
                  <a:pt x="106" y="6"/>
                </a:lnTo>
                <a:lnTo>
                  <a:pt x="107" y="9"/>
                </a:lnTo>
                <a:lnTo>
                  <a:pt x="113" y="11"/>
                </a:lnTo>
                <a:lnTo>
                  <a:pt x="114" y="12"/>
                </a:lnTo>
                <a:lnTo>
                  <a:pt x="115" y="14"/>
                </a:lnTo>
                <a:lnTo>
                  <a:pt x="118" y="17"/>
                </a:lnTo>
                <a:lnTo>
                  <a:pt x="118" y="19"/>
                </a:lnTo>
                <a:lnTo>
                  <a:pt x="118" y="20"/>
                </a:lnTo>
                <a:lnTo>
                  <a:pt x="119" y="22"/>
                </a:lnTo>
                <a:lnTo>
                  <a:pt x="122" y="22"/>
                </a:lnTo>
                <a:lnTo>
                  <a:pt x="122" y="19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74" name="Freeform 71"/>
          <p:cNvSpPr>
            <a:spLocks/>
          </p:cNvSpPr>
          <p:nvPr/>
        </p:nvSpPr>
        <p:spPr bwMode="auto">
          <a:xfrm>
            <a:off x="7245170" y="2387789"/>
            <a:ext cx="549566" cy="171808"/>
          </a:xfrm>
          <a:custGeom>
            <a:avLst/>
            <a:gdLst/>
            <a:ahLst/>
            <a:cxnLst>
              <a:cxn ang="0">
                <a:pos x="0" y="81"/>
              </a:cxn>
              <a:cxn ang="0">
                <a:pos x="5" y="81"/>
              </a:cxn>
              <a:cxn ang="0">
                <a:pos x="16" y="87"/>
              </a:cxn>
              <a:cxn ang="0">
                <a:pos x="25" y="81"/>
              </a:cxn>
              <a:cxn ang="0">
                <a:pos x="31" y="77"/>
              </a:cxn>
              <a:cxn ang="0">
                <a:pos x="39" y="79"/>
              </a:cxn>
              <a:cxn ang="0">
                <a:pos x="51" y="77"/>
              </a:cxn>
              <a:cxn ang="0">
                <a:pos x="59" y="82"/>
              </a:cxn>
              <a:cxn ang="0">
                <a:pos x="71" y="85"/>
              </a:cxn>
              <a:cxn ang="0">
                <a:pos x="81" y="84"/>
              </a:cxn>
              <a:cxn ang="0">
                <a:pos x="91" y="85"/>
              </a:cxn>
              <a:cxn ang="0">
                <a:pos x="105" y="74"/>
              </a:cxn>
              <a:cxn ang="0">
                <a:pos x="101" y="71"/>
              </a:cxn>
              <a:cxn ang="0">
                <a:pos x="89" y="68"/>
              </a:cxn>
              <a:cxn ang="0">
                <a:pos x="81" y="63"/>
              </a:cxn>
              <a:cxn ang="0">
                <a:pos x="91" y="59"/>
              </a:cxn>
              <a:cxn ang="0">
                <a:pos x="91" y="48"/>
              </a:cxn>
              <a:cxn ang="0">
                <a:pos x="97" y="43"/>
              </a:cxn>
              <a:cxn ang="0">
                <a:pos x="106" y="44"/>
              </a:cxn>
              <a:cxn ang="0">
                <a:pos x="113" y="40"/>
              </a:cxn>
              <a:cxn ang="0">
                <a:pos x="99" y="35"/>
              </a:cxn>
              <a:cxn ang="0">
                <a:pos x="102" y="32"/>
              </a:cxn>
              <a:cxn ang="0">
                <a:pos x="97" y="30"/>
              </a:cxn>
              <a:cxn ang="0">
                <a:pos x="101" y="26"/>
              </a:cxn>
              <a:cxn ang="0">
                <a:pos x="109" y="26"/>
              </a:cxn>
              <a:cxn ang="0">
                <a:pos x="122" y="26"/>
              </a:cxn>
              <a:cxn ang="0">
                <a:pos x="133" y="22"/>
              </a:cxn>
              <a:cxn ang="0">
                <a:pos x="142" y="22"/>
              </a:cxn>
              <a:cxn ang="0">
                <a:pos x="151" y="19"/>
              </a:cxn>
              <a:cxn ang="0">
                <a:pos x="158" y="18"/>
              </a:cxn>
              <a:cxn ang="0">
                <a:pos x="164" y="15"/>
              </a:cxn>
              <a:cxn ang="0">
                <a:pos x="190" y="11"/>
              </a:cxn>
              <a:cxn ang="0">
                <a:pos x="204" y="8"/>
              </a:cxn>
              <a:cxn ang="0">
                <a:pos x="207" y="4"/>
              </a:cxn>
              <a:cxn ang="0">
                <a:pos x="215" y="2"/>
              </a:cxn>
              <a:cxn ang="0">
                <a:pos x="222" y="0"/>
              </a:cxn>
              <a:cxn ang="0">
                <a:pos x="230" y="4"/>
              </a:cxn>
              <a:cxn ang="0">
                <a:pos x="242" y="2"/>
              </a:cxn>
              <a:cxn ang="0">
                <a:pos x="247" y="8"/>
              </a:cxn>
              <a:cxn ang="0">
                <a:pos x="249" y="15"/>
              </a:cxn>
              <a:cxn ang="0">
                <a:pos x="248" y="22"/>
              </a:cxn>
              <a:cxn ang="0">
                <a:pos x="257" y="24"/>
              </a:cxn>
              <a:cxn ang="0">
                <a:pos x="263" y="21"/>
              </a:cxn>
              <a:cxn ang="0">
                <a:pos x="267" y="22"/>
              </a:cxn>
              <a:cxn ang="0">
                <a:pos x="271" y="27"/>
              </a:cxn>
              <a:cxn ang="0">
                <a:pos x="276" y="24"/>
              </a:cxn>
              <a:cxn ang="0">
                <a:pos x="283" y="27"/>
              </a:cxn>
              <a:cxn ang="0">
                <a:pos x="287" y="27"/>
              </a:cxn>
              <a:cxn ang="0">
                <a:pos x="281" y="32"/>
              </a:cxn>
            </a:cxnLst>
            <a:rect l="0" t="0" r="r" b="b"/>
            <a:pathLst>
              <a:path w="287" h="87">
                <a:moveTo>
                  <a:pt x="1" y="84"/>
                </a:moveTo>
                <a:lnTo>
                  <a:pt x="1" y="82"/>
                </a:lnTo>
                <a:lnTo>
                  <a:pt x="1" y="81"/>
                </a:lnTo>
                <a:lnTo>
                  <a:pt x="0" y="81"/>
                </a:lnTo>
                <a:lnTo>
                  <a:pt x="1" y="79"/>
                </a:lnTo>
                <a:lnTo>
                  <a:pt x="2" y="79"/>
                </a:lnTo>
                <a:lnTo>
                  <a:pt x="4" y="81"/>
                </a:lnTo>
                <a:lnTo>
                  <a:pt x="5" y="81"/>
                </a:lnTo>
                <a:lnTo>
                  <a:pt x="6" y="82"/>
                </a:lnTo>
                <a:lnTo>
                  <a:pt x="8" y="84"/>
                </a:lnTo>
                <a:lnTo>
                  <a:pt x="12" y="85"/>
                </a:lnTo>
                <a:lnTo>
                  <a:pt x="16" y="87"/>
                </a:lnTo>
                <a:lnTo>
                  <a:pt x="18" y="85"/>
                </a:lnTo>
                <a:lnTo>
                  <a:pt x="23" y="84"/>
                </a:lnTo>
                <a:lnTo>
                  <a:pt x="23" y="81"/>
                </a:lnTo>
                <a:lnTo>
                  <a:pt x="25" y="81"/>
                </a:lnTo>
                <a:lnTo>
                  <a:pt x="27" y="79"/>
                </a:lnTo>
                <a:lnTo>
                  <a:pt x="29" y="79"/>
                </a:lnTo>
                <a:lnTo>
                  <a:pt x="31" y="81"/>
                </a:lnTo>
                <a:lnTo>
                  <a:pt x="31" y="77"/>
                </a:lnTo>
                <a:lnTo>
                  <a:pt x="34" y="77"/>
                </a:lnTo>
                <a:lnTo>
                  <a:pt x="35" y="79"/>
                </a:lnTo>
                <a:lnTo>
                  <a:pt x="38" y="77"/>
                </a:lnTo>
                <a:lnTo>
                  <a:pt x="39" y="79"/>
                </a:lnTo>
                <a:lnTo>
                  <a:pt x="43" y="81"/>
                </a:lnTo>
                <a:lnTo>
                  <a:pt x="47" y="79"/>
                </a:lnTo>
                <a:lnTo>
                  <a:pt x="47" y="77"/>
                </a:lnTo>
                <a:lnTo>
                  <a:pt x="51" y="77"/>
                </a:lnTo>
                <a:lnTo>
                  <a:pt x="54" y="77"/>
                </a:lnTo>
                <a:lnTo>
                  <a:pt x="58" y="77"/>
                </a:lnTo>
                <a:lnTo>
                  <a:pt x="59" y="79"/>
                </a:lnTo>
                <a:lnTo>
                  <a:pt x="59" y="82"/>
                </a:lnTo>
                <a:lnTo>
                  <a:pt x="62" y="84"/>
                </a:lnTo>
                <a:lnTo>
                  <a:pt x="63" y="85"/>
                </a:lnTo>
                <a:lnTo>
                  <a:pt x="67" y="85"/>
                </a:lnTo>
                <a:lnTo>
                  <a:pt x="71" y="85"/>
                </a:lnTo>
                <a:lnTo>
                  <a:pt x="73" y="87"/>
                </a:lnTo>
                <a:lnTo>
                  <a:pt x="77" y="87"/>
                </a:lnTo>
                <a:lnTo>
                  <a:pt x="78" y="87"/>
                </a:lnTo>
                <a:lnTo>
                  <a:pt x="81" y="84"/>
                </a:lnTo>
                <a:lnTo>
                  <a:pt x="82" y="82"/>
                </a:lnTo>
                <a:lnTo>
                  <a:pt x="83" y="82"/>
                </a:lnTo>
                <a:lnTo>
                  <a:pt x="86" y="85"/>
                </a:lnTo>
                <a:lnTo>
                  <a:pt x="91" y="85"/>
                </a:lnTo>
                <a:lnTo>
                  <a:pt x="95" y="85"/>
                </a:lnTo>
                <a:lnTo>
                  <a:pt x="98" y="84"/>
                </a:lnTo>
                <a:lnTo>
                  <a:pt x="102" y="82"/>
                </a:lnTo>
                <a:lnTo>
                  <a:pt x="105" y="74"/>
                </a:lnTo>
                <a:lnTo>
                  <a:pt x="106" y="73"/>
                </a:lnTo>
                <a:lnTo>
                  <a:pt x="105" y="73"/>
                </a:lnTo>
                <a:lnTo>
                  <a:pt x="103" y="71"/>
                </a:lnTo>
                <a:lnTo>
                  <a:pt x="101" y="71"/>
                </a:lnTo>
                <a:lnTo>
                  <a:pt x="95" y="71"/>
                </a:lnTo>
                <a:lnTo>
                  <a:pt x="94" y="70"/>
                </a:lnTo>
                <a:lnTo>
                  <a:pt x="93" y="68"/>
                </a:lnTo>
                <a:lnTo>
                  <a:pt x="89" y="68"/>
                </a:lnTo>
                <a:lnTo>
                  <a:pt x="86" y="66"/>
                </a:lnTo>
                <a:lnTo>
                  <a:pt x="86" y="65"/>
                </a:lnTo>
                <a:lnTo>
                  <a:pt x="86" y="63"/>
                </a:lnTo>
                <a:lnTo>
                  <a:pt x="81" y="63"/>
                </a:lnTo>
                <a:lnTo>
                  <a:pt x="81" y="62"/>
                </a:lnTo>
                <a:lnTo>
                  <a:pt x="83" y="62"/>
                </a:lnTo>
                <a:lnTo>
                  <a:pt x="86" y="59"/>
                </a:lnTo>
                <a:lnTo>
                  <a:pt x="91" y="59"/>
                </a:lnTo>
                <a:lnTo>
                  <a:pt x="95" y="57"/>
                </a:lnTo>
                <a:lnTo>
                  <a:pt x="95" y="55"/>
                </a:lnTo>
                <a:lnTo>
                  <a:pt x="97" y="54"/>
                </a:lnTo>
                <a:lnTo>
                  <a:pt x="91" y="48"/>
                </a:lnTo>
                <a:lnTo>
                  <a:pt x="93" y="48"/>
                </a:lnTo>
                <a:lnTo>
                  <a:pt x="95" y="46"/>
                </a:lnTo>
                <a:lnTo>
                  <a:pt x="95" y="44"/>
                </a:lnTo>
                <a:lnTo>
                  <a:pt x="97" y="43"/>
                </a:lnTo>
                <a:lnTo>
                  <a:pt x="99" y="43"/>
                </a:lnTo>
                <a:lnTo>
                  <a:pt x="102" y="44"/>
                </a:lnTo>
                <a:lnTo>
                  <a:pt x="103" y="43"/>
                </a:lnTo>
                <a:lnTo>
                  <a:pt x="106" y="44"/>
                </a:lnTo>
                <a:lnTo>
                  <a:pt x="110" y="44"/>
                </a:lnTo>
                <a:lnTo>
                  <a:pt x="113" y="43"/>
                </a:lnTo>
                <a:lnTo>
                  <a:pt x="114" y="41"/>
                </a:lnTo>
                <a:lnTo>
                  <a:pt x="113" y="40"/>
                </a:lnTo>
                <a:lnTo>
                  <a:pt x="109" y="38"/>
                </a:lnTo>
                <a:lnTo>
                  <a:pt x="99" y="38"/>
                </a:lnTo>
                <a:lnTo>
                  <a:pt x="98" y="37"/>
                </a:lnTo>
                <a:lnTo>
                  <a:pt x="99" y="35"/>
                </a:lnTo>
                <a:lnTo>
                  <a:pt x="101" y="35"/>
                </a:lnTo>
                <a:lnTo>
                  <a:pt x="103" y="35"/>
                </a:lnTo>
                <a:lnTo>
                  <a:pt x="105" y="33"/>
                </a:lnTo>
                <a:lnTo>
                  <a:pt x="102" y="32"/>
                </a:lnTo>
                <a:lnTo>
                  <a:pt x="101" y="33"/>
                </a:lnTo>
                <a:lnTo>
                  <a:pt x="97" y="33"/>
                </a:lnTo>
                <a:lnTo>
                  <a:pt x="97" y="32"/>
                </a:lnTo>
                <a:lnTo>
                  <a:pt x="97" y="30"/>
                </a:lnTo>
                <a:lnTo>
                  <a:pt x="98" y="29"/>
                </a:lnTo>
                <a:lnTo>
                  <a:pt x="95" y="27"/>
                </a:lnTo>
                <a:lnTo>
                  <a:pt x="99" y="26"/>
                </a:lnTo>
                <a:lnTo>
                  <a:pt x="101" y="26"/>
                </a:lnTo>
                <a:lnTo>
                  <a:pt x="103" y="26"/>
                </a:lnTo>
                <a:lnTo>
                  <a:pt x="105" y="26"/>
                </a:lnTo>
                <a:lnTo>
                  <a:pt x="107" y="26"/>
                </a:lnTo>
                <a:lnTo>
                  <a:pt x="109" y="26"/>
                </a:lnTo>
                <a:lnTo>
                  <a:pt x="111" y="26"/>
                </a:lnTo>
                <a:lnTo>
                  <a:pt x="118" y="26"/>
                </a:lnTo>
                <a:lnTo>
                  <a:pt x="119" y="27"/>
                </a:lnTo>
                <a:lnTo>
                  <a:pt x="122" y="26"/>
                </a:lnTo>
                <a:lnTo>
                  <a:pt x="123" y="24"/>
                </a:lnTo>
                <a:lnTo>
                  <a:pt x="129" y="24"/>
                </a:lnTo>
                <a:lnTo>
                  <a:pt x="130" y="24"/>
                </a:lnTo>
                <a:lnTo>
                  <a:pt x="133" y="22"/>
                </a:lnTo>
                <a:lnTo>
                  <a:pt x="135" y="21"/>
                </a:lnTo>
                <a:lnTo>
                  <a:pt x="138" y="21"/>
                </a:lnTo>
                <a:lnTo>
                  <a:pt x="139" y="22"/>
                </a:lnTo>
                <a:lnTo>
                  <a:pt x="142" y="22"/>
                </a:lnTo>
                <a:lnTo>
                  <a:pt x="142" y="21"/>
                </a:lnTo>
                <a:lnTo>
                  <a:pt x="147" y="21"/>
                </a:lnTo>
                <a:lnTo>
                  <a:pt x="148" y="19"/>
                </a:lnTo>
                <a:lnTo>
                  <a:pt x="151" y="19"/>
                </a:lnTo>
                <a:lnTo>
                  <a:pt x="152" y="19"/>
                </a:lnTo>
                <a:lnTo>
                  <a:pt x="155" y="19"/>
                </a:lnTo>
                <a:lnTo>
                  <a:pt x="158" y="19"/>
                </a:lnTo>
                <a:lnTo>
                  <a:pt x="158" y="18"/>
                </a:lnTo>
                <a:lnTo>
                  <a:pt x="159" y="16"/>
                </a:lnTo>
                <a:lnTo>
                  <a:pt x="159" y="15"/>
                </a:lnTo>
                <a:lnTo>
                  <a:pt x="162" y="15"/>
                </a:lnTo>
                <a:lnTo>
                  <a:pt x="164" y="15"/>
                </a:lnTo>
                <a:lnTo>
                  <a:pt x="166" y="15"/>
                </a:lnTo>
                <a:lnTo>
                  <a:pt x="171" y="13"/>
                </a:lnTo>
                <a:lnTo>
                  <a:pt x="180" y="11"/>
                </a:lnTo>
                <a:lnTo>
                  <a:pt x="190" y="11"/>
                </a:lnTo>
                <a:lnTo>
                  <a:pt x="198" y="10"/>
                </a:lnTo>
                <a:lnTo>
                  <a:pt x="199" y="8"/>
                </a:lnTo>
                <a:lnTo>
                  <a:pt x="202" y="8"/>
                </a:lnTo>
                <a:lnTo>
                  <a:pt x="204" y="8"/>
                </a:lnTo>
                <a:lnTo>
                  <a:pt x="206" y="7"/>
                </a:lnTo>
                <a:lnTo>
                  <a:pt x="204" y="5"/>
                </a:lnTo>
                <a:lnTo>
                  <a:pt x="204" y="4"/>
                </a:lnTo>
                <a:lnTo>
                  <a:pt x="207" y="4"/>
                </a:lnTo>
                <a:lnTo>
                  <a:pt x="210" y="4"/>
                </a:lnTo>
                <a:lnTo>
                  <a:pt x="211" y="2"/>
                </a:lnTo>
                <a:lnTo>
                  <a:pt x="212" y="2"/>
                </a:lnTo>
                <a:lnTo>
                  <a:pt x="215" y="2"/>
                </a:lnTo>
                <a:lnTo>
                  <a:pt x="216" y="0"/>
                </a:lnTo>
                <a:lnTo>
                  <a:pt x="218" y="0"/>
                </a:lnTo>
                <a:lnTo>
                  <a:pt x="220" y="2"/>
                </a:lnTo>
                <a:lnTo>
                  <a:pt x="222" y="0"/>
                </a:lnTo>
                <a:lnTo>
                  <a:pt x="224" y="2"/>
                </a:lnTo>
                <a:lnTo>
                  <a:pt x="226" y="2"/>
                </a:lnTo>
                <a:lnTo>
                  <a:pt x="228" y="2"/>
                </a:lnTo>
                <a:lnTo>
                  <a:pt x="230" y="4"/>
                </a:lnTo>
                <a:lnTo>
                  <a:pt x="234" y="5"/>
                </a:lnTo>
                <a:lnTo>
                  <a:pt x="235" y="4"/>
                </a:lnTo>
                <a:lnTo>
                  <a:pt x="238" y="4"/>
                </a:lnTo>
                <a:lnTo>
                  <a:pt x="242" y="2"/>
                </a:lnTo>
                <a:lnTo>
                  <a:pt x="244" y="4"/>
                </a:lnTo>
                <a:lnTo>
                  <a:pt x="246" y="4"/>
                </a:lnTo>
                <a:lnTo>
                  <a:pt x="247" y="5"/>
                </a:lnTo>
                <a:lnTo>
                  <a:pt x="247" y="8"/>
                </a:lnTo>
                <a:lnTo>
                  <a:pt x="247" y="10"/>
                </a:lnTo>
                <a:lnTo>
                  <a:pt x="247" y="11"/>
                </a:lnTo>
                <a:lnTo>
                  <a:pt x="251" y="13"/>
                </a:lnTo>
                <a:lnTo>
                  <a:pt x="249" y="15"/>
                </a:lnTo>
                <a:lnTo>
                  <a:pt x="249" y="18"/>
                </a:lnTo>
                <a:lnTo>
                  <a:pt x="248" y="19"/>
                </a:lnTo>
                <a:lnTo>
                  <a:pt x="247" y="21"/>
                </a:lnTo>
                <a:lnTo>
                  <a:pt x="248" y="22"/>
                </a:lnTo>
                <a:lnTo>
                  <a:pt x="248" y="24"/>
                </a:lnTo>
                <a:lnTo>
                  <a:pt x="253" y="22"/>
                </a:lnTo>
                <a:lnTo>
                  <a:pt x="255" y="24"/>
                </a:lnTo>
                <a:lnTo>
                  <a:pt x="257" y="24"/>
                </a:lnTo>
                <a:lnTo>
                  <a:pt x="257" y="22"/>
                </a:lnTo>
                <a:lnTo>
                  <a:pt x="260" y="21"/>
                </a:lnTo>
                <a:lnTo>
                  <a:pt x="261" y="22"/>
                </a:lnTo>
                <a:lnTo>
                  <a:pt x="263" y="21"/>
                </a:lnTo>
                <a:lnTo>
                  <a:pt x="263" y="19"/>
                </a:lnTo>
                <a:lnTo>
                  <a:pt x="265" y="19"/>
                </a:lnTo>
                <a:lnTo>
                  <a:pt x="265" y="21"/>
                </a:lnTo>
                <a:lnTo>
                  <a:pt x="267" y="22"/>
                </a:lnTo>
                <a:lnTo>
                  <a:pt x="268" y="24"/>
                </a:lnTo>
                <a:lnTo>
                  <a:pt x="267" y="24"/>
                </a:lnTo>
                <a:lnTo>
                  <a:pt x="267" y="26"/>
                </a:lnTo>
                <a:lnTo>
                  <a:pt x="271" y="27"/>
                </a:lnTo>
                <a:lnTo>
                  <a:pt x="271" y="26"/>
                </a:lnTo>
                <a:lnTo>
                  <a:pt x="269" y="24"/>
                </a:lnTo>
                <a:lnTo>
                  <a:pt x="271" y="24"/>
                </a:lnTo>
                <a:lnTo>
                  <a:pt x="276" y="24"/>
                </a:lnTo>
                <a:lnTo>
                  <a:pt x="277" y="26"/>
                </a:lnTo>
                <a:lnTo>
                  <a:pt x="279" y="26"/>
                </a:lnTo>
                <a:lnTo>
                  <a:pt x="281" y="27"/>
                </a:lnTo>
                <a:lnTo>
                  <a:pt x="283" y="27"/>
                </a:lnTo>
                <a:lnTo>
                  <a:pt x="284" y="26"/>
                </a:lnTo>
                <a:lnTo>
                  <a:pt x="287" y="24"/>
                </a:lnTo>
                <a:lnTo>
                  <a:pt x="287" y="26"/>
                </a:lnTo>
                <a:lnTo>
                  <a:pt x="287" y="27"/>
                </a:lnTo>
                <a:lnTo>
                  <a:pt x="284" y="29"/>
                </a:lnTo>
                <a:lnTo>
                  <a:pt x="283" y="29"/>
                </a:lnTo>
                <a:lnTo>
                  <a:pt x="281" y="30"/>
                </a:lnTo>
                <a:lnTo>
                  <a:pt x="281" y="32"/>
                </a:lnTo>
                <a:lnTo>
                  <a:pt x="281" y="33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75" name="Freeform 72"/>
          <p:cNvSpPr>
            <a:spLocks/>
          </p:cNvSpPr>
          <p:nvPr/>
        </p:nvSpPr>
        <p:spPr bwMode="auto">
          <a:xfrm>
            <a:off x="7595957" y="2422150"/>
            <a:ext cx="584644" cy="472473"/>
          </a:xfrm>
          <a:custGeom>
            <a:avLst/>
            <a:gdLst/>
            <a:ahLst/>
            <a:cxnLst>
              <a:cxn ang="0">
                <a:pos x="101" y="15"/>
              </a:cxn>
              <a:cxn ang="0">
                <a:pos x="112" y="15"/>
              </a:cxn>
              <a:cxn ang="0">
                <a:pos x="117" y="14"/>
              </a:cxn>
              <a:cxn ang="0">
                <a:pos x="129" y="6"/>
              </a:cxn>
              <a:cxn ang="0">
                <a:pos x="140" y="3"/>
              </a:cxn>
              <a:cxn ang="0">
                <a:pos x="149" y="1"/>
              </a:cxn>
              <a:cxn ang="0">
                <a:pos x="145" y="4"/>
              </a:cxn>
              <a:cxn ang="0">
                <a:pos x="167" y="22"/>
              </a:cxn>
              <a:cxn ang="0">
                <a:pos x="204" y="59"/>
              </a:cxn>
              <a:cxn ang="0">
                <a:pos x="213" y="58"/>
              </a:cxn>
              <a:cxn ang="0">
                <a:pos x="218" y="63"/>
              </a:cxn>
              <a:cxn ang="0">
                <a:pos x="233" y="66"/>
              </a:cxn>
              <a:cxn ang="0">
                <a:pos x="241" y="64"/>
              </a:cxn>
              <a:cxn ang="0">
                <a:pos x="250" y="61"/>
              </a:cxn>
              <a:cxn ang="0">
                <a:pos x="258" y="67"/>
              </a:cxn>
              <a:cxn ang="0">
                <a:pos x="261" y="73"/>
              </a:cxn>
              <a:cxn ang="0">
                <a:pos x="272" y="78"/>
              </a:cxn>
              <a:cxn ang="0">
                <a:pos x="277" y="84"/>
              </a:cxn>
              <a:cxn ang="0">
                <a:pos x="288" y="88"/>
              </a:cxn>
              <a:cxn ang="0">
                <a:pos x="294" y="84"/>
              </a:cxn>
              <a:cxn ang="0">
                <a:pos x="301" y="88"/>
              </a:cxn>
              <a:cxn ang="0">
                <a:pos x="302" y="99"/>
              </a:cxn>
              <a:cxn ang="0">
                <a:pos x="286" y="108"/>
              </a:cxn>
              <a:cxn ang="0">
                <a:pos x="281" y="132"/>
              </a:cxn>
              <a:cxn ang="0">
                <a:pos x="266" y="132"/>
              </a:cxn>
              <a:cxn ang="0">
                <a:pos x="242" y="130"/>
              </a:cxn>
              <a:cxn ang="0">
                <a:pos x="232" y="152"/>
              </a:cxn>
              <a:cxn ang="0">
                <a:pos x="232" y="165"/>
              </a:cxn>
              <a:cxn ang="0">
                <a:pos x="200" y="169"/>
              </a:cxn>
              <a:cxn ang="0">
                <a:pos x="202" y="185"/>
              </a:cxn>
              <a:cxn ang="0">
                <a:pos x="208" y="201"/>
              </a:cxn>
              <a:cxn ang="0">
                <a:pos x="201" y="212"/>
              </a:cxn>
              <a:cxn ang="0">
                <a:pos x="190" y="212"/>
              </a:cxn>
              <a:cxn ang="0">
                <a:pos x="177" y="207"/>
              </a:cxn>
              <a:cxn ang="0">
                <a:pos x="160" y="205"/>
              </a:cxn>
              <a:cxn ang="0">
                <a:pos x="148" y="205"/>
              </a:cxn>
              <a:cxn ang="0">
                <a:pos x="128" y="205"/>
              </a:cxn>
              <a:cxn ang="0">
                <a:pos x="117" y="204"/>
              </a:cxn>
              <a:cxn ang="0">
                <a:pos x="105" y="201"/>
              </a:cxn>
              <a:cxn ang="0">
                <a:pos x="99" y="207"/>
              </a:cxn>
              <a:cxn ang="0">
                <a:pos x="88" y="210"/>
              </a:cxn>
              <a:cxn ang="0">
                <a:pos x="77" y="207"/>
              </a:cxn>
              <a:cxn ang="0">
                <a:pos x="64" y="207"/>
              </a:cxn>
              <a:cxn ang="0">
                <a:pos x="62" y="213"/>
              </a:cxn>
              <a:cxn ang="0">
                <a:pos x="55" y="220"/>
              </a:cxn>
              <a:cxn ang="0">
                <a:pos x="43" y="227"/>
              </a:cxn>
              <a:cxn ang="0">
                <a:pos x="34" y="232"/>
              </a:cxn>
              <a:cxn ang="0">
                <a:pos x="28" y="238"/>
              </a:cxn>
              <a:cxn ang="0">
                <a:pos x="15" y="234"/>
              </a:cxn>
            </a:cxnLst>
            <a:rect l="0" t="0" r="r" b="b"/>
            <a:pathLst>
              <a:path w="306" h="238">
                <a:moveTo>
                  <a:pt x="97" y="15"/>
                </a:moveTo>
                <a:lnTo>
                  <a:pt x="99" y="17"/>
                </a:lnTo>
                <a:lnTo>
                  <a:pt x="100" y="17"/>
                </a:lnTo>
                <a:lnTo>
                  <a:pt x="101" y="15"/>
                </a:lnTo>
                <a:lnTo>
                  <a:pt x="107" y="14"/>
                </a:lnTo>
                <a:lnTo>
                  <a:pt x="108" y="15"/>
                </a:lnTo>
                <a:lnTo>
                  <a:pt x="111" y="15"/>
                </a:lnTo>
                <a:lnTo>
                  <a:pt x="112" y="15"/>
                </a:lnTo>
                <a:lnTo>
                  <a:pt x="115" y="15"/>
                </a:lnTo>
                <a:lnTo>
                  <a:pt x="113" y="14"/>
                </a:lnTo>
                <a:lnTo>
                  <a:pt x="115" y="14"/>
                </a:lnTo>
                <a:lnTo>
                  <a:pt x="117" y="14"/>
                </a:lnTo>
                <a:lnTo>
                  <a:pt x="120" y="11"/>
                </a:lnTo>
                <a:lnTo>
                  <a:pt x="124" y="11"/>
                </a:lnTo>
                <a:lnTo>
                  <a:pt x="128" y="8"/>
                </a:lnTo>
                <a:lnTo>
                  <a:pt x="129" y="6"/>
                </a:lnTo>
                <a:lnTo>
                  <a:pt x="131" y="4"/>
                </a:lnTo>
                <a:lnTo>
                  <a:pt x="133" y="4"/>
                </a:lnTo>
                <a:lnTo>
                  <a:pt x="137" y="4"/>
                </a:lnTo>
                <a:lnTo>
                  <a:pt x="140" y="3"/>
                </a:lnTo>
                <a:lnTo>
                  <a:pt x="141" y="3"/>
                </a:lnTo>
                <a:lnTo>
                  <a:pt x="145" y="1"/>
                </a:lnTo>
                <a:lnTo>
                  <a:pt x="149" y="0"/>
                </a:lnTo>
                <a:lnTo>
                  <a:pt x="149" y="1"/>
                </a:lnTo>
                <a:lnTo>
                  <a:pt x="151" y="3"/>
                </a:lnTo>
                <a:lnTo>
                  <a:pt x="149" y="4"/>
                </a:lnTo>
                <a:lnTo>
                  <a:pt x="147" y="4"/>
                </a:lnTo>
                <a:lnTo>
                  <a:pt x="145" y="4"/>
                </a:lnTo>
                <a:lnTo>
                  <a:pt x="144" y="6"/>
                </a:lnTo>
                <a:lnTo>
                  <a:pt x="145" y="8"/>
                </a:lnTo>
                <a:lnTo>
                  <a:pt x="147" y="8"/>
                </a:lnTo>
                <a:lnTo>
                  <a:pt x="167" y="22"/>
                </a:lnTo>
                <a:lnTo>
                  <a:pt x="200" y="64"/>
                </a:lnTo>
                <a:lnTo>
                  <a:pt x="202" y="63"/>
                </a:lnTo>
                <a:lnTo>
                  <a:pt x="204" y="61"/>
                </a:lnTo>
                <a:lnTo>
                  <a:pt x="204" y="59"/>
                </a:lnTo>
                <a:lnTo>
                  <a:pt x="206" y="56"/>
                </a:lnTo>
                <a:lnTo>
                  <a:pt x="209" y="56"/>
                </a:lnTo>
                <a:lnTo>
                  <a:pt x="210" y="58"/>
                </a:lnTo>
                <a:lnTo>
                  <a:pt x="213" y="58"/>
                </a:lnTo>
                <a:lnTo>
                  <a:pt x="216" y="59"/>
                </a:lnTo>
                <a:lnTo>
                  <a:pt x="216" y="61"/>
                </a:lnTo>
                <a:lnTo>
                  <a:pt x="217" y="63"/>
                </a:lnTo>
                <a:lnTo>
                  <a:pt x="218" y="63"/>
                </a:lnTo>
                <a:lnTo>
                  <a:pt x="220" y="66"/>
                </a:lnTo>
                <a:lnTo>
                  <a:pt x="226" y="66"/>
                </a:lnTo>
                <a:lnTo>
                  <a:pt x="230" y="66"/>
                </a:lnTo>
                <a:lnTo>
                  <a:pt x="233" y="66"/>
                </a:lnTo>
                <a:lnTo>
                  <a:pt x="237" y="66"/>
                </a:lnTo>
                <a:lnTo>
                  <a:pt x="238" y="64"/>
                </a:lnTo>
                <a:lnTo>
                  <a:pt x="240" y="63"/>
                </a:lnTo>
                <a:lnTo>
                  <a:pt x="241" y="64"/>
                </a:lnTo>
                <a:lnTo>
                  <a:pt x="244" y="63"/>
                </a:lnTo>
                <a:lnTo>
                  <a:pt x="245" y="61"/>
                </a:lnTo>
                <a:lnTo>
                  <a:pt x="246" y="61"/>
                </a:lnTo>
                <a:lnTo>
                  <a:pt x="250" y="61"/>
                </a:lnTo>
                <a:lnTo>
                  <a:pt x="253" y="63"/>
                </a:lnTo>
                <a:lnTo>
                  <a:pt x="254" y="64"/>
                </a:lnTo>
                <a:lnTo>
                  <a:pt x="256" y="64"/>
                </a:lnTo>
                <a:lnTo>
                  <a:pt x="258" y="67"/>
                </a:lnTo>
                <a:lnTo>
                  <a:pt x="261" y="67"/>
                </a:lnTo>
                <a:lnTo>
                  <a:pt x="261" y="69"/>
                </a:lnTo>
                <a:lnTo>
                  <a:pt x="261" y="72"/>
                </a:lnTo>
                <a:lnTo>
                  <a:pt x="261" y="73"/>
                </a:lnTo>
                <a:lnTo>
                  <a:pt x="262" y="75"/>
                </a:lnTo>
                <a:lnTo>
                  <a:pt x="265" y="75"/>
                </a:lnTo>
                <a:lnTo>
                  <a:pt x="270" y="77"/>
                </a:lnTo>
                <a:lnTo>
                  <a:pt x="272" y="78"/>
                </a:lnTo>
                <a:lnTo>
                  <a:pt x="272" y="80"/>
                </a:lnTo>
                <a:lnTo>
                  <a:pt x="273" y="81"/>
                </a:lnTo>
                <a:lnTo>
                  <a:pt x="274" y="81"/>
                </a:lnTo>
                <a:lnTo>
                  <a:pt x="277" y="84"/>
                </a:lnTo>
                <a:lnTo>
                  <a:pt x="278" y="86"/>
                </a:lnTo>
                <a:lnTo>
                  <a:pt x="282" y="86"/>
                </a:lnTo>
                <a:lnTo>
                  <a:pt x="285" y="88"/>
                </a:lnTo>
                <a:lnTo>
                  <a:pt x="288" y="88"/>
                </a:lnTo>
                <a:lnTo>
                  <a:pt x="289" y="88"/>
                </a:lnTo>
                <a:lnTo>
                  <a:pt x="291" y="88"/>
                </a:lnTo>
                <a:lnTo>
                  <a:pt x="293" y="86"/>
                </a:lnTo>
                <a:lnTo>
                  <a:pt x="294" y="84"/>
                </a:lnTo>
                <a:lnTo>
                  <a:pt x="298" y="84"/>
                </a:lnTo>
                <a:lnTo>
                  <a:pt x="298" y="86"/>
                </a:lnTo>
                <a:lnTo>
                  <a:pt x="299" y="88"/>
                </a:lnTo>
                <a:lnTo>
                  <a:pt x="301" y="88"/>
                </a:lnTo>
                <a:lnTo>
                  <a:pt x="303" y="91"/>
                </a:lnTo>
                <a:lnTo>
                  <a:pt x="305" y="92"/>
                </a:lnTo>
                <a:lnTo>
                  <a:pt x="306" y="94"/>
                </a:lnTo>
                <a:lnTo>
                  <a:pt x="302" y="99"/>
                </a:lnTo>
                <a:lnTo>
                  <a:pt x="299" y="103"/>
                </a:lnTo>
                <a:lnTo>
                  <a:pt x="295" y="106"/>
                </a:lnTo>
                <a:lnTo>
                  <a:pt x="290" y="108"/>
                </a:lnTo>
                <a:lnTo>
                  <a:pt x="286" y="108"/>
                </a:lnTo>
                <a:lnTo>
                  <a:pt x="282" y="113"/>
                </a:lnTo>
                <a:lnTo>
                  <a:pt x="281" y="117"/>
                </a:lnTo>
                <a:lnTo>
                  <a:pt x="282" y="122"/>
                </a:lnTo>
                <a:lnTo>
                  <a:pt x="281" y="132"/>
                </a:lnTo>
                <a:lnTo>
                  <a:pt x="274" y="133"/>
                </a:lnTo>
                <a:lnTo>
                  <a:pt x="270" y="135"/>
                </a:lnTo>
                <a:lnTo>
                  <a:pt x="269" y="133"/>
                </a:lnTo>
                <a:lnTo>
                  <a:pt x="266" y="132"/>
                </a:lnTo>
                <a:lnTo>
                  <a:pt x="256" y="133"/>
                </a:lnTo>
                <a:lnTo>
                  <a:pt x="252" y="132"/>
                </a:lnTo>
                <a:lnTo>
                  <a:pt x="249" y="130"/>
                </a:lnTo>
                <a:lnTo>
                  <a:pt x="242" y="130"/>
                </a:lnTo>
                <a:lnTo>
                  <a:pt x="240" y="135"/>
                </a:lnTo>
                <a:lnTo>
                  <a:pt x="237" y="139"/>
                </a:lnTo>
                <a:lnTo>
                  <a:pt x="233" y="146"/>
                </a:lnTo>
                <a:lnTo>
                  <a:pt x="232" y="152"/>
                </a:lnTo>
                <a:lnTo>
                  <a:pt x="230" y="155"/>
                </a:lnTo>
                <a:lnTo>
                  <a:pt x="232" y="160"/>
                </a:lnTo>
                <a:lnTo>
                  <a:pt x="233" y="163"/>
                </a:lnTo>
                <a:lnTo>
                  <a:pt x="232" y="165"/>
                </a:lnTo>
                <a:lnTo>
                  <a:pt x="216" y="165"/>
                </a:lnTo>
                <a:lnTo>
                  <a:pt x="210" y="166"/>
                </a:lnTo>
                <a:lnTo>
                  <a:pt x="205" y="168"/>
                </a:lnTo>
                <a:lnTo>
                  <a:pt x="200" y="169"/>
                </a:lnTo>
                <a:lnTo>
                  <a:pt x="197" y="171"/>
                </a:lnTo>
                <a:lnTo>
                  <a:pt x="198" y="172"/>
                </a:lnTo>
                <a:lnTo>
                  <a:pt x="201" y="176"/>
                </a:lnTo>
                <a:lnTo>
                  <a:pt x="202" y="185"/>
                </a:lnTo>
                <a:lnTo>
                  <a:pt x="204" y="188"/>
                </a:lnTo>
                <a:lnTo>
                  <a:pt x="205" y="191"/>
                </a:lnTo>
                <a:lnTo>
                  <a:pt x="208" y="198"/>
                </a:lnTo>
                <a:lnTo>
                  <a:pt x="208" y="201"/>
                </a:lnTo>
                <a:lnTo>
                  <a:pt x="204" y="204"/>
                </a:lnTo>
                <a:lnTo>
                  <a:pt x="205" y="207"/>
                </a:lnTo>
                <a:lnTo>
                  <a:pt x="202" y="209"/>
                </a:lnTo>
                <a:lnTo>
                  <a:pt x="201" y="212"/>
                </a:lnTo>
                <a:lnTo>
                  <a:pt x="201" y="215"/>
                </a:lnTo>
                <a:lnTo>
                  <a:pt x="200" y="216"/>
                </a:lnTo>
                <a:lnTo>
                  <a:pt x="194" y="212"/>
                </a:lnTo>
                <a:lnTo>
                  <a:pt x="190" y="212"/>
                </a:lnTo>
                <a:lnTo>
                  <a:pt x="186" y="207"/>
                </a:lnTo>
                <a:lnTo>
                  <a:pt x="181" y="207"/>
                </a:lnTo>
                <a:lnTo>
                  <a:pt x="180" y="207"/>
                </a:lnTo>
                <a:lnTo>
                  <a:pt x="177" y="207"/>
                </a:lnTo>
                <a:lnTo>
                  <a:pt x="176" y="205"/>
                </a:lnTo>
                <a:lnTo>
                  <a:pt x="173" y="205"/>
                </a:lnTo>
                <a:lnTo>
                  <a:pt x="167" y="205"/>
                </a:lnTo>
                <a:lnTo>
                  <a:pt x="160" y="205"/>
                </a:lnTo>
                <a:lnTo>
                  <a:pt x="157" y="205"/>
                </a:lnTo>
                <a:lnTo>
                  <a:pt x="153" y="204"/>
                </a:lnTo>
                <a:lnTo>
                  <a:pt x="152" y="204"/>
                </a:lnTo>
                <a:lnTo>
                  <a:pt x="148" y="205"/>
                </a:lnTo>
                <a:lnTo>
                  <a:pt x="139" y="204"/>
                </a:lnTo>
                <a:lnTo>
                  <a:pt x="136" y="204"/>
                </a:lnTo>
                <a:lnTo>
                  <a:pt x="132" y="205"/>
                </a:lnTo>
                <a:lnTo>
                  <a:pt x="128" y="205"/>
                </a:lnTo>
                <a:lnTo>
                  <a:pt x="125" y="204"/>
                </a:lnTo>
                <a:lnTo>
                  <a:pt x="124" y="204"/>
                </a:lnTo>
                <a:lnTo>
                  <a:pt x="121" y="202"/>
                </a:lnTo>
                <a:lnTo>
                  <a:pt x="117" y="204"/>
                </a:lnTo>
                <a:lnTo>
                  <a:pt x="115" y="202"/>
                </a:lnTo>
                <a:lnTo>
                  <a:pt x="109" y="199"/>
                </a:lnTo>
                <a:lnTo>
                  <a:pt x="108" y="201"/>
                </a:lnTo>
                <a:lnTo>
                  <a:pt x="105" y="201"/>
                </a:lnTo>
                <a:lnTo>
                  <a:pt x="103" y="201"/>
                </a:lnTo>
                <a:lnTo>
                  <a:pt x="100" y="204"/>
                </a:lnTo>
                <a:lnTo>
                  <a:pt x="100" y="205"/>
                </a:lnTo>
                <a:lnTo>
                  <a:pt x="99" y="207"/>
                </a:lnTo>
                <a:lnTo>
                  <a:pt x="97" y="210"/>
                </a:lnTo>
                <a:lnTo>
                  <a:pt x="96" y="212"/>
                </a:lnTo>
                <a:lnTo>
                  <a:pt x="92" y="212"/>
                </a:lnTo>
                <a:lnTo>
                  <a:pt x="88" y="210"/>
                </a:lnTo>
                <a:lnTo>
                  <a:pt x="84" y="209"/>
                </a:lnTo>
                <a:lnTo>
                  <a:pt x="83" y="207"/>
                </a:lnTo>
                <a:lnTo>
                  <a:pt x="80" y="207"/>
                </a:lnTo>
                <a:lnTo>
                  <a:pt x="77" y="207"/>
                </a:lnTo>
                <a:lnTo>
                  <a:pt x="73" y="207"/>
                </a:lnTo>
                <a:lnTo>
                  <a:pt x="71" y="207"/>
                </a:lnTo>
                <a:lnTo>
                  <a:pt x="69" y="205"/>
                </a:lnTo>
                <a:lnTo>
                  <a:pt x="64" y="207"/>
                </a:lnTo>
                <a:lnTo>
                  <a:pt x="63" y="207"/>
                </a:lnTo>
                <a:lnTo>
                  <a:pt x="62" y="210"/>
                </a:lnTo>
                <a:lnTo>
                  <a:pt x="63" y="212"/>
                </a:lnTo>
                <a:lnTo>
                  <a:pt x="62" y="213"/>
                </a:lnTo>
                <a:lnTo>
                  <a:pt x="60" y="215"/>
                </a:lnTo>
                <a:lnTo>
                  <a:pt x="59" y="216"/>
                </a:lnTo>
                <a:lnTo>
                  <a:pt x="56" y="220"/>
                </a:lnTo>
                <a:lnTo>
                  <a:pt x="55" y="220"/>
                </a:lnTo>
                <a:lnTo>
                  <a:pt x="52" y="220"/>
                </a:lnTo>
                <a:lnTo>
                  <a:pt x="51" y="223"/>
                </a:lnTo>
                <a:lnTo>
                  <a:pt x="50" y="224"/>
                </a:lnTo>
                <a:lnTo>
                  <a:pt x="43" y="227"/>
                </a:lnTo>
                <a:lnTo>
                  <a:pt x="39" y="229"/>
                </a:lnTo>
                <a:lnTo>
                  <a:pt x="38" y="231"/>
                </a:lnTo>
                <a:lnTo>
                  <a:pt x="35" y="231"/>
                </a:lnTo>
                <a:lnTo>
                  <a:pt x="34" y="232"/>
                </a:lnTo>
                <a:lnTo>
                  <a:pt x="32" y="234"/>
                </a:lnTo>
                <a:lnTo>
                  <a:pt x="32" y="235"/>
                </a:lnTo>
                <a:lnTo>
                  <a:pt x="30" y="237"/>
                </a:lnTo>
                <a:lnTo>
                  <a:pt x="28" y="238"/>
                </a:lnTo>
                <a:lnTo>
                  <a:pt x="26" y="237"/>
                </a:lnTo>
                <a:lnTo>
                  <a:pt x="22" y="235"/>
                </a:lnTo>
                <a:lnTo>
                  <a:pt x="19" y="235"/>
                </a:lnTo>
                <a:lnTo>
                  <a:pt x="15" y="234"/>
                </a:lnTo>
                <a:lnTo>
                  <a:pt x="0" y="235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76" name="Freeform 73"/>
          <p:cNvSpPr>
            <a:spLocks/>
          </p:cNvSpPr>
          <p:nvPr/>
        </p:nvSpPr>
        <p:spPr bwMode="auto">
          <a:xfrm>
            <a:off x="7286095" y="2735702"/>
            <a:ext cx="309862" cy="154627"/>
          </a:xfrm>
          <a:custGeom>
            <a:avLst/>
            <a:gdLst/>
            <a:ahLst/>
            <a:cxnLst>
              <a:cxn ang="0">
                <a:pos x="163" y="78"/>
              </a:cxn>
              <a:cxn ang="0">
                <a:pos x="161" y="67"/>
              </a:cxn>
              <a:cxn ang="0">
                <a:pos x="151" y="66"/>
              </a:cxn>
              <a:cxn ang="0">
                <a:pos x="151" y="63"/>
              </a:cxn>
              <a:cxn ang="0">
                <a:pos x="151" y="58"/>
              </a:cxn>
              <a:cxn ang="0">
                <a:pos x="153" y="58"/>
              </a:cxn>
              <a:cxn ang="0">
                <a:pos x="153" y="47"/>
              </a:cxn>
              <a:cxn ang="0">
                <a:pos x="149" y="48"/>
              </a:cxn>
              <a:cxn ang="0">
                <a:pos x="145" y="41"/>
              </a:cxn>
              <a:cxn ang="0">
                <a:pos x="141" y="37"/>
              </a:cxn>
              <a:cxn ang="0">
                <a:pos x="139" y="36"/>
              </a:cxn>
              <a:cxn ang="0">
                <a:pos x="135" y="34"/>
              </a:cxn>
              <a:cxn ang="0">
                <a:pos x="134" y="33"/>
              </a:cxn>
              <a:cxn ang="0">
                <a:pos x="130" y="34"/>
              </a:cxn>
              <a:cxn ang="0">
                <a:pos x="110" y="34"/>
              </a:cxn>
              <a:cxn ang="0">
                <a:pos x="90" y="37"/>
              </a:cxn>
              <a:cxn ang="0">
                <a:pos x="82" y="31"/>
              </a:cxn>
              <a:cxn ang="0">
                <a:pos x="70" y="19"/>
              </a:cxn>
              <a:cxn ang="0">
                <a:pos x="61" y="11"/>
              </a:cxn>
              <a:cxn ang="0">
                <a:pos x="57" y="9"/>
              </a:cxn>
              <a:cxn ang="0">
                <a:pos x="52" y="6"/>
              </a:cxn>
              <a:cxn ang="0">
                <a:pos x="46" y="3"/>
              </a:cxn>
              <a:cxn ang="0">
                <a:pos x="38" y="0"/>
              </a:cxn>
              <a:cxn ang="0">
                <a:pos x="0" y="11"/>
              </a:cxn>
            </a:cxnLst>
            <a:rect l="0" t="0" r="r" b="b"/>
            <a:pathLst>
              <a:path w="163" h="78">
                <a:moveTo>
                  <a:pt x="163" y="78"/>
                </a:moveTo>
                <a:lnTo>
                  <a:pt x="161" y="67"/>
                </a:lnTo>
                <a:lnTo>
                  <a:pt x="151" y="66"/>
                </a:lnTo>
                <a:lnTo>
                  <a:pt x="151" y="63"/>
                </a:lnTo>
                <a:lnTo>
                  <a:pt x="151" y="58"/>
                </a:lnTo>
                <a:lnTo>
                  <a:pt x="153" y="58"/>
                </a:lnTo>
                <a:lnTo>
                  <a:pt x="153" y="47"/>
                </a:lnTo>
                <a:lnTo>
                  <a:pt x="149" y="48"/>
                </a:lnTo>
                <a:lnTo>
                  <a:pt x="145" y="41"/>
                </a:lnTo>
                <a:lnTo>
                  <a:pt x="141" y="37"/>
                </a:lnTo>
                <a:lnTo>
                  <a:pt x="139" y="36"/>
                </a:lnTo>
                <a:lnTo>
                  <a:pt x="135" y="34"/>
                </a:lnTo>
                <a:lnTo>
                  <a:pt x="134" y="33"/>
                </a:lnTo>
                <a:lnTo>
                  <a:pt x="130" y="34"/>
                </a:lnTo>
                <a:lnTo>
                  <a:pt x="110" y="34"/>
                </a:lnTo>
                <a:lnTo>
                  <a:pt x="90" y="37"/>
                </a:lnTo>
                <a:lnTo>
                  <a:pt x="82" y="31"/>
                </a:lnTo>
                <a:lnTo>
                  <a:pt x="70" y="19"/>
                </a:lnTo>
                <a:lnTo>
                  <a:pt x="61" y="11"/>
                </a:lnTo>
                <a:lnTo>
                  <a:pt x="57" y="9"/>
                </a:lnTo>
                <a:lnTo>
                  <a:pt x="52" y="6"/>
                </a:lnTo>
                <a:lnTo>
                  <a:pt x="46" y="3"/>
                </a:lnTo>
                <a:lnTo>
                  <a:pt x="38" y="0"/>
                </a:lnTo>
                <a:lnTo>
                  <a:pt x="0" y="11"/>
                </a:lnTo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77" name="Freeform 74"/>
          <p:cNvSpPr>
            <a:spLocks/>
          </p:cNvSpPr>
          <p:nvPr/>
        </p:nvSpPr>
        <p:spPr bwMode="auto">
          <a:xfrm>
            <a:off x="8675600" y="4301308"/>
            <a:ext cx="11693" cy="10737"/>
          </a:xfrm>
          <a:custGeom>
            <a:avLst/>
            <a:gdLst/>
            <a:ahLst/>
            <a:cxnLst>
              <a:cxn ang="0">
                <a:pos x="4" y="1"/>
              </a:cxn>
              <a:cxn ang="0">
                <a:pos x="6" y="4"/>
              </a:cxn>
              <a:cxn ang="0">
                <a:pos x="4" y="6"/>
              </a:cxn>
              <a:cxn ang="0">
                <a:pos x="3" y="6"/>
              </a:cxn>
              <a:cxn ang="0">
                <a:pos x="3" y="4"/>
              </a:cxn>
              <a:cxn ang="0">
                <a:pos x="2" y="3"/>
              </a:cxn>
              <a:cxn ang="0">
                <a:pos x="0" y="3"/>
              </a:cxn>
              <a:cxn ang="0">
                <a:pos x="0" y="1"/>
              </a:cxn>
              <a:cxn ang="0">
                <a:pos x="0" y="0"/>
              </a:cxn>
              <a:cxn ang="0">
                <a:pos x="2" y="0"/>
              </a:cxn>
              <a:cxn ang="0">
                <a:pos x="3" y="0"/>
              </a:cxn>
              <a:cxn ang="0">
                <a:pos x="4" y="1"/>
              </a:cxn>
            </a:cxnLst>
            <a:rect l="0" t="0" r="r" b="b"/>
            <a:pathLst>
              <a:path w="6" h="6">
                <a:moveTo>
                  <a:pt x="4" y="1"/>
                </a:moveTo>
                <a:lnTo>
                  <a:pt x="6" y="4"/>
                </a:lnTo>
                <a:lnTo>
                  <a:pt x="4" y="6"/>
                </a:lnTo>
                <a:lnTo>
                  <a:pt x="3" y="6"/>
                </a:lnTo>
                <a:lnTo>
                  <a:pt x="3" y="4"/>
                </a:lnTo>
                <a:lnTo>
                  <a:pt x="2" y="3"/>
                </a:lnTo>
                <a:lnTo>
                  <a:pt x="0" y="3"/>
                </a:lnTo>
                <a:lnTo>
                  <a:pt x="0" y="1"/>
                </a:lnTo>
                <a:lnTo>
                  <a:pt x="0" y="0"/>
                </a:lnTo>
                <a:lnTo>
                  <a:pt x="2" y="0"/>
                </a:lnTo>
                <a:lnTo>
                  <a:pt x="3" y="0"/>
                </a:lnTo>
                <a:lnTo>
                  <a:pt x="4" y="1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78" name="Freeform 75"/>
          <p:cNvSpPr>
            <a:spLocks/>
          </p:cNvSpPr>
          <p:nvPr/>
        </p:nvSpPr>
        <p:spPr bwMode="auto">
          <a:xfrm>
            <a:off x="8675600" y="4301308"/>
            <a:ext cx="11693" cy="10737"/>
          </a:xfrm>
          <a:custGeom>
            <a:avLst/>
            <a:gdLst/>
            <a:ahLst/>
            <a:cxnLst>
              <a:cxn ang="0">
                <a:pos x="4" y="1"/>
              </a:cxn>
              <a:cxn ang="0">
                <a:pos x="6" y="4"/>
              </a:cxn>
              <a:cxn ang="0">
                <a:pos x="4" y="6"/>
              </a:cxn>
              <a:cxn ang="0">
                <a:pos x="3" y="6"/>
              </a:cxn>
              <a:cxn ang="0">
                <a:pos x="3" y="4"/>
              </a:cxn>
              <a:cxn ang="0">
                <a:pos x="2" y="3"/>
              </a:cxn>
              <a:cxn ang="0">
                <a:pos x="0" y="3"/>
              </a:cxn>
              <a:cxn ang="0">
                <a:pos x="0" y="1"/>
              </a:cxn>
              <a:cxn ang="0">
                <a:pos x="0" y="0"/>
              </a:cxn>
              <a:cxn ang="0">
                <a:pos x="2" y="0"/>
              </a:cxn>
              <a:cxn ang="0">
                <a:pos x="3" y="0"/>
              </a:cxn>
              <a:cxn ang="0">
                <a:pos x="4" y="1"/>
              </a:cxn>
            </a:cxnLst>
            <a:rect l="0" t="0" r="r" b="b"/>
            <a:pathLst>
              <a:path w="6" h="6">
                <a:moveTo>
                  <a:pt x="4" y="1"/>
                </a:moveTo>
                <a:lnTo>
                  <a:pt x="6" y="4"/>
                </a:lnTo>
                <a:lnTo>
                  <a:pt x="4" y="6"/>
                </a:lnTo>
                <a:lnTo>
                  <a:pt x="3" y="6"/>
                </a:lnTo>
                <a:lnTo>
                  <a:pt x="3" y="4"/>
                </a:lnTo>
                <a:lnTo>
                  <a:pt x="2" y="3"/>
                </a:lnTo>
                <a:lnTo>
                  <a:pt x="0" y="3"/>
                </a:lnTo>
                <a:lnTo>
                  <a:pt x="0" y="1"/>
                </a:lnTo>
                <a:lnTo>
                  <a:pt x="0" y="0"/>
                </a:lnTo>
                <a:lnTo>
                  <a:pt x="2" y="0"/>
                </a:lnTo>
                <a:lnTo>
                  <a:pt x="3" y="0"/>
                </a:lnTo>
                <a:lnTo>
                  <a:pt x="4" y="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79" name="Freeform 76"/>
          <p:cNvSpPr>
            <a:spLocks/>
          </p:cNvSpPr>
          <p:nvPr/>
        </p:nvSpPr>
        <p:spPr bwMode="auto">
          <a:xfrm>
            <a:off x="8414458" y="4144532"/>
            <a:ext cx="311811" cy="405898"/>
          </a:xfrm>
          <a:custGeom>
            <a:avLst/>
            <a:gdLst/>
            <a:ahLst/>
            <a:cxnLst>
              <a:cxn ang="0">
                <a:pos x="3" y="0"/>
              </a:cxn>
              <a:cxn ang="0">
                <a:pos x="10" y="2"/>
              </a:cxn>
              <a:cxn ang="0">
                <a:pos x="16" y="6"/>
              </a:cxn>
              <a:cxn ang="0">
                <a:pos x="27" y="6"/>
              </a:cxn>
              <a:cxn ang="0">
                <a:pos x="36" y="9"/>
              </a:cxn>
              <a:cxn ang="0">
                <a:pos x="42" y="17"/>
              </a:cxn>
              <a:cxn ang="0">
                <a:pos x="47" y="24"/>
              </a:cxn>
              <a:cxn ang="0">
                <a:pos x="54" y="35"/>
              </a:cxn>
              <a:cxn ang="0">
                <a:pos x="68" y="46"/>
              </a:cxn>
              <a:cxn ang="0">
                <a:pos x="76" y="53"/>
              </a:cxn>
              <a:cxn ang="0">
                <a:pos x="83" y="63"/>
              </a:cxn>
              <a:cxn ang="0">
                <a:pos x="88" y="61"/>
              </a:cxn>
              <a:cxn ang="0">
                <a:pos x="95" y="71"/>
              </a:cxn>
              <a:cxn ang="0">
                <a:pos x="101" y="74"/>
              </a:cxn>
              <a:cxn ang="0">
                <a:pos x="105" y="80"/>
              </a:cxn>
              <a:cxn ang="0">
                <a:pos x="111" y="82"/>
              </a:cxn>
              <a:cxn ang="0">
                <a:pos x="119" y="83"/>
              </a:cxn>
              <a:cxn ang="0">
                <a:pos x="116" y="86"/>
              </a:cxn>
              <a:cxn ang="0">
                <a:pos x="117" y="93"/>
              </a:cxn>
              <a:cxn ang="0">
                <a:pos x="115" y="96"/>
              </a:cxn>
              <a:cxn ang="0">
                <a:pos x="123" y="91"/>
              </a:cxn>
              <a:cxn ang="0">
                <a:pos x="128" y="97"/>
              </a:cxn>
              <a:cxn ang="0">
                <a:pos x="125" y="105"/>
              </a:cxn>
              <a:cxn ang="0">
                <a:pos x="124" y="110"/>
              </a:cxn>
              <a:cxn ang="0">
                <a:pos x="128" y="118"/>
              </a:cxn>
              <a:cxn ang="0">
                <a:pos x="133" y="119"/>
              </a:cxn>
              <a:cxn ang="0">
                <a:pos x="139" y="123"/>
              </a:cxn>
              <a:cxn ang="0">
                <a:pos x="140" y="132"/>
              </a:cxn>
              <a:cxn ang="0">
                <a:pos x="144" y="135"/>
              </a:cxn>
              <a:cxn ang="0">
                <a:pos x="147" y="143"/>
              </a:cxn>
              <a:cxn ang="0">
                <a:pos x="153" y="143"/>
              </a:cxn>
              <a:cxn ang="0">
                <a:pos x="159" y="149"/>
              </a:cxn>
              <a:cxn ang="0">
                <a:pos x="163" y="157"/>
              </a:cxn>
              <a:cxn ang="0">
                <a:pos x="160" y="167"/>
              </a:cxn>
              <a:cxn ang="0">
                <a:pos x="161" y="173"/>
              </a:cxn>
              <a:cxn ang="0">
                <a:pos x="160" y="195"/>
              </a:cxn>
              <a:cxn ang="0">
                <a:pos x="157" y="204"/>
              </a:cxn>
              <a:cxn ang="0">
                <a:pos x="152" y="200"/>
              </a:cxn>
              <a:cxn ang="0">
                <a:pos x="144" y="198"/>
              </a:cxn>
              <a:cxn ang="0">
                <a:pos x="143" y="204"/>
              </a:cxn>
              <a:cxn ang="0">
                <a:pos x="133" y="195"/>
              </a:cxn>
              <a:cxn ang="0">
                <a:pos x="127" y="187"/>
              </a:cxn>
              <a:cxn ang="0">
                <a:pos x="115" y="178"/>
              </a:cxn>
              <a:cxn ang="0">
                <a:pos x="108" y="171"/>
              </a:cxn>
              <a:cxn ang="0">
                <a:pos x="101" y="162"/>
              </a:cxn>
              <a:cxn ang="0">
                <a:pos x="87" y="141"/>
              </a:cxn>
              <a:cxn ang="0">
                <a:pos x="79" y="119"/>
              </a:cxn>
              <a:cxn ang="0">
                <a:pos x="75" y="110"/>
              </a:cxn>
              <a:cxn ang="0">
                <a:pos x="68" y="101"/>
              </a:cxn>
              <a:cxn ang="0">
                <a:pos x="60" y="96"/>
              </a:cxn>
              <a:cxn ang="0">
                <a:pos x="56" y="79"/>
              </a:cxn>
              <a:cxn ang="0">
                <a:pos x="52" y="68"/>
              </a:cxn>
              <a:cxn ang="0">
                <a:pos x="42" y="60"/>
              </a:cxn>
              <a:cxn ang="0">
                <a:pos x="34" y="49"/>
              </a:cxn>
              <a:cxn ang="0">
                <a:pos x="28" y="39"/>
              </a:cxn>
              <a:cxn ang="0">
                <a:pos x="20" y="35"/>
              </a:cxn>
              <a:cxn ang="0">
                <a:pos x="14" y="25"/>
              </a:cxn>
              <a:cxn ang="0">
                <a:pos x="3" y="14"/>
              </a:cxn>
            </a:cxnLst>
            <a:rect l="0" t="0" r="r" b="b"/>
            <a:pathLst>
              <a:path w="163" h="204">
                <a:moveTo>
                  <a:pt x="0" y="2"/>
                </a:moveTo>
                <a:lnTo>
                  <a:pt x="2" y="2"/>
                </a:lnTo>
                <a:lnTo>
                  <a:pt x="3" y="0"/>
                </a:lnTo>
                <a:lnTo>
                  <a:pt x="6" y="0"/>
                </a:lnTo>
                <a:lnTo>
                  <a:pt x="8" y="2"/>
                </a:lnTo>
                <a:lnTo>
                  <a:pt x="10" y="2"/>
                </a:lnTo>
                <a:lnTo>
                  <a:pt x="11" y="6"/>
                </a:lnTo>
                <a:lnTo>
                  <a:pt x="15" y="6"/>
                </a:lnTo>
                <a:lnTo>
                  <a:pt x="16" y="6"/>
                </a:lnTo>
                <a:lnTo>
                  <a:pt x="20" y="8"/>
                </a:lnTo>
                <a:lnTo>
                  <a:pt x="26" y="6"/>
                </a:lnTo>
                <a:lnTo>
                  <a:pt x="27" y="6"/>
                </a:lnTo>
                <a:lnTo>
                  <a:pt x="30" y="8"/>
                </a:lnTo>
                <a:lnTo>
                  <a:pt x="34" y="8"/>
                </a:lnTo>
                <a:lnTo>
                  <a:pt x="36" y="9"/>
                </a:lnTo>
                <a:lnTo>
                  <a:pt x="40" y="13"/>
                </a:lnTo>
                <a:lnTo>
                  <a:pt x="42" y="16"/>
                </a:lnTo>
                <a:lnTo>
                  <a:pt x="42" y="17"/>
                </a:lnTo>
                <a:lnTo>
                  <a:pt x="43" y="19"/>
                </a:lnTo>
                <a:lnTo>
                  <a:pt x="44" y="20"/>
                </a:lnTo>
                <a:lnTo>
                  <a:pt x="47" y="24"/>
                </a:lnTo>
                <a:lnTo>
                  <a:pt x="47" y="27"/>
                </a:lnTo>
                <a:lnTo>
                  <a:pt x="51" y="30"/>
                </a:lnTo>
                <a:lnTo>
                  <a:pt x="54" y="35"/>
                </a:lnTo>
                <a:lnTo>
                  <a:pt x="63" y="39"/>
                </a:lnTo>
                <a:lnTo>
                  <a:pt x="66" y="41"/>
                </a:lnTo>
                <a:lnTo>
                  <a:pt x="68" y="46"/>
                </a:lnTo>
                <a:lnTo>
                  <a:pt x="71" y="49"/>
                </a:lnTo>
                <a:lnTo>
                  <a:pt x="72" y="52"/>
                </a:lnTo>
                <a:lnTo>
                  <a:pt x="76" y="53"/>
                </a:lnTo>
                <a:lnTo>
                  <a:pt x="78" y="57"/>
                </a:lnTo>
                <a:lnTo>
                  <a:pt x="82" y="61"/>
                </a:lnTo>
                <a:lnTo>
                  <a:pt x="83" y="63"/>
                </a:lnTo>
                <a:lnTo>
                  <a:pt x="84" y="63"/>
                </a:lnTo>
                <a:lnTo>
                  <a:pt x="86" y="61"/>
                </a:lnTo>
                <a:lnTo>
                  <a:pt x="88" y="61"/>
                </a:lnTo>
                <a:lnTo>
                  <a:pt x="89" y="63"/>
                </a:lnTo>
                <a:lnTo>
                  <a:pt x="92" y="69"/>
                </a:lnTo>
                <a:lnTo>
                  <a:pt x="95" y="71"/>
                </a:lnTo>
                <a:lnTo>
                  <a:pt x="96" y="71"/>
                </a:lnTo>
                <a:lnTo>
                  <a:pt x="97" y="71"/>
                </a:lnTo>
                <a:lnTo>
                  <a:pt x="101" y="74"/>
                </a:lnTo>
                <a:lnTo>
                  <a:pt x="103" y="75"/>
                </a:lnTo>
                <a:lnTo>
                  <a:pt x="105" y="79"/>
                </a:lnTo>
                <a:lnTo>
                  <a:pt x="105" y="80"/>
                </a:lnTo>
                <a:lnTo>
                  <a:pt x="107" y="77"/>
                </a:lnTo>
                <a:lnTo>
                  <a:pt x="108" y="80"/>
                </a:lnTo>
                <a:lnTo>
                  <a:pt x="111" y="82"/>
                </a:lnTo>
                <a:lnTo>
                  <a:pt x="116" y="82"/>
                </a:lnTo>
                <a:lnTo>
                  <a:pt x="119" y="82"/>
                </a:lnTo>
                <a:lnTo>
                  <a:pt x="119" y="83"/>
                </a:lnTo>
                <a:lnTo>
                  <a:pt x="119" y="85"/>
                </a:lnTo>
                <a:lnTo>
                  <a:pt x="117" y="86"/>
                </a:lnTo>
                <a:lnTo>
                  <a:pt x="116" y="86"/>
                </a:lnTo>
                <a:lnTo>
                  <a:pt x="116" y="88"/>
                </a:lnTo>
                <a:lnTo>
                  <a:pt x="117" y="91"/>
                </a:lnTo>
                <a:lnTo>
                  <a:pt x="117" y="93"/>
                </a:lnTo>
                <a:lnTo>
                  <a:pt x="115" y="96"/>
                </a:lnTo>
                <a:lnTo>
                  <a:pt x="113" y="96"/>
                </a:lnTo>
                <a:lnTo>
                  <a:pt x="115" y="96"/>
                </a:lnTo>
                <a:lnTo>
                  <a:pt x="119" y="94"/>
                </a:lnTo>
                <a:lnTo>
                  <a:pt x="120" y="93"/>
                </a:lnTo>
                <a:lnTo>
                  <a:pt x="123" y="91"/>
                </a:lnTo>
                <a:lnTo>
                  <a:pt x="124" y="93"/>
                </a:lnTo>
                <a:lnTo>
                  <a:pt x="127" y="94"/>
                </a:lnTo>
                <a:lnTo>
                  <a:pt x="128" y="97"/>
                </a:lnTo>
                <a:lnTo>
                  <a:pt x="128" y="99"/>
                </a:lnTo>
                <a:lnTo>
                  <a:pt x="124" y="104"/>
                </a:lnTo>
                <a:lnTo>
                  <a:pt x="125" y="105"/>
                </a:lnTo>
                <a:lnTo>
                  <a:pt x="127" y="105"/>
                </a:lnTo>
                <a:lnTo>
                  <a:pt x="127" y="107"/>
                </a:lnTo>
                <a:lnTo>
                  <a:pt x="124" y="110"/>
                </a:lnTo>
                <a:lnTo>
                  <a:pt x="124" y="113"/>
                </a:lnTo>
                <a:lnTo>
                  <a:pt x="125" y="115"/>
                </a:lnTo>
                <a:lnTo>
                  <a:pt x="128" y="118"/>
                </a:lnTo>
                <a:lnTo>
                  <a:pt x="131" y="118"/>
                </a:lnTo>
                <a:lnTo>
                  <a:pt x="132" y="118"/>
                </a:lnTo>
                <a:lnTo>
                  <a:pt x="133" y="119"/>
                </a:lnTo>
                <a:lnTo>
                  <a:pt x="135" y="119"/>
                </a:lnTo>
                <a:lnTo>
                  <a:pt x="137" y="119"/>
                </a:lnTo>
                <a:lnTo>
                  <a:pt x="139" y="123"/>
                </a:lnTo>
                <a:lnTo>
                  <a:pt x="140" y="126"/>
                </a:lnTo>
                <a:lnTo>
                  <a:pt x="140" y="129"/>
                </a:lnTo>
                <a:lnTo>
                  <a:pt x="140" y="132"/>
                </a:lnTo>
                <a:lnTo>
                  <a:pt x="140" y="134"/>
                </a:lnTo>
                <a:lnTo>
                  <a:pt x="141" y="134"/>
                </a:lnTo>
                <a:lnTo>
                  <a:pt x="144" y="135"/>
                </a:lnTo>
                <a:lnTo>
                  <a:pt x="145" y="138"/>
                </a:lnTo>
                <a:lnTo>
                  <a:pt x="144" y="143"/>
                </a:lnTo>
                <a:lnTo>
                  <a:pt x="147" y="143"/>
                </a:lnTo>
                <a:lnTo>
                  <a:pt x="149" y="143"/>
                </a:lnTo>
                <a:lnTo>
                  <a:pt x="152" y="143"/>
                </a:lnTo>
                <a:lnTo>
                  <a:pt x="153" y="143"/>
                </a:lnTo>
                <a:lnTo>
                  <a:pt x="157" y="145"/>
                </a:lnTo>
                <a:lnTo>
                  <a:pt x="157" y="146"/>
                </a:lnTo>
                <a:lnTo>
                  <a:pt x="159" y="149"/>
                </a:lnTo>
                <a:lnTo>
                  <a:pt x="160" y="151"/>
                </a:lnTo>
                <a:lnTo>
                  <a:pt x="163" y="154"/>
                </a:lnTo>
                <a:lnTo>
                  <a:pt x="163" y="157"/>
                </a:lnTo>
                <a:lnTo>
                  <a:pt x="163" y="159"/>
                </a:lnTo>
                <a:lnTo>
                  <a:pt x="161" y="165"/>
                </a:lnTo>
                <a:lnTo>
                  <a:pt x="160" y="167"/>
                </a:lnTo>
                <a:lnTo>
                  <a:pt x="161" y="168"/>
                </a:lnTo>
                <a:lnTo>
                  <a:pt x="161" y="170"/>
                </a:lnTo>
                <a:lnTo>
                  <a:pt x="161" y="173"/>
                </a:lnTo>
                <a:lnTo>
                  <a:pt x="160" y="179"/>
                </a:lnTo>
                <a:lnTo>
                  <a:pt x="160" y="182"/>
                </a:lnTo>
                <a:lnTo>
                  <a:pt x="160" y="195"/>
                </a:lnTo>
                <a:lnTo>
                  <a:pt x="160" y="201"/>
                </a:lnTo>
                <a:lnTo>
                  <a:pt x="159" y="204"/>
                </a:lnTo>
                <a:lnTo>
                  <a:pt x="157" y="204"/>
                </a:lnTo>
                <a:lnTo>
                  <a:pt x="155" y="201"/>
                </a:lnTo>
                <a:lnTo>
                  <a:pt x="152" y="198"/>
                </a:lnTo>
                <a:lnTo>
                  <a:pt x="152" y="200"/>
                </a:lnTo>
                <a:lnTo>
                  <a:pt x="151" y="203"/>
                </a:lnTo>
                <a:lnTo>
                  <a:pt x="149" y="203"/>
                </a:lnTo>
                <a:lnTo>
                  <a:pt x="144" y="198"/>
                </a:lnTo>
                <a:lnTo>
                  <a:pt x="141" y="200"/>
                </a:lnTo>
                <a:lnTo>
                  <a:pt x="144" y="204"/>
                </a:lnTo>
                <a:lnTo>
                  <a:pt x="143" y="204"/>
                </a:lnTo>
                <a:lnTo>
                  <a:pt x="140" y="203"/>
                </a:lnTo>
                <a:lnTo>
                  <a:pt x="137" y="200"/>
                </a:lnTo>
                <a:lnTo>
                  <a:pt x="133" y="195"/>
                </a:lnTo>
                <a:lnTo>
                  <a:pt x="131" y="192"/>
                </a:lnTo>
                <a:lnTo>
                  <a:pt x="129" y="189"/>
                </a:lnTo>
                <a:lnTo>
                  <a:pt x="127" y="187"/>
                </a:lnTo>
                <a:lnTo>
                  <a:pt x="125" y="187"/>
                </a:lnTo>
                <a:lnTo>
                  <a:pt x="120" y="181"/>
                </a:lnTo>
                <a:lnTo>
                  <a:pt x="115" y="178"/>
                </a:lnTo>
                <a:lnTo>
                  <a:pt x="112" y="176"/>
                </a:lnTo>
                <a:lnTo>
                  <a:pt x="109" y="174"/>
                </a:lnTo>
                <a:lnTo>
                  <a:pt x="108" y="171"/>
                </a:lnTo>
                <a:lnTo>
                  <a:pt x="107" y="167"/>
                </a:lnTo>
                <a:lnTo>
                  <a:pt x="105" y="165"/>
                </a:lnTo>
                <a:lnTo>
                  <a:pt x="101" y="162"/>
                </a:lnTo>
                <a:lnTo>
                  <a:pt x="99" y="159"/>
                </a:lnTo>
                <a:lnTo>
                  <a:pt x="93" y="149"/>
                </a:lnTo>
                <a:lnTo>
                  <a:pt x="87" y="141"/>
                </a:lnTo>
                <a:lnTo>
                  <a:pt x="86" y="140"/>
                </a:lnTo>
                <a:lnTo>
                  <a:pt x="86" y="134"/>
                </a:lnTo>
                <a:lnTo>
                  <a:pt x="79" y="119"/>
                </a:lnTo>
                <a:lnTo>
                  <a:pt x="79" y="116"/>
                </a:lnTo>
                <a:lnTo>
                  <a:pt x="76" y="112"/>
                </a:lnTo>
                <a:lnTo>
                  <a:pt x="75" y="110"/>
                </a:lnTo>
                <a:lnTo>
                  <a:pt x="72" y="107"/>
                </a:lnTo>
                <a:lnTo>
                  <a:pt x="71" y="107"/>
                </a:lnTo>
                <a:lnTo>
                  <a:pt x="68" y="101"/>
                </a:lnTo>
                <a:lnTo>
                  <a:pt x="64" y="96"/>
                </a:lnTo>
                <a:lnTo>
                  <a:pt x="62" y="96"/>
                </a:lnTo>
                <a:lnTo>
                  <a:pt x="60" y="96"/>
                </a:lnTo>
                <a:lnTo>
                  <a:pt x="59" y="88"/>
                </a:lnTo>
                <a:lnTo>
                  <a:pt x="58" y="82"/>
                </a:lnTo>
                <a:lnTo>
                  <a:pt x="56" y="79"/>
                </a:lnTo>
                <a:lnTo>
                  <a:pt x="55" y="74"/>
                </a:lnTo>
                <a:lnTo>
                  <a:pt x="55" y="71"/>
                </a:lnTo>
                <a:lnTo>
                  <a:pt x="52" y="68"/>
                </a:lnTo>
                <a:lnTo>
                  <a:pt x="50" y="64"/>
                </a:lnTo>
                <a:lnTo>
                  <a:pt x="44" y="61"/>
                </a:lnTo>
                <a:lnTo>
                  <a:pt x="42" y="60"/>
                </a:lnTo>
                <a:lnTo>
                  <a:pt x="38" y="60"/>
                </a:lnTo>
                <a:lnTo>
                  <a:pt x="36" y="49"/>
                </a:lnTo>
                <a:lnTo>
                  <a:pt x="34" y="49"/>
                </a:lnTo>
                <a:lnTo>
                  <a:pt x="34" y="46"/>
                </a:lnTo>
                <a:lnTo>
                  <a:pt x="32" y="44"/>
                </a:lnTo>
                <a:lnTo>
                  <a:pt x="28" y="39"/>
                </a:lnTo>
                <a:lnTo>
                  <a:pt x="26" y="36"/>
                </a:lnTo>
                <a:lnTo>
                  <a:pt x="23" y="35"/>
                </a:lnTo>
                <a:lnTo>
                  <a:pt x="20" y="35"/>
                </a:lnTo>
                <a:lnTo>
                  <a:pt x="18" y="31"/>
                </a:lnTo>
                <a:lnTo>
                  <a:pt x="15" y="28"/>
                </a:lnTo>
                <a:lnTo>
                  <a:pt x="14" y="25"/>
                </a:lnTo>
                <a:lnTo>
                  <a:pt x="11" y="24"/>
                </a:lnTo>
                <a:lnTo>
                  <a:pt x="4" y="16"/>
                </a:lnTo>
                <a:lnTo>
                  <a:pt x="3" y="14"/>
                </a:lnTo>
                <a:lnTo>
                  <a:pt x="0" y="8"/>
                </a:lnTo>
                <a:lnTo>
                  <a:pt x="0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80" name="Freeform 77"/>
          <p:cNvSpPr>
            <a:spLocks/>
          </p:cNvSpPr>
          <p:nvPr/>
        </p:nvSpPr>
        <p:spPr bwMode="auto">
          <a:xfrm>
            <a:off x="8414458" y="4144532"/>
            <a:ext cx="311811" cy="405898"/>
          </a:xfrm>
          <a:custGeom>
            <a:avLst/>
            <a:gdLst/>
            <a:ahLst/>
            <a:cxnLst>
              <a:cxn ang="0">
                <a:pos x="3" y="0"/>
              </a:cxn>
              <a:cxn ang="0">
                <a:pos x="10" y="2"/>
              </a:cxn>
              <a:cxn ang="0">
                <a:pos x="16" y="6"/>
              </a:cxn>
              <a:cxn ang="0">
                <a:pos x="27" y="6"/>
              </a:cxn>
              <a:cxn ang="0">
                <a:pos x="36" y="9"/>
              </a:cxn>
              <a:cxn ang="0">
                <a:pos x="42" y="17"/>
              </a:cxn>
              <a:cxn ang="0">
                <a:pos x="47" y="24"/>
              </a:cxn>
              <a:cxn ang="0">
                <a:pos x="54" y="35"/>
              </a:cxn>
              <a:cxn ang="0">
                <a:pos x="68" y="46"/>
              </a:cxn>
              <a:cxn ang="0">
                <a:pos x="76" y="53"/>
              </a:cxn>
              <a:cxn ang="0">
                <a:pos x="83" y="63"/>
              </a:cxn>
              <a:cxn ang="0">
                <a:pos x="88" y="61"/>
              </a:cxn>
              <a:cxn ang="0">
                <a:pos x="95" y="71"/>
              </a:cxn>
              <a:cxn ang="0">
                <a:pos x="101" y="74"/>
              </a:cxn>
              <a:cxn ang="0">
                <a:pos x="105" y="80"/>
              </a:cxn>
              <a:cxn ang="0">
                <a:pos x="111" y="82"/>
              </a:cxn>
              <a:cxn ang="0">
                <a:pos x="119" y="83"/>
              </a:cxn>
              <a:cxn ang="0">
                <a:pos x="116" y="86"/>
              </a:cxn>
              <a:cxn ang="0">
                <a:pos x="117" y="93"/>
              </a:cxn>
              <a:cxn ang="0">
                <a:pos x="115" y="96"/>
              </a:cxn>
              <a:cxn ang="0">
                <a:pos x="123" y="91"/>
              </a:cxn>
              <a:cxn ang="0">
                <a:pos x="128" y="97"/>
              </a:cxn>
              <a:cxn ang="0">
                <a:pos x="125" y="105"/>
              </a:cxn>
              <a:cxn ang="0">
                <a:pos x="124" y="110"/>
              </a:cxn>
              <a:cxn ang="0">
                <a:pos x="128" y="118"/>
              </a:cxn>
              <a:cxn ang="0">
                <a:pos x="133" y="119"/>
              </a:cxn>
              <a:cxn ang="0">
                <a:pos x="139" y="123"/>
              </a:cxn>
              <a:cxn ang="0">
                <a:pos x="140" y="132"/>
              </a:cxn>
              <a:cxn ang="0">
                <a:pos x="144" y="135"/>
              </a:cxn>
              <a:cxn ang="0">
                <a:pos x="147" y="143"/>
              </a:cxn>
              <a:cxn ang="0">
                <a:pos x="153" y="143"/>
              </a:cxn>
              <a:cxn ang="0">
                <a:pos x="159" y="149"/>
              </a:cxn>
              <a:cxn ang="0">
                <a:pos x="163" y="157"/>
              </a:cxn>
              <a:cxn ang="0">
                <a:pos x="160" y="167"/>
              </a:cxn>
              <a:cxn ang="0">
                <a:pos x="161" y="173"/>
              </a:cxn>
              <a:cxn ang="0">
                <a:pos x="160" y="195"/>
              </a:cxn>
              <a:cxn ang="0">
                <a:pos x="157" y="204"/>
              </a:cxn>
              <a:cxn ang="0">
                <a:pos x="152" y="200"/>
              </a:cxn>
              <a:cxn ang="0">
                <a:pos x="144" y="198"/>
              </a:cxn>
              <a:cxn ang="0">
                <a:pos x="143" y="204"/>
              </a:cxn>
              <a:cxn ang="0">
                <a:pos x="133" y="195"/>
              </a:cxn>
              <a:cxn ang="0">
                <a:pos x="127" y="187"/>
              </a:cxn>
              <a:cxn ang="0">
                <a:pos x="115" y="178"/>
              </a:cxn>
              <a:cxn ang="0">
                <a:pos x="108" y="171"/>
              </a:cxn>
              <a:cxn ang="0">
                <a:pos x="101" y="162"/>
              </a:cxn>
              <a:cxn ang="0">
                <a:pos x="87" y="141"/>
              </a:cxn>
              <a:cxn ang="0">
                <a:pos x="79" y="119"/>
              </a:cxn>
              <a:cxn ang="0">
                <a:pos x="75" y="110"/>
              </a:cxn>
              <a:cxn ang="0">
                <a:pos x="68" y="101"/>
              </a:cxn>
              <a:cxn ang="0">
                <a:pos x="60" y="96"/>
              </a:cxn>
              <a:cxn ang="0">
                <a:pos x="56" y="79"/>
              </a:cxn>
              <a:cxn ang="0">
                <a:pos x="52" y="68"/>
              </a:cxn>
              <a:cxn ang="0">
                <a:pos x="42" y="60"/>
              </a:cxn>
              <a:cxn ang="0">
                <a:pos x="34" y="49"/>
              </a:cxn>
              <a:cxn ang="0">
                <a:pos x="28" y="39"/>
              </a:cxn>
              <a:cxn ang="0">
                <a:pos x="20" y="35"/>
              </a:cxn>
              <a:cxn ang="0">
                <a:pos x="14" y="25"/>
              </a:cxn>
              <a:cxn ang="0">
                <a:pos x="3" y="14"/>
              </a:cxn>
            </a:cxnLst>
            <a:rect l="0" t="0" r="r" b="b"/>
            <a:pathLst>
              <a:path w="163" h="204">
                <a:moveTo>
                  <a:pt x="0" y="2"/>
                </a:moveTo>
                <a:lnTo>
                  <a:pt x="2" y="2"/>
                </a:lnTo>
                <a:lnTo>
                  <a:pt x="3" y="0"/>
                </a:lnTo>
                <a:lnTo>
                  <a:pt x="6" y="0"/>
                </a:lnTo>
                <a:lnTo>
                  <a:pt x="8" y="2"/>
                </a:lnTo>
                <a:lnTo>
                  <a:pt x="10" y="2"/>
                </a:lnTo>
                <a:lnTo>
                  <a:pt x="11" y="6"/>
                </a:lnTo>
                <a:lnTo>
                  <a:pt x="15" y="6"/>
                </a:lnTo>
                <a:lnTo>
                  <a:pt x="16" y="6"/>
                </a:lnTo>
                <a:lnTo>
                  <a:pt x="20" y="8"/>
                </a:lnTo>
                <a:lnTo>
                  <a:pt x="26" y="6"/>
                </a:lnTo>
                <a:lnTo>
                  <a:pt x="27" y="6"/>
                </a:lnTo>
                <a:lnTo>
                  <a:pt x="30" y="8"/>
                </a:lnTo>
                <a:lnTo>
                  <a:pt x="34" y="8"/>
                </a:lnTo>
                <a:lnTo>
                  <a:pt x="36" y="9"/>
                </a:lnTo>
                <a:lnTo>
                  <a:pt x="40" y="13"/>
                </a:lnTo>
                <a:lnTo>
                  <a:pt x="42" y="16"/>
                </a:lnTo>
                <a:lnTo>
                  <a:pt x="42" y="17"/>
                </a:lnTo>
                <a:lnTo>
                  <a:pt x="43" y="19"/>
                </a:lnTo>
                <a:lnTo>
                  <a:pt x="44" y="20"/>
                </a:lnTo>
                <a:lnTo>
                  <a:pt x="47" y="24"/>
                </a:lnTo>
                <a:lnTo>
                  <a:pt x="47" y="27"/>
                </a:lnTo>
                <a:lnTo>
                  <a:pt x="51" y="30"/>
                </a:lnTo>
                <a:lnTo>
                  <a:pt x="54" y="35"/>
                </a:lnTo>
                <a:lnTo>
                  <a:pt x="63" y="39"/>
                </a:lnTo>
                <a:lnTo>
                  <a:pt x="66" y="41"/>
                </a:lnTo>
                <a:lnTo>
                  <a:pt x="68" y="46"/>
                </a:lnTo>
                <a:lnTo>
                  <a:pt x="71" y="49"/>
                </a:lnTo>
                <a:lnTo>
                  <a:pt x="72" y="52"/>
                </a:lnTo>
                <a:lnTo>
                  <a:pt x="76" y="53"/>
                </a:lnTo>
                <a:lnTo>
                  <a:pt x="78" y="57"/>
                </a:lnTo>
                <a:lnTo>
                  <a:pt x="82" y="61"/>
                </a:lnTo>
                <a:lnTo>
                  <a:pt x="83" y="63"/>
                </a:lnTo>
                <a:lnTo>
                  <a:pt x="84" y="63"/>
                </a:lnTo>
                <a:lnTo>
                  <a:pt x="86" y="61"/>
                </a:lnTo>
                <a:lnTo>
                  <a:pt x="88" y="61"/>
                </a:lnTo>
                <a:lnTo>
                  <a:pt x="89" y="63"/>
                </a:lnTo>
                <a:lnTo>
                  <a:pt x="92" y="69"/>
                </a:lnTo>
                <a:lnTo>
                  <a:pt x="95" y="71"/>
                </a:lnTo>
                <a:lnTo>
                  <a:pt x="96" y="71"/>
                </a:lnTo>
                <a:lnTo>
                  <a:pt x="97" y="71"/>
                </a:lnTo>
                <a:lnTo>
                  <a:pt x="101" y="74"/>
                </a:lnTo>
                <a:lnTo>
                  <a:pt x="103" y="75"/>
                </a:lnTo>
                <a:lnTo>
                  <a:pt x="105" y="79"/>
                </a:lnTo>
                <a:lnTo>
                  <a:pt x="105" y="80"/>
                </a:lnTo>
                <a:lnTo>
                  <a:pt x="107" y="77"/>
                </a:lnTo>
                <a:lnTo>
                  <a:pt x="108" y="80"/>
                </a:lnTo>
                <a:lnTo>
                  <a:pt x="111" y="82"/>
                </a:lnTo>
                <a:lnTo>
                  <a:pt x="116" y="82"/>
                </a:lnTo>
                <a:lnTo>
                  <a:pt x="119" y="82"/>
                </a:lnTo>
                <a:lnTo>
                  <a:pt x="119" y="83"/>
                </a:lnTo>
                <a:lnTo>
                  <a:pt x="119" y="85"/>
                </a:lnTo>
                <a:lnTo>
                  <a:pt x="117" y="86"/>
                </a:lnTo>
                <a:lnTo>
                  <a:pt x="116" y="86"/>
                </a:lnTo>
                <a:lnTo>
                  <a:pt x="116" y="88"/>
                </a:lnTo>
                <a:lnTo>
                  <a:pt x="117" y="91"/>
                </a:lnTo>
                <a:lnTo>
                  <a:pt x="117" y="93"/>
                </a:lnTo>
                <a:lnTo>
                  <a:pt x="115" y="96"/>
                </a:lnTo>
                <a:lnTo>
                  <a:pt x="113" y="96"/>
                </a:lnTo>
                <a:lnTo>
                  <a:pt x="115" y="96"/>
                </a:lnTo>
                <a:lnTo>
                  <a:pt x="119" y="94"/>
                </a:lnTo>
                <a:lnTo>
                  <a:pt x="120" y="93"/>
                </a:lnTo>
                <a:lnTo>
                  <a:pt x="123" y="91"/>
                </a:lnTo>
                <a:lnTo>
                  <a:pt x="124" y="93"/>
                </a:lnTo>
                <a:lnTo>
                  <a:pt x="127" y="94"/>
                </a:lnTo>
                <a:lnTo>
                  <a:pt x="128" y="97"/>
                </a:lnTo>
                <a:lnTo>
                  <a:pt x="128" y="99"/>
                </a:lnTo>
                <a:lnTo>
                  <a:pt x="124" y="104"/>
                </a:lnTo>
                <a:lnTo>
                  <a:pt x="125" y="105"/>
                </a:lnTo>
                <a:lnTo>
                  <a:pt x="127" y="105"/>
                </a:lnTo>
                <a:lnTo>
                  <a:pt x="127" y="107"/>
                </a:lnTo>
                <a:lnTo>
                  <a:pt x="124" y="110"/>
                </a:lnTo>
                <a:lnTo>
                  <a:pt x="124" y="113"/>
                </a:lnTo>
                <a:lnTo>
                  <a:pt x="125" y="115"/>
                </a:lnTo>
                <a:lnTo>
                  <a:pt x="128" y="118"/>
                </a:lnTo>
                <a:lnTo>
                  <a:pt x="131" y="118"/>
                </a:lnTo>
                <a:lnTo>
                  <a:pt x="132" y="118"/>
                </a:lnTo>
                <a:lnTo>
                  <a:pt x="133" y="119"/>
                </a:lnTo>
                <a:lnTo>
                  <a:pt x="135" y="119"/>
                </a:lnTo>
                <a:lnTo>
                  <a:pt x="137" y="119"/>
                </a:lnTo>
                <a:lnTo>
                  <a:pt x="139" y="123"/>
                </a:lnTo>
                <a:lnTo>
                  <a:pt x="140" y="126"/>
                </a:lnTo>
                <a:lnTo>
                  <a:pt x="140" y="129"/>
                </a:lnTo>
                <a:lnTo>
                  <a:pt x="140" y="132"/>
                </a:lnTo>
                <a:lnTo>
                  <a:pt x="140" y="134"/>
                </a:lnTo>
                <a:lnTo>
                  <a:pt x="141" y="134"/>
                </a:lnTo>
                <a:lnTo>
                  <a:pt x="144" y="135"/>
                </a:lnTo>
                <a:lnTo>
                  <a:pt x="145" y="138"/>
                </a:lnTo>
                <a:lnTo>
                  <a:pt x="144" y="143"/>
                </a:lnTo>
                <a:lnTo>
                  <a:pt x="147" y="143"/>
                </a:lnTo>
                <a:lnTo>
                  <a:pt x="149" y="143"/>
                </a:lnTo>
                <a:lnTo>
                  <a:pt x="152" y="143"/>
                </a:lnTo>
                <a:lnTo>
                  <a:pt x="153" y="143"/>
                </a:lnTo>
                <a:lnTo>
                  <a:pt x="157" y="145"/>
                </a:lnTo>
                <a:lnTo>
                  <a:pt x="157" y="146"/>
                </a:lnTo>
                <a:lnTo>
                  <a:pt x="159" y="149"/>
                </a:lnTo>
                <a:lnTo>
                  <a:pt x="160" y="151"/>
                </a:lnTo>
                <a:lnTo>
                  <a:pt x="163" y="154"/>
                </a:lnTo>
                <a:lnTo>
                  <a:pt x="163" y="157"/>
                </a:lnTo>
                <a:lnTo>
                  <a:pt x="163" y="159"/>
                </a:lnTo>
                <a:lnTo>
                  <a:pt x="161" y="165"/>
                </a:lnTo>
                <a:lnTo>
                  <a:pt x="160" y="167"/>
                </a:lnTo>
                <a:lnTo>
                  <a:pt x="161" y="168"/>
                </a:lnTo>
                <a:lnTo>
                  <a:pt x="161" y="170"/>
                </a:lnTo>
                <a:lnTo>
                  <a:pt x="161" y="173"/>
                </a:lnTo>
                <a:lnTo>
                  <a:pt x="160" y="179"/>
                </a:lnTo>
                <a:lnTo>
                  <a:pt x="160" y="182"/>
                </a:lnTo>
                <a:lnTo>
                  <a:pt x="160" y="195"/>
                </a:lnTo>
                <a:lnTo>
                  <a:pt x="160" y="201"/>
                </a:lnTo>
                <a:lnTo>
                  <a:pt x="159" y="204"/>
                </a:lnTo>
                <a:lnTo>
                  <a:pt x="157" y="204"/>
                </a:lnTo>
                <a:lnTo>
                  <a:pt x="155" y="201"/>
                </a:lnTo>
                <a:lnTo>
                  <a:pt x="152" y="198"/>
                </a:lnTo>
                <a:lnTo>
                  <a:pt x="152" y="200"/>
                </a:lnTo>
                <a:lnTo>
                  <a:pt x="151" y="203"/>
                </a:lnTo>
                <a:lnTo>
                  <a:pt x="149" y="203"/>
                </a:lnTo>
                <a:lnTo>
                  <a:pt x="144" y="198"/>
                </a:lnTo>
                <a:lnTo>
                  <a:pt x="141" y="200"/>
                </a:lnTo>
                <a:lnTo>
                  <a:pt x="144" y="204"/>
                </a:lnTo>
                <a:lnTo>
                  <a:pt x="143" y="204"/>
                </a:lnTo>
                <a:lnTo>
                  <a:pt x="140" y="203"/>
                </a:lnTo>
                <a:lnTo>
                  <a:pt x="137" y="200"/>
                </a:lnTo>
                <a:lnTo>
                  <a:pt x="133" y="195"/>
                </a:lnTo>
                <a:lnTo>
                  <a:pt x="131" y="192"/>
                </a:lnTo>
                <a:lnTo>
                  <a:pt x="129" y="189"/>
                </a:lnTo>
                <a:lnTo>
                  <a:pt x="127" y="187"/>
                </a:lnTo>
                <a:lnTo>
                  <a:pt x="125" y="187"/>
                </a:lnTo>
                <a:lnTo>
                  <a:pt x="120" y="181"/>
                </a:lnTo>
                <a:lnTo>
                  <a:pt x="115" y="178"/>
                </a:lnTo>
                <a:lnTo>
                  <a:pt x="112" y="176"/>
                </a:lnTo>
                <a:lnTo>
                  <a:pt x="109" y="174"/>
                </a:lnTo>
                <a:lnTo>
                  <a:pt x="108" y="171"/>
                </a:lnTo>
                <a:lnTo>
                  <a:pt x="107" y="167"/>
                </a:lnTo>
                <a:lnTo>
                  <a:pt x="105" y="165"/>
                </a:lnTo>
                <a:lnTo>
                  <a:pt x="101" y="162"/>
                </a:lnTo>
                <a:lnTo>
                  <a:pt x="99" y="159"/>
                </a:lnTo>
                <a:lnTo>
                  <a:pt x="93" y="149"/>
                </a:lnTo>
                <a:lnTo>
                  <a:pt x="87" y="141"/>
                </a:lnTo>
                <a:lnTo>
                  <a:pt x="86" y="140"/>
                </a:lnTo>
                <a:lnTo>
                  <a:pt x="86" y="134"/>
                </a:lnTo>
                <a:lnTo>
                  <a:pt x="79" y="119"/>
                </a:lnTo>
                <a:lnTo>
                  <a:pt x="79" y="116"/>
                </a:lnTo>
                <a:lnTo>
                  <a:pt x="76" y="112"/>
                </a:lnTo>
                <a:lnTo>
                  <a:pt x="75" y="110"/>
                </a:lnTo>
                <a:lnTo>
                  <a:pt x="72" y="107"/>
                </a:lnTo>
                <a:lnTo>
                  <a:pt x="71" y="107"/>
                </a:lnTo>
                <a:lnTo>
                  <a:pt x="68" y="101"/>
                </a:lnTo>
                <a:lnTo>
                  <a:pt x="64" y="96"/>
                </a:lnTo>
                <a:lnTo>
                  <a:pt x="62" y="96"/>
                </a:lnTo>
                <a:lnTo>
                  <a:pt x="60" y="96"/>
                </a:lnTo>
                <a:lnTo>
                  <a:pt x="59" y="88"/>
                </a:lnTo>
                <a:lnTo>
                  <a:pt x="58" y="82"/>
                </a:lnTo>
                <a:lnTo>
                  <a:pt x="56" y="79"/>
                </a:lnTo>
                <a:lnTo>
                  <a:pt x="55" y="74"/>
                </a:lnTo>
                <a:lnTo>
                  <a:pt x="55" y="71"/>
                </a:lnTo>
                <a:lnTo>
                  <a:pt x="52" y="68"/>
                </a:lnTo>
                <a:lnTo>
                  <a:pt x="50" y="64"/>
                </a:lnTo>
                <a:lnTo>
                  <a:pt x="44" y="61"/>
                </a:lnTo>
                <a:lnTo>
                  <a:pt x="42" y="60"/>
                </a:lnTo>
                <a:lnTo>
                  <a:pt x="38" y="60"/>
                </a:lnTo>
                <a:lnTo>
                  <a:pt x="36" y="49"/>
                </a:lnTo>
                <a:lnTo>
                  <a:pt x="34" y="49"/>
                </a:lnTo>
                <a:lnTo>
                  <a:pt x="34" y="46"/>
                </a:lnTo>
                <a:lnTo>
                  <a:pt x="32" y="44"/>
                </a:lnTo>
                <a:lnTo>
                  <a:pt x="28" y="39"/>
                </a:lnTo>
                <a:lnTo>
                  <a:pt x="26" y="36"/>
                </a:lnTo>
                <a:lnTo>
                  <a:pt x="23" y="35"/>
                </a:lnTo>
                <a:lnTo>
                  <a:pt x="20" y="35"/>
                </a:lnTo>
                <a:lnTo>
                  <a:pt x="18" y="31"/>
                </a:lnTo>
                <a:lnTo>
                  <a:pt x="15" y="28"/>
                </a:lnTo>
                <a:lnTo>
                  <a:pt x="14" y="25"/>
                </a:lnTo>
                <a:lnTo>
                  <a:pt x="11" y="24"/>
                </a:lnTo>
                <a:lnTo>
                  <a:pt x="4" y="16"/>
                </a:lnTo>
                <a:lnTo>
                  <a:pt x="3" y="14"/>
                </a:lnTo>
                <a:lnTo>
                  <a:pt x="0" y="8"/>
                </a:lnTo>
                <a:lnTo>
                  <a:pt x="0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81" name="Freeform 78"/>
          <p:cNvSpPr>
            <a:spLocks/>
          </p:cNvSpPr>
          <p:nvPr/>
        </p:nvSpPr>
        <p:spPr bwMode="auto">
          <a:xfrm>
            <a:off x="8430049" y="4241174"/>
            <a:ext cx="21437" cy="17181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2" y="0"/>
              </a:cxn>
              <a:cxn ang="0">
                <a:pos x="10" y="6"/>
              </a:cxn>
              <a:cxn ang="0">
                <a:pos x="11" y="9"/>
              </a:cxn>
              <a:cxn ang="0">
                <a:pos x="10" y="9"/>
              </a:cxn>
              <a:cxn ang="0">
                <a:pos x="8" y="8"/>
              </a:cxn>
              <a:cxn ang="0">
                <a:pos x="6" y="6"/>
              </a:cxn>
              <a:cxn ang="0">
                <a:pos x="2" y="4"/>
              </a:cxn>
              <a:cxn ang="0">
                <a:pos x="0" y="1"/>
              </a:cxn>
            </a:cxnLst>
            <a:rect l="0" t="0" r="r" b="b"/>
            <a:pathLst>
              <a:path w="11" h="9">
                <a:moveTo>
                  <a:pt x="0" y="1"/>
                </a:moveTo>
                <a:lnTo>
                  <a:pt x="2" y="0"/>
                </a:lnTo>
                <a:lnTo>
                  <a:pt x="10" y="6"/>
                </a:lnTo>
                <a:lnTo>
                  <a:pt x="11" y="9"/>
                </a:lnTo>
                <a:lnTo>
                  <a:pt x="10" y="9"/>
                </a:lnTo>
                <a:lnTo>
                  <a:pt x="8" y="8"/>
                </a:lnTo>
                <a:lnTo>
                  <a:pt x="6" y="6"/>
                </a:lnTo>
                <a:lnTo>
                  <a:pt x="2" y="4"/>
                </a:lnTo>
                <a:lnTo>
                  <a:pt x="0" y="1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82" name="Freeform 79"/>
          <p:cNvSpPr>
            <a:spLocks/>
          </p:cNvSpPr>
          <p:nvPr/>
        </p:nvSpPr>
        <p:spPr bwMode="auto">
          <a:xfrm>
            <a:off x="8430049" y="4241174"/>
            <a:ext cx="21437" cy="17181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2" y="0"/>
              </a:cxn>
              <a:cxn ang="0">
                <a:pos x="10" y="6"/>
              </a:cxn>
              <a:cxn ang="0">
                <a:pos x="11" y="9"/>
              </a:cxn>
              <a:cxn ang="0">
                <a:pos x="10" y="9"/>
              </a:cxn>
              <a:cxn ang="0">
                <a:pos x="8" y="8"/>
              </a:cxn>
              <a:cxn ang="0">
                <a:pos x="6" y="6"/>
              </a:cxn>
              <a:cxn ang="0">
                <a:pos x="2" y="4"/>
              </a:cxn>
              <a:cxn ang="0">
                <a:pos x="0" y="1"/>
              </a:cxn>
            </a:cxnLst>
            <a:rect l="0" t="0" r="r" b="b"/>
            <a:pathLst>
              <a:path w="11" h="9">
                <a:moveTo>
                  <a:pt x="0" y="1"/>
                </a:moveTo>
                <a:lnTo>
                  <a:pt x="2" y="0"/>
                </a:lnTo>
                <a:lnTo>
                  <a:pt x="10" y="6"/>
                </a:lnTo>
                <a:lnTo>
                  <a:pt x="11" y="9"/>
                </a:lnTo>
                <a:lnTo>
                  <a:pt x="10" y="9"/>
                </a:lnTo>
                <a:lnTo>
                  <a:pt x="8" y="8"/>
                </a:lnTo>
                <a:lnTo>
                  <a:pt x="6" y="6"/>
                </a:lnTo>
                <a:lnTo>
                  <a:pt x="2" y="4"/>
                </a:lnTo>
                <a:lnTo>
                  <a:pt x="0" y="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83" name="Freeform 80"/>
          <p:cNvSpPr>
            <a:spLocks/>
          </p:cNvSpPr>
          <p:nvPr/>
        </p:nvSpPr>
        <p:spPr bwMode="auto">
          <a:xfrm>
            <a:off x="8472922" y="4290570"/>
            <a:ext cx="21437" cy="32215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2" y="0"/>
              </a:cxn>
              <a:cxn ang="0">
                <a:pos x="5" y="1"/>
              </a:cxn>
              <a:cxn ang="0">
                <a:pos x="6" y="5"/>
              </a:cxn>
              <a:cxn ang="0">
                <a:pos x="10" y="8"/>
              </a:cxn>
              <a:cxn ang="0">
                <a:pos x="12" y="14"/>
              </a:cxn>
              <a:cxn ang="0">
                <a:pos x="10" y="16"/>
              </a:cxn>
              <a:cxn ang="0">
                <a:pos x="9" y="16"/>
              </a:cxn>
              <a:cxn ang="0">
                <a:pos x="8" y="12"/>
              </a:cxn>
              <a:cxn ang="0">
                <a:pos x="6" y="11"/>
              </a:cxn>
              <a:cxn ang="0">
                <a:pos x="4" y="8"/>
              </a:cxn>
              <a:cxn ang="0">
                <a:pos x="0" y="1"/>
              </a:cxn>
            </a:cxnLst>
            <a:rect l="0" t="0" r="r" b="b"/>
            <a:pathLst>
              <a:path w="12" h="16">
                <a:moveTo>
                  <a:pt x="0" y="1"/>
                </a:moveTo>
                <a:lnTo>
                  <a:pt x="2" y="0"/>
                </a:lnTo>
                <a:lnTo>
                  <a:pt x="5" y="1"/>
                </a:lnTo>
                <a:lnTo>
                  <a:pt x="6" y="5"/>
                </a:lnTo>
                <a:lnTo>
                  <a:pt x="10" y="8"/>
                </a:lnTo>
                <a:lnTo>
                  <a:pt x="12" y="14"/>
                </a:lnTo>
                <a:lnTo>
                  <a:pt x="10" y="16"/>
                </a:lnTo>
                <a:lnTo>
                  <a:pt x="9" y="16"/>
                </a:lnTo>
                <a:lnTo>
                  <a:pt x="8" y="12"/>
                </a:lnTo>
                <a:lnTo>
                  <a:pt x="6" y="11"/>
                </a:lnTo>
                <a:lnTo>
                  <a:pt x="4" y="8"/>
                </a:lnTo>
                <a:lnTo>
                  <a:pt x="0" y="1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84" name="Freeform 81"/>
          <p:cNvSpPr>
            <a:spLocks/>
          </p:cNvSpPr>
          <p:nvPr/>
        </p:nvSpPr>
        <p:spPr bwMode="auto">
          <a:xfrm>
            <a:off x="8472922" y="4290570"/>
            <a:ext cx="21437" cy="32215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2" y="0"/>
              </a:cxn>
              <a:cxn ang="0">
                <a:pos x="5" y="1"/>
              </a:cxn>
              <a:cxn ang="0">
                <a:pos x="6" y="5"/>
              </a:cxn>
              <a:cxn ang="0">
                <a:pos x="10" y="8"/>
              </a:cxn>
              <a:cxn ang="0">
                <a:pos x="12" y="14"/>
              </a:cxn>
              <a:cxn ang="0">
                <a:pos x="10" y="16"/>
              </a:cxn>
              <a:cxn ang="0">
                <a:pos x="9" y="16"/>
              </a:cxn>
              <a:cxn ang="0">
                <a:pos x="8" y="12"/>
              </a:cxn>
              <a:cxn ang="0">
                <a:pos x="6" y="11"/>
              </a:cxn>
              <a:cxn ang="0">
                <a:pos x="4" y="8"/>
              </a:cxn>
              <a:cxn ang="0">
                <a:pos x="0" y="1"/>
              </a:cxn>
            </a:cxnLst>
            <a:rect l="0" t="0" r="r" b="b"/>
            <a:pathLst>
              <a:path w="12" h="16">
                <a:moveTo>
                  <a:pt x="0" y="1"/>
                </a:moveTo>
                <a:lnTo>
                  <a:pt x="2" y="0"/>
                </a:lnTo>
                <a:lnTo>
                  <a:pt x="5" y="1"/>
                </a:lnTo>
                <a:lnTo>
                  <a:pt x="6" y="5"/>
                </a:lnTo>
                <a:lnTo>
                  <a:pt x="10" y="8"/>
                </a:lnTo>
                <a:lnTo>
                  <a:pt x="12" y="14"/>
                </a:lnTo>
                <a:lnTo>
                  <a:pt x="10" y="16"/>
                </a:lnTo>
                <a:lnTo>
                  <a:pt x="9" y="16"/>
                </a:lnTo>
                <a:lnTo>
                  <a:pt x="8" y="12"/>
                </a:lnTo>
                <a:lnTo>
                  <a:pt x="6" y="11"/>
                </a:lnTo>
                <a:lnTo>
                  <a:pt x="4" y="8"/>
                </a:lnTo>
                <a:lnTo>
                  <a:pt x="0" y="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85" name="Freeform 82"/>
          <p:cNvSpPr>
            <a:spLocks/>
          </p:cNvSpPr>
          <p:nvPr/>
        </p:nvSpPr>
        <p:spPr bwMode="auto">
          <a:xfrm>
            <a:off x="8591801" y="4269094"/>
            <a:ext cx="11693" cy="12885"/>
          </a:xfrm>
          <a:custGeom>
            <a:avLst/>
            <a:gdLst/>
            <a:ahLst/>
            <a:cxnLst>
              <a:cxn ang="0">
                <a:pos x="4" y="6"/>
              </a:cxn>
              <a:cxn ang="0">
                <a:pos x="3" y="6"/>
              </a:cxn>
              <a:cxn ang="0">
                <a:pos x="2" y="5"/>
              </a:cxn>
              <a:cxn ang="0">
                <a:pos x="0" y="3"/>
              </a:cxn>
              <a:cxn ang="0">
                <a:pos x="0" y="1"/>
              </a:cxn>
              <a:cxn ang="0">
                <a:pos x="2" y="1"/>
              </a:cxn>
              <a:cxn ang="0">
                <a:pos x="3" y="0"/>
              </a:cxn>
              <a:cxn ang="0">
                <a:pos x="4" y="0"/>
              </a:cxn>
              <a:cxn ang="0">
                <a:pos x="6" y="1"/>
              </a:cxn>
              <a:cxn ang="0">
                <a:pos x="6" y="5"/>
              </a:cxn>
              <a:cxn ang="0">
                <a:pos x="4" y="6"/>
              </a:cxn>
            </a:cxnLst>
            <a:rect l="0" t="0" r="r" b="b"/>
            <a:pathLst>
              <a:path w="6" h="6">
                <a:moveTo>
                  <a:pt x="4" y="6"/>
                </a:moveTo>
                <a:lnTo>
                  <a:pt x="3" y="6"/>
                </a:lnTo>
                <a:lnTo>
                  <a:pt x="2" y="5"/>
                </a:lnTo>
                <a:lnTo>
                  <a:pt x="0" y="3"/>
                </a:lnTo>
                <a:lnTo>
                  <a:pt x="0" y="1"/>
                </a:lnTo>
                <a:lnTo>
                  <a:pt x="2" y="1"/>
                </a:lnTo>
                <a:lnTo>
                  <a:pt x="3" y="0"/>
                </a:lnTo>
                <a:lnTo>
                  <a:pt x="4" y="0"/>
                </a:lnTo>
                <a:lnTo>
                  <a:pt x="6" y="1"/>
                </a:lnTo>
                <a:lnTo>
                  <a:pt x="6" y="5"/>
                </a:lnTo>
                <a:lnTo>
                  <a:pt x="4" y="6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86" name="Freeform 83"/>
          <p:cNvSpPr>
            <a:spLocks/>
          </p:cNvSpPr>
          <p:nvPr/>
        </p:nvSpPr>
        <p:spPr bwMode="auto">
          <a:xfrm>
            <a:off x="8591801" y="4269094"/>
            <a:ext cx="11693" cy="12885"/>
          </a:xfrm>
          <a:custGeom>
            <a:avLst/>
            <a:gdLst/>
            <a:ahLst/>
            <a:cxnLst>
              <a:cxn ang="0">
                <a:pos x="4" y="6"/>
              </a:cxn>
              <a:cxn ang="0">
                <a:pos x="3" y="6"/>
              </a:cxn>
              <a:cxn ang="0">
                <a:pos x="2" y="5"/>
              </a:cxn>
              <a:cxn ang="0">
                <a:pos x="0" y="3"/>
              </a:cxn>
              <a:cxn ang="0">
                <a:pos x="0" y="1"/>
              </a:cxn>
              <a:cxn ang="0">
                <a:pos x="2" y="1"/>
              </a:cxn>
              <a:cxn ang="0">
                <a:pos x="3" y="0"/>
              </a:cxn>
              <a:cxn ang="0">
                <a:pos x="4" y="0"/>
              </a:cxn>
              <a:cxn ang="0">
                <a:pos x="6" y="1"/>
              </a:cxn>
              <a:cxn ang="0">
                <a:pos x="6" y="5"/>
              </a:cxn>
              <a:cxn ang="0">
                <a:pos x="4" y="6"/>
              </a:cxn>
            </a:cxnLst>
            <a:rect l="0" t="0" r="r" b="b"/>
            <a:pathLst>
              <a:path w="6" h="6">
                <a:moveTo>
                  <a:pt x="4" y="6"/>
                </a:moveTo>
                <a:lnTo>
                  <a:pt x="3" y="6"/>
                </a:lnTo>
                <a:lnTo>
                  <a:pt x="2" y="5"/>
                </a:lnTo>
                <a:lnTo>
                  <a:pt x="0" y="3"/>
                </a:lnTo>
                <a:lnTo>
                  <a:pt x="0" y="1"/>
                </a:lnTo>
                <a:lnTo>
                  <a:pt x="2" y="1"/>
                </a:lnTo>
                <a:lnTo>
                  <a:pt x="3" y="0"/>
                </a:lnTo>
                <a:lnTo>
                  <a:pt x="4" y="0"/>
                </a:lnTo>
                <a:lnTo>
                  <a:pt x="6" y="1"/>
                </a:lnTo>
                <a:lnTo>
                  <a:pt x="6" y="5"/>
                </a:lnTo>
                <a:lnTo>
                  <a:pt x="4" y="6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87" name="Freeform 84"/>
          <p:cNvSpPr>
            <a:spLocks/>
          </p:cNvSpPr>
          <p:nvPr/>
        </p:nvSpPr>
        <p:spPr bwMode="auto">
          <a:xfrm>
            <a:off x="8609341" y="4286275"/>
            <a:ext cx="13640" cy="1288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0"/>
              </a:cxn>
              <a:cxn ang="0">
                <a:pos x="2" y="1"/>
              </a:cxn>
              <a:cxn ang="0">
                <a:pos x="4" y="1"/>
              </a:cxn>
              <a:cxn ang="0">
                <a:pos x="5" y="1"/>
              </a:cxn>
              <a:cxn ang="0">
                <a:pos x="6" y="6"/>
              </a:cxn>
              <a:cxn ang="0">
                <a:pos x="5" y="4"/>
              </a:cxn>
              <a:cxn ang="0">
                <a:pos x="1" y="3"/>
              </a:cxn>
              <a:cxn ang="0">
                <a:pos x="0" y="0"/>
              </a:cxn>
            </a:cxnLst>
            <a:rect l="0" t="0" r="r" b="b"/>
            <a:pathLst>
              <a:path w="6" h="6">
                <a:moveTo>
                  <a:pt x="0" y="0"/>
                </a:moveTo>
                <a:lnTo>
                  <a:pt x="1" y="0"/>
                </a:lnTo>
                <a:lnTo>
                  <a:pt x="2" y="1"/>
                </a:lnTo>
                <a:lnTo>
                  <a:pt x="4" y="1"/>
                </a:lnTo>
                <a:lnTo>
                  <a:pt x="5" y="1"/>
                </a:lnTo>
                <a:lnTo>
                  <a:pt x="6" y="6"/>
                </a:lnTo>
                <a:lnTo>
                  <a:pt x="5" y="4"/>
                </a:lnTo>
                <a:lnTo>
                  <a:pt x="1" y="3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88" name="Freeform 85"/>
          <p:cNvSpPr>
            <a:spLocks/>
          </p:cNvSpPr>
          <p:nvPr/>
        </p:nvSpPr>
        <p:spPr bwMode="auto">
          <a:xfrm>
            <a:off x="8609341" y="4286275"/>
            <a:ext cx="13640" cy="1288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0"/>
              </a:cxn>
              <a:cxn ang="0">
                <a:pos x="2" y="1"/>
              </a:cxn>
              <a:cxn ang="0">
                <a:pos x="4" y="1"/>
              </a:cxn>
              <a:cxn ang="0">
                <a:pos x="5" y="1"/>
              </a:cxn>
              <a:cxn ang="0">
                <a:pos x="6" y="6"/>
              </a:cxn>
              <a:cxn ang="0">
                <a:pos x="5" y="4"/>
              </a:cxn>
              <a:cxn ang="0">
                <a:pos x="1" y="3"/>
              </a:cxn>
              <a:cxn ang="0">
                <a:pos x="0" y="0"/>
              </a:cxn>
            </a:cxnLst>
            <a:rect l="0" t="0" r="r" b="b"/>
            <a:pathLst>
              <a:path w="6" h="6">
                <a:moveTo>
                  <a:pt x="0" y="0"/>
                </a:moveTo>
                <a:lnTo>
                  <a:pt x="1" y="0"/>
                </a:lnTo>
                <a:lnTo>
                  <a:pt x="2" y="1"/>
                </a:lnTo>
                <a:lnTo>
                  <a:pt x="4" y="1"/>
                </a:lnTo>
                <a:lnTo>
                  <a:pt x="5" y="1"/>
                </a:lnTo>
                <a:lnTo>
                  <a:pt x="6" y="6"/>
                </a:lnTo>
                <a:lnTo>
                  <a:pt x="5" y="4"/>
                </a:lnTo>
                <a:lnTo>
                  <a:pt x="1" y="3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89" name="Freeform 86"/>
          <p:cNvSpPr>
            <a:spLocks/>
          </p:cNvSpPr>
          <p:nvPr/>
        </p:nvSpPr>
        <p:spPr bwMode="auto">
          <a:xfrm>
            <a:off x="8513848" y="4374327"/>
            <a:ext cx="19488" cy="32213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4" y="0"/>
              </a:cxn>
              <a:cxn ang="0">
                <a:pos x="4" y="2"/>
              </a:cxn>
              <a:cxn ang="0">
                <a:pos x="6" y="5"/>
              </a:cxn>
              <a:cxn ang="0">
                <a:pos x="7" y="10"/>
              </a:cxn>
              <a:cxn ang="0">
                <a:pos x="10" y="13"/>
              </a:cxn>
              <a:cxn ang="0">
                <a:pos x="10" y="14"/>
              </a:cxn>
              <a:cxn ang="0">
                <a:pos x="7" y="16"/>
              </a:cxn>
              <a:cxn ang="0">
                <a:pos x="6" y="14"/>
              </a:cxn>
              <a:cxn ang="0">
                <a:pos x="4" y="13"/>
              </a:cxn>
              <a:cxn ang="0">
                <a:pos x="2" y="11"/>
              </a:cxn>
              <a:cxn ang="0">
                <a:pos x="0" y="7"/>
              </a:cxn>
              <a:cxn ang="0">
                <a:pos x="0" y="5"/>
              </a:cxn>
              <a:cxn ang="0">
                <a:pos x="0" y="3"/>
              </a:cxn>
              <a:cxn ang="0">
                <a:pos x="2" y="2"/>
              </a:cxn>
            </a:cxnLst>
            <a:rect l="0" t="0" r="r" b="b"/>
            <a:pathLst>
              <a:path w="10" h="16">
                <a:moveTo>
                  <a:pt x="2" y="2"/>
                </a:moveTo>
                <a:lnTo>
                  <a:pt x="4" y="0"/>
                </a:lnTo>
                <a:lnTo>
                  <a:pt x="4" y="2"/>
                </a:lnTo>
                <a:lnTo>
                  <a:pt x="6" y="5"/>
                </a:lnTo>
                <a:lnTo>
                  <a:pt x="7" y="10"/>
                </a:lnTo>
                <a:lnTo>
                  <a:pt x="10" y="13"/>
                </a:lnTo>
                <a:lnTo>
                  <a:pt x="10" y="14"/>
                </a:lnTo>
                <a:lnTo>
                  <a:pt x="7" y="16"/>
                </a:lnTo>
                <a:lnTo>
                  <a:pt x="6" y="14"/>
                </a:lnTo>
                <a:lnTo>
                  <a:pt x="4" y="13"/>
                </a:lnTo>
                <a:lnTo>
                  <a:pt x="2" y="11"/>
                </a:lnTo>
                <a:lnTo>
                  <a:pt x="0" y="7"/>
                </a:lnTo>
                <a:lnTo>
                  <a:pt x="0" y="5"/>
                </a:lnTo>
                <a:lnTo>
                  <a:pt x="0" y="3"/>
                </a:lnTo>
                <a:lnTo>
                  <a:pt x="2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90" name="Freeform 87"/>
          <p:cNvSpPr>
            <a:spLocks/>
          </p:cNvSpPr>
          <p:nvPr/>
        </p:nvSpPr>
        <p:spPr bwMode="auto">
          <a:xfrm>
            <a:off x="8513848" y="4374327"/>
            <a:ext cx="19488" cy="32213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4" y="0"/>
              </a:cxn>
              <a:cxn ang="0">
                <a:pos x="4" y="2"/>
              </a:cxn>
              <a:cxn ang="0">
                <a:pos x="6" y="5"/>
              </a:cxn>
              <a:cxn ang="0">
                <a:pos x="7" y="10"/>
              </a:cxn>
              <a:cxn ang="0">
                <a:pos x="10" y="13"/>
              </a:cxn>
              <a:cxn ang="0">
                <a:pos x="10" y="14"/>
              </a:cxn>
              <a:cxn ang="0">
                <a:pos x="7" y="16"/>
              </a:cxn>
              <a:cxn ang="0">
                <a:pos x="6" y="14"/>
              </a:cxn>
              <a:cxn ang="0">
                <a:pos x="4" y="13"/>
              </a:cxn>
              <a:cxn ang="0">
                <a:pos x="2" y="11"/>
              </a:cxn>
              <a:cxn ang="0">
                <a:pos x="0" y="7"/>
              </a:cxn>
              <a:cxn ang="0">
                <a:pos x="0" y="5"/>
              </a:cxn>
              <a:cxn ang="0">
                <a:pos x="0" y="3"/>
              </a:cxn>
              <a:cxn ang="0">
                <a:pos x="2" y="2"/>
              </a:cxn>
            </a:cxnLst>
            <a:rect l="0" t="0" r="r" b="b"/>
            <a:pathLst>
              <a:path w="10" h="16">
                <a:moveTo>
                  <a:pt x="2" y="2"/>
                </a:moveTo>
                <a:lnTo>
                  <a:pt x="4" y="0"/>
                </a:lnTo>
                <a:lnTo>
                  <a:pt x="4" y="2"/>
                </a:lnTo>
                <a:lnTo>
                  <a:pt x="6" y="5"/>
                </a:lnTo>
                <a:lnTo>
                  <a:pt x="7" y="10"/>
                </a:lnTo>
                <a:lnTo>
                  <a:pt x="10" y="13"/>
                </a:lnTo>
                <a:lnTo>
                  <a:pt x="10" y="14"/>
                </a:lnTo>
                <a:lnTo>
                  <a:pt x="7" y="16"/>
                </a:lnTo>
                <a:lnTo>
                  <a:pt x="6" y="14"/>
                </a:lnTo>
                <a:lnTo>
                  <a:pt x="4" y="13"/>
                </a:lnTo>
                <a:lnTo>
                  <a:pt x="2" y="11"/>
                </a:lnTo>
                <a:lnTo>
                  <a:pt x="0" y="7"/>
                </a:lnTo>
                <a:lnTo>
                  <a:pt x="0" y="5"/>
                </a:lnTo>
                <a:lnTo>
                  <a:pt x="0" y="3"/>
                </a:lnTo>
                <a:lnTo>
                  <a:pt x="2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91" name="Freeform 88"/>
          <p:cNvSpPr>
            <a:spLocks/>
          </p:cNvSpPr>
          <p:nvPr/>
        </p:nvSpPr>
        <p:spPr bwMode="auto">
          <a:xfrm>
            <a:off x="8675600" y="4357147"/>
            <a:ext cx="7795" cy="10737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1"/>
              </a:cxn>
              <a:cxn ang="0">
                <a:pos x="0" y="0"/>
              </a:cxn>
              <a:cxn ang="0">
                <a:pos x="2" y="0"/>
              </a:cxn>
              <a:cxn ang="0">
                <a:pos x="4" y="3"/>
              </a:cxn>
              <a:cxn ang="0">
                <a:pos x="3" y="5"/>
              </a:cxn>
              <a:cxn ang="0">
                <a:pos x="2" y="5"/>
              </a:cxn>
              <a:cxn ang="0">
                <a:pos x="0" y="3"/>
              </a:cxn>
            </a:cxnLst>
            <a:rect l="0" t="0" r="r" b="b"/>
            <a:pathLst>
              <a:path w="4" h="5">
                <a:moveTo>
                  <a:pt x="0" y="3"/>
                </a:moveTo>
                <a:lnTo>
                  <a:pt x="0" y="1"/>
                </a:lnTo>
                <a:lnTo>
                  <a:pt x="0" y="0"/>
                </a:lnTo>
                <a:lnTo>
                  <a:pt x="2" y="0"/>
                </a:lnTo>
                <a:lnTo>
                  <a:pt x="4" y="3"/>
                </a:lnTo>
                <a:lnTo>
                  <a:pt x="3" y="5"/>
                </a:lnTo>
                <a:lnTo>
                  <a:pt x="2" y="5"/>
                </a:lnTo>
                <a:lnTo>
                  <a:pt x="0" y="3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92" name="Freeform 89"/>
          <p:cNvSpPr>
            <a:spLocks/>
          </p:cNvSpPr>
          <p:nvPr/>
        </p:nvSpPr>
        <p:spPr bwMode="auto">
          <a:xfrm>
            <a:off x="8675600" y="4357147"/>
            <a:ext cx="7795" cy="10737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1"/>
              </a:cxn>
              <a:cxn ang="0">
                <a:pos x="0" y="0"/>
              </a:cxn>
              <a:cxn ang="0">
                <a:pos x="2" y="0"/>
              </a:cxn>
              <a:cxn ang="0">
                <a:pos x="4" y="3"/>
              </a:cxn>
              <a:cxn ang="0">
                <a:pos x="3" y="5"/>
              </a:cxn>
              <a:cxn ang="0">
                <a:pos x="2" y="5"/>
              </a:cxn>
              <a:cxn ang="0">
                <a:pos x="0" y="3"/>
              </a:cxn>
            </a:cxnLst>
            <a:rect l="0" t="0" r="r" b="b"/>
            <a:pathLst>
              <a:path w="4" h="5">
                <a:moveTo>
                  <a:pt x="0" y="3"/>
                </a:moveTo>
                <a:lnTo>
                  <a:pt x="0" y="1"/>
                </a:lnTo>
                <a:lnTo>
                  <a:pt x="0" y="0"/>
                </a:lnTo>
                <a:lnTo>
                  <a:pt x="2" y="0"/>
                </a:lnTo>
                <a:lnTo>
                  <a:pt x="4" y="3"/>
                </a:lnTo>
                <a:lnTo>
                  <a:pt x="3" y="5"/>
                </a:lnTo>
                <a:lnTo>
                  <a:pt x="2" y="5"/>
                </a:lnTo>
                <a:lnTo>
                  <a:pt x="0" y="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93" name="Freeform 90"/>
          <p:cNvSpPr>
            <a:spLocks/>
          </p:cNvSpPr>
          <p:nvPr/>
        </p:nvSpPr>
        <p:spPr bwMode="auto">
          <a:xfrm>
            <a:off x="8697036" y="4395802"/>
            <a:ext cx="48721" cy="57985"/>
          </a:xfrm>
          <a:custGeom>
            <a:avLst/>
            <a:gdLst/>
            <a:ahLst/>
            <a:cxnLst>
              <a:cxn ang="0">
                <a:pos x="0" y="7"/>
              </a:cxn>
              <a:cxn ang="0">
                <a:pos x="3" y="2"/>
              </a:cxn>
              <a:cxn ang="0">
                <a:pos x="4" y="2"/>
              </a:cxn>
              <a:cxn ang="0">
                <a:pos x="6" y="0"/>
              </a:cxn>
              <a:cxn ang="0">
                <a:pos x="8" y="2"/>
              </a:cxn>
              <a:cxn ang="0">
                <a:pos x="8" y="3"/>
              </a:cxn>
              <a:cxn ang="0">
                <a:pos x="10" y="3"/>
              </a:cxn>
              <a:cxn ang="0">
                <a:pos x="10" y="2"/>
              </a:cxn>
              <a:cxn ang="0">
                <a:pos x="11" y="0"/>
              </a:cxn>
              <a:cxn ang="0">
                <a:pos x="12" y="0"/>
              </a:cxn>
              <a:cxn ang="0">
                <a:pos x="14" y="3"/>
              </a:cxn>
              <a:cxn ang="0">
                <a:pos x="15" y="7"/>
              </a:cxn>
              <a:cxn ang="0">
                <a:pos x="15" y="11"/>
              </a:cxn>
              <a:cxn ang="0">
                <a:pos x="16" y="14"/>
              </a:cxn>
              <a:cxn ang="0">
                <a:pos x="18" y="16"/>
              </a:cxn>
              <a:cxn ang="0">
                <a:pos x="22" y="18"/>
              </a:cxn>
              <a:cxn ang="0">
                <a:pos x="24" y="18"/>
              </a:cxn>
              <a:cxn ang="0">
                <a:pos x="23" y="25"/>
              </a:cxn>
              <a:cxn ang="0">
                <a:pos x="24" y="27"/>
              </a:cxn>
              <a:cxn ang="0">
                <a:pos x="22" y="29"/>
              </a:cxn>
              <a:cxn ang="0">
                <a:pos x="20" y="25"/>
              </a:cxn>
              <a:cxn ang="0">
                <a:pos x="15" y="24"/>
              </a:cxn>
              <a:cxn ang="0">
                <a:pos x="14" y="22"/>
              </a:cxn>
              <a:cxn ang="0">
                <a:pos x="12" y="19"/>
              </a:cxn>
              <a:cxn ang="0">
                <a:pos x="12" y="18"/>
              </a:cxn>
              <a:cxn ang="0">
                <a:pos x="11" y="14"/>
              </a:cxn>
              <a:cxn ang="0">
                <a:pos x="10" y="11"/>
              </a:cxn>
              <a:cxn ang="0">
                <a:pos x="7" y="10"/>
              </a:cxn>
              <a:cxn ang="0">
                <a:pos x="4" y="10"/>
              </a:cxn>
              <a:cxn ang="0">
                <a:pos x="2" y="8"/>
              </a:cxn>
              <a:cxn ang="0">
                <a:pos x="0" y="7"/>
              </a:cxn>
            </a:cxnLst>
            <a:rect l="0" t="0" r="r" b="b"/>
            <a:pathLst>
              <a:path w="24" h="29">
                <a:moveTo>
                  <a:pt x="0" y="7"/>
                </a:moveTo>
                <a:lnTo>
                  <a:pt x="3" y="2"/>
                </a:lnTo>
                <a:lnTo>
                  <a:pt x="4" y="2"/>
                </a:lnTo>
                <a:lnTo>
                  <a:pt x="6" y="0"/>
                </a:lnTo>
                <a:lnTo>
                  <a:pt x="8" y="2"/>
                </a:lnTo>
                <a:lnTo>
                  <a:pt x="8" y="3"/>
                </a:lnTo>
                <a:lnTo>
                  <a:pt x="10" y="3"/>
                </a:lnTo>
                <a:lnTo>
                  <a:pt x="10" y="2"/>
                </a:lnTo>
                <a:lnTo>
                  <a:pt x="11" y="0"/>
                </a:lnTo>
                <a:lnTo>
                  <a:pt x="12" y="0"/>
                </a:lnTo>
                <a:lnTo>
                  <a:pt x="14" y="3"/>
                </a:lnTo>
                <a:lnTo>
                  <a:pt x="15" y="7"/>
                </a:lnTo>
                <a:lnTo>
                  <a:pt x="15" y="11"/>
                </a:lnTo>
                <a:lnTo>
                  <a:pt x="16" y="14"/>
                </a:lnTo>
                <a:lnTo>
                  <a:pt x="18" y="16"/>
                </a:lnTo>
                <a:lnTo>
                  <a:pt x="22" y="18"/>
                </a:lnTo>
                <a:lnTo>
                  <a:pt x="24" y="18"/>
                </a:lnTo>
                <a:lnTo>
                  <a:pt x="23" y="25"/>
                </a:lnTo>
                <a:lnTo>
                  <a:pt x="24" y="27"/>
                </a:lnTo>
                <a:lnTo>
                  <a:pt x="22" y="29"/>
                </a:lnTo>
                <a:lnTo>
                  <a:pt x="20" y="25"/>
                </a:lnTo>
                <a:lnTo>
                  <a:pt x="15" y="24"/>
                </a:lnTo>
                <a:lnTo>
                  <a:pt x="14" y="22"/>
                </a:lnTo>
                <a:lnTo>
                  <a:pt x="12" y="19"/>
                </a:lnTo>
                <a:lnTo>
                  <a:pt x="12" y="18"/>
                </a:lnTo>
                <a:lnTo>
                  <a:pt x="11" y="14"/>
                </a:lnTo>
                <a:lnTo>
                  <a:pt x="10" y="11"/>
                </a:lnTo>
                <a:lnTo>
                  <a:pt x="7" y="10"/>
                </a:lnTo>
                <a:lnTo>
                  <a:pt x="4" y="10"/>
                </a:lnTo>
                <a:lnTo>
                  <a:pt x="2" y="8"/>
                </a:lnTo>
                <a:lnTo>
                  <a:pt x="0" y="7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94" name="Freeform 91"/>
          <p:cNvSpPr>
            <a:spLocks/>
          </p:cNvSpPr>
          <p:nvPr/>
        </p:nvSpPr>
        <p:spPr bwMode="auto">
          <a:xfrm>
            <a:off x="8697036" y="4395802"/>
            <a:ext cx="48721" cy="57985"/>
          </a:xfrm>
          <a:custGeom>
            <a:avLst/>
            <a:gdLst/>
            <a:ahLst/>
            <a:cxnLst>
              <a:cxn ang="0">
                <a:pos x="0" y="7"/>
              </a:cxn>
              <a:cxn ang="0">
                <a:pos x="3" y="2"/>
              </a:cxn>
              <a:cxn ang="0">
                <a:pos x="4" y="2"/>
              </a:cxn>
              <a:cxn ang="0">
                <a:pos x="6" y="0"/>
              </a:cxn>
              <a:cxn ang="0">
                <a:pos x="8" y="2"/>
              </a:cxn>
              <a:cxn ang="0">
                <a:pos x="8" y="3"/>
              </a:cxn>
              <a:cxn ang="0">
                <a:pos x="10" y="3"/>
              </a:cxn>
              <a:cxn ang="0">
                <a:pos x="10" y="2"/>
              </a:cxn>
              <a:cxn ang="0">
                <a:pos x="11" y="0"/>
              </a:cxn>
              <a:cxn ang="0">
                <a:pos x="12" y="0"/>
              </a:cxn>
              <a:cxn ang="0">
                <a:pos x="14" y="3"/>
              </a:cxn>
              <a:cxn ang="0">
                <a:pos x="15" y="7"/>
              </a:cxn>
              <a:cxn ang="0">
                <a:pos x="15" y="11"/>
              </a:cxn>
              <a:cxn ang="0">
                <a:pos x="16" y="14"/>
              </a:cxn>
              <a:cxn ang="0">
                <a:pos x="18" y="16"/>
              </a:cxn>
              <a:cxn ang="0">
                <a:pos x="22" y="18"/>
              </a:cxn>
              <a:cxn ang="0">
                <a:pos x="24" y="18"/>
              </a:cxn>
              <a:cxn ang="0">
                <a:pos x="23" y="25"/>
              </a:cxn>
              <a:cxn ang="0">
                <a:pos x="24" y="27"/>
              </a:cxn>
              <a:cxn ang="0">
                <a:pos x="22" y="29"/>
              </a:cxn>
              <a:cxn ang="0">
                <a:pos x="20" y="25"/>
              </a:cxn>
              <a:cxn ang="0">
                <a:pos x="15" y="24"/>
              </a:cxn>
              <a:cxn ang="0">
                <a:pos x="14" y="22"/>
              </a:cxn>
              <a:cxn ang="0">
                <a:pos x="12" y="19"/>
              </a:cxn>
              <a:cxn ang="0">
                <a:pos x="12" y="18"/>
              </a:cxn>
              <a:cxn ang="0">
                <a:pos x="11" y="14"/>
              </a:cxn>
              <a:cxn ang="0">
                <a:pos x="10" y="11"/>
              </a:cxn>
              <a:cxn ang="0">
                <a:pos x="7" y="10"/>
              </a:cxn>
              <a:cxn ang="0">
                <a:pos x="4" y="10"/>
              </a:cxn>
              <a:cxn ang="0">
                <a:pos x="2" y="8"/>
              </a:cxn>
              <a:cxn ang="0">
                <a:pos x="0" y="7"/>
              </a:cxn>
            </a:cxnLst>
            <a:rect l="0" t="0" r="r" b="b"/>
            <a:pathLst>
              <a:path w="24" h="29">
                <a:moveTo>
                  <a:pt x="0" y="7"/>
                </a:moveTo>
                <a:lnTo>
                  <a:pt x="3" y="2"/>
                </a:lnTo>
                <a:lnTo>
                  <a:pt x="4" y="2"/>
                </a:lnTo>
                <a:lnTo>
                  <a:pt x="6" y="0"/>
                </a:lnTo>
                <a:lnTo>
                  <a:pt x="8" y="2"/>
                </a:lnTo>
                <a:lnTo>
                  <a:pt x="8" y="3"/>
                </a:lnTo>
                <a:lnTo>
                  <a:pt x="10" y="3"/>
                </a:lnTo>
                <a:lnTo>
                  <a:pt x="10" y="2"/>
                </a:lnTo>
                <a:lnTo>
                  <a:pt x="11" y="0"/>
                </a:lnTo>
                <a:lnTo>
                  <a:pt x="12" y="0"/>
                </a:lnTo>
                <a:lnTo>
                  <a:pt x="14" y="3"/>
                </a:lnTo>
                <a:lnTo>
                  <a:pt x="15" y="7"/>
                </a:lnTo>
                <a:lnTo>
                  <a:pt x="15" y="11"/>
                </a:lnTo>
                <a:lnTo>
                  <a:pt x="16" y="14"/>
                </a:lnTo>
                <a:lnTo>
                  <a:pt x="18" y="16"/>
                </a:lnTo>
                <a:lnTo>
                  <a:pt x="22" y="18"/>
                </a:lnTo>
                <a:lnTo>
                  <a:pt x="24" y="18"/>
                </a:lnTo>
                <a:lnTo>
                  <a:pt x="23" y="25"/>
                </a:lnTo>
                <a:lnTo>
                  <a:pt x="24" y="27"/>
                </a:lnTo>
                <a:lnTo>
                  <a:pt x="22" y="29"/>
                </a:lnTo>
                <a:lnTo>
                  <a:pt x="20" y="25"/>
                </a:lnTo>
                <a:lnTo>
                  <a:pt x="15" y="24"/>
                </a:lnTo>
                <a:lnTo>
                  <a:pt x="14" y="22"/>
                </a:lnTo>
                <a:lnTo>
                  <a:pt x="12" y="19"/>
                </a:lnTo>
                <a:lnTo>
                  <a:pt x="12" y="18"/>
                </a:lnTo>
                <a:lnTo>
                  <a:pt x="11" y="14"/>
                </a:lnTo>
                <a:lnTo>
                  <a:pt x="10" y="11"/>
                </a:lnTo>
                <a:lnTo>
                  <a:pt x="7" y="10"/>
                </a:lnTo>
                <a:lnTo>
                  <a:pt x="4" y="10"/>
                </a:lnTo>
                <a:lnTo>
                  <a:pt x="2" y="8"/>
                </a:lnTo>
                <a:lnTo>
                  <a:pt x="0" y="7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95" name="Freeform 92"/>
          <p:cNvSpPr>
            <a:spLocks/>
          </p:cNvSpPr>
          <p:nvPr/>
        </p:nvSpPr>
        <p:spPr bwMode="auto">
          <a:xfrm>
            <a:off x="8771091" y="4432312"/>
            <a:ext cx="19488" cy="23624"/>
          </a:xfrm>
          <a:custGeom>
            <a:avLst/>
            <a:gdLst/>
            <a:ahLst/>
            <a:cxnLst>
              <a:cxn ang="0">
                <a:pos x="1" y="1"/>
              </a:cxn>
              <a:cxn ang="0">
                <a:pos x="1" y="0"/>
              </a:cxn>
              <a:cxn ang="0">
                <a:pos x="5" y="1"/>
              </a:cxn>
              <a:cxn ang="0">
                <a:pos x="6" y="1"/>
              </a:cxn>
              <a:cxn ang="0">
                <a:pos x="8" y="3"/>
              </a:cxn>
              <a:cxn ang="0">
                <a:pos x="9" y="4"/>
              </a:cxn>
              <a:cxn ang="0">
                <a:pos x="9" y="7"/>
              </a:cxn>
              <a:cxn ang="0">
                <a:pos x="9" y="11"/>
              </a:cxn>
              <a:cxn ang="0">
                <a:pos x="8" y="12"/>
              </a:cxn>
              <a:cxn ang="0">
                <a:pos x="6" y="12"/>
              </a:cxn>
              <a:cxn ang="0">
                <a:pos x="5" y="11"/>
              </a:cxn>
              <a:cxn ang="0">
                <a:pos x="4" y="11"/>
              </a:cxn>
              <a:cxn ang="0">
                <a:pos x="1" y="12"/>
              </a:cxn>
              <a:cxn ang="0">
                <a:pos x="0" y="11"/>
              </a:cxn>
              <a:cxn ang="0">
                <a:pos x="0" y="7"/>
              </a:cxn>
              <a:cxn ang="0">
                <a:pos x="0" y="6"/>
              </a:cxn>
              <a:cxn ang="0">
                <a:pos x="0" y="4"/>
              </a:cxn>
              <a:cxn ang="0">
                <a:pos x="1" y="1"/>
              </a:cxn>
            </a:cxnLst>
            <a:rect l="0" t="0" r="r" b="b"/>
            <a:pathLst>
              <a:path w="9" h="12">
                <a:moveTo>
                  <a:pt x="1" y="1"/>
                </a:moveTo>
                <a:lnTo>
                  <a:pt x="1" y="0"/>
                </a:lnTo>
                <a:lnTo>
                  <a:pt x="5" y="1"/>
                </a:lnTo>
                <a:lnTo>
                  <a:pt x="6" y="1"/>
                </a:lnTo>
                <a:lnTo>
                  <a:pt x="8" y="3"/>
                </a:lnTo>
                <a:lnTo>
                  <a:pt x="9" y="4"/>
                </a:lnTo>
                <a:lnTo>
                  <a:pt x="9" y="7"/>
                </a:lnTo>
                <a:lnTo>
                  <a:pt x="9" y="11"/>
                </a:lnTo>
                <a:lnTo>
                  <a:pt x="8" y="12"/>
                </a:lnTo>
                <a:lnTo>
                  <a:pt x="6" y="12"/>
                </a:lnTo>
                <a:lnTo>
                  <a:pt x="5" y="11"/>
                </a:lnTo>
                <a:lnTo>
                  <a:pt x="4" y="11"/>
                </a:lnTo>
                <a:lnTo>
                  <a:pt x="1" y="12"/>
                </a:lnTo>
                <a:lnTo>
                  <a:pt x="0" y="11"/>
                </a:lnTo>
                <a:lnTo>
                  <a:pt x="0" y="7"/>
                </a:lnTo>
                <a:lnTo>
                  <a:pt x="0" y="6"/>
                </a:lnTo>
                <a:lnTo>
                  <a:pt x="0" y="4"/>
                </a:lnTo>
                <a:lnTo>
                  <a:pt x="1" y="1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96" name="Freeform 93"/>
          <p:cNvSpPr>
            <a:spLocks/>
          </p:cNvSpPr>
          <p:nvPr/>
        </p:nvSpPr>
        <p:spPr bwMode="auto">
          <a:xfrm>
            <a:off x="8771091" y="4432312"/>
            <a:ext cx="19488" cy="23624"/>
          </a:xfrm>
          <a:custGeom>
            <a:avLst/>
            <a:gdLst/>
            <a:ahLst/>
            <a:cxnLst>
              <a:cxn ang="0">
                <a:pos x="1" y="1"/>
              </a:cxn>
              <a:cxn ang="0">
                <a:pos x="1" y="0"/>
              </a:cxn>
              <a:cxn ang="0">
                <a:pos x="5" y="1"/>
              </a:cxn>
              <a:cxn ang="0">
                <a:pos x="6" y="1"/>
              </a:cxn>
              <a:cxn ang="0">
                <a:pos x="8" y="3"/>
              </a:cxn>
              <a:cxn ang="0">
                <a:pos x="9" y="4"/>
              </a:cxn>
              <a:cxn ang="0">
                <a:pos x="9" y="7"/>
              </a:cxn>
              <a:cxn ang="0">
                <a:pos x="9" y="11"/>
              </a:cxn>
              <a:cxn ang="0">
                <a:pos x="8" y="12"/>
              </a:cxn>
              <a:cxn ang="0">
                <a:pos x="6" y="12"/>
              </a:cxn>
              <a:cxn ang="0">
                <a:pos x="5" y="11"/>
              </a:cxn>
              <a:cxn ang="0">
                <a:pos x="4" y="11"/>
              </a:cxn>
              <a:cxn ang="0">
                <a:pos x="1" y="12"/>
              </a:cxn>
              <a:cxn ang="0">
                <a:pos x="0" y="11"/>
              </a:cxn>
              <a:cxn ang="0">
                <a:pos x="0" y="7"/>
              </a:cxn>
              <a:cxn ang="0">
                <a:pos x="0" y="6"/>
              </a:cxn>
              <a:cxn ang="0">
                <a:pos x="0" y="4"/>
              </a:cxn>
              <a:cxn ang="0">
                <a:pos x="1" y="1"/>
              </a:cxn>
            </a:cxnLst>
            <a:rect l="0" t="0" r="r" b="b"/>
            <a:pathLst>
              <a:path w="9" h="12">
                <a:moveTo>
                  <a:pt x="1" y="1"/>
                </a:moveTo>
                <a:lnTo>
                  <a:pt x="1" y="0"/>
                </a:lnTo>
                <a:lnTo>
                  <a:pt x="5" y="1"/>
                </a:lnTo>
                <a:lnTo>
                  <a:pt x="6" y="1"/>
                </a:lnTo>
                <a:lnTo>
                  <a:pt x="8" y="3"/>
                </a:lnTo>
                <a:lnTo>
                  <a:pt x="9" y="4"/>
                </a:lnTo>
                <a:lnTo>
                  <a:pt x="9" y="7"/>
                </a:lnTo>
                <a:lnTo>
                  <a:pt x="9" y="11"/>
                </a:lnTo>
                <a:lnTo>
                  <a:pt x="8" y="12"/>
                </a:lnTo>
                <a:lnTo>
                  <a:pt x="6" y="12"/>
                </a:lnTo>
                <a:lnTo>
                  <a:pt x="5" y="11"/>
                </a:lnTo>
                <a:lnTo>
                  <a:pt x="4" y="11"/>
                </a:lnTo>
                <a:lnTo>
                  <a:pt x="1" y="12"/>
                </a:lnTo>
                <a:lnTo>
                  <a:pt x="0" y="11"/>
                </a:lnTo>
                <a:lnTo>
                  <a:pt x="0" y="7"/>
                </a:lnTo>
                <a:lnTo>
                  <a:pt x="0" y="6"/>
                </a:lnTo>
                <a:lnTo>
                  <a:pt x="0" y="4"/>
                </a:lnTo>
                <a:lnTo>
                  <a:pt x="1" y="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97" name="Freeform 94"/>
          <p:cNvSpPr>
            <a:spLocks/>
          </p:cNvSpPr>
          <p:nvPr/>
        </p:nvSpPr>
        <p:spPr bwMode="auto">
          <a:xfrm>
            <a:off x="8702883" y="4552578"/>
            <a:ext cx="265039" cy="105233"/>
          </a:xfrm>
          <a:custGeom>
            <a:avLst/>
            <a:gdLst/>
            <a:ahLst/>
            <a:cxnLst>
              <a:cxn ang="0">
                <a:pos x="99" y="42"/>
              </a:cxn>
              <a:cxn ang="0">
                <a:pos x="91" y="42"/>
              </a:cxn>
              <a:cxn ang="0">
                <a:pos x="89" y="39"/>
              </a:cxn>
              <a:cxn ang="0">
                <a:pos x="86" y="41"/>
              </a:cxn>
              <a:cxn ang="0">
                <a:pos x="79" y="39"/>
              </a:cxn>
              <a:cxn ang="0">
                <a:pos x="74" y="36"/>
              </a:cxn>
              <a:cxn ang="0">
                <a:pos x="70" y="33"/>
              </a:cxn>
              <a:cxn ang="0">
                <a:pos x="63" y="31"/>
              </a:cxn>
              <a:cxn ang="0">
                <a:pos x="58" y="31"/>
              </a:cxn>
              <a:cxn ang="0">
                <a:pos x="55" y="31"/>
              </a:cxn>
              <a:cxn ang="0">
                <a:pos x="51" y="31"/>
              </a:cxn>
              <a:cxn ang="0">
                <a:pos x="49" y="33"/>
              </a:cxn>
              <a:cxn ang="0">
                <a:pos x="36" y="28"/>
              </a:cxn>
              <a:cxn ang="0">
                <a:pos x="26" y="28"/>
              </a:cxn>
              <a:cxn ang="0">
                <a:pos x="21" y="25"/>
              </a:cxn>
              <a:cxn ang="0">
                <a:pos x="17" y="23"/>
              </a:cxn>
              <a:cxn ang="0">
                <a:pos x="17" y="19"/>
              </a:cxn>
              <a:cxn ang="0">
                <a:pos x="6" y="15"/>
              </a:cxn>
              <a:cxn ang="0">
                <a:pos x="1" y="15"/>
              </a:cxn>
              <a:cxn ang="0">
                <a:pos x="1" y="12"/>
              </a:cxn>
              <a:cxn ang="0">
                <a:pos x="4" y="12"/>
              </a:cxn>
              <a:cxn ang="0">
                <a:pos x="6" y="9"/>
              </a:cxn>
              <a:cxn ang="0">
                <a:pos x="9" y="8"/>
              </a:cxn>
              <a:cxn ang="0">
                <a:pos x="10" y="1"/>
              </a:cxn>
              <a:cxn ang="0">
                <a:pos x="24" y="1"/>
              </a:cxn>
              <a:cxn ang="0">
                <a:pos x="30" y="0"/>
              </a:cxn>
              <a:cxn ang="0">
                <a:pos x="33" y="4"/>
              </a:cxn>
              <a:cxn ang="0">
                <a:pos x="38" y="4"/>
              </a:cxn>
              <a:cxn ang="0">
                <a:pos x="45" y="6"/>
              </a:cxn>
              <a:cxn ang="0">
                <a:pos x="50" y="15"/>
              </a:cxn>
              <a:cxn ang="0">
                <a:pos x="57" y="15"/>
              </a:cxn>
              <a:cxn ang="0">
                <a:pos x="63" y="15"/>
              </a:cxn>
              <a:cxn ang="0">
                <a:pos x="74" y="17"/>
              </a:cxn>
              <a:cxn ang="0">
                <a:pos x="78" y="17"/>
              </a:cxn>
              <a:cxn ang="0">
                <a:pos x="81" y="9"/>
              </a:cxn>
              <a:cxn ang="0">
                <a:pos x="85" y="8"/>
              </a:cxn>
              <a:cxn ang="0">
                <a:pos x="89" y="12"/>
              </a:cxn>
              <a:cxn ang="0">
                <a:pos x="94" y="12"/>
              </a:cxn>
              <a:cxn ang="0">
                <a:pos x="97" y="12"/>
              </a:cxn>
              <a:cxn ang="0">
                <a:pos x="99" y="15"/>
              </a:cxn>
              <a:cxn ang="0">
                <a:pos x="106" y="15"/>
              </a:cxn>
              <a:cxn ang="0">
                <a:pos x="111" y="22"/>
              </a:cxn>
              <a:cxn ang="0">
                <a:pos x="114" y="30"/>
              </a:cxn>
              <a:cxn ang="0">
                <a:pos x="119" y="31"/>
              </a:cxn>
              <a:cxn ang="0">
                <a:pos x="127" y="31"/>
              </a:cxn>
              <a:cxn ang="0">
                <a:pos x="135" y="31"/>
              </a:cxn>
              <a:cxn ang="0">
                <a:pos x="137" y="37"/>
              </a:cxn>
              <a:cxn ang="0">
                <a:pos x="137" y="45"/>
              </a:cxn>
              <a:cxn ang="0">
                <a:pos x="139" y="52"/>
              </a:cxn>
              <a:cxn ang="0">
                <a:pos x="135" y="48"/>
              </a:cxn>
              <a:cxn ang="0">
                <a:pos x="122" y="44"/>
              </a:cxn>
              <a:cxn ang="0">
                <a:pos x="111" y="44"/>
              </a:cxn>
              <a:cxn ang="0">
                <a:pos x="105" y="42"/>
              </a:cxn>
            </a:cxnLst>
            <a:rect l="0" t="0" r="r" b="b"/>
            <a:pathLst>
              <a:path w="139" h="52">
                <a:moveTo>
                  <a:pt x="102" y="42"/>
                </a:moveTo>
                <a:lnTo>
                  <a:pt x="99" y="42"/>
                </a:lnTo>
                <a:lnTo>
                  <a:pt x="97" y="44"/>
                </a:lnTo>
                <a:lnTo>
                  <a:pt x="91" y="42"/>
                </a:lnTo>
                <a:lnTo>
                  <a:pt x="90" y="41"/>
                </a:lnTo>
                <a:lnTo>
                  <a:pt x="89" y="39"/>
                </a:lnTo>
                <a:lnTo>
                  <a:pt x="89" y="41"/>
                </a:lnTo>
                <a:lnTo>
                  <a:pt x="86" y="41"/>
                </a:lnTo>
                <a:lnTo>
                  <a:pt x="83" y="41"/>
                </a:lnTo>
                <a:lnTo>
                  <a:pt x="79" y="39"/>
                </a:lnTo>
                <a:lnTo>
                  <a:pt x="77" y="37"/>
                </a:lnTo>
                <a:lnTo>
                  <a:pt x="74" y="36"/>
                </a:lnTo>
                <a:lnTo>
                  <a:pt x="73" y="34"/>
                </a:lnTo>
                <a:lnTo>
                  <a:pt x="70" y="33"/>
                </a:lnTo>
                <a:lnTo>
                  <a:pt x="66" y="31"/>
                </a:lnTo>
                <a:lnTo>
                  <a:pt x="63" y="31"/>
                </a:lnTo>
                <a:lnTo>
                  <a:pt x="59" y="31"/>
                </a:lnTo>
                <a:lnTo>
                  <a:pt x="58" y="31"/>
                </a:lnTo>
                <a:lnTo>
                  <a:pt x="57" y="31"/>
                </a:lnTo>
                <a:lnTo>
                  <a:pt x="55" y="31"/>
                </a:lnTo>
                <a:lnTo>
                  <a:pt x="54" y="31"/>
                </a:lnTo>
                <a:lnTo>
                  <a:pt x="51" y="31"/>
                </a:lnTo>
                <a:lnTo>
                  <a:pt x="50" y="33"/>
                </a:lnTo>
                <a:lnTo>
                  <a:pt x="49" y="33"/>
                </a:lnTo>
                <a:lnTo>
                  <a:pt x="38" y="31"/>
                </a:lnTo>
                <a:lnTo>
                  <a:pt x="36" y="28"/>
                </a:lnTo>
                <a:lnTo>
                  <a:pt x="32" y="28"/>
                </a:lnTo>
                <a:lnTo>
                  <a:pt x="26" y="28"/>
                </a:lnTo>
                <a:lnTo>
                  <a:pt x="24" y="26"/>
                </a:lnTo>
                <a:lnTo>
                  <a:pt x="21" y="25"/>
                </a:lnTo>
                <a:lnTo>
                  <a:pt x="18" y="25"/>
                </a:lnTo>
                <a:lnTo>
                  <a:pt x="17" y="23"/>
                </a:lnTo>
                <a:lnTo>
                  <a:pt x="20" y="19"/>
                </a:lnTo>
                <a:lnTo>
                  <a:pt x="17" y="19"/>
                </a:lnTo>
                <a:lnTo>
                  <a:pt x="12" y="15"/>
                </a:lnTo>
                <a:lnTo>
                  <a:pt x="6" y="15"/>
                </a:lnTo>
                <a:lnTo>
                  <a:pt x="5" y="15"/>
                </a:lnTo>
                <a:lnTo>
                  <a:pt x="1" y="15"/>
                </a:lnTo>
                <a:lnTo>
                  <a:pt x="0" y="12"/>
                </a:lnTo>
                <a:lnTo>
                  <a:pt x="1" y="12"/>
                </a:lnTo>
                <a:lnTo>
                  <a:pt x="2" y="12"/>
                </a:lnTo>
                <a:lnTo>
                  <a:pt x="4" y="12"/>
                </a:lnTo>
                <a:lnTo>
                  <a:pt x="5" y="12"/>
                </a:lnTo>
                <a:lnTo>
                  <a:pt x="6" y="9"/>
                </a:lnTo>
                <a:lnTo>
                  <a:pt x="8" y="9"/>
                </a:lnTo>
                <a:lnTo>
                  <a:pt x="9" y="8"/>
                </a:lnTo>
                <a:lnTo>
                  <a:pt x="10" y="4"/>
                </a:lnTo>
                <a:lnTo>
                  <a:pt x="10" y="1"/>
                </a:lnTo>
                <a:lnTo>
                  <a:pt x="14" y="0"/>
                </a:lnTo>
                <a:lnTo>
                  <a:pt x="24" y="1"/>
                </a:lnTo>
                <a:lnTo>
                  <a:pt x="28" y="0"/>
                </a:lnTo>
                <a:lnTo>
                  <a:pt x="30" y="0"/>
                </a:lnTo>
                <a:lnTo>
                  <a:pt x="33" y="1"/>
                </a:lnTo>
                <a:lnTo>
                  <a:pt x="33" y="4"/>
                </a:lnTo>
                <a:lnTo>
                  <a:pt x="36" y="4"/>
                </a:lnTo>
                <a:lnTo>
                  <a:pt x="38" y="4"/>
                </a:lnTo>
                <a:lnTo>
                  <a:pt x="42" y="6"/>
                </a:lnTo>
                <a:lnTo>
                  <a:pt x="45" y="6"/>
                </a:lnTo>
                <a:lnTo>
                  <a:pt x="49" y="11"/>
                </a:lnTo>
                <a:lnTo>
                  <a:pt x="50" y="15"/>
                </a:lnTo>
                <a:lnTo>
                  <a:pt x="54" y="15"/>
                </a:lnTo>
                <a:lnTo>
                  <a:pt x="57" y="15"/>
                </a:lnTo>
                <a:lnTo>
                  <a:pt x="62" y="15"/>
                </a:lnTo>
                <a:lnTo>
                  <a:pt x="63" y="15"/>
                </a:lnTo>
                <a:lnTo>
                  <a:pt x="71" y="17"/>
                </a:lnTo>
                <a:lnTo>
                  <a:pt x="74" y="17"/>
                </a:lnTo>
                <a:lnTo>
                  <a:pt x="77" y="19"/>
                </a:lnTo>
                <a:lnTo>
                  <a:pt x="78" y="17"/>
                </a:lnTo>
                <a:lnTo>
                  <a:pt x="81" y="12"/>
                </a:lnTo>
                <a:lnTo>
                  <a:pt x="81" y="9"/>
                </a:lnTo>
                <a:lnTo>
                  <a:pt x="83" y="8"/>
                </a:lnTo>
                <a:lnTo>
                  <a:pt x="85" y="8"/>
                </a:lnTo>
                <a:lnTo>
                  <a:pt x="86" y="11"/>
                </a:lnTo>
                <a:lnTo>
                  <a:pt x="89" y="12"/>
                </a:lnTo>
                <a:lnTo>
                  <a:pt x="91" y="12"/>
                </a:lnTo>
                <a:lnTo>
                  <a:pt x="94" y="12"/>
                </a:lnTo>
                <a:lnTo>
                  <a:pt x="95" y="12"/>
                </a:lnTo>
                <a:lnTo>
                  <a:pt x="97" y="12"/>
                </a:lnTo>
                <a:lnTo>
                  <a:pt x="98" y="14"/>
                </a:lnTo>
                <a:lnTo>
                  <a:pt x="99" y="15"/>
                </a:lnTo>
                <a:lnTo>
                  <a:pt x="102" y="17"/>
                </a:lnTo>
                <a:lnTo>
                  <a:pt x="106" y="15"/>
                </a:lnTo>
                <a:lnTo>
                  <a:pt x="109" y="17"/>
                </a:lnTo>
                <a:lnTo>
                  <a:pt x="111" y="22"/>
                </a:lnTo>
                <a:lnTo>
                  <a:pt x="113" y="23"/>
                </a:lnTo>
                <a:lnTo>
                  <a:pt x="114" y="30"/>
                </a:lnTo>
                <a:lnTo>
                  <a:pt x="117" y="31"/>
                </a:lnTo>
                <a:lnTo>
                  <a:pt x="119" y="31"/>
                </a:lnTo>
                <a:lnTo>
                  <a:pt x="125" y="31"/>
                </a:lnTo>
                <a:lnTo>
                  <a:pt x="127" y="31"/>
                </a:lnTo>
                <a:lnTo>
                  <a:pt x="131" y="30"/>
                </a:lnTo>
                <a:lnTo>
                  <a:pt x="135" y="31"/>
                </a:lnTo>
                <a:lnTo>
                  <a:pt x="137" y="33"/>
                </a:lnTo>
                <a:lnTo>
                  <a:pt x="137" y="37"/>
                </a:lnTo>
                <a:lnTo>
                  <a:pt x="137" y="44"/>
                </a:lnTo>
                <a:lnTo>
                  <a:pt x="137" y="45"/>
                </a:lnTo>
                <a:lnTo>
                  <a:pt x="138" y="48"/>
                </a:lnTo>
                <a:lnTo>
                  <a:pt x="139" y="52"/>
                </a:lnTo>
                <a:lnTo>
                  <a:pt x="138" y="50"/>
                </a:lnTo>
                <a:lnTo>
                  <a:pt x="135" y="48"/>
                </a:lnTo>
                <a:lnTo>
                  <a:pt x="126" y="45"/>
                </a:lnTo>
                <a:lnTo>
                  <a:pt x="122" y="44"/>
                </a:lnTo>
                <a:lnTo>
                  <a:pt x="118" y="42"/>
                </a:lnTo>
                <a:lnTo>
                  <a:pt x="111" y="44"/>
                </a:lnTo>
                <a:lnTo>
                  <a:pt x="107" y="44"/>
                </a:lnTo>
                <a:lnTo>
                  <a:pt x="105" y="42"/>
                </a:lnTo>
                <a:lnTo>
                  <a:pt x="102" y="4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98" name="Freeform 95"/>
          <p:cNvSpPr>
            <a:spLocks/>
          </p:cNvSpPr>
          <p:nvPr/>
        </p:nvSpPr>
        <p:spPr bwMode="auto">
          <a:xfrm>
            <a:off x="8702883" y="4552578"/>
            <a:ext cx="265039" cy="105233"/>
          </a:xfrm>
          <a:custGeom>
            <a:avLst/>
            <a:gdLst/>
            <a:ahLst/>
            <a:cxnLst>
              <a:cxn ang="0">
                <a:pos x="99" y="42"/>
              </a:cxn>
              <a:cxn ang="0">
                <a:pos x="91" y="42"/>
              </a:cxn>
              <a:cxn ang="0">
                <a:pos x="89" y="39"/>
              </a:cxn>
              <a:cxn ang="0">
                <a:pos x="86" y="41"/>
              </a:cxn>
              <a:cxn ang="0">
                <a:pos x="79" y="39"/>
              </a:cxn>
              <a:cxn ang="0">
                <a:pos x="74" y="36"/>
              </a:cxn>
              <a:cxn ang="0">
                <a:pos x="70" y="33"/>
              </a:cxn>
              <a:cxn ang="0">
                <a:pos x="63" y="31"/>
              </a:cxn>
              <a:cxn ang="0">
                <a:pos x="58" y="31"/>
              </a:cxn>
              <a:cxn ang="0">
                <a:pos x="55" y="31"/>
              </a:cxn>
              <a:cxn ang="0">
                <a:pos x="51" y="31"/>
              </a:cxn>
              <a:cxn ang="0">
                <a:pos x="49" y="33"/>
              </a:cxn>
              <a:cxn ang="0">
                <a:pos x="36" y="28"/>
              </a:cxn>
              <a:cxn ang="0">
                <a:pos x="26" y="28"/>
              </a:cxn>
              <a:cxn ang="0">
                <a:pos x="21" y="25"/>
              </a:cxn>
              <a:cxn ang="0">
                <a:pos x="17" y="23"/>
              </a:cxn>
              <a:cxn ang="0">
                <a:pos x="17" y="19"/>
              </a:cxn>
              <a:cxn ang="0">
                <a:pos x="6" y="15"/>
              </a:cxn>
              <a:cxn ang="0">
                <a:pos x="1" y="15"/>
              </a:cxn>
              <a:cxn ang="0">
                <a:pos x="1" y="12"/>
              </a:cxn>
              <a:cxn ang="0">
                <a:pos x="4" y="12"/>
              </a:cxn>
              <a:cxn ang="0">
                <a:pos x="6" y="9"/>
              </a:cxn>
              <a:cxn ang="0">
                <a:pos x="9" y="8"/>
              </a:cxn>
              <a:cxn ang="0">
                <a:pos x="10" y="1"/>
              </a:cxn>
              <a:cxn ang="0">
                <a:pos x="24" y="1"/>
              </a:cxn>
              <a:cxn ang="0">
                <a:pos x="30" y="0"/>
              </a:cxn>
              <a:cxn ang="0">
                <a:pos x="33" y="4"/>
              </a:cxn>
              <a:cxn ang="0">
                <a:pos x="38" y="4"/>
              </a:cxn>
              <a:cxn ang="0">
                <a:pos x="45" y="6"/>
              </a:cxn>
              <a:cxn ang="0">
                <a:pos x="50" y="15"/>
              </a:cxn>
              <a:cxn ang="0">
                <a:pos x="57" y="15"/>
              </a:cxn>
              <a:cxn ang="0">
                <a:pos x="63" y="15"/>
              </a:cxn>
              <a:cxn ang="0">
                <a:pos x="74" y="17"/>
              </a:cxn>
              <a:cxn ang="0">
                <a:pos x="78" y="17"/>
              </a:cxn>
              <a:cxn ang="0">
                <a:pos x="81" y="9"/>
              </a:cxn>
              <a:cxn ang="0">
                <a:pos x="85" y="8"/>
              </a:cxn>
              <a:cxn ang="0">
                <a:pos x="89" y="12"/>
              </a:cxn>
              <a:cxn ang="0">
                <a:pos x="94" y="12"/>
              </a:cxn>
              <a:cxn ang="0">
                <a:pos x="97" y="12"/>
              </a:cxn>
              <a:cxn ang="0">
                <a:pos x="99" y="15"/>
              </a:cxn>
              <a:cxn ang="0">
                <a:pos x="106" y="15"/>
              </a:cxn>
              <a:cxn ang="0">
                <a:pos x="111" y="22"/>
              </a:cxn>
              <a:cxn ang="0">
                <a:pos x="114" y="30"/>
              </a:cxn>
              <a:cxn ang="0">
                <a:pos x="119" y="31"/>
              </a:cxn>
              <a:cxn ang="0">
                <a:pos x="127" y="31"/>
              </a:cxn>
              <a:cxn ang="0">
                <a:pos x="135" y="31"/>
              </a:cxn>
              <a:cxn ang="0">
                <a:pos x="137" y="37"/>
              </a:cxn>
              <a:cxn ang="0">
                <a:pos x="137" y="45"/>
              </a:cxn>
              <a:cxn ang="0">
                <a:pos x="139" y="52"/>
              </a:cxn>
              <a:cxn ang="0">
                <a:pos x="135" y="48"/>
              </a:cxn>
              <a:cxn ang="0">
                <a:pos x="122" y="44"/>
              </a:cxn>
              <a:cxn ang="0">
                <a:pos x="111" y="44"/>
              </a:cxn>
              <a:cxn ang="0">
                <a:pos x="105" y="42"/>
              </a:cxn>
            </a:cxnLst>
            <a:rect l="0" t="0" r="r" b="b"/>
            <a:pathLst>
              <a:path w="139" h="52">
                <a:moveTo>
                  <a:pt x="102" y="42"/>
                </a:moveTo>
                <a:lnTo>
                  <a:pt x="99" y="42"/>
                </a:lnTo>
                <a:lnTo>
                  <a:pt x="97" y="44"/>
                </a:lnTo>
                <a:lnTo>
                  <a:pt x="91" y="42"/>
                </a:lnTo>
                <a:lnTo>
                  <a:pt x="90" y="41"/>
                </a:lnTo>
                <a:lnTo>
                  <a:pt x="89" y="39"/>
                </a:lnTo>
                <a:lnTo>
                  <a:pt x="89" y="41"/>
                </a:lnTo>
                <a:lnTo>
                  <a:pt x="86" y="41"/>
                </a:lnTo>
                <a:lnTo>
                  <a:pt x="83" y="41"/>
                </a:lnTo>
                <a:lnTo>
                  <a:pt x="79" y="39"/>
                </a:lnTo>
                <a:lnTo>
                  <a:pt x="77" y="37"/>
                </a:lnTo>
                <a:lnTo>
                  <a:pt x="74" y="36"/>
                </a:lnTo>
                <a:lnTo>
                  <a:pt x="73" y="34"/>
                </a:lnTo>
                <a:lnTo>
                  <a:pt x="70" y="33"/>
                </a:lnTo>
                <a:lnTo>
                  <a:pt x="66" y="31"/>
                </a:lnTo>
                <a:lnTo>
                  <a:pt x="63" y="31"/>
                </a:lnTo>
                <a:lnTo>
                  <a:pt x="59" y="31"/>
                </a:lnTo>
                <a:lnTo>
                  <a:pt x="58" y="31"/>
                </a:lnTo>
                <a:lnTo>
                  <a:pt x="57" y="31"/>
                </a:lnTo>
                <a:lnTo>
                  <a:pt x="55" y="31"/>
                </a:lnTo>
                <a:lnTo>
                  <a:pt x="54" y="31"/>
                </a:lnTo>
                <a:lnTo>
                  <a:pt x="51" y="31"/>
                </a:lnTo>
                <a:lnTo>
                  <a:pt x="50" y="33"/>
                </a:lnTo>
                <a:lnTo>
                  <a:pt x="49" y="33"/>
                </a:lnTo>
                <a:lnTo>
                  <a:pt x="38" y="31"/>
                </a:lnTo>
                <a:lnTo>
                  <a:pt x="36" y="28"/>
                </a:lnTo>
                <a:lnTo>
                  <a:pt x="32" y="28"/>
                </a:lnTo>
                <a:lnTo>
                  <a:pt x="26" y="28"/>
                </a:lnTo>
                <a:lnTo>
                  <a:pt x="24" y="26"/>
                </a:lnTo>
                <a:lnTo>
                  <a:pt x="21" y="25"/>
                </a:lnTo>
                <a:lnTo>
                  <a:pt x="18" y="25"/>
                </a:lnTo>
                <a:lnTo>
                  <a:pt x="17" y="23"/>
                </a:lnTo>
                <a:lnTo>
                  <a:pt x="20" y="19"/>
                </a:lnTo>
                <a:lnTo>
                  <a:pt x="17" y="19"/>
                </a:lnTo>
                <a:lnTo>
                  <a:pt x="12" y="15"/>
                </a:lnTo>
                <a:lnTo>
                  <a:pt x="6" y="15"/>
                </a:lnTo>
                <a:lnTo>
                  <a:pt x="5" y="15"/>
                </a:lnTo>
                <a:lnTo>
                  <a:pt x="1" y="15"/>
                </a:lnTo>
                <a:lnTo>
                  <a:pt x="0" y="12"/>
                </a:lnTo>
                <a:lnTo>
                  <a:pt x="1" y="12"/>
                </a:lnTo>
                <a:lnTo>
                  <a:pt x="2" y="12"/>
                </a:lnTo>
                <a:lnTo>
                  <a:pt x="4" y="12"/>
                </a:lnTo>
                <a:lnTo>
                  <a:pt x="5" y="12"/>
                </a:lnTo>
                <a:lnTo>
                  <a:pt x="6" y="9"/>
                </a:lnTo>
                <a:lnTo>
                  <a:pt x="8" y="9"/>
                </a:lnTo>
                <a:lnTo>
                  <a:pt x="9" y="8"/>
                </a:lnTo>
                <a:lnTo>
                  <a:pt x="10" y="4"/>
                </a:lnTo>
                <a:lnTo>
                  <a:pt x="10" y="1"/>
                </a:lnTo>
                <a:lnTo>
                  <a:pt x="14" y="0"/>
                </a:lnTo>
                <a:lnTo>
                  <a:pt x="24" y="1"/>
                </a:lnTo>
                <a:lnTo>
                  <a:pt x="28" y="0"/>
                </a:lnTo>
                <a:lnTo>
                  <a:pt x="30" y="0"/>
                </a:lnTo>
                <a:lnTo>
                  <a:pt x="33" y="1"/>
                </a:lnTo>
                <a:lnTo>
                  <a:pt x="33" y="4"/>
                </a:lnTo>
                <a:lnTo>
                  <a:pt x="36" y="4"/>
                </a:lnTo>
                <a:lnTo>
                  <a:pt x="38" y="4"/>
                </a:lnTo>
                <a:lnTo>
                  <a:pt x="42" y="6"/>
                </a:lnTo>
                <a:lnTo>
                  <a:pt x="45" y="6"/>
                </a:lnTo>
                <a:lnTo>
                  <a:pt x="49" y="11"/>
                </a:lnTo>
                <a:lnTo>
                  <a:pt x="50" y="15"/>
                </a:lnTo>
                <a:lnTo>
                  <a:pt x="54" y="15"/>
                </a:lnTo>
                <a:lnTo>
                  <a:pt x="57" y="15"/>
                </a:lnTo>
                <a:lnTo>
                  <a:pt x="62" y="15"/>
                </a:lnTo>
                <a:lnTo>
                  <a:pt x="63" y="15"/>
                </a:lnTo>
                <a:lnTo>
                  <a:pt x="71" y="17"/>
                </a:lnTo>
                <a:lnTo>
                  <a:pt x="74" y="17"/>
                </a:lnTo>
                <a:lnTo>
                  <a:pt x="77" y="19"/>
                </a:lnTo>
                <a:lnTo>
                  <a:pt x="78" y="17"/>
                </a:lnTo>
                <a:lnTo>
                  <a:pt x="81" y="12"/>
                </a:lnTo>
                <a:lnTo>
                  <a:pt x="81" y="9"/>
                </a:lnTo>
                <a:lnTo>
                  <a:pt x="83" y="8"/>
                </a:lnTo>
                <a:lnTo>
                  <a:pt x="85" y="8"/>
                </a:lnTo>
                <a:lnTo>
                  <a:pt x="86" y="11"/>
                </a:lnTo>
                <a:lnTo>
                  <a:pt x="89" y="12"/>
                </a:lnTo>
                <a:lnTo>
                  <a:pt x="91" y="12"/>
                </a:lnTo>
                <a:lnTo>
                  <a:pt x="94" y="12"/>
                </a:lnTo>
                <a:lnTo>
                  <a:pt x="95" y="12"/>
                </a:lnTo>
                <a:lnTo>
                  <a:pt x="97" y="12"/>
                </a:lnTo>
                <a:lnTo>
                  <a:pt x="98" y="14"/>
                </a:lnTo>
                <a:lnTo>
                  <a:pt x="99" y="15"/>
                </a:lnTo>
                <a:lnTo>
                  <a:pt x="102" y="17"/>
                </a:lnTo>
                <a:lnTo>
                  <a:pt x="106" y="15"/>
                </a:lnTo>
                <a:lnTo>
                  <a:pt x="109" y="17"/>
                </a:lnTo>
                <a:lnTo>
                  <a:pt x="111" y="22"/>
                </a:lnTo>
                <a:lnTo>
                  <a:pt x="113" y="23"/>
                </a:lnTo>
                <a:lnTo>
                  <a:pt x="114" y="30"/>
                </a:lnTo>
                <a:lnTo>
                  <a:pt x="117" y="31"/>
                </a:lnTo>
                <a:lnTo>
                  <a:pt x="119" y="31"/>
                </a:lnTo>
                <a:lnTo>
                  <a:pt x="125" y="31"/>
                </a:lnTo>
                <a:lnTo>
                  <a:pt x="127" y="31"/>
                </a:lnTo>
                <a:lnTo>
                  <a:pt x="131" y="30"/>
                </a:lnTo>
                <a:lnTo>
                  <a:pt x="135" y="31"/>
                </a:lnTo>
                <a:lnTo>
                  <a:pt x="137" y="33"/>
                </a:lnTo>
                <a:lnTo>
                  <a:pt x="137" y="37"/>
                </a:lnTo>
                <a:lnTo>
                  <a:pt x="137" y="44"/>
                </a:lnTo>
                <a:lnTo>
                  <a:pt x="137" y="45"/>
                </a:lnTo>
                <a:lnTo>
                  <a:pt x="138" y="48"/>
                </a:lnTo>
                <a:lnTo>
                  <a:pt x="139" y="52"/>
                </a:lnTo>
                <a:lnTo>
                  <a:pt x="138" y="50"/>
                </a:lnTo>
                <a:lnTo>
                  <a:pt x="135" y="48"/>
                </a:lnTo>
                <a:lnTo>
                  <a:pt x="126" y="45"/>
                </a:lnTo>
                <a:lnTo>
                  <a:pt x="122" y="44"/>
                </a:lnTo>
                <a:lnTo>
                  <a:pt x="118" y="42"/>
                </a:lnTo>
                <a:lnTo>
                  <a:pt x="111" y="44"/>
                </a:lnTo>
                <a:lnTo>
                  <a:pt x="107" y="44"/>
                </a:lnTo>
                <a:lnTo>
                  <a:pt x="105" y="42"/>
                </a:lnTo>
                <a:lnTo>
                  <a:pt x="102" y="4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99" name="Freeform 96"/>
          <p:cNvSpPr>
            <a:spLocks/>
          </p:cNvSpPr>
          <p:nvPr/>
        </p:nvSpPr>
        <p:spPr bwMode="auto">
          <a:xfrm>
            <a:off x="9012745" y="4460232"/>
            <a:ext cx="7795" cy="2791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4" y="3"/>
              </a:cxn>
              <a:cxn ang="0">
                <a:pos x="4" y="9"/>
              </a:cxn>
              <a:cxn ang="0">
                <a:pos x="4" y="11"/>
              </a:cxn>
              <a:cxn ang="0">
                <a:pos x="2" y="12"/>
              </a:cxn>
              <a:cxn ang="0">
                <a:pos x="1" y="14"/>
              </a:cxn>
              <a:cxn ang="0">
                <a:pos x="0" y="9"/>
              </a:cxn>
              <a:cxn ang="0">
                <a:pos x="0" y="4"/>
              </a:cxn>
              <a:cxn ang="0">
                <a:pos x="1" y="1"/>
              </a:cxn>
              <a:cxn ang="0">
                <a:pos x="2" y="0"/>
              </a:cxn>
            </a:cxnLst>
            <a:rect l="0" t="0" r="r" b="b"/>
            <a:pathLst>
              <a:path w="4" h="14">
                <a:moveTo>
                  <a:pt x="2" y="0"/>
                </a:moveTo>
                <a:lnTo>
                  <a:pt x="4" y="3"/>
                </a:lnTo>
                <a:lnTo>
                  <a:pt x="4" y="9"/>
                </a:lnTo>
                <a:lnTo>
                  <a:pt x="4" y="11"/>
                </a:lnTo>
                <a:lnTo>
                  <a:pt x="2" y="12"/>
                </a:lnTo>
                <a:lnTo>
                  <a:pt x="1" y="14"/>
                </a:lnTo>
                <a:lnTo>
                  <a:pt x="0" y="9"/>
                </a:lnTo>
                <a:lnTo>
                  <a:pt x="0" y="4"/>
                </a:lnTo>
                <a:lnTo>
                  <a:pt x="1" y="1"/>
                </a:lnTo>
                <a:lnTo>
                  <a:pt x="2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00" name="Freeform 97"/>
          <p:cNvSpPr>
            <a:spLocks/>
          </p:cNvSpPr>
          <p:nvPr/>
        </p:nvSpPr>
        <p:spPr bwMode="auto">
          <a:xfrm>
            <a:off x="9012745" y="4460232"/>
            <a:ext cx="7795" cy="2791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4" y="3"/>
              </a:cxn>
              <a:cxn ang="0">
                <a:pos x="4" y="9"/>
              </a:cxn>
              <a:cxn ang="0">
                <a:pos x="4" y="11"/>
              </a:cxn>
              <a:cxn ang="0">
                <a:pos x="2" y="12"/>
              </a:cxn>
              <a:cxn ang="0">
                <a:pos x="1" y="14"/>
              </a:cxn>
              <a:cxn ang="0">
                <a:pos x="0" y="9"/>
              </a:cxn>
              <a:cxn ang="0">
                <a:pos x="0" y="4"/>
              </a:cxn>
              <a:cxn ang="0">
                <a:pos x="1" y="1"/>
              </a:cxn>
              <a:cxn ang="0">
                <a:pos x="2" y="0"/>
              </a:cxn>
            </a:cxnLst>
            <a:rect l="0" t="0" r="r" b="b"/>
            <a:pathLst>
              <a:path w="4" h="14">
                <a:moveTo>
                  <a:pt x="2" y="0"/>
                </a:moveTo>
                <a:lnTo>
                  <a:pt x="4" y="3"/>
                </a:lnTo>
                <a:lnTo>
                  <a:pt x="4" y="9"/>
                </a:lnTo>
                <a:lnTo>
                  <a:pt x="4" y="11"/>
                </a:lnTo>
                <a:lnTo>
                  <a:pt x="2" y="12"/>
                </a:lnTo>
                <a:lnTo>
                  <a:pt x="1" y="14"/>
                </a:lnTo>
                <a:lnTo>
                  <a:pt x="0" y="9"/>
                </a:lnTo>
                <a:lnTo>
                  <a:pt x="0" y="4"/>
                </a:lnTo>
                <a:lnTo>
                  <a:pt x="1" y="1"/>
                </a:lnTo>
                <a:lnTo>
                  <a:pt x="2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01" name="Freeform 98"/>
          <p:cNvSpPr>
            <a:spLocks/>
          </p:cNvSpPr>
          <p:nvPr/>
        </p:nvSpPr>
        <p:spPr bwMode="auto">
          <a:xfrm>
            <a:off x="9289476" y="4608414"/>
            <a:ext cx="33130" cy="19329"/>
          </a:xfrm>
          <a:custGeom>
            <a:avLst/>
            <a:gdLst/>
            <a:ahLst/>
            <a:cxnLst>
              <a:cxn ang="0">
                <a:pos x="1" y="9"/>
              </a:cxn>
              <a:cxn ang="0">
                <a:pos x="0" y="8"/>
              </a:cxn>
              <a:cxn ang="0">
                <a:pos x="1" y="5"/>
              </a:cxn>
              <a:cxn ang="0">
                <a:pos x="3" y="3"/>
              </a:cxn>
              <a:cxn ang="0">
                <a:pos x="7" y="3"/>
              </a:cxn>
              <a:cxn ang="0">
                <a:pos x="9" y="3"/>
              </a:cxn>
              <a:cxn ang="0">
                <a:pos x="12" y="0"/>
              </a:cxn>
              <a:cxn ang="0">
                <a:pos x="13" y="2"/>
              </a:cxn>
              <a:cxn ang="0">
                <a:pos x="16" y="5"/>
              </a:cxn>
              <a:cxn ang="0">
                <a:pos x="13" y="6"/>
              </a:cxn>
              <a:cxn ang="0">
                <a:pos x="11" y="8"/>
              </a:cxn>
              <a:cxn ang="0">
                <a:pos x="8" y="9"/>
              </a:cxn>
              <a:cxn ang="0">
                <a:pos x="5" y="8"/>
              </a:cxn>
              <a:cxn ang="0">
                <a:pos x="3" y="9"/>
              </a:cxn>
              <a:cxn ang="0">
                <a:pos x="1" y="9"/>
              </a:cxn>
            </a:cxnLst>
            <a:rect l="0" t="0" r="r" b="b"/>
            <a:pathLst>
              <a:path w="16" h="9">
                <a:moveTo>
                  <a:pt x="1" y="9"/>
                </a:moveTo>
                <a:lnTo>
                  <a:pt x="0" y="8"/>
                </a:lnTo>
                <a:lnTo>
                  <a:pt x="1" y="5"/>
                </a:lnTo>
                <a:lnTo>
                  <a:pt x="3" y="3"/>
                </a:lnTo>
                <a:lnTo>
                  <a:pt x="7" y="3"/>
                </a:lnTo>
                <a:lnTo>
                  <a:pt x="9" y="3"/>
                </a:lnTo>
                <a:lnTo>
                  <a:pt x="12" y="0"/>
                </a:lnTo>
                <a:lnTo>
                  <a:pt x="13" y="2"/>
                </a:lnTo>
                <a:lnTo>
                  <a:pt x="16" y="5"/>
                </a:lnTo>
                <a:lnTo>
                  <a:pt x="13" y="6"/>
                </a:lnTo>
                <a:lnTo>
                  <a:pt x="11" y="8"/>
                </a:lnTo>
                <a:lnTo>
                  <a:pt x="8" y="9"/>
                </a:lnTo>
                <a:lnTo>
                  <a:pt x="5" y="8"/>
                </a:lnTo>
                <a:lnTo>
                  <a:pt x="3" y="9"/>
                </a:lnTo>
                <a:lnTo>
                  <a:pt x="1" y="9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02" name="Freeform 99"/>
          <p:cNvSpPr>
            <a:spLocks/>
          </p:cNvSpPr>
          <p:nvPr/>
        </p:nvSpPr>
        <p:spPr bwMode="auto">
          <a:xfrm>
            <a:off x="9289476" y="4608414"/>
            <a:ext cx="33130" cy="19329"/>
          </a:xfrm>
          <a:custGeom>
            <a:avLst/>
            <a:gdLst/>
            <a:ahLst/>
            <a:cxnLst>
              <a:cxn ang="0">
                <a:pos x="1" y="9"/>
              </a:cxn>
              <a:cxn ang="0">
                <a:pos x="0" y="8"/>
              </a:cxn>
              <a:cxn ang="0">
                <a:pos x="1" y="5"/>
              </a:cxn>
              <a:cxn ang="0">
                <a:pos x="3" y="3"/>
              </a:cxn>
              <a:cxn ang="0">
                <a:pos x="7" y="3"/>
              </a:cxn>
              <a:cxn ang="0">
                <a:pos x="9" y="3"/>
              </a:cxn>
              <a:cxn ang="0">
                <a:pos x="12" y="0"/>
              </a:cxn>
              <a:cxn ang="0">
                <a:pos x="13" y="2"/>
              </a:cxn>
              <a:cxn ang="0">
                <a:pos x="16" y="5"/>
              </a:cxn>
              <a:cxn ang="0">
                <a:pos x="13" y="6"/>
              </a:cxn>
              <a:cxn ang="0">
                <a:pos x="11" y="8"/>
              </a:cxn>
              <a:cxn ang="0">
                <a:pos x="8" y="9"/>
              </a:cxn>
              <a:cxn ang="0">
                <a:pos x="5" y="8"/>
              </a:cxn>
              <a:cxn ang="0">
                <a:pos x="3" y="9"/>
              </a:cxn>
              <a:cxn ang="0">
                <a:pos x="1" y="9"/>
              </a:cxn>
            </a:cxnLst>
            <a:rect l="0" t="0" r="r" b="b"/>
            <a:pathLst>
              <a:path w="16" h="9">
                <a:moveTo>
                  <a:pt x="1" y="9"/>
                </a:moveTo>
                <a:lnTo>
                  <a:pt x="0" y="8"/>
                </a:lnTo>
                <a:lnTo>
                  <a:pt x="1" y="5"/>
                </a:lnTo>
                <a:lnTo>
                  <a:pt x="3" y="3"/>
                </a:lnTo>
                <a:lnTo>
                  <a:pt x="7" y="3"/>
                </a:lnTo>
                <a:lnTo>
                  <a:pt x="9" y="3"/>
                </a:lnTo>
                <a:lnTo>
                  <a:pt x="12" y="0"/>
                </a:lnTo>
                <a:lnTo>
                  <a:pt x="13" y="2"/>
                </a:lnTo>
                <a:lnTo>
                  <a:pt x="16" y="5"/>
                </a:lnTo>
                <a:lnTo>
                  <a:pt x="13" y="6"/>
                </a:lnTo>
                <a:lnTo>
                  <a:pt x="11" y="8"/>
                </a:lnTo>
                <a:lnTo>
                  <a:pt x="8" y="9"/>
                </a:lnTo>
                <a:lnTo>
                  <a:pt x="5" y="8"/>
                </a:lnTo>
                <a:lnTo>
                  <a:pt x="3" y="9"/>
                </a:lnTo>
                <a:lnTo>
                  <a:pt x="1" y="9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03" name="Freeform 100"/>
          <p:cNvSpPr>
            <a:spLocks/>
          </p:cNvSpPr>
          <p:nvPr/>
        </p:nvSpPr>
        <p:spPr bwMode="auto">
          <a:xfrm>
            <a:off x="9205678" y="4715797"/>
            <a:ext cx="15591" cy="12885"/>
          </a:xfrm>
          <a:custGeom>
            <a:avLst/>
            <a:gdLst/>
            <a:ahLst/>
            <a:cxnLst>
              <a:cxn ang="0">
                <a:pos x="0" y="8"/>
              </a:cxn>
              <a:cxn ang="0">
                <a:pos x="0" y="5"/>
              </a:cxn>
              <a:cxn ang="0">
                <a:pos x="3" y="5"/>
              </a:cxn>
              <a:cxn ang="0">
                <a:pos x="6" y="2"/>
              </a:cxn>
              <a:cxn ang="0">
                <a:pos x="8" y="0"/>
              </a:cxn>
              <a:cxn ang="0">
                <a:pos x="8" y="2"/>
              </a:cxn>
              <a:cxn ang="0">
                <a:pos x="7" y="4"/>
              </a:cxn>
              <a:cxn ang="0">
                <a:pos x="6" y="7"/>
              </a:cxn>
              <a:cxn ang="0">
                <a:pos x="3" y="8"/>
              </a:cxn>
              <a:cxn ang="0">
                <a:pos x="2" y="8"/>
              </a:cxn>
              <a:cxn ang="0">
                <a:pos x="0" y="8"/>
              </a:cxn>
            </a:cxnLst>
            <a:rect l="0" t="0" r="r" b="b"/>
            <a:pathLst>
              <a:path w="8" h="8">
                <a:moveTo>
                  <a:pt x="0" y="8"/>
                </a:moveTo>
                <a:lnTo>
                  <a:pt x="0" y="5"/>
                </a:lnTo>
                <a:lnTo>
                  <a:pt x="3" y="5"/>
                </a:lnTo>
                <a:lnTo>
                  <a:pt x="6" y="2"/>
                </a:lnTo>
                <a:lnTo>
                  <a:pt x="8" y="0"/>
                </a:lnTo>
                <a:lnTo>
                  <a:pt x="8" y="2"/>
                </a:lnTo>
                <a:lnTo>
                  <a:pt x="7" y="4"/>
                </a:lnTo>
                <a:lnTo>
                  <a:pt x="6" y="7"/>
                </a:lnTo>
                <a:lnTo>
                  <a:pt x="3" y="8"/>
                </a:lnTo>
                <a:lnTo>
                  <a:pt x="2" y="8"/>
                </a:lnTo>
                <a:lnTo>
                  <a:pt x="0" y="8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04" name="Freeform 101"/>
          <p:cNvSpPr>
            <a:spLocks/>
          </p:cNvSpPr>
          <p:nvPr/>
        </p:nvSpPr>
        <p:spPr bwMode="auto">
          <a:xfrm>
            <a:off x="9205678" y="4715797"/>
            <a:ext cx="15591" cy="12885"/>
          </a:xfrm>
          <a:custGeom>
            <a:avLst/>
            <a:gdLst/>
            <a:ahLst/>
            <a:cxnLst>
              <a:cxn ang="0">
                <a:pos x="0" y="8"/>
              </a:cxn>
              <a:cxn ang="0">
                <a:pos x="0" y="5"/>
              </a:cxn>
              <a:cxn ang="0">
                <a:pos x="3" y="5"/>
              </a:cxn>
              <a:cxn ang="0">
                <a:pos x="6" y="2"/>
              </a:cxn>
              <a:cxn ang="0">
                <a:pos x="8" y="0"/>
              </a:cxn>
              <a:cxn ang="0">
                <a:pos x="8" y="2"/>
              </a:cxn>
              <a:cxn ang="0">
                <a:pos x="7" y="4"/>
              </a:cxn>
              <a:cxn ang="0">
                <a:pos x="6" y="7"/>
              </a:cxn>
              <a:cxn ang="0">
                <a:pos x="3" y="8"/>
              </a:cxn>
              <a:cxn ang="0">
                <a:pos x="2" y="8"/>
              </a:cxn>
              <a:cxn ang="0">
                <a:pos x="0" y="8"/>
              </a:cxn>
            </a:cxnLst>
            <a:rect l="0" t="0" r="r" b="b"/>
            <a:pathLst>
              <a:path w="8" h="8">
                <a:moveTo>
                  <a:pt x="0" y="8"/>
                </a:moveTo>
                <a:lnTo>
                  <a:pt x="0" y="5"/>
                </a:lnTo>
                <a:lnTo>
                  <a:pt x="3" y="5"/>
                </a:lnTo>
                <a:lnTo>
                  <a:pt x="6" y="2"/>
                </a:lnTo>
                <a:lnTo>
                  <a:pt x="8" y="0"/>
                </a:lnTo>
                <a:lnTo>
                  <a:pt x="8" y="2"/>
                </a:lnTo>
                <a:lnTo>
                  <a:pt x="7" y="4"/>
                </a:lnTo>
                <a:lnTo>
                  <a:pt x="6" y="7"/>
                </a:lnTo>
                <a:lnTo>
                  <a:pt x="3" y="8"/>
                </a:lnTo>
                <a:lnTo>
                  <a:pt x="2" y="8"/>
                </a:lnTo>
                <a:lnTo>
                  <a:pt x="0" y="8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05" name="Freeform 102"/>
          <p:cNvSpPr>
            <a:spLocks/>
          </p:cNvSpPr>
          <p:nvPr/>
        </p:nvSpPr>
        <p:spPr bwMode="auto">
          <a:xfrm>
            <a:off x="9252449" y="4629890"/>
            <a:ext cx="17539" cy="10739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1" y="2"/>
              </a:cxn>
              <a:cxn ang="0">
                <a:pos x="3" y="2"/>
              </a:cxn>
              <a:cxn ang="0">
                <a:pos x="8" y="0"/>
              </a:cxn>
              <a:cxn ang="0">
                <a:pos x="9" y="3"/>
              </a:cxn>
              <a:cxn ang="0">
                <a:pos x="8" y="5"/>
              </a:cxn>
              <a:cxn ang="0">
                <a:pos x="7" y="6"/>
              </a:cxn>
              <a:cxn ang="0">
                <a:pos x="1" y="6"/>
              </a:cxn>
              <a:cxn ang="0">
                <a:pos x="0" y="5"/>
              </a:cxn>
              <a:cxn ang="0">
                <a:pos x="0" y="3"/>
              </a:cxn>
              <a:cxn ang="0">
                <a:pos x="0" y="2"/>
              </a:cxn>
            </a:cxnLst>
            <a:rect l="0" t="0" r="r" b="b"/>
            <a:pathLst>
              <a:path w="9" h="6">
                <a:moveTo>
                  <a:pt x="0" y="2"/>
                </a:moveTo>
                <a:lnTo>
                  <a:pt x="1" y="2"/>
                </a:lnTo>
                <a:lnTo>
                  <a:pt x="3" y="2"/>
                </a:lnTo>
                <a:lnTo>
                  <a:pt x="8" y="0"/>
                </a:lnTo>
                <a:lnTo>
                  <a:pt x="9" y="3"/>
                </a:lnTo>
                <a:lnTo>
                  <a:pt x="8" y="5"/>
                </a:lnTo>
                <a:lnTo>
                  <a:pt x="7" y="6"/>
                </a:lnTo>
                <a:lnTo>
                  <a:pt x="1" y="6"/>
                </a:lnTo>
                <a:lnTo>
                  <a:pt x="0" y="5"/>
                </a:lnTo>
                <a:lnTo>
                  <a:pt x="0" y="3"/>
                </a:lnTo>
                <a:lnTo>
                  <a:pt x="0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06" name="Freeform 103"/>
          <p:cNvSpPr>
            <a:spLocks/>
          </p:cNvSpPr>
          <p:nvPr/>
        </p:nvSpPr>
        <p:spPr bwMode="auto">
          <a:xfrm>
            <a:off x="9252449" y="4629890"/>
            <a:ext cx="17539" cy="10739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1" y="2"/>
              </a:cxn>
              <a:cxn ang="0">
                <a:pos x="3" y="2"/>
              </a:cxn>
              <a:cxn ang="0">
                <a:pos x="8" y="0"/>
              </a:cxn>
              <a:cxn ang="0">
                <a:pos x="9" y="3"/>
              </a:cxn>
              <a:cxn ang="0">
                <a:pos x="8" y="5"/>
              </a:cxn>
              <a:cxn ang="0">
                <a:pos x="7" y="6"/>
              </a:cxn>
              <a:cxn ang="0">
                <a:pos x="1" y="6"/>
              </a:cxn>
              <a:cxn ang="0">
                <a:pos x="0" y="5"/>
              </a:cxn>
              <a:cxn ang="0">
                <a:pos x="0" y="3"/>
              </a:cxn>
              <a:cxn ang="0">
                <a:pos x="0" y="2"/>
              </a:cxn>
            </a:cxnLst>
            <a:rect l="0" t="0" r="r" b="b"/>
            <a:pathLst>
              <a:path w="9" h="6">
                <a:moveTo>
                  <a:pt x="0" y="2"/>
                </a:moveTo>
                <a:lnTo>
                  <a:pt x="1" y="2"/>
                </a:lnTo>
                <a:lnTo>
                  <a:pt x="3" y="2"/>
                </a:lnTo>
                <a:lnTo>
                  <a:pt x="8" y="0"/>
                </a:lnTo>
                <a:lnTo>
                  <a:pt x="9" y="3"/>
                </a:lnTo>
                <a:lnTo>
                  <a:pt x="8" y="5"/>
                </a:lnTo>
                <a:lnTo>
                  <a:pt x="7" y="6"/>
                </a:lnTo>
                <a:lnTo>
                  <a:pt x="1" y="6"/>
                </a:lnTo>
                <a:lnTo>
                  <a:pt x="0" y="5"/>
                </a:lnTo>
                <a:lnTo>
                  <a:pt x="0" y="3"/>
                </a:lnTo>
                <a:lnTo>
                  <a:pt x="0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07" name="Freeform 104"/>
          <p:cNvSpPr>
            <a:spLocks/>
          </p:cNvSpPr>
          <p:nvPr/>
        </p:nvSpPr>
        <p:spPr bwMode="auto">
          <a:xfrm>
            <a:off x="9236858" y="4636336"/>
            <a:ext cx="7795" cy="10737"/>
          </a:xfrm>
          <a:custGeom>
            <a:avLst/>
            <a:gdLst/>
            <a:ahLst/>
            <a:cxnLst>
              <a:cxn ang="0">
                <a:pos x="1" y="4"/>
              </a:cxn>
              <a:cxn ang="0">
                <a:pos x="0" y="3"/>
              </a:cxn>
              <a:cxn ang="0">
                <a:pos x="3" y="1"/>
              </a:cxn>
              <a:cxn ang="0">
                <a:pos x="4" y="0"/>
              </a:cxn>
              <a:cxn ang="0">
                <a:pos x="4" y="3"/>
              </a:cxn>
              <a:cxn ang="0">
                <a:pos x="3" y="6"/>
              </a:cxn>
              <a:cxn ang="0">
                <a:pos x="3" y="4"/>
              </a:cxn>
              <a:cxn ang="0">
                <a:pos x="1" y="4"/>
              </a:cxn>
            </a:cxnLst>
            <a:rect l="0" t="0" r="r" b="b"/>
            <a:pathLst>
              <a:path w="4" h="6">
                <a:moveTo>
                  <a:pt x="1" y="4"/>
                </a:moveTo>
                <a:lnTo>
                  <a:pt x="0" y="3"/>
                </a:lnTo>
                <a:lnTo>
                  <a:pt x="3" y="1"/>
                </a:lnTo>
                <a:lnTo>
                  <a:pt x="4" y="0"/>
                </a:lnTo>
                <a:lnTo>
                  <a:pt x="4" y="3"/>
                </a:lnTo>
                <a:lnTo>
                  <a:pt x="3" y="6"/>
                </a:lnTo>
                <a:lnTo>
                  <a:pt x="3" y="4"/>
                </a:lnTo>
                <a:lnTo>
                  <a:pt x="1" y="4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08" name="Freeform 105"/>
          <p:cNvSpPr>
            <a:spLocks/>
          </p:cNvSpPr>
          <p:nvPr/>
        </p:nvSpPr>
        <p:spPr bwMode="auto">
          <a:xfrm>
            <a:off x="9236858" y="4636336"/>
            <a:ext cx="7795" cy="10737"/>
          </a:xfrm>
          <a:custGeom>
            <a:avLst/>
            <a:gdLst/>
            <a:ahLst/>
            <a:cxnLst>
              <a:cxn ang="0">
                <a:pos x="1" y="4"/>
              </a:cxn>
              <a:cxn ang="0">
                <a:pos x="0" y="3"/>
              </a:cxn>
              <a:cxn ang="0">
                <a:pos x="3" y="1"/>
              </a:cxn>
              <a:cxn ang="0">
                <a:pos x="4" y="0"/>
              </a:cxn>
              <a:cxn ang="0">
                <a:pos x="4" y="3"/>
              </a:cxn>
              <a:cxn ang="0">
                <a:pos x="3" y="6"/>
              </a:cxn>
              <a:cxn ang="0">
                <a:pos x="3" y="4"/>
              </a:cxn>
              <a:cxn ang="0">
                <a:pos x="1" y="4"/>
              </a:cxn>
            </a:cxnLst>
            <a:rect l="0" t="0" r="r" b="b"/>
            <a:pathLst>
              <a:path w="4" h="6">
                <a:moveTo>
                  <a:pt x="1" y="4"/>
                </a:moveTo>
                <a:lnTo>
                  <a:pt x="0" y="3"/>
                </a:lnTo>
                <a:lnTo>
                  <a:pt x="3" y="1"/>
                </a:lnTo>
                <a:lnTo>
                  <a:pt x="4" y="0"/>
                </a:lnTo>
                <a:lnTo>
                  <a:pt x="4" y="3"/>
                </a:lnTo>
                <a:lnTo>
                  <a:pt x="3" y="6"/>
                </a:lnTo>
                <a:lnTo>
                  <a:pt x="3" y="4"/>
                </a:lnTo>
                <a:lnTo>
                  <a:pt x="1" y="4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09" name="Freeform 106"/>
          <p:cNvSpPr>
            <a:spLocks/>
          </p:cNvSpPr>
          <p:nvPr/>
        </p:nvSpPr>
        <p:spPr bwMode="auto">
          <a:xfrm>
            <a:off x="9219320" y="4636336"/>
            <a:ext cx="13642" cy="10737"/>
          </a:xfrm>
          <a:custGeom>
            <a:avLst/>
            <a:gdLst/>
            <a:ahLst/>
            <a:cxnLst>
              <a:cxn ang="0">
                <a:pos x="0" y="6"/>
              </a:cxn>
              <a:cxn ang="0">
                <a:pos x="1" y="1"/>
              </a:cxn>
              <a:cxn ang="0">
                <a:pos x="1" y="0"/>
              </a:cxn>
              <a:cxn ang="0">
                <a:pos x="3" y="1"/>
              </a:cxn>
              <a:cxn ang="0">
                <a:pos x="4" y="1"/>
              </a:cxn>
              <a:cxn ang="0">
                <a:pos x="5" y="0"/>
              </a:cxn>
              <a:cxn ang="0">
                <a:pos x="6" y="0"/>
              </a:cxn>
              <a:cxn ang="0">
                <a:pos x="6" y="1"/>
              </a:cxn>
              <a:cxn ang="0">
                <a:pos x="5" y="4"/>
              </a:cxn>
              <a:cxn ang="0">
                <a:pos x="4" y="4"/>
              </a:cxn>
              <a:cxn ang="0">
                <a:pos x="3" y="6"/>
              </a:cxn>
              <a:cxn ang="0">
                <a:pos x="1" y="6"/>
              </a:cxn>
              <a:cxn ang="0">
                <a:pos x="0" y="6"/>
              </a:cxn>
            </a:cxnLst>
            <a:rect l="0" t="0" r="r" b="b"/>
            <a:pathLst>
              <a:path w="6" h="6">
                <a:moveTo>
                  <a:pt x="0" y="6"/>
                </a:moveTo>
                <a:lnTo>
                  <a:pt x="1" y="1"/>
                </a:lnTo>
                <a:lnTo>
                  <a:pt x="1" y="0"/>
                </a:lnTo>
                <a:lnTo>
                  <a:pt x="3" y="1"/>
                </a:lnTo>
                <a:lnTo>
                  <a:pt x="4" y="1"/>
                </a:lnTo>
                <a:lnTo>
                  <a:pt x="5" y="0"/>
                </a:lnTo>
                <a:lnTo>
                  <a:pt x="6" y="0"/>
                </a:lnTo>
                <a:lnTo>
                  <a:pt x="6" y="1"/>
                </a:lnTo>
                <a:lnTo>
                  <a:pt x="5" y="4"/>
                </a:lnTo>
                <a:lnTo>
                  <a:pt x="4" y="4"/>
                </a:lnTo>
                <a:lnTo>
                  <a:pt x="3" y="6"/>
                </a:lnTo>
                <a:lnTo>
                  <a:pt x="1" y="6"/>
                </a:lnTo>
                <a:lnTo>
                  <a:pt x="0" y="6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10" name="Freeform 107"/>
          <p:cNvSpPr>
            <a:spLocks/>
          </p:cNvSpPr>
          <p:nvPr/>
        </p:nvSpPr>
        <p:spPr bwMode="auto">
          <a:xfrm>
            <a:off x="9219320" y="4636336"/>
            <a:ext cx="13642" cy="10737"/>
          </a:xfrm>
          <a:custGeom>
            <a:avLst/>
            <a:gdLst/>
            <a:ahLst/>
            <a:cxnLst>
              <a:cxn ang="0">
                <a:pos x="0" y="6"/>
              </a:cxn>
              <a:cxn ang="0">
                <a:pos x="1" y="1"/>
              </a:cxn>
              <a:cxn ang="0">
                <a:pos x="1" y="0"/>
              </a:cxn>
              <a:cxn ang="0">
                <a:pos x="3" y="1"/>
              </a:cxn>
              <a:cxn ang="0">
                <a:pos x="4" y="1"/>
              </a:cxn>
              <a:cxn ang="0">
                <a:pos x="5" y="0"/>
              </a:cxn>
              <a:cxn ang="0">
                <a:pos x="6" y="0"/>
              </a:cxn>
              <a:cxn ang="0">
                <a:pos x="6" y="1"/>
              </a:cxn>
              <a:cxn ang="0">
                <a:pos x="5" y="4"/>
              </a:cxn>
              <a:cxn ang="0">
                <a:pos x="4" y="4"/>
              </a:cxn>
              <a:cxn ang="0">
                <a:pos x="3" y="6"/>
              </a:cxn>
              <a:cxn ang="0">
                <a:pos x="1" y="6"/>
              </a:cxn>
              <a:cxn ang="0">
                <a:pos x="0" y="6"/>
              </a:cxn>
            </a:cxnLst>
            <a:rect l="0" t="0" r="r" b="b"/>
            <a:pathLst>
              <a:path w="6" h="6">
                <a:moveTo>
                  <a:pt x="0" y="6"/>
                </a:moveTo>
                <a:lnTo>
                  <a:pt x="1" y="1"/>
                </a:lnTo>
                <a:lnTo>
                  <a:pt x="1" y="0"/>
                </a:lnTo>
                <a:lnTo>
                  <a:pt x="3" y="1"/>
                </a:lnTo>
                <a:lnTo>
                  <a:pt x="4" y="1"/>
                </a:lnTo>
                <a:lnTo>
                  <a:pt x="5" y="0"/>
                </a:lnTo>
                <a:lnTo>
                  <a:pt x="6" y="0"/>
                </a:lnTo>
                <a:lnTo>
                  <a:pt x="6" y="1"/>
                </a:lnTo>
                <a:lnTo>
                  <a:pt x="5" y="4"/>
                </a:lnTo>
                <a:lnTo>
                  <a:pt x="4" y="4"/>
                </a:lnTo>
                <a:lnTo>
                  <a:pt x="3" y="6"/>
                </a:lnTo>
                <a:lnTo>
                  <a:pt x="1" y="6"/>
                </a:lnTo>
                <a:lnTo>
                  <a:pt x="0" y="6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11" name="Freeform 108"/>
          <p:cNvSpPr>
            <a:spLocks/>
          </p:cNvSpPr>
          <p:nvPr/>
        </p:nvSpPr>
        <p:spPr bwMode="auto">
          <a:xfrm>
            <a:off x="9117980" y="4627745"/>
            <a:ext cx="93543" cy="30067"/>
          </a:xfrm>
          <a:custGeom>
            <a:avLst/>
            <a:gdLst/>
            <a:ahLst/>
            <a:cxnLst>
              <a:cxn ang="0">
                <a:pos x="2" y="8"/>
              </a:cxn>
              <a:cxn ang="0">
                <a:pos x="4" y="8"/>
              </a:cxn>
              <a:cxn ang="0">
                <a:pos x="5" y="7"/>
              </a:cxn>
              <a:cxn ang="0">
                <a:pos x="9" y="5"/>
              </a:cxn>
              <a:cxn ang="0">
                <a:pos x="13" y="4"/>
              </a:cxn>
              <a:cxn ang="0">
                <a:pos x="14" y="5"/>
              </a:cxn>
              <a:cxn ang="0">
                <a:pos x="17" y="5"/>
              </a:cxn>
              <a:cxn ang="0">
                <a:pos x="20" y="7"/>
              </a:cxn>
              <a:cxn ang="0">
                <a:pos x="21" y="8"/>
              </a:cxn>
              <a:cxn ang="0">
                <a:pos x="25" y="10"/>
              </a:cxn>
              <a:cxn ang="0">
                <a:pos x="26" y="8"/>
              </a:cxn>
              <a:cxn ang="0">
                <a:pos x="33" y="8"/>
              </a:cxn>
              <a:cxn ang="0">
                <a:pos x="34" y="8"/>
              </a:cxn>
              <a:cxn ang="0">
                <a:pos x="36" y="10"/>
              </a:cxn>
              <a:cxn ang="0">
                <a:pos x="40" y="10"/>
              </a:cxn>
              <a:cxn ang="0">
                <a:pos x="41" y="10"/>
              </a:cxn>
              <a:cxn ang="0">
                <a:pos x="42" y="7"/>
              </a:cxn>
              <a:cxn ang="0">
                <a:pos x="44" y="7"/>
              </a:cxn>
              <a:cxn ang="0">
                <a:pos x="45" y="5"/>
              </a:cxn>
              <a:cxn ang="0">
                <a:pos x="46" y="5"/>
              </a:cxn>
              <a:cxn ang="0">
                <a:pos x="46" y="4"/>
              </a:cxn>
              <a:cxn ang="0">
                <a:pos x="46" y="0"/>
              </a:cxn>
              <a:cxn ang="0">
                <a:pos x="48" y="2"/>
              </a:cxn>
              <a:cxn ang="0">
                <a:pos x="48" y="5"/>
              </a:cxn>
              <a:cxn ang="0">
                <a:pos x="46" y="8"/>
              </a:cxn>
              <a:cxn ang="0">
                <a:pos x="45" y="11"/>
              </a:cxn>
              <a:cxn ang="0">
                <a:pos x="41" y="13"/>
              </a:cxn>
              <a:cxn ang="0">
                <a:pos x="40" y="13"/>
              </a:cxn>
              <a:cxn ang="0">
                <a:pos x="36" y="13"/>
              </a:cxn>
              <a:cxn ang="0">
                <a:pos x="33" y="15"/>
              </a:cxn>
              <a:cxn ang="0">
                <a:pos x="29" y="15"/>
              </a:cxn>
              <a:cxn ang="0">
                <a:pos x="25" y="15"/>
              </a:cxn>
              <a:cxn ang="0">
                <a:pos x="22" y="16"/>
              </a:cxn>
              <a:cxn ang="0">
                <a:pos x="20" y="16"/>
              </a:cxn>
              <a:cxn ang="0">
                <a:pos x="17" y="15"/>
              </a:cxn>
              <a:cxn ang="0">
                <a:pos x="12" y="15"/>
              </a:cxn>
              <a:cxn ang="0">
                <a:pos x="2" y="15"/>
              </a:cxn>
              <a:cxn ang="0">
                <a:pos x="1" y="15"/>
              </a:cxn>
              <a:cxn ang="0">
                <a:pos x="1" y="13"/>
              </a:cxn>
              <a:cxn ang="0">
                <a:pos x="0" y="10"/>
              </a:cxn>
              <a:cxn ang="0">
                <a:pos x="1" y="8"/>
              </a:cxn>
              <a:cxn ang="0">
                <a:pos x="2" y="8"/>
              </a:cxn>
            </a:cxnLst>
            <a:rect l="0" t="0" r="r" b="b"/>
            <a:pathLst>
              <a:path w="48" h="16">
                <a:moveTo>
                  <a:pt x="2" y="8"/>
                </a:moveTo>
                <a:lnTo>
                  <a:pt x="4" y="8"/>
                </a:lnTo>
                <a:lnTo>
                  <a:pt x="5" y="7"/>
                </a:lnTo>
                <a:lnTo>
                  <a:pt x="9" y="5"/>
                </a:lnTo>
                <a:lnTo>
                  <a:pt x="13" y="4"/>
                </a:lnTo>
                <a:lnTo>
                  <a:pt x="14" y="5"/>
                </a:lnTo>
                <a:lnTo>
                  <a:pt x="17" y="5"/>
                </a:lnTo>
                <a:lnTo>
                  <a:pt x="20" y="7"/>
                </a:lnTo>
                <a:lnTo>
                  <a:pt x="21" y="8"/>
                </a:lnTo>
                <a:lnTo>
                  <a:pt x="25" y="10"/>
                </a:lnTo>
                <a:lnTo>
                  <a:pt x="26" y="8"/>
                </a:lnTo>
                <a:lnTo>
                  <a:pt x="33" y="8"/>
                </a:lnTo>
                <a:lnTo>
                  <a:pt x="34" y="8"/>
                </a:lnTo>
                <a:lnTo>
                  <a:pt x="36" y="10"/>
                </a:lnTo>
                <a:lnTo>
                  <a:pt x="40" y="10"/>
                </a:lnTo>
                <a:lnTo>
                  <a:pt x="41" y="10"/>
                </a:lnTo>
                <a:lnTo>
                  <a:pt x="42" y="7"/>
                </a:lnTo>
                <a:lnTo>
                  <a:pt x="44" y="7"/>
                </a:lnTo>
                <a:lnTo>
                  <a:pt x="45" y="5"/>
                </a:lnTo>
                <a:lnTo>
                  <a:pt x="46" y="5"/>
                </a:lnTo>
                <a:lnTo>
                  <a:pt x="46" y="4"/>
                </a:lnTo>
                <a:lnTo>
                  <a:pt x="46" y="0"/>
                </a:lnTo>
                <a:lnTo>
                  <a:pt x="48" y="2"/>
                </a:lnTo>
                <a:lnTo>
                  <a:pt x="48" y="5"/>
                </a:lnTo>
                <a:lnTo>
                  <a:pt x="46" y="8"/>
                </a:lnTo>
                <a:lnTo>
                  <a:pt x="45" y="11"/>
                </a:lnTo>
                <a:lnTo>
                  <a:pt x="41" y="13"/>
                </a:lnTo>
                <a:lnTo>
                  <a:pt x="40" y="13"/>
                </a:lnTo>
                <a:lnTo>
                  <a:pt x="36" y="13"/>
                </a:lnTo>
                <a:lnTo>
                  <a:pt x="33" y="15"/>
                </a:lnTo>
                <a:lnTo>
                  <a:pt x="29" y="15"/>
                </a:lnTo>
                <a:lnTo>
                  <a:pt x="25" y="15"/>
                </a:lnTo>
                <a:lnTo>
                  <a:pt x="22" y="16"/>
                </a:lnTo>
                <a:lnTo>
                  <a:pt x="20" y="16"/>
                </a:lnTo>
                <a:lnTo>
                  <a:pt x="17" y="15"/>
                </a:lnTo>
                <a:lnTo>
                  <a:pt x="12" y="15"/>
                </a:lnTo>
                <a:lnTo>
                  <a:pt x="2" y="15"/>
                </a:lnTo>
                <a:lnTo>
                  <a:pt x="1" y="15"/>
                </a:lnTo>
                <a:lnTo>
                  <a:pt x="1" y="13"/>
                </a:lnTo>
                <a:lnTo>
                  <a:pt x="0" y="10"/>
                </a:lnTo>
                <a:lnTo>
                  <a:pt x="1" y="8"/>
                </a:lnTo>
                <a:lnTo>
                  <a:pt x="2" y="8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12" name="Freeform 109"/>
          <p:cNvSpPr>
            <a:spLocks/>
          </p:cNvSpPr>
          <p:nvPr/>
        </p:nvSpPr>
        <p:spPr bwMode="auto">
          <a:xfrm>
            <a:off x="9117980" y="4627745"/>
            <a:ext cx="93543" cy="30067"/>
          </a:xfrm>
          <a:custGeom>
            <a:avLst/>
            <a:gdLst/>
            <a:ahLst/>
            <a:cxnLst>
              <a:cxn ang="0">
                <a:pos x="2" y="8"/>
              </a:cxn>
              <a:cxn ang="0">
                <a:pos x="4" y="8"/>
              </a:cxn>
              <a:cxn ang="0">
                <a:pos x="5" y="7"/>
              </a:cxn>
              <a:cxn ang="0">
                <a:pos x="9" y="5"/>
              </a:cxn>
              <a:cxn ang="0">
                <a:pos x="13" y="4"/>
              </a:cxn>
              <a:cxn ang="0">
                <a:pos x="14" y="5"/>
              </a:cxn>
              <a:cxn ang="0">
                <a:pos x="17" y="5"/>
              </a:cxn>
              <a:cxn ang="0">
                <a:pos x="20" y="7"/>
              </a:cxn>
              <a:cxn ang="0">
                <a:pos x="21" y="8"/>
              </a:cxn>
              <a:cxn ang="0">
                <a:pos x="25" y="10"/>
              </a:cxn>
              <a:cxn ang="0">
                <a:pos x="26" y="8"/>
              </a:cxn>
              <a:cxn ang="0">
                <a:pos x="33" y="8"/>
              </a:cxn>
              <a:cxn ang="0">
                <a:pos x="34" y="8"/>
              </a:cxn>
              <a:cxn ang="0">
                <a:pos x="36" y="10"/>
              </a:cxn>
              <a:cxn ang="0">
                <a:pos x="40" y="10"/>
              </a:cxn>
              <a:cxn ang="0">
                <a:pos x="41" y="10"/>
              </a:cxn>
              <a:cxn ang="0">
                <a:pos x="42" y="7"/>
              </a:cxn>
              <a:cxn ang="0">
                <a:pos x="44" y="7"/>
              </a:cxn>
              <a:cxn ang="0">
                <a:pos x="45" y="5"/>
              </a:cxn>
              <a:cxn ang="0">
                <a:pos x="46" y="5"/>
              </a:cxn>
              <a:cxn ang="0">
                <a:pos x="46" y="4"/>
              </a:cxn>
              <a:cxn ang="0">
                <a:pos x="46" y="0"/>
              </a:cxn>
              <a:cxn ang="0">
                <a:pos x="48" y="2"/>
              </a:cxn>
              <a:cxn ang="0">
                <a:pos x="48" y="5"/>
              </a:cxn>
              <a:cxn ang="0">
                <a:pos x="46" y="8"/>
              </a:cxn>
              <a:cxn ang="0">
                <a:pos x="45" y="11"/>
              </a:cxn>
              <a:cxn ang="0">
                <a:pos x="41" y="13"/>
              </a:cxn>
              <a:cxn ang="0">
                <a:pos x="40" y="13"/>
              </a:cxn>
              <a:cxn ang="0">
                <a:pos x="36" y="13"/>
              </a:cxn>
              <a:cxn ang="0">
                <a:pos x="33" y="15"/>
              </a:cxn>
              <a:cxn ang="0">
                <a:pos x="29" y="15"/>
              </a:cxn>
              <a:cxn ang="0">
                <a:pos x="25" y="15"/>
              </a:cxn>
              <a:cxn ang="0">
                <a:pos x="22" y="16"/>
              </a:cxn>
              <a:cxn ang="0">
                <a:pos x="20" y="16"/>
              </a:cxn>
              <a:cxn ang="0">
                <a:pos x="17" y="15"/>
              </a:cxn>
              <a:cxn ang="0">
                <a:pos x="12" y="15"/>
              </a:cxn>
              <a:cxn ang="0">
                <a:pos x="2" y="15"/>
              </a:cxn>
              <a:cxn ang="0">
                <a:pos x="1" y="15"/>
              </a:cxn>
              <a:cxn ang="0">
                <a:pos x="1" y="13"/>
              </a:cxn>
              <a:cxn ang="0">
                <a:pos x="0" y="10"/>
              </a:cxn>
              <a:cxn ang="0">
                <a:pos x="1" y="8"/>
              </a:cxn>
              <a:cxn ang="0">
                <a:pos x="2" y="8"/>
              </a:cxn>
            </a:cxnLst>
            <a:rect l="0" t="0" r="r" b="b"/>
            <a:pathLst>
              <a:path w="48" h="16">
                <a:moveTo>
                  <a:pt x="2" y="8"/>
                </a:moveTo>
                <a:lnTo>
                  <a:pt x="4" y="8"/>
                </a:lnTo>
                <a:lnTo>
                  <a:pt x="5" y="7"/>
                </a:lnTo>
                <a:lnTo>
                  <a:pt x="9" y="5"/>
                </a:lnTo>
                <a:lnTo>
                  <a:pt x="13" y="4"/>
                </a:lnTo>
                <a:lnTo>
                  <a:pt x="14" y="5"/>
                </a:lnTo>
                <a:lnTo>
                  <a:pt x="17" y="5"/>
                </a:lnTo>
                <a:lnTo>
                  <a:pt x="20" y="7"/>
                </a:lnTo>
                <a:lnTo>
                  <a:pt x="21" y="8"/>
                </a:lnTo>
                <a:lnTo>
                  <a:pt x="25" y="10"/>
                </a:lnTo>
                <a:lnTo>
                  <a:pt x="26" y="8"/>
                </a:lnTo>
                <a:lnTo>
                  <a:pt x="33" y="8"/>
                </a:lnTo>
                <a:lnTo>
                  <a:pt x="34" y="8"/>
                </a:lnTo>
                <a:lnTo>
                  <a:pt x="36" y="10"/>
                </a:lnTo>
                <a:lnTo>
                  <a:pt x="40" y="10"/>
                </a:lnTo>
                <a:lnTo>
                  <a:pt x="41" y="10"/>
                </a:lnTo>
                <a:lnTo>
                  <a:pt x="42" y="7"/>
                </a:lnTo>
                <a:lnTo>
                  <a:pt x="44" y="7"/>
                </a:lnTo>
                <a:lnTo>
                  <a:pt x="45" y="5"/>
                </a:lnTo>
                <a:lnTo>
                  <a:pt x="46" y="5"/>
                </a:lnTo>
                <a:lnTo>
                  <a:pt x="46" y="4"/>
                </a:lnTo>
                <a:lnTo>
                  <a:pt x="46" y="0"/>
                </a:lnTo>
                <a:lnTo>
                  <a:pt x="48" y="2"/>
                </a:lnTo>
                <a:lnTo>
                  <a:pt x="48" y="5"/>
                </a:lnTo>
                <a:lnTo>
                  <a:pt x="46" y="8"/>
                </a:lnTo>
                <a:lnTo>
                  <a:pt x="45" y="11"/>
                </a:lnTo>
                <a:lnTo>
                  <a:pt x="41" y="13"/>
                </a:lnTo>
                <a:lnTo>
                  <a:pt x="40" y="13"/>
                </a:lnTo>
                <a:lnTo>
                  <a:pt x="36" y="13"/>
                </a:lnTo>
                <a:lnTo>
                  <a:pt x="33" y="15"/>
                </a:lnTo>
                <a:lnTo>
                  <a:pt x="29" y="15"/>
                </a:lnTo>
                <a:lnTo>
                  <a:pt x="25" y="15"/>
                </a:lnTo>
                <a:lnTo>
                  <a:pt x="22" y="16"/>
                </a:lnTo>
                <a:lnTo>
                  <a:pt x="20" y="16"/>
                </a:lnTo>
                <a:lnTo>
                  <a:pt x="17" y="15"/>
                </a:lnTo>
                <a:lnTo>
                  <a:pt x="12" y="15"/>
                </a:lnTo>
                <a:lnTo>
                  <a:pt x="2" y="15"/>
                </a:lnTo>
                <a:lnTo>
                  <a:pt x="1" y="15"/>
                </a:lnTo>
                <a:lnTo>
                  <a:pt x="1" y="13"/>
                </a:lnTo>
                <a:lnTo>
                  <a:pt x="0" y="10"/>
                </a:lnTo>
                <a:lnTo>
                  <a:pt x="1" y="8"/>
                </a:lnTo>
                <a:lnTo>
                  <a:pt x="2" y="8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13" name="Freeform 110"/>
          <p:cNvSpPr>
            <a:spLocks/>
          </p:cNvSpPr>
          <p:nvPr/>
        </p:nvSpPr>
        <p:spPr bwMode="auto">
          <a:xfrm>
            <a:off x="9096545" y="4670697"/>
            <a:ext cx="52617" cy="36509"/>
          </a:xfrm>
          <a:custGeom>
            <a:avLst/>
            <a:gdLst/>
            <a:ahLst/>
            <a:cxnLst>
              <a:cxn ang="0">
                <a:pos x="13" y="0"/>
              </a:cxn>
              <a:cxn ang="0">
                <a:pos x="16" y="4"/>
              </a:cxn>
              <a:cxn ang="0">
                <a:pos x="17" y="4"/>
              </a:cxn>
              <a:cxn ang="0">
                <a:pos x="19" y="5"/>
              </a:cxn>
              <a:cxn ang="0">
                <a:pos x="20" y="7"/>
              </a:cxn>
              <a:cxn ang="0">
                <a:pos x="23" y="8"/>
              </a:cxn>
              <a:cxn ang="0">
                <a:pos x="25" y="13"/>
              </a:cxn>
              <a:cxn ang="0">
                <a:pos x="27" y="16"/>
              </a:cxn>
              <a:cxn ang="0">
                <a:pos x="25" y="18"/>
              </a:cxn>
              <a:cxn ang="0">
                <a:pos x="21" y="19"/>
              </a:cxn>
              <a:cxn ang="0">
                <a:pos x="19" y="19"/>
              </a:cxn>
              <a:cxn ang="0">
                <a:pos x="16" y="15"/>
              </a:cxn>
              <a:cxn ang="0">
                <a:pos x="12" y="13"/>
              </a:cxn>
              <a:cxn ang="0">
                <a:pos x="9" y="10"/>
              </a:cxn>
              <a:cxn ang="0">
                <a:pos x="5" y="10"/>
              </a:cxn>
              <a:cxn ang="0">
                <a:pos x="3" y="10"/>
              </a:cxn>
              <a:cxn ang="0">
                <a:pos x="0" y="7"/>
              </a:cxn>
              <a:cxn ang="0">
                <a:pos x="0" y="4"/>
              </a:cxn>
              <a:cxn ang="0">
                <a:pos x="1" y="4"/>
              </a:cxn>
              <a:cxn ang="0">
                <a:pos x="4" y="2"/>
              </a:cxn>
              <a:cxn ang="0">
                <a:pos x="8" y="2"/>
              </a:cxn>
              <a:cxn ang="0">
                <a:pos x="11" y="2"/>
              </a:cxn>
              <a:cxn ang="0">
                <a:pos x="12" y="2"/>
              </a:cxn>
              <a:cxn ang="0">
                <a:pos x="13" y="0"/>
              </a:cxn>
            </a:cxnLst>
            <a:rect l="0" t="0" r="r" b="b"/>
            <a:pathLst>
              <a:path w="27" h="19">
                <a:moveTo>
                  <a:pt x="13" y="0"/>
                </a:moveTo>
                <a:lnTo>
                  <a:pt x="16" y="4"/>
                </a:lnTo>
                <a:lnTo>
                  <a:pt x="17" y="4"/>
                </a:lnTo>
                <a:lnTo>
                  <a:pt x="19" y="5"/>
                </a:lnTo>
                <a:lnTo>
                  <a:pt x="20" y="7"/>
                </a:lnTo>
                <a:lnTo>
                  <a:pt x="23" y="8"/>
                </a:lnTo>
                <a:lnTo>
                  <a:pt x="25" y="13"/>
                </a:lnTo>
                <a:lnTo>
                  <a:pt x="27" y="16"/>
                </a:lnTo>
                <a:lnTo>
                  <a:pt x="25" y="18"/>
                </a:lnTo>
                <a:lnTo>
                  <a:pt x="21" y="19"/>
                </a:lnTo>
                <a:lnTo>
                  <a:pt x="19" y="19"/>
                </a:lnTo>
                <a:lnTo>
                  <a:pt x="16" y="15"/>
                </a:lnTo>
                <a:lnTo>
                  <a:pt x="12" y="13"/>
                </a:lnTo>
                <a:lnTo>
                  <a:pt x="9" y="10"/>
                </a:lnTo>
                <a:lnTo>
                  <a:pt x="5" y="10"/>
                </a:lnTo>
                <a:lnTo>
                  <a:pt x="3" y="10"/>
                </a:lnTo>
                <a:lnTo>
                  <a:pt x="0" y="7"/>
                </a:lnTo>
                <a:lnTo>
                  <a:pt x="0" y="4"/>
                </a:lnTo>
                <a:lnTo>
                  <a:pt x="1" y="4"/>
                </a:lnTo>
                <a:lnTo>
                  <a:pt x="4" y="2"/>
                </a:lnTo>
                <a:lnTo>
                  <a:pt x="8" y="2"/>
                </a:lnTo>
                <a:lnTo>
                  <a:pt x="11" y="2"/>
                </a:lnTo>
                <a:lnTo>
                  <a:pt x="12" y="2"/>
                </a:lnTo>
                <a:lnTo>
                  <a:pt x="13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14" name="Freeform 111"/>
          <p:cNvSpPr>
            <a:spLocks/>
          </p:cNvSpPr>
          <p:nvPr/>
        </p:nvSpPr>
        <p:spPr bwMode="auto">
          <a:xfrm>
            <a:off x="9096545" y="4670697"/>
            <a:ext cx="52617" cy="36509"/>
          </a:xfrm>
          <a:custGeom>
            <a:avLst/>
            <a:gdLst/>
            <a:ahLst/>
            <a:cxnLst>
              <a:cxn ang="0">
                <a:pos x="13" y="0"/>
              </a:cxn>
              <a:cxn ang="0">
                <a:pos x="16" y="4"/>
              </a:cxn>
              <a:cxn ang="0">
                <a:pos x="17" y="4"/>
              </a:cxn>
              <a:cxn ang="0">
                <a:pos x="19" y="5"/>
              </a:cxn>
              <a:cxn ang="0">
                <a:pos x="20" y="7"/>
              </a:cxn>
              <a:cxn ang="0">
                <a:pos x="23" y="8"/>
              </a:cxn>
              <a:cxn ang="0">
                <a:pos x="25" y="13"/>
              </a:cxn>
              <a:cxn ang="0">
                <a:pos x="27" y="16"/>
              </a:cxn>
              <a:cxn ang="0">
                <a:pos x="25" y="18"/>
              </a:cxn>
              <a:cxn ang="0">
                <a:pos x="21" y="19"/>
              </a:cxn>
              <a:cxn ang="0">
                <a:pos x="19" y="19"/>
              </a:cxn>
              <a:cxn ang="0">
                <a:pos x="16" y="15"/>
              </a:cxn>
              <a:cxn ang="0">
                <a:pos x="12" y="13"/>
              </a:cxn>
              <a:cxn ang="0">
                <a:pos x="9" y="10"/>
              </a:cxn>
              <a:cxn ang="0">
                <a:pos x="5" y="10"/>
              </a:cxn>
              <a:cxn ang="0">
                <a:pos x="3" y="10"/>
              </a:cxn>
              <a:cxn ang="0">
                <a:pos x="0" y="7"/>
              </a:cxn>
              <a:cxn ang="0">
                <a:pos x="0" y="4"/>
              </a:cxn>
              <a:cxn ang="0">
                <a:pos x="1" y="4"/>
              </a:cxn>
              <a:cxn ang="0">
                <a:pos x="4" y="2"/>
              </a:cxn>
              <a:cxn ang="0">
                <a:pos x="8" y="2"/>
              </a:cxn>
              <a:cxn ang="0">
                <a:pos x="11" y="2"/>
              </a:cxn>
              <a:cxn ang="0">
                <a:pos x="12" y="2"/>
              </a:cxn>
              <a:cxn ang="0">
                <a:pos x="13" y="0"/>
              </a:cxn>
            </a:cxnLst>
            <a:rect l="0" t="0" r="r" b="b"/>
            <a:pathLst>
              <a:path w="27" h="19">
                <a:moveTo>
                  <a:pt x="13" y="0"/>
                </a:moveTo>
                <a:lnTo>
                  <a:pt x="16" y="4"/>
                </a:lnTo>
                <a:lnTo>
                  <a:pt x="17" y="4"/>
                </a:lnTo>
                <a:lnTo>
                  <a:pt x="19" y="5"/>
                </a:lnTo>
                <a:lnTo>
                  <a:pt x="20" y="7"/>
                </a:lnTo>
                <a:lnTo>
                  <a:pt x="23" y="8"/>
                </a:lnTo>
                <a:lnTo>
                  <a:pt x="25" y="13"/>
                </a:lnTo>
                <a:lnTo>
                  <a:pt x="27" y="16"/>
                </a:lnTo>
                <a:lnTo>
                  <a:pt x="25" y="18"/>
                </a:lnTo>
                <a:lnTo>
                  <a:pt x="21" y="19"/>
                </a:lnTo>
                <a:lnTo>
                  <a:pt x="19" y="19"/>
                </a:lnTo>
                <a:lnTo>
                  <a:pt x="16" y="15"/>
                </a:lnTo>
                <a:lnTo>
                  <a:pt x="12" y="13"/>
                </a:lnTo>
                <a:lnTo>
                  <a:pt x="9" y="10"/>
                </a:lnTo>
                <a:lnTo>
                  <a:pt x="5" y="10"/>
                </a:lnTo>
                <a:lnTo>
                  <a:pt x="3" y="10"/>
                </a:lnTo>
                <a:lnTo>
                  <a:pt x="0" y="7"/>
                </a:lnTo>
                <a:lnTo>
                  <a:pt x="0" y="4"/>
                </a:lnTo>
                <a:lnTo>
                  <a:pt x="1" y="4"/>
                </a:lnTo>
                <a:lnTo>
                  <a:pt x="4" y="2"/>
                </a:lnTo>
                <a:lnTo>
                  <a:pt x="8" y="2"/>
                </a:lnTo>
                <a:lnTo>
                  <a:pt x="11" y="2"/>
                </a:lnTo>
                <a:lnTo>
                  <a:pt x="12" y="2"/>
                </a:lnTo>
                <a:lnTo>
                  <a:pt x="13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15" name="Freeform 112"/>
          <p:cNvSpPr>
            <a:spLocks/>
          </p:cNvSpPr>
          <p:nvPr/>
        </p:nvSpPr>
        <p:spPr bwMode="auto">
          <a:xfrm>
            <a:off x="9030284" y="4627744"/>
            <a:ext cx="70158" cy="36509"/>
          </a:xfrm>
          <a:custGeom>
            <a:avLst/>
            <a:gdLst/>
            <a:ahLst/>
            <a:cxnLst>
              <a:cxn ang="0">
                <a:pos x="4" y="7"/>
              </a:cxn>
              <a:cxn ang="0">
                <a:pos x="7" y="7"/>
              </a:cxn>
              <a:cxn ang="0">
                <a:pos x="12" y="8"/>
              </a:cxn>
              <a:cxn ang="0">
                <a:pos x="15" y="10"/>
              </a:cxn>
              <a:cxn ang="0">
                <a:pos x="16" y="11"/>
              </a:cxn>
              <a:cxn ang="0">
                <a:pos x="18" y="11"/>
              </a:cxn>
              <a:cxn ang="0">
                <a:pos x="19" y="11"/>
              </a:cxn>
              <a:cxn ang="0">
                <a:pos x="20" y="11"/>
              </a:cxn>
              <a:cxn ang="0">
                <a:pos x="22" y="11"/>
              </a:cxn>
              <a:cxn ang="0">
                <a:pos x="22" y="10"/>
              </a:cxn>
              <a:cxn ang="0">
                <a:pos x="19" y="8"/>
              </a:cxn>
              <a:cxn ang="0">
                <a:pos x="16" y="5"/>
              </a:cxn>
              <a:cxn ang="0">
                <a:pos x="16" y="2"/>
              </a:cxn>
              <a:cxn ang="0">
                <a:pos x="18" y="0"/>
              </a:cxn>
              <a:cxn ang="0">
                <a:pos x="20" y="4"/>
              </a:cxn>
              <a:cxn ang="0">
                <a:pos x="23" y="5"/>
              </a:cxn>
              <a:cxn ang="0">
                <a:pos x="24" y="5"/>
              </a:cxn>
              <a:cxn ang="0">
                <a:pos x="27" y="5"/>
              </a:cxn>
              <a:cxn ang="0">
                <a:pos x="30" y="7"/>
              </a:cxn>
              <a:cxn ang="0">
                <a:pos x="30" y="8"/>
              </a:cxn>
              <a:cxn ang="0">
                <a:pos x="32" y="5"/>
              </a:cxn>
              <a:cxn ang="0">
                <a:pos x="34" y="7"/>
              </a:cxn>
              <a:cxn ang="0">
                <a:pos x="35" y="8"/>
              </a:cxn>
              <a:cxn ang="0">
                <a:pos x="35" y="11"/>
              </a:cxn>
              <a:cxn ang="0">
                <a:pos x="36" y="11"/>
              </a:cxn>
              <a:cxn ang="0">
                <a:pos x="35" y="13"/>
              </a:cxn>
              <a:cxn ang="0">
                <a:pos x="32" y="11"/>
              </a:cxn>
              <a:cxn ang="0">
                <a:pos x="32" y="13"/>
              </a:cxn>
              <a:cxn ang="0">
                <a:pos x="32" y="15"/>
              </a:cxn>
              <a:cxn ang="0">
                <a:pos x="28" y="15"/>
              </a:cxn>
              <a:cxn ang="0">
                <a:pos x="26" y="13"/>
              </a:cxn>
              <a:cxn ang="0">
                <a:pos x="26" y="11"/>
              </a:cxn>
              <a:cxn ang="0">
                <a:pos x="22" y="15"/>
              </a:cxn>
              <a:cxn ang="0">
                <a:pos x="18" y="16"/>
              </a:cxn>
              <a:cxn ang="0">
                <a:pos x="14" y="18"/>
              </a:cxn>
              <a:cxn ang="0">
                <a:pos x="7" y="19"/>
              </a:cxn>
              <a:cxn ang="0">
                <a:pos x="4" y="19"/>
              </a:cxn>
              <a:cxn ang="0">
                <a:pos x="2" y="18"/>
              </a:cxn>
              <a:cxn ang="0">
                <a:pos x="2" y="16"/>
              </a:cxn>
              <a:cxn ang="0">
                <a:pos x="2" y="13"/>
              </a:cxn>
              <a:cxn ang="0">
                <a:pos x="0" y="11"/>
              </a:cxn>
              <a:cxn ang="0">
                <a:pos x="4" y="8"/>
              </a:cxn>
              <a:cxn ang="0">
                <a:pos x="4" y="7"/>
              </a:cxn>
            </a:cxnLst>
            <a:rect l="0" t="0" r="r" b="b"/>
            <a:pathLst>
              <a:path w="36" h="19">
                <a:moveTo>
                  <a:pt x="4" y="7"/>
                </a:moveTo>
                <a:lnTo>
                  <a:pt x="7" y="7"/>
                </a:lnTo>
                <a:lnTo>
                  <a:pt x="12" y="8"/>
                </a:lnTo>
                <a:lnTo>
                  <a:pt x="15" y="10"/>
                </a:lnTo>
                <a:lnTo>
                  <a:pt x="16" y="11"/>
                </a:lnTo>
                <a:lnTo>
                  <a:pt x="18" y="11"/>
                </a:lnTo>
                <a:lnTo>
                  <a:pt x="19" y="11"/>
                </a:lnTo>
                <a:lnTo>
                  <a:pt x="20" y="11"/>
                </a:lnTo>
                <a:lnTo>
                  <a:pt x="22" y="11"/>
                </a:lnTo>
                <a:lnTo>
                  <a:pt x="22" y="10"/>
                </a:lnTo>
                <a:lnTo>
                  <a:pt x="19" y="8"/>
                </a:lnTo>
                <a:lnTo>
                  <a:pt x="16" y="5"/>
                </a:lnTo>
                <a:lnTo>
                  <a:pt x="16" y="2"/>
                </a:lnTo>
                <a:lnTo>
                  <a:pt x="18" y="0"/>
                </a:lnTo>
                <a:lnTo>
                  <a:pt x="20" y="4"/>
                </a:lnTo>
                <a:lnTo>
                  <a:pt x="23" y="5"/>
                </a:lnTo>
                <a:lnTo>
                  <a:pt x="24" y="5"/>
                </a:lnTo>
                <a:lnTo>
                  <a:pt x="27" y="5"/>
                </a:lnTo>
                <a:lnTo>
                  <a:pt x="30" y="7"/>
                </a:lnTo>
                <a:lnTo>
                  <a:pt x="30" y="8"/>
                </a:lnTo>
                <a:lnTo>
                  <a:pt x="32" y="5"/>
                </a:lnTo>
                <a:lnTo>
                  <a:pt x="34" y="7"/>
                </a:lnTo>
                <a:lnTo>
                  <a:pt x="35" y="8"/>
                </a:lnTo>
                <a:lnTo>
                  <a:pt x="35" y="11"/>
                </a:lnTo>
                <a:lnTo>
                  <a:pt x="36" y="11"/>
                </a:lnTo>
                <a:lnTo>
                  <a:pt x="35" y="13"/>
                </a:lnTo>
                <a:lnTo>
                  <a:pt x="32" y="11"/>
                </a:lnTo>
                <a:lnTo>
                  <a:pt x="32" y="13"/>
                </a:lnTo>
                <a:lnTo>
                  <a:pt x="32" y="15"/>
                </a:lnTo>
                <a:lnTo>
                  <a:pt x="28" y="15"/>
                </a:lnTo>
                <a:lnTo>
                  <a:pt x="26" y="13"/>
                </a:lnTo>
                <a:lnTo>
                  <a:pt x="26" y="11"/>
                </a:lnTo>
                <a:lnTo>
                  <a:pt x="22" y="15"/>
                </a:lnTo>
                <a:lnTo>
                  <a:pt x="18" y="16"/>
                </a:lnTo>
                <a:lnTo>
                  <a:pt x="14" y="18"/>
                </a:lnTo>
                <a:lnTo>
                  <a:pt x="7" y="19"/>
                </a:lnTo>
                <a:lnTo>
                  <a:pt x="4" y="19"/>
                </a:lnTo>
                <a:lnTo>
                  <a:pt x="2" y="18"/>
                </a:lnTo>
                <a:lnTo>
                  <a:pt x="2" y="16"/>
                </a:lnTo>
                <a:lnTo>
                  <a:pt x="2" y="13"/>
                </a:lnTo>
                <a:lnTo>
                  <a:pt x="0" y="11"/>
                </a:lnTo>
                <a:lnTo>
                  <a:pt x="4" y="8"/>
                </a:lnTo>
                <a:lnTo>
                  <a:pt x="4" y="7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16" name="Freeform 113"/>
          <p:cNvSpPr>
            <a:spLocks/>
          </p:cNvSpPr>
          <p:nvPr/>
        </p:nvSpPr>
        <p:spPr bwMode="auto">
          <a:xfrm>
            <a:off x="9030284" y="4627744"/>
            <a:ext cx="70158" cy="36509"/>
          </a:xfrm>
          <a:custGeom>
            <a:avLst/>
            <a:gdLst/>
            <a:ahLst/>
            <a:cxnLst>
              <a:cxn ang="0">
                <a:pos x="4" y="7"/>
              </a:cxn>
              <a:cxn ang="0">
                <a:pos x="7" y="7"/>
              </a:cxn>
              <a:cxn ang="0">
                <a:pos x="12" y="8"/>
              </a:cxn>
              <a:cxn ang="0">
                <a:pos x="15" y="10"/>
              </a:cxn>
              <a:cxn ang="0">
                <a:pos x="16" y="11"/>
              </a:cxn>
              <a:cxn ang="0">
                <a:pos x="18" y="11"/>
              </a:cxn>
              <a:cxn ang="0">
                <a:pos x="19" y="11"/>
              </a:cxn>
              <a:cxn ang="0">
                <a:pos x="20" y="11"/>
              </a:cxn>
              <a:cxn ang="0">
                <a:pos x="22" y="11"/>
              </a:cxn>
              <a:cxn ang="0">
                <a:pos x="22" y="10"/>
              </a:cxn>
              <a:cxn ang="0">
                <a:pos x="19" y="8"/>
              </a:cxn>
              <a:cxn ang="0">
                <a:pos x="16" y="5"/>
              </a:cxn>
              <a:cxn ang="0">
                <a:pos x="16" y="2"/>
              </a:cxn>
              <a:cxn ang="0">
                <a:pos x="18" y="0"/>
              </a:cxn>
              <a:cxn ang="0">
                <a:pos x="20" y="4"/>
              </a:cxn>
              <a:cxn ang="0">
                <a:pos x="23" y="5"/>
              </a:cxn>
              <a:cxn ang="0">
                <a:pos x="24" y="5"/>
              </a:cxn>
              <a:cxn ang="0">
                <a:pos x="27" y="5"/>
              </a:cxn>
              <a:cxn ang="0">
                <a:pos x="30" y="7"/>
              </a:cxn>
              <a:cxn ang="0">
                <a:pos x="30" y="8"/>
              </a:cxn>
              <a:cxn ang="0">
                <a:pos x="32" y="5"/>
              </a:cxn>
              <a:cxn ang="0">
                <a:pos x="34" y="7"/>
              </a:cxn>
              <a:cxn ang="0">
                <a:pos x="35" y="8"/>
              </a:cxn>
              <a:cxn ang="0">
                <a:pos x="35" y="11"/>
              </a:cxn>
              <a:cxn ang="0">
                <a:pos x="36" y="11"/>
              </a:cxn>
              <a:cxn ang="0">
                <a:pos x="35" y="13"/>
              </a:cxn>
              <a:cxn ang="0">
                <a:pos x="32" y="11"/>
              </a:cxn>
              <a:cxn ang="0">
                <a:pos x="32" y="13"/>
              </a:cxn>
              <a:cxn ang="0">
                <a:pos x="32" y="15"/>
              </a:cxn>
              <a:cxn ang="0">
                <a:pos x="28" y="15"/>
              </a:cxn>
              <a:cxn ang="0">
                <a:pos x="26" y="13"/>
              </a:cxn>
              <a:cxn ang="0">
                <a:pos x="26" y="11"/>
              </a:cxn>
              <a:cxn ang="0">
                <a:pos x="22" y="15"/>
              </a:cxn>
              <a:cxn ang="0">
                <a:pos x="18" y="16"/>
              </a:cxn>
              <a:cxn ang="0">
                <a:pos x="14" y="18"/>
              </a:cxn>
              <a:cxn ang="0">
                <a:pos x="7" y="19"/>
              </a:cxn>
              <a:cxn ang="0">
                <a:pos x="4" y="19"/>
              </a:cxn>
              <a:cxn ang="0">
                <a:pos x="2" y="18"/>
              </a:cxn>
              <a:cxn ang="0">
                <a:pos x="2" y="16"/>
              </a:cxn>
              <a:cxn ang="0">
                <a:pos x="2" y="13"/>
              </a:cxn>
              <a:cxn ang="0">
                <a:pos x="0" y="11"/>
              </a:cxn>
              <a:cxn ang="0">
                <a:pos x="4" y="8"/>
              </a:cxn>
              <a:cxn ang="0">
                <a:pos x="4" y="7"/>
              </a:cxn>
            </a:cxnLst>
            <a:rect l="0" t="0" r="r" b="b"/>
            <a:pathLst>
              <a:path w="36" h="19">
                <a:moveTo>
                  <a:pt x="4" y="7"/>
                </a:moveTo>
                <a:lnTo>
                  <a:pt x="7" y="7"/>
                </a:lnTo>
                <a:lnTo>
                  <a:pt x="12" y="8"/>
                </a:lnTo>
                <a:lnTo>
                  <a:pt x="15" y="10"/>
                </a:lnTo>
                <a:lnTo>
                  <a:pt x="16" y="11"/>
                </a:lnTo>
                <a:lnTo>
                  <a:pt x="18" y="11"/>
                </a:lnTo>
                <a:lnTo>
                  <a:pt x="19" y="11"/>
                </a:lnTo>
                <a:lnTo>
                  <a:pt x="20" y="11"/>
                </a:lnTo>
                <a:lnTo>
                  <a:pt x="22" y="11"/>
                </a:lnTo>
                <a:lnTo>
                  <a:pt x="22" y="10"/>
                </a:lnTo>
                <a:lnTo>
                  <a:pt x="19" y="8"/>
                </a:lnTo>
                <a:lnTo>
                  <a:pt x="16" y="5"/>
                </a:lnTo>
                <a:lnTo>
                  <a:pt x="16" y="2"/>
                </a:lnTo>
                <a:lnTo>
                  <a:pt x="18" y="0"/>
                </a:lnTo>
                <a:lnTo>
                  <a:pt x="20" y="4"/>
                </a:lnTo>
                <a:lnTo>
                  <a:pt x="23" y="5"/>
                </a:lnTo>
                <a:lnTo>
                  <a:pt x="24" y="5"/>
                </a:lnTo>
                <a:lnTo>
                  <a:pt x="27" y="5"/>
                </a:lnTo>
                <a:lnTo>
                  <a:pt x="30" y="7"/>
                </a:lnTo>
                <a:lnTo>
                  <a:pt x="30" y="8"/>
                </a:lnTo>
                <a:lnTo>
                  <a:pt x="32" y="5"/>
                </a:lnTo>
                <a:lnTo>
                  <a:pt x="34" y="7"/>
                </a:lnTo>
                <a:lnTo>
                  <a:pt x="35" y="8"/>
                </a:lnTo>
                <a:lnTo>
                  <a:pt x="35" y="11"/>
                </a:lnTo>
                <a:lnTo>
                  <a:pt x="36" y="11"/>
                </a:lnTo>
                <a:lnTo>
                  <a:pt x="35" y="13"/>
                </a:lnTo>
                <a:lnTo>
                  <a:pt x="32" y="11"/>
                </a:lnTo>
                <a:lnTo>
                  <a:pt x="32" y="13"/>
                </a:lnTo>
                <a:lnTo>
                  <a:pt x="32" y="15"/>
                </a:lnTo>
                <a:lnTo>
                  <a:pt x="28" y="15"/>
                </a:lnTo>
                <a:lnTo>
                  <a:pt x="26" y="13"/>
                </a:lnTo>
                <a:lnTo>
                  <a:pt x="26" y="11"/>
                </a:lnTo>
                <a:lnTo>
                  <a:pt x="22" y="15"/>
                </a:lnTo>
                <a:lnTo>
                  <a:pt x="18" y="16"/>
                </a:lnTo>
                <a:lnTo>
                  <a:pt x="14" y="18"/>
                </a:lnTo>
                <a:lnTo>
                  <a:pt x="7" y="19"/>
                </a:lnTo>
                <a:lnTo>
                  <a:pt x="4" y="19"/>
                </a:lnTo>
                <a:lnTo>
                  <a:pt x="2" y="18"/>
                </a:lnTo>
                <a:lnTo>
                  <a:pt x="2" y="16"/>
                </a:lnTo>
                <a:lnTo>
                  <a:pt x="2" y="13"/>
                </a:lnTo>
                <a:lnTo>
                  <a:pt x="0" y="11"/>
                </a:lnTo>
                <a:lnTo>
                  <a:pt x="4" y="8"/>
                </a:lnTo>
                <a:lnTo>
                  <a:pt x="4" y="7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17" name="Freeform 114"/>
          <p:cNvSpPr>
            <a:spLocks/>
          </p:cNvSpPr>
          <p:nvPr/>
        </p:nvSpPr>
        <p:spPr bwMode="auto">
          <a:xfrm>
            <a:off x="9006898" y="4636336"/>
            <a:ext cx="21437" cy="21476"/>
          </a:xfrm>
          <a:custGeom>
            <a:avLst/>
            <a:gdLst/>
            <a:ahLst/>
            <a:cxnLst>
              <a:cxn ang="0">
                <a:pos x="3" y="4"/>
              </a:cxn>
              <a:cxn ang="0">
                <a:pos x="4" y="3"/>
              </a:cxn>
              <a:cxn ang="0">
                <a:pos x="5" y="3"/>
              </a:cxn>
              <a:cxn ang="0">
                <a:pos x="7" y="0"/>
              </a:cxn>
              <a:cxn ang="0">
                <a:pos x="9" y="0"/>
              </a:cxn>
              <a:cxn ang="0">
                <a:pos x="12" y="1"/>
              </a:cxn>
              <a:cxn ang="0">
                <a:pos x="12" y="6"/>
              </a:cxn>
              <a:cxn ang="0">
                <a:pos x="11" y="9"/>
              </a:cxn>
              <a:cxn ang="0">
                <a:pos x="11" y="12"/>
              </a:cxn>
              <a:cxn ang="0">
                <a:pos x="9" y="12"/>
              </a:cxn>
              <a:cxn ang="0">
                <a:pos x="3" y="12"/>
              </a:cxn>
              <a:cxn ang="0">
                <a:pos x="0" y="12"/>
              </a:cxn>
              <a:cxn ang="0">
                <a:pos x="0" y="9"/>
              </a:cxn>
              <a:cxn ang="0">
                <a:pos x="3" y="7"/>
              </a:cxn>
              <a:cxn ang="0">
                <a:pos x="3" y="6"/>
              </a:cxn>
              <a:cxn ang="0">
                <a:pos x="3" y="4"/>
              </a:cxn>
            </a:cxnLst>
            <a:rect l="0" t="0" r="r" b="b"/>
            <a:pathLst>
              <a:path w="12" h="12">
                <a:moveTo>
                  <a:pt x="3" y="4"/>
                </a:moveTo>
                <a:lnTo>
                  <a:pt x="4" y="3"/>
                </a:lnTo>
                <a:lnTo>
                  <a:pt x="5" y="3"/>
                </a:lnTo>
                <a:lnTo>
                  <a:pt x="7" y="0"/>
                </a:lnTo>
                <a:lnTo>
                  <a:pt x="9" y="0"/>
                </a:lnTo>
                <a:lnTo>
                  <a:pt x="12" y="1"/>
                </a:lnTo>
                <a:lnTo>
                  <a:pt x="12" y="6"/>
                </a:lnTo>
                <a:lnTo>
                  <a:pt x="11" y="9"/>
                </a:lnTo>
                <a:lnTo>
                  <a:pt x="11" y="12"/>
                </a:lnTo>
                <a:lnTo>
                  <a:pt x="9" y="12"/>
                </a:lnTo>
                <a:lnTo>
                  <a:pt x="3" y="12"/>
                </a:lnTo>
                <a:lnTo>
                  <a:pt x="0" y="12"/>
                </a:lnTo>
                <a:lnTo>
                  <a:pt x="0" y="9"/>
                </a:lnTo>
                <a:lnTo>
                  <a:pt x="3" y="7"/>
                </a:lnTo>
                <a:lnTo>
                  <a:pt x="3" y="6"/>
                </a:lnTo>
                <a:lnTo>
                  <a:pt x="3" y="4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18" name="Freeform 115"/>
          <p:cNvSpPr>
            <a:spLocks/>
          </p:cNvSpPr>
          <p:nvPr/>
        </p:nvSpPr>
        <p:spPr bwMode="auto">
          <a:xfrm>
            <a:off x="9006898" y="4636336"/>
            <a:ext cx="21437" cy="21476"/>
          </a:xfrm>
          <a:custGeom>
            <a:avLst/>
            <a:gdLst/>
            <a:ahLst/>
            <a:cxnLst>
              <a:cxn ang="0">
                <a:pos x="3" y="4"/>
              </a:cxn>
              <a:cxn ang="0">
                <a:pos x="4" y="3"/>
              </a:cxn>
              <a:cxn ang="0">
                <a:pos x="5" y="3"/>
              </a:cxn>
              <a:cxn ang="0">
                <a:pos x="7" y="0"/>
              </a:cxn>
              <a:cxn ang="0">
                <a:pos x="9" y="0"/>
              </a:cxn>
              <a:cxn ang="0">
                <a:pos x="12" y="1"/>
              </a:cxn>
              <a:cxn ang="0">
                <a:pos x="12" y="6"/>
              </a:cxn>
              <a:cxn ang="0">
                <a:pos x="11" y="9"/>
              </a:cxn>
              <a:cxn ang="0">
                <a:pos x="11" y="12"/>
              </a:cxn>
              <a:cxn ang="0">
                <a:pos x="9" y="12"/>
              </a:cxn>
              <a:cxn ang="0">
                <a:pos x="3" y="12"/>
              </a:cxn>
              <a:cxn ang="0">
                <a:pos x="0" y="12"/>
              </a:cxn>
              <a:cxn ang="0">
                <a:pos x="0" y="9"/>
              </a:cxn>
              <a:cxn ang="0">
                <a:pos x="3" y="7"/>
              </a:cxn>
              <a:cxn ang="0">
                <a:pos x="3" y="6"/>
              </a:cxn>
              <a:cxn ang="0">
                <a:pos x="3" y="4"/>
              </a:cxn>
            </a:cxnLst>
            <a:rect l="0" t="0" r="r" b="b"/>
            <a:pathLst>
              <a:path w="12" h="12">
                <a:moveTo>
                  <a:pt x="3" y="4"/>
                </a:moveTo>
                <a:lnTo>
                  <a:pt x="4" y="3"/>
                </a:lnTo>
                <a:lnTo>
                  <a:pt x="5" y="3"/>
                </a:lnTo>
                <a:lnTo>
                  <a:pt x="7" y="0"/>
                </a:lnTo>
                <a:lnTo>
                  <a:pt x="9" y="0"/>
                </a:lnTo>
                <a:lnTo>
                  <a:pt x="12" y="1"/>
                </a:lnTo>
                <a:lnTo>
                  <a:pt x="12" y="6"/>
                </a:lnTo>
                <a:lnTo>
                  <a:pt x="11" y="9"/>
                </a:lnTo>
                <a:lnTo>
                  <a:pt x="11" y="12"/>
                </a:lnTo>
                <a:lnTo>
                  <a:pt x="9" y="12"/>
                </a:lnTo>
                <a:lnTo>
                  <a:pt x="3" y="12"/>
                </a:lnTo>
                <a:lnTo>
                  <a:pt x="0" y="12"/>
                </a:lnTo>
                <a:lnTo>
                  <a:pt x="0" y="9"/>
                </a:lnTo>
                <a:lnTo>
                  <a:pt x="3" y="7"/>
                </a:lnTo>
                <a:lnTo>
                  <a:pt x="3" y="6"/>
                </a:lnTo>
                <a:lnTo>
                  <a:pt x="3" y="4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19" name="Freeform 116"/>
          <p:cNvSpPr>
            <a:spLocks/>
          </p:cNvSpPr>
          <p:nvPr/>
        </p:nvSpPr>
        <p:spPr bwMode="auto">
          <a:xfrm>
            <a:off x="8967922" y="4627745"/>
            <a:ext cx="31181" cy="30067"/>
          </a:xfrm>
          <a:custGeom>
            <a:avLst/>
            <a:gdLst/>
            <a:ahLst/>
            <a:cxnLst>
              <a:cxn ang="0">
                <a:pos x="7" y="2"/>
              </a:cxn>
              <a:cxn ang="0">
                <a:pos x="8" y="2"/>
              </a:cxn>
              <a:cxn ang="0">
                <a:pos x="10" y="0"/>
              </a:cxn>
              <a:cxn ang="0">
                <a:pos x="12" y="2"/>
              </a:cxn>
              <a:cxn ang="0">
                <a:pos x="15" y="4"/>
              </a:cxn>
              <a:cxn ang="0">
                <a:pos x="16" y="5"/>
              </a:cxn>
              <a:cxn ang="0">
                <a:pos x="16" y="8"/>
              </a:cxn>
              <a:cxn ang="0">
                <a:pos x="12" y="11"/>
              </a:cxn>
              <a:cxn ang="0">
                <a:pos x="11" y="15"/>
              </a:cxn>
              <a:cxn ang="0">
                <a:pos x="10" y="13"/>
              </a:cxn>
              <a:cxn ang="0">
                <a:pos x="8" y="10"/>
              </a:cxn>
              <a:cxn ang="0">
                <a:pos x="6" y="7"/>
              </a:cxn>
              <a:cxn ang="0">
                <a:pos x="2" y="7"/>
              </a:cxn>
              <a:cxn ang="0">
                <a:pos x="0" y="5"/>
              </a:cxn>
              <a:cxn ang="0">
                <a:pos x="0" y="2"/>
              </a:cxn>
              <a:cxn ang="0">
                <a:pos x="0" y="0"/>
              </a:cxn>
              <a:cxn ang="0">
                <a:pos x="7" y="2"/>
              </a:cxn>
            </a:cxnLst>
            <a:rect l="0" t="0" r="r" b="b"/>
            <a:pathLst>
              <a:path w="16" h="15">
                <a:moveTo>
                  <a:pt x="7" y="2"/>
                </a:moveTo>
                <a:lnTo>
                  <a:pt x="8" y="2"/>
                </a:lnTo>
                <a:lnTo>
                  <a:pt x="10" y="0"/>
                </a:lnTo>
                <a:lnTo>
                  <a:pt x="12" y="2"/>
                </a:lnTo>
                <a:lnTo>
                  <a:pt x="15" y="4"/>
                </a:lnTo>
                <a:lnTo>
                  <a:pt x="16" y="5"/>
                </a:lnTo>
                <a:lnTo>
                  <a:pt x="16" y="8"/>
                </a:lnTo>
                <a:lnTo>
                  <a:pt x="12" y="11"/>
                </a:lnTo>
                <a:lnTo>
                  <a:pt x="11" y="15"/>
                </a:lnTo>
                <a:lnTo>
                  <a:pt x="10" y="13"/>
                </a:lnTo>
                <a:lnTo>
                  <a:pt x="8" y="10"/>
                </a:lnTo>
                <a:lnTo>
                  <a:pt x="6" y="7"/>
                </a:lnTo>
                <a:lnTo>
                  <a:pt x="2" y="7"/>
                </a:lnTo>
                <a:lnTo>
                  <a:pt x="0" y="5"/>
                </a:lnTo>
                <a:lnTo>
                  <a:pt x="0" y="2"/>
                </a:lnTo>
                <a:lnTo>
                  <a:pt x="0" y="0"/>
                </a:lnTo>
                <a:lnTo>
                  <a:pt x="7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20" name="Freeform 117"/>
          <p:cNvSpPr>
            <a:spLocks/>
          </p:cNvSpPr>
          <p:nvPr/>
        </p:nvSpPr>
        <p:spPr bwMode="auto">
          <a:xfrm>
            <a:off x="8967922" y="4627745"/>
            <a:ext cx="31181" cy="30067"/>
          </a:xfrm>
          <a:custGeom>
            <a:avLst/>
            <a:gdLst/>
            <a:ahLst/>
            <a:cxnLst>
              <a:cxn ang="0">
                <a:pos x="7" y="2"/>
              </a:cxn>
              <a:cxn ang="0">
                <a:pos x="8" y="2"/>
              </a:cxn>
              <a:cxn ang="0">
                <a:pos x="10" y="0"/>
              </a:cxn>
              <a:cxn ang="0">
                <a:pos x="12" y="2"/>
              </a:cxn>
              <a:cxn ang="0">
                <a:pos x="15" y="4"/>
              </a:cxn>
              <a:cxn ang="0">
                <a:pos x="16" y="5"/>
              </a:cxn>
              <a:cxn ang="0">
                <a:pos x="16" y="8"/>
              </a:cxn>
              <a:cxn ang="0">
                <a:pos x="12" y="11"/>
              </a:cxn>
              <a:cxn ang="0">
                <a:pos x="11" y="15"/>
              </a:cxn>
              <a:cxn ang="0">
                <a:pos x="10" y="13"/>
              </a:cxn>
              <a:cxn ang="0">
                <a:pos x="8" y="10"/>
              </a:cxn>
              <a:cxn ang="0">
                <a:pos x="6" y="7"/>
              </a:cxn>
              <a:cxn ang="0">
                <a:pos x="2" y="7"/>
              </a:cxn>
              <a:cxn ang="0">
                <a:pos x="0" y="5"/>
              </a:cxn>
              <a:cxn ang="0">
                <a:pos x="0" y="2"/>
              </a:cxn>
              <a:cxn ang="0">
                <a:pos x="0" y="0"/>
              </a:cxn>
              <a:cxn ang="0">
                <a:pos x="7" y="2"/>
              </a:cxn>
            </a:cxnLst>
            <a:rect l="0" t="0" r="r" b="b"/>
            <a:pathLst>
              <a:path w="16" h="15">
                <a:moveTo>
                  <a:pt x="7" y="2"/>
                </a:moveTo>
                <a:lnTo>
                  <a:pt x="8" y="2"/>
                </a:lnTo>
                <a:lnTo>
                  <a:pt x="10" y="0"/>
                </a:lnTo>
                <a:lnTo>
                  <a:pt x="12" y="2"/>
                </a:lnTo>
                <a:lnTo>
                  <a:pt x="15" y="4"/>
                </a:lnTo>
                <a:lnTo>
                  <a:pt x="16" y="5"/>
                </a:lnTo>
                <a:lnTo>
                  <a:pt x="16" y="8"/>
                </a:lnTo>
                <a:lnTo>
                  <a:pt x="12" y="11"/>
                </a:lnTo>
                <a:lnTo>
                  <a:pt x="11" y="15"/>
                </a:lnTo>
                <a:lnTo>
                  <a:pt x="10" y="13"/>
                </a:lnTo>
                <a:lnTo>
                  <a:pt x="8" y="10"/>
                </a:lnTo>
                <a:lnTo>
                  <a:pt x="6" y="7"/>
                </a:lnTo>
                <a:lnTo>
                  <a:pt x="2" y="7"/>
                </a:lnTo>
                <a:lnTo>
                  <a:pt x="0" y="5"/>
                </a:lnTo>
                <a:lnTo>
                  <a:pt x="0" y="2"/>
                </a:lnTo>
                <a:lnTo>
                  <a:pt x="0" y="0"/>
                </a:lnTo>
                <a:lnTo>
                  <a:pt x="7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21" name="Freeform 118"/>
          <p:cNvSpPr>
            <a:spLocks/>
          </p:cNvSpPr>
          <p:nvPr/>
        </p:nvSpPr>
        <p:spPr bwMode="auto">
          <a:xfrm>
            <a:off x="8919201" y="4586939"/>
            <a:ext cx="33130" cy="10739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0"/>
              </a:cxn>
              <a:cxn ang="0">
                <a:pos x="5" y="0"/>
              </a:cxn>
              <a:cxn ang="0">
                <a:pos x="14" y="0"/>
              </a:cxn>
              <a:cxn ang="0">
                <a:pos x="17" y="0"/>
              </a:cxn>
              <a:cxn ang="0">
                <a:pos x="18" y="3"/>
              </a:cxn>
              <a:cxn ang="0">
                <a:pos x="17" y="3"/>
              </a:cxn>
              <a:cxn ang="0">
                <a:pos x="14" y="5"/>
              </a:cxn>
              <a:cxn ang="0">
                <a:pos x="10" y="6"/>
              </a:cxn>
              <a:cxn ang="0">
                <a:pos x="1" y="5"/>
              </a:cxn>
              <a:cxn ang="0">
                <a:pos x="0" y="3"/>
              </a:cxn>
              <a:cxn ang="0">
                <a:pos x="0" y="2"/>
              </a:cxn>
            </a:cxnLst>
            <a:rect l="0" t="0" r="r" b="b"/>
            <a:pathLst>
              <a:path w="18" h="6">
                <a:moveTo>
                  <a:pt x="0" y="2"/>
                </a:moveTo>
                <a:lnTo>
                  <a:pt x="2" y="0"/>
                </a:lnTo>
                <a:lnTo>
                  <a:pt x="5" y="0"/>
                </a:lnTo>
                <a:lnTo>
                  <a:pt x="14" y="0"/>
                </a:lnTo>
                <a:lnTo>
                  <a:pt x="17" y="0"/>
                </a:lnTo>
                <a:lnTo>
                  <a:pt x="18" y="3"/>
                </a:lnTo>
                <a:lnTo>
                  <a:pt x="17" y="3"/>
                </a:lnTo>
                <a:lnTo>
                  <a:pt x="14" y="5"/>
                </a:lnTo>
                <a:lnTo>
                  <a:pt x="10" y="6"/>
                </a:lnTo>
                <a:lnTo>
                  <a:pt x="1" y="5"/>
                </a:lnTo>
                <a:lnTo>
                  <a:pt x="0" y="3"/>
                </a:lnTo>
                <a:lnTo>
                  <a:pt x="0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22" name="Freeform 119"/>
          <p:cNvSpPr>
            <a:spLocks/>
          </p:cNvSpPr>
          <p:nvPr/>
        </p:nvSpPr>
        <p:spPr bwMode="auto">
          <a:xfrm>
            <a:off x="8919201" y="4586939"/>
            <a:ext cx="33130" cy="10739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0"/>
              </a:cxn>
              <a:cxn ang="0">
                <a:pos x="5" y="0"/>
              </a:cxn>
              <a:cxn ang="0">
                <a:pos x="14" y="0"/>
              </a:cxn>
              <a:cxn ang="0">
                <a:pos x="17" y="0"/>
              </a:cxn>
              <a:cxn ang="0">
                <a:pos x="18" y="3"/>
              </a:cxn>
              <a:cxn ang="0">
                <a:pos x="17" y="3"/>
              </a:cxn>
              <a:cxn ang="0">
                <a:pos x="14" y="5"/>
              </a:cxn>
              <a:cxn ang="0">
                <a:pos x="10" y="6"/>
              </a:cxn>
              <a:cxn ang="0">
                <a:pos x="1" y="5"/>
              </a:cxn>
              <a:cxn ang="0">
                <a:pos x="0" y="3"/>
              </a:cxn>
              <a:cxn ang="0">
                <a:pos x="0" y="2"/>
              </a:cxn>
            </a:cxnLst>
            <a:rect l="0" t="0" r="r" b="b"/>
            <a:pathLst>
              <a:path w="18" h="6">
                <a:moveTo>
                  <a:pt x="0" y="2"/>
                </a:moveTo>
                <a:lnTo>
                  <a:pt x="2" y="0"/>
                </a:lnTo>
                <a:lnTo>
                  <a:pt x="5" y="0"/>
                </a:lnTo>
                <a:lnTo>
                  <a:pt x="14" y="0"/>
                </a:lnTo>
                <a:lnTo>
                  <a:pt x="17" y="0"/>
                </a:lnTo>
                <a:lnTo>
                  <a:pt x="18" y="3"/>
                </a:lnTo>
                <a:lnTo>
                  <a:pt x="17" y="3"/>
                </a:lnTo>
                <a:lnTo>
                  <a:pt x="14" y="5"/>
                </a:lnTo>
                <a:lnTo>
                  <a:pt x="10" y="6"/>
                </a:lnTo>
                <a:lnTo>
                  <a:pt x="1" y="5"/>
                </a:lnTo>
                <a:lnTo>
                  <a:pt x="0" y="3"/>
                </a:lnTo>
                <a:lnTo>
                  <a:pt x="0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23" name="Freeform 120"/>
          <p:cNvSpPr>
            <a:spLocks/>
          </p:cNvSpPr>
          <p:nvPr/>
        </p:nvSpPr>
        <p:spPr bwMode="auto">
          <a:xfrm>
            <a:off x="8989358" y="4584792"/>
            <a:ext cx="9745" cy="644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" y="0"/>
              </a:cxn>
              <a:cxn ang="0">
                <a:pos x="5" y="2"/>
              </a:cxn>
              <a:cxn ang="0">
                <a:pos x="1" y="4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5" h="4">
                <a:moveTo>
                  <a:pt x="0" y="0"/>
                </a:moveTo>
                <a:lnTo>
                  <a:pt x="4" y="0"/>
                </a:lnTo>
                <a:lnTo>
                  <a:pt x="5" y="2"/>
                </a:lnTo>
                <a:lnTo>
                  <a:pt x="1" y="4"/>
                </a:ln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24" name="Freeform 121"/>
          <p:cNvSpPr>
            <a:spLocks/>
          </p:cNvSpPr>
          <p:nvPr/>
        </p:nvSpPr>
        <p:spPr bwMode="auto">
          <a:xfrm>
            <a:off x="8989358" y="4584792"/>
            <a:ext cx="9745" cy="644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" y="0"/>
              </a:cxn>
              <a:cxn ang="0">
                <a:pos x="5" y="2"/>
              </a:cxn>
              <a:cxn ang="0">
                <a:pos x="1" y="4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5" h="4">
                <a:moveTo>
                  <a:pt x="0" y="0"/>
                </a:moveTo>
                <a:lnTo>
                  <a:pt x="4" y="0"/>
                </a:lnTo>
                <a:lnTo>
                  <a:pt x="5" y="2"/>
                </a:lnTo>
                <a:lnTo>
                  <a:pt x="1" y="4"/>
                </a:lnTo>
                <a:lnTo>
                  <a:pt x="0" y="2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25" name="Freeform 122"/>
          <p:cNvSpPr>
            <a:spLocks/>
          </p:cNvSpPr>
          <p:nvPr/>
        </p:nvSpPr>
        <p:spPr bwMode="auto">
          <a:xfrm>
            <a:off x="9421996" y="4346408"/>
            <a:ext cx="25335" cy="12885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3" y="0"/>
              </a:cxn>
              <a:cxn ang="0">
                <a:pos x="5" y="0"/>
              </a:cxn>
              <a:cxn ang="0">
                <a:pos x="14" y="5"/>
              </a:cxn>
              <a:cxn ang="0">
                <a:pos x="9" y="5"/>
              </a:cxn>
              <a:cxn ang="0">
                <a:pos x="8" y="6"/>
              </a:cxn>
              <a:cxn ang="0">
                <a:pos x="7" y="5"/>
              </a:cxn>
              <a:cxn ang="0">
                <a:pos x="4" y="5"/>
              </a:cxn>
              <a:cxn ang="0">
                <a:pos x="3" y="3"/>
              </a:cxn>
              <a:cxn ang="0">
                <a:pos x="0" y="2"/>
              </a:cxn>
              <a:cxn ang="0">
                <a:pos x="1" y="0"/>
              </a:cxn>
            </a:cxnLst>
            <a:rect l="0" t="0" r="r" b="b"/>
            <a:pathLst>
              <a:path w="14" h="6">
                <a:moveTo>
                  <a:pt x="1" y="0"/>
                </a:moveTo>
                <a:lnTo>
                  <a:pt x="3" y="0"/>
                </a:lnTo>
                <a:lnTo>
                  <a:pt x="5" y="0"/>
                </a:lnTo>
                <a:lnTo>
                  <a:pt x="14" y="5"/>
                </a:lnTo>
                <a:lnTo>
                  <a:pt x="9" y="5"/>
                </a:lnTo>
                <a:lnTo>
                  <a:pt x="8" y="6"/>
                </a:lnTo>
                <a:lnTo>
                  <a:pt x="7" y="5"/>
                </a:lnTo>
                <a:lnTo>
                  <a:pt x="4" y="5"/>
                </a:lnTo>
                <a:lnTo>
                  <a:pt x="3" y="3"/>
                </a:lnTo>
                <a:lnTo>
                  <a:pt x="0" y="2"/>
                </a:lnTo>
                <a:lnTo>
                  <a:pt x="1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26" name="Freeform 123"/>
          <p:cNvSpPr>
            <a:spLocks/>
          </p:cNvSpPr>
          <p:nvPr/>
        </p:nvSpPr>
        <p:spPr bwMode="auto">
          <a:xfrm>
            <a:off x="9421996" y="4346408"/>
            <a:ext cx="25335" cy="12885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3" y="0"/>
              </a:cxn>
              <a:cxn ang="0">
                <a:pos x="5" y="0"/>
              </a:cxn>
              <a:cxn ang="0">
                <a:pos x="14" y="5"/>
              </a:cxn>
              <a:cxn ang="0">
                <a:pos x="9" y="5"/>
              </a:cxn>
              <a:cxn ang="0">
                <a:pos x="8" y="6"/>
              </a:cxn>
              <a:cxn ang="0">
                <a:pos x="7" y="5"/>
              </a:cxn>
              <a:cxn ang="0">
                <a:pos x="4" y="5"/>
              </a:cxn>
              <a:cxn ang="0">
                <a:pos x="3" y="3"/>
              </a:cxn>
              <a:cxn ang="0">
                <a:pos x="0" y="2"/>
              </a:cxn>
              <a:cxn ang="0">
                <a:pos x="1" y="0"/>
              </a:cxn>
            </a:cxnLst>
            <a:rect l="0" t="0" r="r" b="b"/>
            <a:pathLst>
              <a:path w="14" h="6">
                <a:moveTo>
                  <a:pt x="1" y="0"/>
                </a:moveTo>
                <a:lnTo>
                  <a:pt x="3" y="0"/>
                </a:lnTo>
                <a:lnTo>
                  <a:pt x="5" y="0"/>
                </a:lnTo>
                <a:lnTo>
                  <a:pt x="14" y="5"/>
                </a:lnTo>
                <a:lnTo>
                  <a:pt x="9" y="5"/>
                </a:lnTo>
                <a:lnTo>
                  <a:pt x="8" y="6"/>
                </a:lnTo>
                <a:lnTo>
                  <a:pt x="7" y="5"/>
                </a:lnTo>
                <a:lnTo>
                  <a:pt x="4" y="5"/>
                </a:lnTo>
                <a:lnTo>
                  <a:pt x="3" y="3"/>
                </a:lnTo>
                <a:lnTo>
                  <a:pt x="0" y="2"/>
                </a:lnTo>
                <a:lnTo>
                  <a:pt x="1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27" name="Freeform 124"/>
          <p:cNvSpPr>
            <a:spLocks/>
          </p:cNvSpPr>
          <p:nvPr/>
        </p:nvSpPr>
        <p:spPr bwMode="auto">
          <a:xfrm>
            <a:off x="9429791" y="4374327"/>
            <a:ext cx="13642" cy="15033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4" y="0"/>
              </a:cxn>
              <a:cxn ang="0">
                <a:pos x="6" y="2"/>
              </a:cxn>
              <a:cxn ang="0">
                <a:pos x="6" y="7"/>
              </a:cxn>
              <a:cxn ang="0">
                <a:pos x="3" y="8"/>
              </a:cxn>
              <a:cxn ang="0">
                <a:pos x="2" y="7"/>
              </a:cxn>
              <a:cxn ang="0">
                <a:pos x="0" y="2"/>
              </a:cxn>
            </a:cxnLst>
            <a:rect l="0" t="0" r="r" b="b"/>
            <a:pathLst>
              <a:path w="6" h="8">
                <a:moveTo>
                  <a:pt x="0" y="2"/>
                </a:moveTo>
                <a:lnTo>
                  <a:pt x="4" y="0"/>
                </a:lnTo>
                <a:lnTo>
                  <a:pt x="6" y="2"/>
                </a:lnTo>
                <a:lnTo>
                  <a:pt x="6" y="7"/>
                </a:lnTo>
                <a:lnTo>
                  <a:pt x="3" y="8"/>
                </a:lnTo>
                <a:lnTo>
                  <a:pt x="2" y="7"/>
                </a:lnTo>
                <a:lnTo>
                  <a:pt x="0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28" name="Freeform 125"/>
          <p:cNvSpPr>
            <a:spLocks/>
          </p:cNvSpPr>
          <p:nvPr/>
        </p:nvSpPr>
        <p:spPr bwMode="auto">
          <a:xfrm>
            <a:off x="9429791" y="4374327"/>
            <a:ext cx="13642" cy="15033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4" y="0"/>
              </a:cxn>
              <a:cxn ang="0">
                <a:pos x="6" y="2"/>
              </a:cxn>
              <a:cxn ang="0">
                <a:pos x="6" y="7"/>
              </a:cxn>
              <a:cxn ang="0">
                <a:pos x="3" y="8"/>
              </a:cxn>
              <a:cxn ang="0">
                <a:pos x="2" y="7"/>
              </a:cxn>
              <a:cxn ang="0">
                <a:pos x="0" y="2"/>
              </a:cxn>
            </a:cxnLst>
            <a:rect l="0" t="0" r="r" b="b"/>
            <a:pathLst>
              <a:path w="6" h="8">
                <a:moveTo>
                  <a:pt x="0" y="2"/>
                </a:moveTo>
                <a:lnTo>
                  <a:pt x="4" y="0"/>
                </a:lnTo>
                <a:lnTo>
                  <a:pt x="6" y="2"/>
                </a:lnTo>
                <a:lnTo>
                  <a:pt x="6" y="7"/>
                </a:lnTo>
                <a:lnTo>
                  <a:pt x="3" y="8"/>
                </a:lnTo>
                <a:lnTo>
                  <a:pt x="2" y="7"/>
                </a:lnTo>
                <a:lnTo>
                  <a:pt x="0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29" name="Freeform 126"/>
          <p:cNvSpPr>
            <a:spLocks/>
          </p:cNvSpPr>
          <p:nvPr/>
        </p:nvSpPr>
        <p:spPr bwMode="auto">
          <a:xfrm>
            <a:off x="9406405" y="4402245"/>
            <a:ext cx="17540" cy="17181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1" y="4"/>
              </a:cxn>
              <a:cxn ang="0">
                <a:pos x="3" y="2"/>
              </a:cxn>
              <a:cxn ang="0">
                <a:pos x="4" y="2"/>
              </a:cxn>
              <a:cxn ang="0">
                <a:pos x="5" y="0"/>
              </a:cxn>
              <a:cxn ang="0">
                <a:pos x="8" y="0"/>
              </a:cxn>
              <a:cxn ang="0">
                <a:pos x="9" y="4"/>
              </a:cxn>
              <a:cxn ang="0">
                <a:pos x="8" y="5"/>
              </a:cxn>
              <a:cxn ang="0">
                <a:pos x="9" y="7"/>
              </a:cxn>
              <a:cxn ang="0">
                <a:pos x="7" y="7"/>
              </a:cxn>
              <a:cxn ang="0">
                <a:pos x="4" y="8"/>
              </a:cxn>
              <a:cxn ang="0">
                <a:pos x="0" y="5"/>
              </a:cxn>
              <a:cxn ang="0">
                <a:pos x="0" y="4"/>
              </a:cxn>
            </a:cxnLst>
            <a:rect l="0" t="0" r="r" b="b"/>
            <a:pathLst>
              <a:path w="9" h="8">
                <a:moveTo>
                  <a:pt x="0" y="4"/>
                </a:moveTo>
                <a:lnTo>
                  <a:pt x="1" y="4"/>
                </a:lnTo>
                <a:lnTo>
                  <a:pt x="3" y="2"/>
                </a:lnTo>
                <a:lnTo>
                  <a:pt x="4" y="2"/>
                </a:lnTo>
                <a:lnTo>
                  <a:pt x="5" y="0"/>
                </a:lnTo>
                <a:lnTo>
                  <a:pt x="8" y="0"/>
                </a:lnTo>
                <a:lnTo>
                  <a:pt x="9" y="4"/>
                </a:lnTo>
                <a:lnTo>
                  <a:pt x="8" y="5"/>
                </a:lnTo>
                <a:lnTo>
                  <a:pt x="9" y="7"/>
                </a:lnTo>
                <a:lnTo>
                  <a:pt x="7" y="7"/>
                </a:lnTo>
                <a:lnTo>
                  <a:pt x="4" y="8"/>
                </a:lnTo>
                <a:lnTo>
                  <a:pt x="0" y="5"/>
                </a:lnTo>
                <a:lnTo>
                  <a:pt x="0" y="4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30" name="Freeform 127"/>
          <p:cNvSpPr>
            <a:spLocks/>
          </p:cNvSpPr>
          <p:nvPr/>
        </p:nvSpPr>
        <p:spPr bwMode="auto">
          <a:xfrm>
            <a:off x="9406405" y="4402245"/>
            <a:ext cx="17540" cy="17181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1" y="4"/>
              </a:cxn>
              <a:cxn ang="0">
                <a:pos x="3" y="2"/>
              </a:cxn>
              <a:cxn ang="0">
                <a:pos x="4" y="2"/>
              </a:cxn>
              <a:cxn ang="0">
                <a:pos x="5" y="0"/>
              </a:cxn>
              <a:cxn ang="0">
                <a:pos x="8" y="0"/>
              </a:cxn>
              <a:cxn ang="0">
                <a:pos x="9" y="4"/>
              </a:cxn>
              <a:cxn ang="0">
                <a:pos x="8" y="5"/>
              </a:cxn>
              <a:cxn ang="0">
                <a:pos x="9" y="7"/>
              </a:cxn>
              <a:cxn ang="0">
                <a:pos x="7" y="7"/>
              </a:cxn>
              <a:cxn ang="0">
                <a:pos x="4" y="8"/>
              </a:cxn>
              <a:cxn ang="0">
                <a:pos x="0" y="5"/>
              </a:cxn>
              <a:cxn ang="0">
                <a:pos x="0" y="4"/>
              </a:cxn>
            </a:cxnLst>
            <a:rect l="0" t="0" r="r" b="b"/>
            <a:pathLst>
              <a:path w="9" h="8">
                <a:moveTo>
                  <a:pt x="0" y="4"/>
                </a:moveTo>
                <a:lnTo>
                  <a:pt x="1" y="4"/>
                </a:lnTo>
                <a:lnTo>
                  <a:pt x="3" y="2"/>
                </a:lnTo>
                <a:lnTo>
                  <a:pt x="4" y="2"/>
                </a:lnTo>
                <a:lnTo>
                  <a:pt x="5" y="0"/>
                </a:lnTo>
                <a:lnTo>
                  <a:pt x="8" y="0"/>
                </a:lnTo>
                <a:lnTo>
                  <a:pt x="9" y="4"/>
                </a:lnTo>
                <a:lnTo>
                  <a:pt x="8" y="5"/>
                </a:lnTo>
                <a:lnTo>
                  <a:pt x="9" y="7"/>
                </a:lnTo>
                <a:lnTo>
                  <a:pt x="7" y="7"/>
                </a:lnTo>
                <a:lnTo>
                  <a:pt x="4" y="8"/>
                </a:lnTo>
                <a:lnTo>
                  <a:pt x="0" y="5"/>
                </a:lnTo>
                <a:lnTo>
                  <a:pt x="0" y="4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31" name="Freeform 128"/>
          <p:cNvSpPr>
            <a:spLocks/>
          </p:cNvSpPr>
          <p:nvPr/>
        </p:nvSpPr>
        <p:spPr bwMode="auto">
          <a:xfrm>
            <a:off x="9351839" y="4443050"/>
            <a:ext cx="83800" cy="38657"/>
          </a:xfrm>
          <a:custGeom>
            <a:avLst/>
            <a:gdLst/>
            <a:ahLst/>
            <a:cxnLst>
              <a:cxn ang="0">
                <a:pos x="1" y="12"/>
              </a:cxn>
              <a:cxn ang="0">
                <a:pos x="0" y="11"/>
              </a:cxn>
              <a:cxn ang="0">
                <a:pos x="0" y="8"/>
              </a:cxn>
              <a:cxn ang="0">
                <a:pos x="0" y="5"/>
              </a:cxn>
              <a:cxn ang="0">
                <a:pos x="1" y="5"/>
              </a:cxn>
              <a:cxn ang="0">
                <a:pos x="3" y="1"/>
              </a:cxn>
              <a:cxn ang="0">
                <a:pos x="4" y="0"/>
              </a:cxn>
              <a:cxn ang="0">
                <a:pos x="12" y="1"/>
              </a:cxn>
              <a:cxn ang="0">
                <a:pos x="15" y="1"/>
              </a:cxn>
              <a:cxn ang="0">
                <a:pos x="17" y="0"/>
              </a:cxn>
              <a:cxn ang="0">
                <a:pos x="19" y="1"/>
              </a:cxn>
              <a:cxn ang="0">
                <a:pos x="24" y="0"/>
              </a:cxn>
              <a:cxn ang="0">
                <a:pos x="27" y="1"/>
              </a:cxn>
              <a:cxn ang="0">
                <a:pos x="29" y="3"/>
              </a:cxn>
              <a:cxn ang="0">
                <a:pos x="32" y="5"/>
              </a:cxn>
              <a:cxn ang="0">
                <a:pos x="35" y="5"/>
              </a:cxn>
              <a:cxn ang="0">
                <a:pos x="36" y="3"/>
              </a:cxn>
              <a:cxn ang="0">
                <a:pos x="39" y="5"/>
              </a:cxn>
              <a:cxn ang="0">
                <a:pos x="41" y="9"/>
              </a:cxn>
              <a:cxn ang="0">
                <a:pos x="41" y="11"/>
              </a:cxn>
              <a:cxn ang="0">
                <a:pos x="44" y="12"/>
              </a:cxn>
              <a:cxn ang="0">
                <a:pos x="44" y="16"/>
              </a:cxn>
              <a:cxn ang="0">
                <a:pos x="43" y="19"/>
              </a:cxn>
              <a:cxn ang="0">
                <a:pos x="41" y="17"/>
              </a:cxn>
              <a:cxn ang="0">
                <a:pos x="29" y="9"/>
              </a:cxn>
              <a:cxn ang="0">
                <a:pos x="27" y="9"/>
              </a:cxn>
              <a:cxn ang="0">
                <a:pos x="24" y="9"/>
              </a:cxn>
              <a:cxn ang="0">
                <a:pos x="24" y="11"/>
              </a:cxn>
              <a:cxn ang="0">
                <a:pos x="23" y="11"/>
              </a:cxn>
              <a:cxn ang="0">
                <a:pos x="20" y="11"/>
              </a:cxn>
              <a:cxn ang="0">
                <a:pos x="17" y="11"/>
              </a:cxn>
              <a:cxn ang="0">
                <a:pos x="15" y="8"/>
              </a:cxn>
              <a:cxn ang="0">
                <a:pos x="12" y="9"/>
              </a:cxn>
              <a:cxn ang="0">
                <a:pos x="11" y="11"/>
              </a:cxn>
              <a:cxn ang="0">
                <a:pos x="9" y="11"/>
              </a:cxn>
              <a:cxn ang="0">
                <a:pos x="7" y="11"/>
              </a:cxn>
              <a:cxn ang="0">
                <a:pos x="4" y="6"/>
              </a:cxn>
              <a:cxn ang="0">
                <a:pos x="3" y="8"/>
              </a:cxn>
              <a:cxn ang="0">
                <a:pos x="1" y="12"/>
              </a:cxn>
            </a:cxnLst>
            <a:rect l="0" t="0" r="r" b="b"/>
            <a:pathLst>
              <a:path w="44" h="19">
                <a:moveTo>
                  <a:pt x="1" y="12"/>
                </a:moveTo>
                <a:lnTo>
                  <a:pt x="0" y="11"/>
                </a:lnTo>
                <a:lnTo>
                  <a:pt x="0" y="8"/>
                </a:lnTo>
                <a:lnTo>
                  <a:pt x="0" y="5"/>
                </a:lnTo>
                <a:lnTo>
                  <a:pt x="1" y="5"/>
                </a:lnTo>
                <a:lnTo>
                  <a:pt x="3" y="1"/>
                </a:lnTo>
                <a:lnTo>
                  <a:pt x="4" y="0"/>
                </a:lnTo>
                <a:lnTo>
                  <a:pt x="12" y="1"/>
                </a:lnTo>
                <a:lnTo>
                  <a:pt x="15" y="1"/>
                </a:lnTo>
                <a:lnTo>
                  <a:pt x="17" y="0"/>
                </a:lnTo>
                <a:lnTo>
                  <a:pt x="19" y="1"/>
                </a:lnTo>
                <a:lnTo>
                  <a:pt x="24" y="0"/>
                </a:lnTo>
                <a:lnTo>
                  <a:pt x="27" y="1"/>
                </a:lnTo>
                <a:lnTo>
                  <a:pt x="29" y="3"/>
                </a:lnTo>
                <a:lnTo>
                  <a:pt x="32" y="5"/>
                </a:lnTo>
                <a:lnTo>
                  <a:pt x="35" y="5"/>
                </a:lnTo>
                <a:lnTo>
                  <a:pt x="36" y="3"/>
                </a:lnTo>
                <a:lnTo>
                  <a:pt x="39" y="5"/>
                </a:lnTo>
                <a:lnTo>
                  <a:pt x="41" y="9"/>
                </a:lnTo>
                <a:lnTo>
                  <a:pt x="41" y="11"/>
                </a:lnTo>
                <a:lnTo>
                  <a:pt x="44" y="12"/>
                </a:lnTo>
                <a:lnTo>
                  <a:pt x="44" y="16"/>
                </a:lnTo>
                <a:lnTo>
                  <a:pt x="43" y="19"/>
                </a:lnTo>
                <a:lnTo>
                  <a:pt x="41" y="17"/>
                </a:lnTo>
                <a:lnTo>
                  <a:pt x="29" y="9"/>
                </a:lnTo>
                <a:lnTo>
                  <a:pt x="27" y="9"/>
                </a:lnTo>
                <a:lnTo>
                  <a:pt x="24" y="9"/>
                </a:lnTo>
                <a:lnTo>
                  <a:pt x="24" y="11"/>
                </a:lnTo>
                <a:lnTo>
                  <a:pt x="23" y="11"/>
                </a:lnTo>
                <a:lnTo>
                  <a:pt x="20" y="11"/>
                </a:lnTo>
                <a:lnTo>
                  <a:pt x="17" y="11"/>
                </a:lnTo>
                <a:lnTo>
                  <a:pt x="15" y="8"/>
                </a:lnTo>
                <a:lnTo>
                  <a:pt x="12" y="9"/>
                </a:lnTo>
                <a:lnTo>
                  <a:pt x="11" y="11"/>
                </a:lnTo>
                <a:lnTo>
                  <a:pt x="9" y="11"/>
                </a:lnTo>
                <a:lnTo>
                  <a:pt x="7" y="11"/>
                </a:lnTo>
                <a:lnTo>
                  <a:pt x="4" y="6"/>
                </a:lnTo>
                <a:lnTo>
                  <a:pt x="3" y="8"/>
                </a:lnTo>
                <a:lnTo>
                  <a:pt x="1" y="1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32" name="Freeform 129"/>
          <p:cNvSpPr>
            <a:spLocks/>
          </p:cNvSpPr>
          <p:nvPr/>
        </p:nvSpPr>
        <p:spPr bwMode="auto">
          <a:xfrm>
            <a:off x="9351839" y="4443050"/>
            <a:ext cx="83800" cy="38657"/>
          </a:xfrm>
          <a:custGeom>
            <a:avLst/>
            <a:gdLst/>
            <a:ahLst/>
            <a:cxnLst>
              <a:cxn ang="0">
                <a:pos x="1" y="12"/>
              </a:cxn>
              <a:cxn ang="0">
                <a:pos x="0" y="11"/>
              </a:cxn>
              <a:cxn ang="0">
                <a:pos x="0" y="8"/>
              </a:cxn>
              <a:cxn ang="0">
                <a:pos x="0" y="5"/>
              </a:cxn>
              <a:cxn ang="0">
                <a:pos x="1" y="5"/>
              </a:cxn>
              <a:cxn ang="0">
                <a:pos x="3" y="1"/>
              </a:cxn>
              <a:cxn ang="0">
                <a:pos x="4" y="0"/>
              </a:cxn>
              <a:cxn ang="0">
                <a:pos x="12" y="1"/>
              </a:cxn>
              <a:cxn ang="0">
                <a:pos x="15" y="1"/>
              </a:cxn>
              <a:cxn ang="0">
                <a:pos x="17" y="0"/>
              </a:cxn>
              <a:cxn ang="0">
                <a:pos x="19" y="1"/>
              </a:cxn>
              <a:cxn ang="0">
                <a:pos x="24" y="0"/>
              </a:cxn>
              <a:cxn ang="0">
                <a:pos x="27" y="1"/>
              </a:cxn>
              <a:cxn ang="0">
                <a:pos x="29" y="3"/>
              </a:cxn>
              <a:cxn ang="0">
                <a:pos x="32" y="5"/>
              </a:cxn>
              <a:cxn ang="0">
                <a:pos x="35" y="5"/>
              </a:cxn>
              <a:cxn ang="0">
                <a:pos x="36" y="3"/>
              </a:cxn>
              <a:cxn ang="0">
                <a:pos x="39" y="5"/>
              </a:cxn>
              <a:cxn ang="0">
                <a:pos x="41" y="9"/>
              </a:cxn>
              <a:cxn ang="0">
                <a:pos x="41" y="11"/>
              </a:cxn>
              <a:cxn ang="0">
                <a:pos x="44" y="12"/>
              </a:cxn>
              <a:cxn ang="0">
                <a:pos x="44" y="16"/>
              </a:cxn>
              <a:cxn ang="0">
                <a:pos x="43" y="19"/>
              </a:cxn>
              <a:cxn ang="0">
                <a:pos x="41" y="17"/>
              </a:cxn>
              <a:cxn ang="0">
                <a:pos x="29" y="9"/>
              </a:cxn>
              <a:cxn ang="0">
                <a:pos x="27" y="9"/>
              </a:cxn>
              <a:cxn ang="0">
                <a:pos x="24" y="9"/>
              </a:cxn>
              <a:cxn ang="0">
                <a:pos x="24" y="11"/>
              </a:cxn>
              <a:cxn ang="0">
                <a:pos x="23" y="11"/>
              </a:cxn>
              <a:cxn ang="0">
                <a:pos x="20" y="11"/>
              </a:cxn>
              <a:cxn ang="0">
                <a:pos x="17" y="11"/>
              </a:cxn>
              <a:cxn ang="0">
                <a:pos x="15" y="8"/>
              </a:cxn>
              <a:cxn ang="0">
                <a:pos x="12" y="9"/>
              </a:cxn>
              <a:cxn ang="0">
                <a:pos x="11" y="11"/>
              </a:cxn>
              <a:cxn ang="0">
                <a:pos x="9" y="11"/>
              </a:cxn>
              <a:cxn ang="0">
                <a:pos x="7" y="11"/>
              </a:cxn>
              <a:cxn ang="0">
                <a:pos x="4" y="6"/>
              </a:cxn>
              <a:cxn ang="0">
                <a:pos x="3" y="8"/>
              </a:cxn>
              <a:cxn ang="0">
                <a:pos x="1" y="12"/>
              </a:cxn>
            </a:cxnLst>
            <a:rect l="0" t="0" r="r" b="b"/>
            <a:pathLst>
              <a:path w="44" h="19">
                <a:moveTo>
                  <a:pt x="1" y="12"/>
                </a:moveTo>
                <a:lnTo>
                  <a:pt x="0" y="11"/>
                </a:lnTo>
                <a:lnTo>
                  <a:pt x="0" y="8"/>
                </a:lnTo>
                <a:lnTo>
                  <a:pt x="0" y="5"/>
                </a:lnTo>
                <a:lnTo>
                  <a:pt x="1" y="5"/>
                </a:lnTo>
                <a:lnTo>
                  <a:pt x="3" y="1"/>
                </a:lnTo>
                <a:lnTo>
                  <a:pt x="4" y="0"/>
                </a:lnTo>
                <a:lnTo>
                  <a:pt x="12" y="1"/>
                </a:lnTo>
                <a:lnTo>
                  <a:pt x="15" y="1"/>
                </a:lnTo>
                <a:lnTo>
                  <a:pt x="17" y="0"/>
                </a:lnTo>
                <a:lnTo>
                  <a:pt x="19" y="1"/>
                </a:lnTo>
                <a:lnTo>
                  <a:pt x="24" y="0"/>
                </a:lnTo>
                <a:lnTo>
                  <a:pt x="27" y="1"/>
                </a:lnTo>
                <a:lnTo>
                  <a:pt x="29" y="3"/>
                </a:lnTo>
                <a:lnTo>
                  <a:pt x="32" y="5"/>
                </a:lnTo>
                <a:lnTo>
                  <a:pt x="35" y="5"/>
                </a:lnTo>
                <a:lnTo>
                  <a:pt x="36" y="3"/>
                </a:lnTo>
                <a:lnTo>
                  <a:pt x="39" y="5"/>
                </a:lnTo>
                <a:lnTo>
                  <a:pt x="41" y="9"/>
                </a:lnTo>
                <a:lnTo>
                  <a:pt x="41" y="11"/>
                </a:lnTo>
                <a:lnTo>
                  <a:pt x="44" y="12"/>
                </a:lnTo>
                <a:lnTo>
                  <a:pt x="44" y="16"/>
                </a:lnTo>
                <a:lnTo>
                  <a:pt x="43" y="19"/>
                </a:lnTo>
                <a:lnTo>
                  <a:pt x="41" y="17"/>
                </a:lnTo>
                <a:lnTo>
                  <a:pt x="29" y="9"/>
                </a:lnTo>
                <a:lnTo>
                  <a:pt x="27" y="9"/>
                </a:lnTo>
                <a:lnTo>
                  <a:pt x="24" y="9"/>
                </a:lnTo>
                <a:lnTo>
                  <a:pt x="24" y="11"/>
                </a:lnTo>
                <a:lnTo>
                  <a:pt x="23" y="11"/>
                </a:lnTo>
                <a:lnTo>
                  <a:pt x="20" y="11"/>
                </a:lnTo>
                <a:lnTo>
                  <a:pt x="17" y="11"/>
                </a:lnTo>
                <a:lnTo>
                  <a:pt x="15" y="8"/>
                </a:lnTo>
                <a:lnTo>
                  <a:pt x="12" y="9"/>
                </a:lnTo>
                <a:lnTo>
                  <a:pt x="11" y="11"/>
                </a:lnTo>
                <a:lnTo>
                  <a:pt x="9" y="11"/>
                </a:lnTo>
                <a:lnTo>
                  <a:pt x="7" y="11"/>
                </a:lnTo>
                <a:lnTo>
                  <a:pt x="4" y="6"/>
                </a:lnTo>
                <a:lnTo>
                  <a:pt x="3" y="8"/>
                </a:lnTo>
                <a:lnTo>
                  <a:pt x="1" y="1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33" name="Freeform 130"/>
          <p:cNvSpPr>
            <a:spLocks/>
          </p:cNvSpPr>
          <p:nvPr/>
        </p:nvSpPr>
        <p:spPr bwMode="auto">
          <a:xfrm>
            <a:off x="9092646" y="4286274"/>
            <a:ext cx="181240" cy="257713"/>
          </a:xfrm>
          <a:custGeom>
            <a:avLst/>
            <a:gdLst/>
            <a:ahLst/>
            <a:cxnLst>
              <a:cxn ang="0">
                <a:pos x="39" y="8"/>
              </a:cxn>
              <a:cxn ang="0">
                <a:pos x="46" y="9"/>
              </a:cxn>
              <a:cxn ang="0">
                <a:pos x="51" y="11"/>
              </a:cxn>
              <a:cxn ang="0">
                <a:pos x="56" y="12"/>
              </a:cxn>
              <a:cxn ang="0">
                <a:pos x="63" y="12"/>
              </a:cxn>
              <a:cxn ang="0">
                <a:pos x="79" y="12"/>
              </a:cxn>
              <a:cxn ang="0">
                <a:pos x="89" y="1"/>
              </a:cxn>
              <a:cxn ang="0">
                <a:pos x="95" y="0"/>
              </a:cxn>
              <a:cxn ang="0">
                <a:pos x="93" y="8"/>
              </a:cxn>
              <a:cxn ang="0">
                <a:pos x="84" y="22"/>
              </a:cxn>
              <a:cxn ang="0">
                <a:pos x="73" y="23"/>
              </a:cxn>
              <a:cxn ang="0">
                <a:pos x="60" y="20"/>
              </a:cxn>
              <a:cxn ang="0">
                <a:pos x="46" y="22"/>
              </a:cxn>
              <a:cxn ang="0">
                <a:pos x="40" y="22"/>
              </a:cxn>
              <a:cxn ang="0">
                <a:pos x="34" y="22"/>
              </a:cxn>
              <a:cxn ang="0">
                <a:pos x="24" y="22"/>
              </a:cxn>
              <a:cxn ang="0">
                <a:pos x="19" y="33"/>
              </a:cxn>
              <a:cxn ang="0">
                <a:pos x="23" y="47"/>
              </a:cxn>
              <a:cxn ang="0">
                <a:pos x="35" y="52"/>
              </a:cxn>
              <a:cxn ang="0">
                <a:pos x="42" y="45"/>
              </a:cxn>
              <a:cxn ang="0">
                <a:pos x="47" y="47"/>
              </a:cxn>
              <a:cxn ang="0">
                <a:pos x="59" y="44"/>
              </a:cxn>
              <a:cxn ang="0">
                <a:pos x="67" y="39"/>
              </a:cxn>
              <a:cxn ang="0">
                <a:pos x="67" y="48"/>
              </a:cxn>
              <a:cxn ang="0">
                <a:pos x="55" y="55"/>
              </a:cxn>
              <a:cxn ang="0">
                <a:pos x="46" y="61"/>
              </a:cxn>
              <a:cxn ang="0">
                <a:pos x="38" y="61"/>
              </a:cxn>
              <a:cxn ang="0">
                <a:pos x="50" y="80"/>
              </a:cxn>
              <a:cxn ang="0">
                <a:pos x="54" y="86"/>
              </a:cxn>
              <a:cxn ang="0">
                <a:pos x="51" y="92"/>
              </a:cxn>
              <a:cxn ang="0">
                <a:pos x="56" y="99"/>
              </a:cxn>
              <a:cxn ang="0">
                <a:pos x="59" y="103"/>
              </a:cxn>
              <a:cxn ang="0">
                <a:pos x="58" y="108"/>
              </a:cxn>
              <a:cxn ang="0">
                <a:pos x="48" y="114"/>
              </a:cxn>
              <a:cxn ang="0">
                <a:pos x="40" y="113"/>
              </a:cxn>
              <a:cxn ang="0">
                <a:pos x="39" y="100"/>
              </a:cxn>
              <a:cxn ang="0">
                <a:pos x="31" y="89"/>
              </a:cxn>
              <a:cxn ang="0">
                <a:pos x="32" y="78"/>
              </a:cxn>
              <a:cxn ang="0">
                <a:pos x="26" y="78"/>
              </a:cxn>
              <a:cxn ang="0">
                <a:pos x="23" y="89"/>
              </a:cxn>
              <a:cxn ang="0">
                <a:pos x="24" y="114"/>
              </a:cxn>
              <a:cxn ang="0">
                <a:pos x="23" y="129"/>
              </a:cxn>
              <a:cxn ang="0">
                <a:pos x="12" y="130"/>
              </a:cxn>
              <a:cxn ang="0">
                <a:pos x="10" y="118"/>
              </a:cxn>
              <a:cxn ang="0">
                <a:pos x="11" y="100"/>
              </a:cxn>
              <a:cxn ang="0">
                <a:pos x="3" y="92"/>
              </a:cxn>
              <a:cxn ang="0">
                <a:pos x="0" y="77"/>
              </a:cxn>
              <a:cxn ang="0">
                <a:pos x="7" y="63"/>
              </a:cxn>
              <a:cxn ang="0">
                <a:pos x="12" y="44"/>
              </a:cxn>
              <a:cxn ang="0">
                <a:pos x="15" y="41"/>
              </a:cxn>
              <a:cxn ang="0">
                <a:pos x="14" y="31"/>
              </a:cxn>
              <a:cxn ang="0">
                <a:pos x="16" y="22"/>
              </a:cxn>
              <a:cxn ang="0">
                <a:pos x="22" y="14"/>
              </a:cxn>
              <a:cxn ang="0">
                <a:pos x="28" y="12"/>
              </a:cxn>
              <a:cxn ang="0">
                <a:pos x="34" y="6"/>
              </a:cxn>
            </a:cxnLst>
            <a:rect l="0" t="0" r="r" b="b"/>
            <a:pathLst>
              <a:path w="95" h="130">
                <a:moveTo>
                  <a:pt x="34" y="6"/>
                </a:moveTo>
                <a:lnTo>
                  <a:pt x="39" y="6"/>
                </a:lnTo>
                <a:lnTo>
                  <a:pt x="39" y="8"/>
                </a:lnTo>
                <a:lnTo>
                  <a:pt x="40" y="11"/>
                </a:lnTo>
                <a:lnTo>
                  <a:pt x="43" y="11"/>
                </a:lnTo>
                <a:lnTo>
                  <a:pt x="46" y="9"/>
                </a:lnTo>
                <a:lnTo>
                  <a:pt x="47" y="9"/>
                </a:lnTo>
                <a:lnTo>
                  <a:pt x="48" y="11"/>
                </a:lnTo>
                <a:lnTo>
                  <a:pt x="51" y="11"/>
                </a:lnTo>
                <a:lnTo>
                  <a:pt x="54" y="11"/>
                </a:lnTo>
                <a:lnTo>
                  <a:pt x="55" y="11"/>
                </a:lnTo>
                <a:lnTo>
                  <a:pt x="56" y="12"/>
                </a:lnTo>
                <a:lnTo>
                  <a:pt x="60" y="14"/>
                </a:lnTo>
                <a:lnTo>
                  <a:pt x="62" y="14"/>
                </a:lnTo>
                <a:lnTo>
                  <a:pt x="63" y="12"/>
                </a:lnTo>
                <a:lnTo>
                  <a:pt x="66" y="12"/>
                </a:lnTo>
                <a:lnTo>
                  <a:pt x="75" y="14"/>
                </a:lnTo>
                <a:lnTo>
                  <a:pt x="79" y="12"/>
                </a:lnTo>
                <a:lnTo>
                  <a:pt x="85" y="6"/>
                </a:lnTo>
                <a:lnTo>
                  <a:pt x="87" y="4"/>
                </a:lnTo>
                <a:lnTo>
                  <a:pt x="89" y="1"/>
                </a:lnTo>
                <a:lnTo>
                  <a:pt x="92" y="0"/>
                </a:lnTo>
                <a:lnTo>
                  <a:pt x="93" y="0"/>
                </a:lnTo>
                <a:lnTo>
                  <a:pt x="95" y="0"/>
                </a:lnTo>
                <a:lnTo>
                  <a:pt x="95" y="3"/>
                </a:lnTo>
                <a:lnTo>
                  <a:pt x="95" y="6"/>
                </a:lnTo>
                <a:lnTo>
                  <a:pt x="93" y="8"/>
                </a:lnTo>
                <a:lnTo>
                  <a:pt x="88" y="14"/>
                </a:lnTo>
                <a:lnTo>
                  <a:pt x="87" y="19"/>
                </a:lnTo>
                <a:lnTo>
                  <a:pt x="84" y="22"/>
                </a:lnTo>
                <a:lnTo>
                  <a:pt x="80" y="23"/>
                </a:lnTo>
                <a:lnTo>
                  <a:pt x="77" y="23"/>
                </a:lnTo>
                <a:lnTo>
                  <a:pt x="73" y="23"/>
                </a:lnTo>
                <a:lnTo>
                  <a:pt x="68" y="25"/>
                </a:lnTo>
                <a:lnTo>
                  <a:pt x="64" y="22"/>
                </a:lnTo>
                <a:lnTo>
                  <a:pt x="60" y="20"/>
                </a:lnTo>
                <a:lnTo>
                  <a:pt x="55" y="20"/>
                </a:lnTo>
                <a:lnTo>
                  <a:pt x="48" y="22"/>
                </a:lnTo>
                <a:lnTo>
                  <a:pt x="46" y="22"/>
                </a:lnTo>
                <a:lnTo>
                  <a:pt x="43" y="20"/>
                </a:lnTo>
                <a:lnTo>
                  <a:pt x="40" y="20"/>
                </a:lnTo>
                <a:lnTo>
                  <a:pt x="40" y="22"/>
                </a:lnTo>
                <a:lnTo>
                  <a:pt x="38" y="20"/>
                </a:lnTo>
                <a:lnTo>
                  <a:pt x="36" y="20"/>
                </a:lnTo>
                <a:lnTo>
                  <a:pt x="34" y="22"/>
                </a:lnTo>
                <a:lnTo>
                  <a:pt x="30" y="22"/>
                </a:lnTo>
                <a:lnTo>
                  <a:pt x="27" y="22"/>
                </a:lnTo>
                <a:lnTo>
                  <a:pt x="24" y="22"/>
                </a:lnTo>
                <a:lnTo>
                  <a:pt x="22" y="25"/>
                </a:lnTo>
                <a:lnTo>
                  <a:pt x="19" y="30"/>
                </a:lnTo>
                <a:lnTo>
                  <a:pt x="19" y="33"/>
                </a:lnTo>
                <a:lnTo>
                  <a:pt x="19" y="44"/>
                </a:lnTo>
                <a:lnTo>
                  <a:pt x="20" y="45"/>
                </a:lnTo>
                <a:lnTo>
                  <a:pt x="23" y="47"/>
                </a:lnTo>
                <a:lnTo>
                  <a:pt x="28" y="55"/>
                </a:lnTo>
                <a:lnTo>
                  <a:pt x="34" y="55"/>
                </a:lnTo>
                <a:lnTo>
                  <a:pt x="35" y="52"/>
                </a:lnTo>
                <a:lnTo>
                  <a:pt x="36" y="50"/>
                </a:lnTo>
                <a:lnTo>
                  <a:pt x="39" y="47"/>
                </a:lnTo>
                <a:lnTo>
                  <a:pt x="42" y="45"/>
                </a:lnTo>
                <a:lnTo>
                  <a:pt x="44" y="47"/>
                </a:lnTo>
                <a:lnTo>
                  <a:pt x="46" y="47"/>
                </a:lnTo>
                <a:lnTo>
                  <a:pt x="47" y="47"/>
                </a:lnTo>
                <a:lnTo>
                  <a:pt x="48" y="44"/>
                </a:lnTo>
                <a:lnTo>
                  <a:pt x="54" y="44"/>
                </a:lnTo>
                <a:lnTo>
                  <a:pt x="59" y="44"/>
                </a:lnTo>
                <a:lnTo>
                  <a:pt x="60" y="41"/>
                </a:lnTo>
                <a:lnTo>
                  <a:pt x="64" y="39"/>
                </a:lnTo>
                <a:lnTo>
                  <a:pt x="67" y="39"/>
                </a:lnTo>
                <a:lnTo>
                  <a:pt x="70" y="42"/>
                </a:lnTo>
                <a:lnTo>
                  <a:pt x="68" y="45"/>
                </a:lnTo>
                <a:lnTo>
                  <a:pt x="67" y="48"/>
                </a:lnTo>
                <a:lnTo>
                  <a:pt x="63" y="45"/>
                </a:lnTo>
                <a:lnTo>
                  <a:pt x="60" y="47"/>
                </a:lnTo>
                <a:lnTo>
                  <a:pt x="55" y="55"/>
                </a:lnTo>
                <a:lnTo>
                  <a:pt x="52" y="58"/>
                </a:lnTo>
                <a:lnTo>
                  <a:pt x="48" y="59"/>
                </a:lnTo>
                <a:lnTo>
                  <a:pt x="46" y="61"/>
                </a:lnTo>
                <a:lnTo>
                  <a:pt x="43" y="63"/>
                </a:lnTo>
                <a:lnTo>
                  <a:pt x="42" y="63"/>
                </a:lnTo>
                <a:lnTo>
                  <a:pt x="38" y="61"/>
                </a:lnTo>
                <a:lnTo>
                  <a:pt x="38" y="66"/>
                </a:lnTo>
                <a:lnTo>
                  <a:pt x="42" y="67"/>
                </a:lnTo>
                <a:lnTo>
                  <a:pt x="50" y="80"/>
                </a:lnTo>
                <a:lnTo>
                  <a:pt x="51" y="81"/>
                </a:lnTo>
                <a:lnTo>
                  <a:pt x="52" y="85"/>
                </a:lnTo>
                <a:lnTo>
                  <a:pt x="54" y="86"/>
                </a:lnTo>
                <a:lnTo>
                  <a:pt x="54" y="89"/>
                </a:lnTo>
                <a:lnTo>
                  <a:pt x="51" y="89"/>
                </a:lnTo>
                <a:lnTo>
                  <a:pt x="51" y="92"/>
                </a:lnTo>
                <a:lnTo>
                  <a:pt x="51" y="94"/>
                </a:lnTo>
                <a:lnTo>
                  <a:pt x="55" y="97"/>
                </a:lnTo>
                <a:lnTo>
                  <a:pt x="56" y="99"/>
                </a:lnTo>
                <a:lnTo>
                  <a:pt x="56" y="102"/>
                </a:lnTo>
                <a:lnTo>
                  <a:pt x="58" y="103"/>
                </a:lnTo>
                <a:lnTo>
                  <a:pt x="59" y="103"/>
                </a:lnTo>
                <a:lnTo>
                  <a:pt x="60" y="107"/>
                </a:lnTo>
                <a:lnTo>
                  <a:pt x="59" y="107"/>
                </a:lnTo>
                <a:lnTo>
                  <a:pt x="58" y="108"/>
                </a:lnTo>
                <a:lnTo>
                  <a:pt x="54" y="108"/>
                </a:lnTo>
                <a:lnTo>
                  <a:pt x="50" y="110"/>
                </a:lnTo>
                <a:lnTo>
                  <a:pt x="48" y="114"/>
                </a:lnTo>
                <a:lnTo>
                  <a:pt x="46" y="116"/>
                </a:lnTo>
                <a:lnTo>
                  <a:pt x="42" y="116"/>
                </a:lnTo>
                <a:lnTo>
                  <a:pt x="40" y="113"/>
                </a:lnTo>
                <a:lnTo>
                  <a:pt x="40" y="108"/>
                </a:lnTo>
                <a:lnTo>
                  <a:pt x="40" y="103"/>
                </a:lnTo>
                <a:lnTo>
                  <a:pt x="39" y="100"/>
                </a:lnTo>
                <a:lnTo>
                  <a:pt x="36" y="99"/>
                </a:lnTo>
                <a:lnTo>
                  <a:pt x="34" y="96"/>
                </a:lnTo>
                <a:lnTo>
                  <a:pt x="31" y="89"/>
                </a:lnTo>
                <a:lnTo>
                  <a:pt x="34" y="85"/>
                </a:lnTo>
                <a:lnTo>
                  <a:pt x="34" y="81"/>
                </a:lnTo>
                <a:lnTo>
                  <a:pt x="32" y="78"/>
                </a:lnTo>
                <a:lnTo>
                  <a:pt x="32" y="77"/>
                </a:lnTo>
                <a:lnTo>
                  <a:pt x="30" y="77"/>
                </a:lnTo>
                <a:lnTo>
                  <a:pt x="26" y="78"/>
                </a:lnTo>
                <a:lnTo>
                  <a:pt x="23" y="81"/>
                </a:lnTo>
                <a:lnTo>
                  <a:pt x="22" y="86"/>
                </a:lnTo>
                <a:lnTo>
                  <a:pt x="23" y="89"/>
                </a:lnTo>
                <a:lnTo>
                  <a:pt x="23" y="94"/>
                </a:lnTo>
                <a:lnTo>
                  <a:pt x="23" y="111"/>
                </a:lnTo>
                <a:lnTo>
                  <a:pt x="24" y="114"/>
                </a:lnTo>
                <a:lnTo>
                  <a:pt x="22" y="119"/>
                </a:lnTo>
                <a:lnTo>
                  <a:pt x="23" y="124"/>
                </a:lnTo>
                <a:lnTo>
                  <a:pt x="23" y="129"/>
                </a:lnTo>
                <a:lnTo>
                  <a:pt x="19" y="130"/>
                </a:lnTo>
                <a:lnTo>
                  <a:pt x="15" y="130"/>
                </a:lnTo>
                <a:lnTo>
                  <a:pt x="12" y="130"/>
                </a:lnTo>
                <a:lnTo>
                  <a:pt x="10" y="129"/>
                </a:lnTo>
                <a:lnTo>
                  <a:pt x="7" y="124"/>
                </a:lnTo>
                <a:lnTo>
                  <a:pt x="10" y="118"/>
                </a:lnTo>
                <a:lnTo>
                  <a:pt x="10" y="113"/>
                </a:lnTo>
                <a:lnTo>
                  <a:pt x="12" y="102"/>
                </a:lnTo>
                <a:lnTo>
                  <a:pt x="11" y="100"/>
                </a:lnTo>
                <a:lnTo>
                  <a:pt x="10" y="91"/>
                </a:lnTo>
                <a:lnTo>
                  <a:pt x="6" y="91"/>
                </a:lnTo>
                <a:lnTo>
                  <a:pt x="3" y="92"/>
                </a:lnTo>
                <a:lnTo>
                  <a:pt x="0" y="88"/>
                </a:lnTo>
                <a:lnTo>
                  <a:pt x="0" y="83"/>
                </a:lnTo>
                <a:lnTo>
                  <a:pt x="0" y="77"/>
                </a:lnTo>
                <a:lnTo>
                  <a:pt x="3" y="72"/>
                </a:lnTo>
                <a:lnTo>
                  <a:pt x="6" y="67"/>
                </a:lnTo>
                <a:lnTo>
                  <a:pt x="7" y="63"/>
                </a:lnTo>
                <a:lnTo>
                  <a:pt x="7" y="53"/>
                </a:lnTo>
                <a:lnTo>
                  <a:pt x="10" y="45"/>
                </a:lnTo>
                <a:lnTo>
                  <a:pt x="12" y="44"/>
                </a:lnTo>
                <a:lnTo>
                  <a:pt x="14" y="41"/>
                </a:lnTo>
                <a:lnTo>
                  <a:pt x="14" y="44"/>
                </a:lnTo>
                <a:lnTo>
                  <a:pt x="15" y="41"/>
                </a:lnTo>
                <a:lnTo>
                  <a:pt x="15" y="33"/>
                </a:lnTo>
                <a:lnTo>
                  <a:pt x="12" y="31"/>
                </a:lnTo>
                <a:lnTo>
                  <a:pt x="14" y="31"/>
                </a:lnTo>
                <a:lnTo>
                  <a:pt x="15" y="26"/>
                </a:lnTo>
                <a:lnTo>
                  <a:pt x="15" y="25"/>
                </a:lnTo>
                <a:lnTo>
                  <a:pt x="16" y="22"/>
                </a:lnTo>
                <a:lnTo>
                  <a:pt x="18" y="17"/>
                </a:lnTo>
                <a:lnTo>
                  <a:pt x="20" y="14"/>
                </a:lnTo>
                <a:lnTo>
                  <a:pt x="22" y="14"/>
                </a:lnTo>
                <a:lnTo>
                  <a:pt x="23" y="15"/>
                </a:lnTo>
                <a:lnTo>
                  <a:pt x="26" y="15"/>
                </a:lnTo>
                <a:lnTo>
                  <a:pt x="28" y="12"/>
                </a:lnTo>
                <a:lnTo>
                  <a:pt x="28" y="8"/>
                </a:lnTo>
                <a:lnTo>
                  <a:pt x="31" y="6"/>
                </a:lnTo>
                <a:lnTo>
                  <a:pt x="34" y="6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34" name="Freeform 131"/>
          <p:cNvSpPr>
            <a:spLocks/>
          </p:cNvSpPr>
          <p:nvPr/>
        </p:nvSpPr>
        <p:spPr bwMode="auto">
          <a:xfrm>
            <a:off x="9092646" y="4286274"/>
            <a:ext cx="181240" cy="257713"/>
          </a:xfrm>
          <a:custGeom>
            <a:avLst/>
            <a:gdLst/>
            <a:ahLst/>
            <a:cxnLst>
              <a:cxn ang="0">
                <a:pos x="39" y="8"/>
              </a:cxn>
              <a:cxn ang="0">
                <a:pos x="46" y="9"/>
              </a:cxn>
              <a:cxn ang="0">
                <a:pos x="51" y="11"/>
              </a:cxn>
              <a:cxn ang="0">
                <a:pos x="56" y="12"/>
              </a:cxn>
              <a:cxn ang="0">
                <a:pos x="63" y="12"/>
              </a:cxn>
              <a:cxn ang="0">
                <a:pos x="79" y="12"/>
              </a:cxn>
              <a:cxn ang="0">
                <a:pos x="89" y="1"/>
              </a:cxn>
              <a:cxn ang="0">
                <a:pos x="95" y="0"/>
              </a:cxn>
              <a:cxn ang="0">
                <a:pos x="93" y="8"/>
              </a:cxn>
              <a:cxn ang="0">
                <a:pos x="84" y="22"/>
              </a:cxn>
              <a:cxn ang="0">
                <a:pos x="73" y="23"/>
              </a:cxn>
              <a:cxn ang="0">
                <a:pos x="60" y="20"/>
              </a:cxn>
              <a:cxn ang="0">
                <a:pos x="46" y="22"/>
              </a:cxn>
              <a:cxn ang="0">
                <a:pos x="40" y="22"/>
              </a:cxn>
              <a:cxn ang="0">
                <a:pos x="34" y="22"/>
              </a:cxn>
              <a:cxn ang="0">
                <a:pos x="24" y="22"/>
              </a:cxn>
              <a:cxn ang="0">
                <a:pos x="19" y="33"/>
              </a:cxn>
              <a:cxn ang="0">
                <a:pos x="23" y="47"/>
              </a:cxn>
              <a:cxn ang="0">
                <a:pos x="35" y="52"/>
              </a:cxn>
              <a:cxn ang="0">
                <a:pos x="42" y="45"/>
              </a:cxn>
              <a:cxn ang="0">
                <a:pos x="47" y="47"/>
              </a:cxn>
              <a:cxn ang="0">
                <a:pos x="59" y="44"/>
              </a:cxn>
              <a:cxn ang="0">
                <a:pos x="67" y="39"/>
              </a:cxn>
              <a:cxn ang="0">
                <a:pos x="67" y="48"/>
              </a:cxn>
              <a:cxn ang="0">
                <a:pos x="55" y="55"/>
              </a:cxn>
              <a:cxn ang="0">
                <a:pos x="46" y="61"/>
              </a:cxn>
              <a:cxn ang="0">
                <a:pos x="38" y="61"/>
              </a:cxn>
              <a:cxn ang="0">
                <a:pos x="50" y="80"/>
              </a:cxn>
              <a:cxn ang="0">
                <a:pos x="54" y="86"/>
              </a:cxn>
              <a:cxn ang="0">
                <a:pos x="51" y="92"/>
              </a:cxn>
              <a:cxn ang="0">
                <a:pos x="56" y="99"/>
              </a:cxn>
              <a:cxn ang="0">
                <a:pos x="59" y="103"/>
              </a:cxn>
              <a:cxn ang="0">
                <a:pos x="58" y="108"/>
              </a:cxn>
              <a:cxn ang="0">
                <a:pos x="48" y="114"/>
              </a:cxn>
              <a:cxn ang="0">
                <a:pos x="40" y="113"/>
              </a:cxn>
              <a:cxn ang="0">
                <a:pos x="39" y="100"/>
              </a:cxn>
              <a:cxn ang="0">
                <a:pos x="31" y="89"/>
              </a:cxn>
              <a:cxn ang="0">
                <a:pos x="32" y="78"/>
              </a:cxn>
              <a:cxn ang="0">
                <a:pos x="26" y="78"/>
              </a:cxn>
              <a:cxn ang="0">
                <a:pos x="23" y="89"/>
              </a:cxn>
              <a:cxn ang="0">
                <a:pos x="24" y="114"/>
              </a:cxn>
              <a:cxn ang="0">
                <a:pos x="23" y="129"/>
              </a:cxn>
              <a:cxn ang="0">
                <a:pos x="12" y="130"/>
              </a:cxn>
              <a:cxn ang="0">
                <a:pos x="10" y="118"/>
              </a:cxn>
              <a:cxn ang="0">
                <a:pos x="11" y="100"/>
              </a:cxn>
              <a:cxn ang="0">
                <a:pos x="3" y="92"/>
              </a:cxn>
              <a:cxn ang="0">
                <a:pos x="0" y="77"/>
              </a:cxn>
              <a:cxn ang="0">
                <a:pos x="7" y="63"/>
              </a:cxn>
              <a:cxn ang="0">
                <a:pos x="12" y="44"/>
              </a:cxn>
              <a:cxn ang="0">
                <a:pos x="15" y="41"/>
              </a:cxn>
              <a:cxn ang="0">
                <a:pos x="14" y="31"/>
              </a:cxn>
              <a:cxn ang="0">
                <a:pos x="16" y="22"/>
              </a:cxn>
              <a:cxn ang="0">
                <a:pos x="22" y="14"/>
              </a:cxn>
              <a:cxn ang="0">
                <a:pos x="28" y="12"/>
              </a:cxn>
              <a:cxn ang="0">
                <a:pos x="34" y="6"/>
              </a:cxn>
            </a:cxnLst>
            <a:rect l="0" t="0" r="r" b="b"/>
            <a:pathLst>
              <a:path w="95" h="130">
                <a:moveTo>
                  <a:pt x="34" y="6"/>
                </a:moveTo>
                <a:lnTo>
                  <a:pt x="39" y="6"/>
                </a:lnTo>
                <a:lnTo>
                  <a:pt x="39" y="8"/>
                </a:lnTo>
                <a:lnTo>
                  <a:pt x="40" y="11"/>
                </a:lnTo>
                <a:lnTo>
                  <a:pt x="43" y="11"/>
                </a:lnTo>
                <a:lnTo>
                  <a:pt x="46" y="9"/>
                </a:lnTo>
                <a:lnTo>
                  <a:pt x="47" y="9"/>
                </a:lnTo>
                <a:lnTo>
                  <a:pt x="48" y="11"/>
                </a:lnTo>
                <a:lnTo>
                  <a:pt x="51" y="11"/>
                </a:lnTo>
                <a:lnTo>
                  <a:pt x="54" y="11"/>
                </a:lnTo>
                <a:lnTo>
                  <a:pt x="55" y="11"/>
                </a:lnTo>
                <a:lnTo>
                  <a:pt x="56" y="12"/>
                </a:lnTo>
                <a:lnTo>
                  <a:pt x="60" y="14"/>
                </a:lnTo>
                <a:lnTo>
                  <a:pt x="62" y="14"/>
                </a:lnTo>
                <a:lnTo>
                  <a:pt x="63" y="12"/>
                </a:lnTo>
                <a:lnTo>
                  <a:pt x="66" y="12"/>
                </a:lnTo>
                <a:lnTo>
                  <a:pt x="75" y="14"/>
                </a:lnTo>
                <a:lnTo>
                  <a:pt x="79" y="12"/>
                </a:lnTo>
                <a:lnTo>
                  <a:pt x="85" y="6"/>
                </a:lnTo>
                <a:lnTo>
                  <a:pt x="87" y="4"/>
                </a:lnTo>
                <a:lnTo>
                  <a:pt x="89" y="1"/>
                </a:lnTo>
                <a:lnTo>
                  <a:pt x="92" y="0"/>
                </a:lnTo>
                <a:lnTo>
                  <a:pt x="93" y="0"/>
                </a:lnTo>
                <a:lnTo>
                  <a:pt x="95" y="0"/>
                </a:lnTo>
                <a:lnTo>
                  <a:pt x="95" y="3"/>
                </a:lnTo>
                <a:lnTo>
                  <a:pt x="95" y="6"/>
                </a:lnTo>
                <a:lnTo>
                  <a:pt x="93" y="8"/>
                </a:lnTo>
                <a:lnTo>
                  <a:pt x="88" y="14"/>
                </a:lnTo>
                <a:lnTo>
                  <a:pt x="87" y="19"/>
                </a:lnTo>
                <a:lnTo>
                  <a:pt x="84" y="22"/>
                </a:lnTo>
                <a:lnTo>
                  <a:pt x="80" y="23"/>
                </a:lnTo>
                <a:lnTo>
                  <a:pt x="77" y="23"/>
                </a:lnTo>
                <a:lnTo>
                  <a:pt x="73" y="23"/>
                </a:lnTo>
                <a:lnTo>
                  <a:pt x="68" y="25"/>
                </a:lnTo>
                <a:lnTo>
                  <a:pt x="64" y="22"/>
                </a:lnTo>
                <a:lnTo>
                  <a:pt x="60" y="20"/>
                </a:lnTo>
                <a:lnTo>
                  <a:pt x="55" y="20"/>
                </a:lnTo>
                <a:lnTo>
                  <a:pt x="48" y="22"/>
                </a:lnTo>
                <a:lnTo>
                  <a:pt x="46" y="22"/>
                </a:lnTo>
                <a:lnTo>
                  <a:pt x="43" y="20"/>
                </a:lnTo>
                <a:lnTo>
                  <a:pt x="40" y="20"/>
                </a:lnTo>
                <a:lnTo>
                  <a:pt x="40" y="22"/>
                </a:lnTo>
                <a:lnTo>
                  <a:pt x="38" y="20"/>
                </a:lnTo>
                <a:lnTo>
                  <a:pt x="36" y="20"/>
                </a:lnTo>
                <a:lnTo>
                  <a:pt x="34" y="22"/>
                </a:lnTo>
                <a:lnTo>
                  <a:pt x="30" y="22"/>
                </a:lnTo>
                <a:lnTo>
                  <a:pt x="27" y="22"/>
                </a:lnTo>
                <a:lnTo>
                  <a:pt x="24" y="22"/>
                </a:lnTo>
                <a:lnTo>
                  <a:pt x="22" y="25"/>
                </a:lnTo>
                <a:lnTo>
                  <a:pt x="19" y="30"/>
                </a:lnTo>
                <a:lnTo>
                  <a:pt x="19" y="33"/>
                </a:lnTo>
                <a:lnTo>
                  <a:pt x="19" y="44"/>
                </a:lnTo>
                <a:lnTo>
                  <a:pt x="20" y="45"/>
                </a:lnTo>
                <a:lnTo>
                  <a:pt x="23" y="47"/>
                </a:lnTo>
                <a:lnTo>
                  <a:pt x="28" y="55"/>
                </a:lnTo>
                <a:lnTo>
                  <a:pt x="34" y="55"/>
                </a:lnTo>
                <a:lnTo>
                  <a:pt x="35" y="52"/>
                </a:lnTo>
                <a:lnTo>
                  <a:pt x="36" y="50"/>
                </a:lnTo>
                <a:lnTo>
                  <a:pt x="39" y="47"/>
                </a:lnTo>
                <a:lnTo>
                  <a:pt x="42" y="45"/>
                </a:lnTo>
                <a:lnTo>
                  <a:pt x="44" y="47"/>
                </a:lnTo>
                <a:lnTo>
                  <a:pt x="46" y="47"/>
                </a:lnTo>
                <a:lnTo>
                  <a:pt x="47" y="47"/>
                </a:lnTo>
                <a:lnTo>
                  <a:pt x="48" y="44"/>
                </a:lnTo>
                <a:lnTo>
                  <a:pt x="54" y="44"/>
                </a:lnTo>
                <a:lnTo>
                  <a:pt x="59" y="44"/>
                </a:lnTo>
                <a:lnTo>
                  <a:pt x="60" y="41"/>
                </a:lnTo>
                <a:lnTo>
                  <a:pt x="64" y="39"/>
                </a:lnTo>
                <a:lnTo>
                  <a:pt x="67" y="39"/>
                </a:lnTo>
                <a:lnTo>
                  <a:pt x="70" y="42"/>
                </a:lnTo>
                <a:lnTo>
                  <a:pt x="68" y="45"/>
                </a:lnTo>
                <a:lnTo>
                  <a:pt x="67" y="48"/>
                </a:lnTo>
                <a:lnTo>
                  <a:pt x="63" y="45"/>
                </a:lnTo>
                <a:lnTo>
                  <a:pt x="60" y="47"/>
                </a:lnTo>
                <a:lnTo>
                  <a:pt x="55" y="55"/>
                </a:lnTo>
                <a:lnTo>
                  <a:pt x="52" y="58"/>
                </a:lnTo>
                <a:lnTo>
                  <a:pt x="48" y="59"/>
                </a:lnTo>
                <a:lnTo>
                  <a:pt x="46" y="61"/>
                </a:lnTo>
                <a:lnTo>
                  <a:pt x="43" y="63"/>
                </a:lnTo>
                <a:lnTo>
                  <a:pt x="42" y="63"/>
                </a:lnTo>
                <a:lnTo>
                  <a:pt x="38" y="61"/>
                </a:lnTo>
                <a:lnTo>
                  <a:pt x="38" y="66"/>
                </a:lnTo>
                <a:lnTo>
                  <a:pt x="42" y="67"/>
                </a:lnTo>
                <a:lnTo>
                  <a:pt x="50" y="80"/>
                </a:lnTo>
                <a:lnTo>
                  <a:pt x="51" y="81"/>
                </a:lnTo>
                <a:lnTo>
                  <a:pt x="52" y="85"/>
                </a:lnTo>
                <a:lnTo>
                  <a:pt x="54" y="86"/>
                </a:lnTo>
                <a:lnTo>
                  <a:pt x="54" y="89"/>
                </a:lnTo>
                <a:lnTo>
                  <a:pt x="51" y="89"/>
                </a:lnTo>
                <a:lnTo>
                  <a:pt x="51" y="92"/>
                </a:lnTo>
                <a:lnTo>
                  <a:pt x="51" y="94"/>
                </a:lnTo>
                <a:lnTo>
                  <a:pt x="55" y="97"/>
                </a:lnTo>
                <a:lnTo>
                  <a:pt x="56" y="99"/>
                </a:lnTo>
                <a:lnTo>
                  <a:pt x="56" y="102"/>
                </a:lnTo>
                <a:lnTo>
                  <a:pt x="58" y="103"/>
                </a:lnTo>
                <a:lnTo>
                  <a:pt x="59" y="103"/>
                </a:lnTo>
                <a:lnTo>
                  <a:pt x="60" y="107"/>
                </a:lnTo>
                <a:lnTo>
                  <a:pt x="59" y="107"/>
                </a:lnTo>
                <a:lnTo>
                  <a:pt x="58" y="108"/>
                </a:lnTo>
                <a:lnTo>
                  <a:pt x="54" y="108"/>
                </a:lnTo>
                <a:lnTo>
                  <a:pt x="50" y="110"/>
                </a:lnTo>
                <a:lnTo>
                  <a:pt x="48" y="114"/>
                </a:lnTo>
                <a:lnTo>
                  <a:pt x="46" y="116"/>
                </a:lnTo>
                <a:lnTo>
                  <a:pt x="42" y="116"/>
                </a:lnTo>
                <a:lnTo>
                  <a:pt x="40" y="113"/>
                </a:lnTo>
                <a:lnTo>
                  <a:pt x="40" y="108"/>
                </a:lnTo>
                <a:lnTo>
                  <a:pt x="40" y="103"/>
                </a:lnTo>
                <a:lnTo>
                  <a:pt x="39" y="100"/>
                </a:lnTo>
                <a:lnTo>
                  <a:pt x="36" y="99"/>
                </a:lnTo>
                <a:lnTo>
                  <a:pt x="34" y="96"/>
                </a:lnTo>
                <a:lnTo>
                  <a:pt x="31" y="89"/>
                </a:lnTo>
                <a:lnTo>
                  <a:pt x="34" y="85"/>
                </a:lnTo>
                <a:lnTo>
                  <a:pt x="34" y="81"/>
                </a:lnTo>
                <a:lnTo>
                  <a:pt x="32" y="78"/>
                </a:lnTo>
                <a:lnTo>
                  <a:pt x="32" y="77"/>
                </a:lnTo>
                <a:lnTo>
                  <a:pt x="30" y="77"/>
                </a:lnTo>
                <a:lnTo>
                  <a:pt x="26" y="78"/>
                </a:lnTo>
                <a:lnTo>
                  <a:pt x="23" y="81"/>
                </a:lnTo>
                <a:lnTo>
                  <a:pt x="22" y="86"/>
                </a:lnTo>
                <a:lnTo>
                  <a:pt x="23" y="89"/>
                </a:lnTo>
                <a:lnTo>
                  <a:pt x="23" y="94"/>
                </a:lnTo>
                <a:lnTo>
                  <a:pt x="23" y="111"/>
                </a:lnTo>
                <a:lnTo>
                  <a:pt x="24" y="114"/>
                </a:lnTo>
                <a:lnTo>
                  <a:pt x="22" y="119"/>
                </a:lnTo>
                <a:lnTo>
                  <a:pt x="23" y="124"/>
                </a:lnTo>
                <a:lnTo>
                  <a:pt x="23" y="129"/>
                </a:lnTo>
                <a:lnTo>
                  <a:pt x="19" y="130"/>
                </a:lnTo>
                <a:lnTo>
                  <a:pt x="15" y="130"/>
                </a:lnTo>
                <a:lnTo>
                  <a:pt x="12" y="130"/>
                </a:lnTo>
                <a:lnTo>
                  <a:pt x="10" y="129"/>
                </a:lnTo>
                <a:lnTo>
                  <a:pt x="7" y="124"/>
                </a:lnTo>
                <a:lnTo>
                  <a:pt x="10" y="118"/>
                </a:lnTo>
                <a:lnTo>
                  <a:pt x="10" y="113"/>
                </a:lnTo>
                <a:lnTo>
                  <a:pt x="12" y="102"/>
                </a:lnTo>
                <a:lnTo>
                  <a:pt x="11" y="100"/>
                </a:lnTo>
                <a:lnTo>
                  <a:pt x="10" y="91"/>
                </a:lnTo>
                <a:lnTo>
                  <a:pt x="6" y="91"/>
                </a:lnTo>
                <a:lnTo>
                  <a:pt x="3" y="92"/>
                </a:lnTo>
                <a:lnTo>
                  <a:pt x="0" y="88"/>
                </a:lnTo>
                <a:lnTo>
                  <a:pt x="0" y="83"/>
                </a:lnTo>
                <a:lnTo>
                  <a:pt x="0" y="77"/>
                </a:lnTo>
                <a:lnTo>
                  <a:pt x="3" y="72"/>
                </a:lnTo>
                <a:lnTo>
                  <a:pt x="6" y="67"/>
                </a:lnTo>
                <a:lnTo>
                  <a:pt x="7" y="63"/>
                </a:lnTo>
                <a:lnTo>
                  <a:pt x="7" y="53"/>
                </a:lnTo>
                <a:lnTo>
                  <a:pt x="10" y="45"/>
                </a:lnTo>
                <a:lnTo>
                  <a:pt x="12" y="44"/>
                </a:lnTo>
                <a:lnTo>
                  <a:pt x="14" y="41"/>
                </a:lnTo>
                <a:lnTo>
                  <a:pt x="14" y="44"/>
                </a:lnTo>
                <a:lnTo>
                  <a:pt x="15" y="41"/>
                </a:lnTo>
                <a:lnTo>
                  <a:pt x="15" y="33"/>
                </a:lnTo>
                <a:lnTo>
                  <a:pt x="12" y="31"/>
                </a:lnTo>
                <a:lnTo>
                  <a:pt x="14" y="31"/>
                </a:lnTo>
                <a:lnTo>
                  <a:pt x="15" y="26"/>
                </a:lnTo>
                <a:lnTo>
                  <a:pt x="15" y="25"/>
                </a:lnTo>
                <a:lnTo>
                  <a:pt x="16" y="22"/>
                </a:lnTo>
                <a:lnTo>
                  <a:pt x="18" y="17"/>
                </a:lnTo>
                <a:lnTo>
                  <a:pt x="20" y="14"/>
                </a:lnTo>
                <a:lnTo>
                  <a:pt x="22" y="14"/>
                </a:lnTo>
                <a:lnTo>
                  <a:pt x="23" y="15"/>
                </a:lnTo>
                <a:lnTo>
                  <a:pt x="26" y="15"/>
                </a:lnTo>
                <a:lnTo>
                  <a:pt x="28" y="12"/>
                </a:lnTo>
                <a:lnTo>
                  <a:pt x="28" y="8"/>
                </a:lnTo>
                <a:lnTo>
                  <a:pt x="31" y="6"/>
                </a:lnTo>
                <a:lnTo>
                  <a:pt x="34" y="6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35" name="Freeform 132"/>
          <p:cNvSpPr>
            <a:spLocks/>
          </p:cNvSpPr>
          <p:nvPr/>
        </p:nvSpPr>
        <p:spPr bwMode="auto">
          <a:xfrm>
            <a:off x="9176445" y="4526806"/>
            <a:ext cx="7795" cy="10739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0" y="0"/>
              </a:cxn>
              <a:cxn ang="0">
                <a:pos x="2" y="0"/>
              </a:cxn>
              <a:cxn ang="0">
                <a:pos x="3" y="0"/>
              </a:cxn>
              <a:cxn ang="0">
                <a:pos x="4" y="1"/>
              </a:cxn>
              <a:cxn ang="0">
                <a:pos x="4" y="4"/>
              </a:cxn>
              <a:cxn ang="0">
                <a:pos x="3" y="6"/>
              </a:cxn>
              <a:cxn ang="0">
                <a:pos x="2" y="4"/>
              </a:cxn>
              <a:cxn ang="0">
                <a:pos x="0" y="1"/>
              </a:cxn>
            </a:cxnLst>
            <a:rect l="0" t="0" r="r" b="b"/>
            <a:pathLst>
              <a:path w="4" h="6">
                <a:moveTo>
                  <a:pt x="0" y="1"/>
                </a:moveTo>
                <a:lnTo>
                  <a:pt x="0" y="0"/>
                </a:lnTo>
                <a:lnTo>
                  <a:pt x="2" y="0"/>
                </a:lnTo>
                <a:lnTo>
                  <a:pt x="3" y="0"/>
                </a:lnTo>
                <a:lnTo>
                  <a:pt x="4" y="1"/>
                </a:lnTo>
                <a:lnTo>
                  <a:pt x="4" y="4"/>
                </a:lnTo>
                <a:lnTo>
                  <a:pt x="3" y="6"/>
                </a:lnTo>
                <a:lnTo>
                  <a:pt x="2" y="4"/>
                </a:lnTo>
                <a:lnTo>
                  <a:pt x="0" y="1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36" name="Freeform 133"/>
          <p:cNvSpPr>
            <a:spLocks/>
          </p:cNvSpPr>
          <p:nvPr/>
        </p:nvSpPr>
        <p:spPr bwMode="auto">
          <a:xfrm>
            <a:off x="9176445" y="4526806"/>
            <a:ext cx="7795" cy="10739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0" y="0"/>
              </a:cxn>
              <a:cxn ang="0">
                <a:pos x="2" y="0"/>
              </a:cxn>
              <a:cxn ang="0">
                <a:pos x="3" y="0"/>
              </a:cxn>
              <a:cxn ang="0">
                <a:pos x="4" y="1"/>
              </a:cxn>
              <a:cxn ang="0">
                <a:pos x="4" y="4"/>
              </a:cxn>
              <a:cxn ang="0">
                <a:pos x="3" y="6"/>
              </a:cxn>
              <a:cxn ang="0">
                <a:pos x="2" y="4"/>
              </a:cxn>
              <a:cxn ang="0">
                <a:pos x="0" y="1"/>
              </a:cxn>
            </a:cxnLst>
            <a:rect l="0" t="0" r="r" b="b"/>
            <a:pathLst>
              <a:path w="4" h="6">
                <a:moveTo>
                  <a:pt x="0" y="1"/>
                </a:moveTo>
                <a:lnTo>
                  <a:pt x="0" y="0"/>
                </a:lnTo>
                <a:lnTo>
                  <a:pt x="2" y="0"/>
                </a:lnTo>
                <a:lnTo>
                  <a:pt x="3" y="0"/>
                </a:lnTo>
                <a:lnTo>
                  <a:pt x="4" y="1"/>
                </a:lnTo>
                <a:lnTo>
                  <a:pt x="4" y="4"/>
                </a:lnTo>
                <a:lnTo>
                  <a:pt x="3" y="6"/>
                </a:lnTo>
                <a:lnTo>
                  <a:pt x="2" y="4"/>
                </a:lnTo>
                <a:lnTo>
                  <a:pt x="0" y="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37" name="Freeform 134"/>
          <p:cNvSpPr>
            <a:spLocks/>
          </p:cNvSpPr>
          <p:nvPr/>
        </p:nvSpPr>
        <p:spPr bwMode="auto">
          <a:xfrm>
            <a:off x="9192036" y="4509626"/>
            <a:ext cx="11693" cy="23624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3" y="1"/>
              </a:cxn>
              <a:cxn ang="0">
                <a:pos x="4" y="0"/>
              </a:cxn>
              <a:cxn ang="0">
                <a:pos x="6" y="0"/>
              </a:cxn>
              <a:cxn ang="0">
                <a:pos x="6" y="5"/>
              </a:cxn>
              <a:cxn ang="0">
                <a:pos x="6" y="6"/>
              </a:cxn>
              <a:cxn ang="0">
                <a:pos x="4" y="9"/>
              </a:cxn>
              <a:cxn ang="0">
                <a:pos x="4" y="12"/>
              </a:cxn>
              <a:cxn ang="0">
                <a:pos x="3" y="11"/>
              </a:cxn>
              <a:cxn ang="0">
                <a:pos x="2" y="12"/>
              </a:cxn>
              <a:cxn ang="0">
                <a:pos x="0" y="12"/>
              </a:cxn>
              <a:cxn ang="0">
                <a:pos x="0" y="8"/>
              </a:cxn>
              <a:cxn ang="0">
                <a:pos x="0" y="1"/>
              </a:cxn>
            </a:cxnLst>
            <a:rect l="0" t="0" r="r" b="b"/>
            <a:pathLst>
              <a:path w="6" h="12">
                <a:moveTo>
                  <a:pt x="0" y="1"/>
                </a:moveTo>
                <a:lnTo>
                  <a:pt x="3" y="1"/>
                </a:lnTo>
                <a:lnTo>
                  <a:pt x="4" y="0"/>
                </a:lnTo>
                <a:lnTo>
                  <a:pt x="6" y="0"/>
                </a:lnTo>
                <a:lnTo>
                  <a:pt x="6" y="5"/>
                </a:lnTo>
                <a:lnTo>
                  <a:pt x="6" y="6"/>
                </a:lnTo>
                <a:lnTo>
                  <a:pt x="4" y="9"/>
                </a:lnTo>
                <a:lnTo>
                  <a:pt x="4" y="12"/>
                </a:lnTo>
                <a:lnTo>
                  <a:pt x="3" y="11"/>
                </a:lnTo>
                <a:lnTo>
                  <a:pt x="2" y="12"/>
                </a:lnTo>
                <a:lnTo>
                  <a:pt x="0" y="12"/>
                </a:lnTo>
                <a:lnTo>
                  <a:pt x="0" y="8"/>
                </a:lnTo>
                <a:lnTo>
                  <a:pt x="0" y="1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38" name="Freeform 135"/>
          <p:cNvSpPr>
            <a:spLocks/>
          </p:cNvSpPr>
          <p:nvPr/>
        </p:nvSpPr>
        <p:spPr bwMode="auto">
          <a:xfrm>
            <a:off x="9192036" y="4509626"/>
            <a:ext cx="11693" cy="23624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3" y="1"/>
              </a:cxn>
              <a:cxn ang="0">
                <a:pos x="4" y="0"/>
              </a:cxn>
              <a:cxn ang="0">
                <a:pos x="6" y="0"/>
              </a:cxn>
              <a:cxn ang="0">
                <a:pos x="6" y="5"/>
              </a:cxn>
              <a:cxn ang="0">
                <a:pos x="6" y="6"/>
              </a:cxn>
              <a:cxn ang="0">
                <a:pos x="4" y="9"/>
              </a:cxn>
              <a:cxn ang="0">
                <a:pos x="4" y="12"/>
              </a:cxn>
              <a:cxn ang="0">
                <a:pos x="3" y="11"/>
              </a:cxn>
              <a:cxn ang="0">
                <a:pos x="2" y="12"/>
              </a:cxn>
              <a:cxn ang="0">
                <a:pos x="0" y="12"/>
              </a:cxn>
              <a:cxn ang="0">
                <a:pos x="0" y="8"/>
              </a:cxn>
              <a:cxn ang="0">
                <a:pos x="0" y="1"/>
              </a:cxn>
            </a:cxnLst>
            <a:rect l="0" t="0" r="r" b="b"/>
            <a:pathLst>
              <a:path w="6" h="12">
                <a:moveTo>
                  <a:pt x="0" y="1"/>
                </a:moveTo>
                <a:lnTo>
                  <a:pt x="3" y="1"/>
                </a:lnTo>
                <a:lnTo>
                  <a:pt x="4" y="0"/>
                </a:lnTo>
                <a:lnTo>
                  <a:pt x="6" y="0"/>
                </a:lnTo>
                <a:lnTo>
                  <a:pt x="6" y="5"/>
                </a:lnTo>
                <a:lnTo>
                  <a:pt x="6" y="6"/>
                </a:lnTo>
                <a:lnTo>
                  <a:pt x="4" y="9"/>
                </a:lnTo>
                <a:lnTo>
                  <a:pt x="4" y="12"/>
                </a:lnTo>
                <a:lnTo>
                  <a:pt x="3" y="11"/>
                </a:lnTo>
                <a:lnTo>
                  <a:pt x="2" y="12"/>
                </a:lnTo>
                <a:lnTo>
                  <a:pt x="0" y="12"/>
                </a:lnTo>
                <a:lnTo>
                  <a:pt x="0" y="8"/>
                </a:lnTo>
                <a:lnTo>
                  <a:pt x="0" y="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39" name="Freeform 136"/>
          <p:cNvSpPr>
            <a:spLocks/>
          </p:cNvSpPr>
          <p:nvPr/>
        </p:nvSpPr>
        <p:spPr bwMode="auto">
          <a:xfrm>
            <a:off x="9199830" y="4498889"/>
            <a:ext cx="15591" cy="45100"/>
          </a:xfrm>
          <a:custGeom>
            <a:avLst/>
            <a:gdLst/>
            <a:ahLst/>
            <a:cxnLst>
              <a:cxn ang="0">
                <a:pos x="3" y="12"/>
              </a:cxn>
              <a:cxn ang="0">
                <a:pos x="3" y="11"/>
              </a:cxn>
              <a:cxn ang="0">
                <a:pos x="4" y="3"/>
              </a:cxn>
              <a:cxn ang="0">
                <a:pos x="6" y="0"/>
              </a:cxn>
              <a:cxn ang="0">
                <a:pos x="7" y="1"/>
              </a:cxn>
              <a:cxn ang="0">
                <a:pos x="8" y="4"/>
              </a:cxn>
              <a:cxn ang="0">
                <a:pos x="8" y="7"/>
              </a:cxn>
              <a:cxn ang="0">
                <a:pos x="7" y="9"/>
              </a:cxn>
              <a:cxn ang="0">
                <a:pos x="6" y="11"/>
              </a:cxn>
              <a:cxn ang="0">
                <a:pos x="6" y="12"/>
              </a:cxn>
              <a:cxn ang="0">
                <a:pos x="7" y="14"/>
              </a:cxn>
              <a:cxn ang="0">
                <a:pos x="8" y="15"/>
              </a:cxn>
              <a:cxn ang="0">
                <a:pos x="8" y="18"/>
              </a:cxn>
              <a:cxn ang="0">
                <a:pos x="7" y="20"/>
              </a:cxn>
              <a:cxn ang="0">
                <a:pos x="3" y="23"/>
              </a:cxn>
              <a:cxn ang="0">
                <a:pos x="0" y="22"/>
              </a:cxn>
              <a:cxn ang="0">
                <a:pos x="0" y="20"/>
              </a:cxn>
              <a:cxn ang="0">
                <a:pos x="2" y="17"/>
              </a:cxn>
              <a:cxn ang="0">
                <a:pos x="2" y="15"/>
              </a:cxn>
              <a:cxn ang="0">
                <a:pos x="3" y="12"/>
              </a:cxn>
            </a:cxnLst>
            <a:rect l="0" t="0" r="r" b="b"/>
            <a:pathLst>
              <a:path w="8" h="23">
                <a:moveTo>
                  <a:pt x="3" y="12"/>
                </a:moveTo>
                <a:lnTo>
                  <a:pt x="3" y="11"/>
                </a:lnTo>
                <a:lnTo>
                  <a:pt x="4" y="3"/>
                </a:lnTo>
                <a:lnTo>
                  <a:pt x="6" y="0"/>
                </a:lnTo>
                <a:lnTo>
                  <a:pt x="7" y="1"/>
                </a:lnTo>
                <a:lnTo>
                  <a:pt x="8" y="4"/>
                </a:lnTo>
                <a:lnTo>
                  <a:pt x="8" y="7"/>
                </a:lnTo>
                <a:lnTo>
                  <a:pt x="7" y="9"/>
                </a:lnTo>
                <a:lnTo>
                  <a:pt x="6" y="11"/>
                </a:lnTo>
                <a:lnTo>
                  <a:pt x="6" y="12"/>
                </a:lnTo>
                <a:lnTo>
                  <a:pt x="7" y="14"/>
                </a:lnTo>
                <a:lnTo>
                  <a:pt x="8" y="15"/>
                </a:lnTo>
                <a:lnTo>
                  <a:pt x="8" y="18"/>
                </a:lnTo>
                <a:lnTo>
                  <a:pt x="7" y="20"/>
                </a:lnTo>
                <a:lnTo>
                  <a:pt x="3" y="23"/>
                </a:lnTo>
                <a:lnTo>
                  <a:pt x="0" y="22"/>
                </a:lnTo>
                <a:lnTo>
                  <a:pt x="0" y="20"/>
                </a:lnTo>
                <a:lnTo>
                  <a:pt x="2" y="17"/>
                </a:lnTo>
                <a:lnTo>
                  <a:pt x="2" y="15"/>
                </a:lnTo>
                <a:lnTo>
                  <a:pt x="3" y="1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40" name="Freeform 137"/>
          <p:cNvSpPr>
            <a:spLocks/>
          </p:cNvSpPr>
          <p:nvPr/>
        </p:nvSpPr>
        <p:spPr bwMode="auto">
          <a:xfrm>
            <a:off x="9199830" y="4498889"/>
            <a:ext cx="15591" cy="45100"/>
          </a:xfrm>
          <a:custGeom>
            <a:avLst/>
            <a:gdLst/>
            <a:ahLst/>
            <a:cxnLst>
              <a:cxn ang="0">
                <a:pos x="3" y="12"/>
              </a:cxn>
              <a:cxn ang="0">
                <a:pos x="3" y="11"/>
              </a:cxn>
              <a:cxn ang="0">
                <a:pos x="4" y="3"/>
              </a:cxn>
              <a:cxn ang="0">
                <a:pos x="6" y="0"/>
              </a:cxn>
              <a:cxn ang="0">
                <a:pos x="7" y="1"/>
              </a:cxn>
              <a:cxn ang="0">
                <a:pos x="8" y="4"/>
              </a:cxn>
              <a:cxn ang="0">
                <a:pos x="8" y="7"/>
              </a:cxn>
              <a:cxn ang="0">
                <a:pos x="7" y="9"/>
              </a:cxn>
              <a:cxn ang="0">
                <a:pos x="6" y="11"/>
              </a:cxn>
              <a:cxn ang="0">
                <a:pos x="6" y="12"/>
              </a:cxn>
              <a:cxn ang="0">
                <a:pos x="7" y="14"/>
              </a:cxn>
              <a:cxn ang="0">
                <a:pos x="8" y="15"/>
              </a:cxn>
              <a:cxn ang="0">
                <a:pos x="8" y="18"/>
              </a:cxn>
              <a:cxn ang="0">
                <a:pos x="7" y="20"/>
              </a:cxn>
              <a:cxn ang="0">
                <a:pos x="3" y="23"/>
              </a:cxn>
              <a:cxn ang="0">
                <a:pos x="0" y="22"/>
              </a:cxn>
              <a:cxn ang="0">
                <a:pos x="0" y="20"/>
              </a:cxn>
              <a:cxn ang="0">
                <a:pos x="2" y="17"/>
              </a:cxn>
              <a:cxn ang="0">
                <a:pos x="2" y="15"/>
              </a:cxn>
              <a:cxn ang="0">
                <a:pos x="3" y="12"/>
              </a:cxn>
            </a:cxnLst>
            <a:rect l="0" t="0" r="r" b="b"/>
            <a:pathLst>
              <a:path w="8" h="23">
                <a:moveTo>
                  <a:pt x="3" y="12"/>
                </a:moveTo>
                <a:lnTo>
                  <a:pt x="3" y="11"/>
                </a:lnTo>
                <a:lnTo>
                  <a:pt x="4" y="3"/>
                </a:lnTo>
                <a:lnTo>
                  <a:pt x="6" y="0"/>
                </a:lnTo>
                <a:lnTo>
                  <a:pt x="7" y="1"/>
                </a:lnTo>
                <a:lnTo>
                  <a:pt x="8" y="4"/>
                </a:lnTo>
                <a:lnTo>
                  <a:pt x="8" y="7"/>
                </a:lnTo>
                <a:lnTo>
                  <a:pt x="7" y="9"/>
                </a:lnTo>
                <a:lnTo>
                  <a:pt x="6" y="11"/>
                </a:lnTo>
                <a:lnTo>
                  <a:pt x="6" y="12"/>
                </a:lnTo>
                <a:lnTo>
                  <a:pt x="7" y="14"/>
                </a:lnTo>
                <a:lnTo>
                  <a:pt x="8" y="15"/>
                </a:lnTo>
                <a:lnTo>
                  <a:pt x="8" y="18"/>
                </a:lnTo>
                <a:lnTo>
                  <a:pt x="7" y="20"/>
                </a:lnTo>
                <a:lnTo>
                  <a:pt x="3" y="23"/>
                </a:lnTo>
                <a:lnTo>
                  <a:pt x="0" y="22"/>
                </a:lnTo>
                <a:lnTo>
                  <a:pt x="0" y="20"/>
                </a:lnTo>
                <a:lnTo>
                  <a:pt x="2" y="17"/>
                </a:lnTo>
                <a:lnTo>
                  <a:pt x="2" y="15"/>
                </a:lnTo>
                <a:lnTo>
                  <a:pt x="3" y="1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41" name="Freeform 138"/>
          <p:cNvSpPr>
            <a:spLocks/>
          </p:cNvSpPr>
          <p:nvPr/>
        </p:nvSpPr>
        <p:spPr bwMode="auto">
          <a:xfrm>
            <a:off x="9211523" y="4483854"/>
            <a:ext cx="7795" cy="10739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2" y="2"/>
              </a:cxn>
              <a:cxn ang="0">
                <a:pos x="4" y="3"/>
              </a:cxn>
              <a:cxn ang="0">
                <a:pos x="2" y="5"/>
              </a:cxn>
              <a:cxn ang="0">
                <a:pos x="1" y="3"/>
              </a:cxn>
              <a:cxn ang="0">
                <a:pos x="0" y="2"/>
              </a:cxn>
              <a:cxn ang="0">
                <a:pos x="1" y="0"/>
              </a:cxn>
            </a:cxnLst>
            <a:rect l="0" t="0" r="r" b="b"/>
            <a:pathLst>
              <a:path w="4" h="5">
                <a:moveTo>
                  <a:pt x="1" y="0"/>
                </a:moveTo>
                <a:lnTo>
                  <a:pt x="2" y="2"/>
                </a:lnTo>
                <a:lnTo>
                  <a:pt x="4" y="3"/>
                </a:lnTo>
                <a:lnTo>
                  <a:pt x="2" y="5"/>
                </a:lnTo>
                <a:lnTo>
                  <a:pt x="1" y="3"/>
                </a:lnTo>
                <a:lnTo>
                  <a:pt x="0" y="2"/>
                </a:lnTo>
                <a:lnTo>
                  <a:pt x="1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42" name="Freeform 139"/>
          <p:cNvSpPr>
            <a:spLocks/>
          </p:cNvSpPr>
          <p:nvPr/>
        </p:nvSpPr>
        <p:spPr bwMode="auto">
          <a:xfrm>
            <a:off x="9211523" y="4483854"/>
            <a:ext cx="7795" cy="10739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2" y="2"/>
              </a:cxn>
              <a:cxn ang="0">
                <a:pos x="4" y="3"/>
              </a:cxn>
              <a:cxn ang="0">
                <a:pos x="2" y="5"/>
              </a:cxn>
              <a:cxn ang="0">
                <a:pos x="1" y="3"/>
              </a:cxn>
              <a:cxn ang="0">
                <a:pos x="0" y="2"/>
              </a:cxn>
              <a:cxn ang="0">
                <a:pos x="1" y="0"/>
              </a:cxn>
            </a:cxnLst>
            <a:rect l="0" t="0" r="r" b="b"/>
            <a:pathLst>
              <a:path w="4" h="5">
                <a:moveTo>
                  <a:pt x="1" y="0"/>
                </a:moveTo>
                <a:lnTo>
                  <a:pt x="2" y="2"/>
                </a:lnTo>
                <a:lnTo>
                  <a:pt x="4" y="3"/>
                </a:lnTo>
                <a:lnTo>
                  <a:pt x="2" y="5"/>
                </a:lnTo>
                <a:lnTo>
                  <a:pt x="1" y="3"/>
                </a:lnTo>
                <a:lnTo>
                  <a:pt x="0" y="2"/>
                </a:lnTo>
                <a:lnTo>
                  <a:pt x="1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43" name="Freeform 140"/>
          <p:cNvSpPr>
            <a:spLocks/>
          </p:cNvSpPr>
          <p:nvPr/>
        </p:nvSpPr>
        <p:spPr bwMode="auto">
          <a:xfrm>
            <a:off x="9203729" y="4385065"/>
            <a:ext cx="11693" cy="15033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5" y="0"/>
              </a:cxn>
              <a:cxn ang="0">
                <a:pos x="5" y="2"/>
              </a:cxn>
              <a:cxn ang="0">
                <a:pos x="5" y="3"/>
              </a:cxn>
              <a:cxn ang="0">
                <a:pos x="3" y="8"/>
              </a:cxn>
              <a:cxn ang="0">
                <a:pos x="1" y="8"/>
              </a:cxn>
              <a:cxn ang="0">
                <a:pos x="0" y="5"/>
              </a:cxn>
              <a:cxn ang="0">
                <a:pos x="1" y="3"/>
              </a:cxn>
              <a:cxn ang="0">
                <a:pos x="1" y="2"/>
              </a:cxn>
              <a:cxn ang="0">
                <a:pos x="4" y="0"/>
              </a:cxn>
            </a:cxnLst>
            <a:rect l="0" t="0" r="r" b="b"/>
            <a:pathLst>
              <a:path w="5" h="8">
                <a:moveTo>
                  <a:pt x="4" y="0"/>
                </a:moveTo>
                <a:lnTo>
                  <a:pt x="5" y="0"/>
                </a:lnTo>
                <a:lnTo>
                  <a:pt x="5" y="2"/>
                </a:lnTo>
                <a:lnTo>
                  <a:pt x="5" y="3"/>
                </a:lnTo>
                <a:lnTo>
                  <a:pt x="3" y="8"/>
                </a:lnTo>
                <a:lnTo>
                  <a:pt x="1" y="8"/>
                </a:lnTo>
                <a:lnTo>
                  <a:pt x="0" y="5"/>
                </a:lnTo>
                <a:lnTo>
                  <a:pt x="1" y="3"/>
                </a:lnTo>
                <a:lnTo>
                  <a:pt x="1" y="2"/>
                </a:lnTo>
                <a:lnTo>
                  <a:pt x="4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44" name="Freeform 141"/>
          <p:cNvSpPr>
            <a:spLocks/>
          </p:cNvSpPr>
          <p:nvPr/>
        </p:nvSpPr>
        <p:spPr bwMode="auto">
          <a:xfrm>
            <a:off x="9203729" y="4385065"/>
            <a:ext cx="11693" cy="15033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5" y="0"/>
              </a:cxn>
              <a:cxn ang="0">
                <a:pos x="5" y="2"/>
              </a:cxn>
              <a:cxn ang="0">
                <a:pos x="5" y="3"/>
              </a:cxn>
              <a:cxn ang="0">
                <a:pos x="3" y="8"/>
              </a:cxn>
              <a:cxn ang="0">
                <a:pos x="1" y="8"/>
              </a:cxn>
              <a:cxn ang="0">
                <a:pos x="0" y="5"/>
              </a:cxn>
              <a:cxn ang="0">
                <a:pos x="1" y="3"/>
              </a:cxn>
              <a:cxn ang="0">
                <a:pos x="1" y="2"/>
              </a:cxn>
              <a:cxn ang="0">
                <a:pos x="4" y="0"/>
              </a:cxn>
            </a:cxnLst>
            <a:rect l="0" t="0" r="r" b="b"/>
            <a:pathLst>
              <a:path w="5" h="8">
                <a:moveTo>
                  <a:pt x="4" y="0"/>
                </a:moveTo>
                <a:lnTo>
                  <a:pt x="5" y="0"/>
                </a:lnTo>
                <a:lnTo>
                  <a:pt x="5" y="2"/>
                </a:lnTo>
                <a:lnTo>
                  <a:pt x="5" y="3"/>
                </a:lnTo>
                <a:lnTo>
                  <a:pt x="3" y="8"/>
                </a:lnTo>
                <a:lnTo>
                  <a:pt x="1" y="8"/>
                </a:lnTo>
                <a:lnTo>
                  <a:pt x="0" y="5"/>
                </a:lnTo>
                <a:lnTo>
                  <a:pt x="1" y="3"/>
                </a:lnTo>
                <a:lnTo>
                  <a:pt x="1" y="2"/>
                </a:lnTo>
                <a:lnTo>
                  <a:pt x="4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45" name="Freeform 142"/>
          <p:cNvSpPr>
            <a:spLocks/>
          </p:cNvSpPr>
          <p:nvPr/>
        </p:nvSpPr>
        <p:spPr bwMode="auto">
          <a:xfrm>
            <a:off x="9215420" y="4389358"/>
            <a:ext cx="9745" cy="10739"/>
          </a:xfrm>
          <a:custGeom>
            <a:avLst/>
            <a:gdLst/>
            <a:ahLst/>
            <a:cxnLst>
              <a:cxn ang="0">
                <a:pos x="2" y="3"/>
              </a:cxn>
              <a:cxn ang="0">
                <a:pos x="3" y="0"/>
              </a:cxn>
              <a:cxn ang="0">
                <a:pos x="4" y="0"/>
              </a:cxn>
              <a:cxn ang="0">
                <a:pos x="6" y="0"/>
              </a:cxn>
              <a:cxn ang="0">
                <a:pos x="6" y="1"/>
              </a:cxn>
              <a:cxn ang="0">
                <a:pos x="6" y="3"/>
              </a:cxn>
              <a:cxn ang="0">
                <a:pos x="4" y="6"/>
              </a:cxn>
              <a:cxn ang="0">
                <a:pos x="3" y="4"/>
              </a:cxn>
              <a:cxn ang="0">
                <a:pos x="2" y="6"/>
              </a:cxn>
              <a:cxn ang="0">
                <a:pos x="0" y="4"/>
              </a:cxn>
              <a:cxn ang="0">
                <a:pos x="0" y="3"/>
              </a:cxn>
              <a:cxn ang="0">
                <a:pos x="2" y="3"/>
              </a:cxn>
            </a:cxnLst>
            <a:rect l="0" t="0" r="r" b="b"/>
            <a:pathLst>
              <a:path w="6" h="6">
                <a:moveTo>
                  <a:pt x="2" y="3"/>
                </a:moveTo>
                <a:lnTo>
                  <a:pt x="3" y="0"/>
                </a:lnTo>
                <a:lnTo>
                  <a:pt x="4" y="0"/>
                </a:lnTo>
                <a:lnTo>
                  <a:pt x="6" y="0"/>
                </a:lnTo>
                <a:lnTo>
                  <a:pt x="6" y="1"/>
                </a:lnTo>
                <a:lnTo>
                  <a:pt x="6" y="3"/>
                </a:lnTo>
                <a:lnTo>
                  <a:pt x="4" y="6"/>
                </a:lnTo>
                <a:lnTo>
                  <a:pt x="3" y="4"/>
                </a:lnTo>
                <a:lnTo>
                  <a:pt x="2" y="6"/>
                </a:lnTo>
                <a:lnTo>
                  <a:pt x="0" y="4"/>
                </a:lnTo>
                <a:lnTo>
                  <a:pt x="0" y="3"/>
                </a:lnTo>
                <a:lnTo>
                  <a:pt x="2" y="3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46" name="Freeform 143"/>
          <p:cNvSpPr>
            <a:spLocks/>
          </p:cNvSpPr>
          <p:nvPr/>
        </p:nvSpPr>
        <p:spPr bwMode="auto">
          <a:xfrm>
            <a:off x="9215420" y="4389358"/>
            <a:ext cx="9745" cy="10739"/>
          </a:xfrm>
          <a:custGeom>
            <a:avLst/>
            <a:gdLst/>
            <a:ahLst/>
            <a:cxnLst>
              <a:cxn ang="0">
                <a:pos x="2" y="3"/>
              </a:cxn>
              <a:cxn ang="0">
                <a:pos x="3" y="0"/>
              </a:cxn>
              <a:cxn ang="0">
                <a:pos x="4" y="0"/>
              </a:cxn>
              <a:cxn ang="0">
                <a:pos x="6" y="0"/>
              </a:cxn>
              <a:cxn ang="0">
                <a:pos x="6" y="1"/>
              </a:cxn>
              <a:cxn ang="0">
                <a:pos x="6" y="3"/>
              </a:cxn>
              <a:cxn ang="0">
                <a:pos x="4" y="6"/>
              </a:cxn>
              <a:cxn ang="0">
                <a:pos x="3" y="4"/>
              </a:cxn>
              <a:cxn ang="0">
                <a:pos x="2" y="6"/>
              </a:cxn>
              <a:cxn ang="0">
                <a:pos x="0" y="4"/>
              </a:cxn>
              <a:cxn ang="0">
                <a:pos x="0" y="3"/>
              </a:cxn>
              <a:cxn ang="0">
                <a:pos x="2" y="3"/>
              </a:cxn>
            </a:cxnLst>
            <a:rect l="0" t="0" r="r" b="b"/>
            <a:pathLst>
              <a:path w="6" h="6">
                <a:moveTo>
                  <a:pt x="2" y="3"/>
                </a:moveTo>
                <a:lnTo>
                  <a:pt x="3" y="0"/>
                </a:lnTo>
                <a:lnTo>
                  <a:pt x="4" y="0"/>
                </a:lnTo>
                <a:lnTo>
                  <a:pt x="6" y="0"/>
                </a:lnTo>
                <a:lnTo>
                  <a:pt x="6" y="1"/>
                </a:lnTo>
                <a:lnTo>
                  <a:pt x="6" y="3"/>
                </a:lnTo>
                <a:lnTo>
                  <a:pt x="4" y="6"/>
                </a:lnTo>
                <a:lnTo>
                  <a:pt x="3" y="4"/>
                </a:lnTo>
                <a:lnTo>
                  <a:pt x="2" y="6"/>
                </a:lnTo>
                <a:lnTo>
                  <a:pt x="0" y="4"/>
                </a:lnTo>
                <a:lnTo>
                  <a:pt x="0" y="3"/>
                </a:lnTo>
                <a:lnTo>
                  <a:pt x="2" y="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47" name="Freeform 144"/>
          <p:cNvSpPr>
            <a:spLocks/>
          </p:cNvSpPr>
          <p:nvPr/>
        </p:nvSpPr>
        <p:spPr bwMode="auto">
          <a:xfrm>
            <a:off x="9250500" y="4402245"/>
            <a:ext cx="27284" cy="1503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5" y="0"/>
              </a:cxn>
              <a:cxn ang="0">
                <a:pos x="8" y="2"/>
              </a:cxn>
              <a:cxn ang="0">
                <a:pos x="12" y="2"/>
              </a:cxn>
              <a:cxn ang="0">
                <a:pos x="13" y="2"/>
              </a:cxn>
              <a:cxn ang="0">
                <a:pos x="13" y="4"/>
              </a:cxn>
              <a:cxn ang="0">
                <a:pos x="12" y="4"/>
              </a:cxn>
              <a:cxn ang="0">
                <a:pos x="10" y="5"/>
              </a:cxn>
              <a:cxn ang="0">
                <a:pos x="5" y="5"/>
              </a:cxn>
              <a:cxn ang="0">
                <a:pos x="2" y="7"/>
              </a:cxn>
              <a:cxn ang="0">
                <a:pos x="1" y="7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13" h="7">
                <a:moveTo>
                  <a:pt x="0" y="0"/>
                </a:moveTo>
                <a:lnTo>
                  <a:pt x="5" y="0"/>
                </a:lnTo>
                <a:lnTo>
                  <a:pt x="8" y="2"/>
                </a:lnTo>
                <a:lnTo>
                  <a:pt x="12" y="2"/>
                </a:lnTo>
                <a:lnTo>
                  <a:pt x="13" y="2"/>
                </a:lnTo>
                <a:lnTo>
                  <a:pt x="13" y="4"/>
                </a:lnTo>
                <a:lnTo>
                  <a:pt x="12" y="4"/>
                </a:lnTo>
                <a:lnTo>
                  <a:pt x="10" y="5"/>
                </a:lnTo>
                <a:lnTo>
                  <a:pt x="5" y="5"/>
                </a:lnTo>
                <a:lnTo>
                  <a:pt x="2" y="7"/>
                </a:lnTo>
                <a:lnTo>
                  <a:pt x="1" y="7"/>
                </a:ln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48" name="Freeform 145"/>
          <p:cNvSpPr>
            <a:spLocks/>
          </p:cNvSpPr>
          <p:nvPr/>
        </p:nvSpPr>
        <p:spPr bwMode="auto">
          <a:xfrm>
            <a:off x="9250500" y="4402245"/>
            <a:ext cx="27284" cy="1503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5" y="0"/>
              </a:cxn>
              <a:cxn ang="0">
                <a:pos x="8" y="2"/>
              </a:cxn>
              <a:cxn ang="0">
                <a:pos x="12" y="2"/>
              </a:cxn>
              <a:cxn ang="0">
                <a:pos x="13" y="2"/>
              </a:cxn>
              <a:cxn ang="0">
                <a:pos x="13" y="4"/>
              </a:cxn>
              <a:cxn ang="0">
                <a:pos x="12" y="4"/>
              </a:cxn>
              <a:cxn ang="0">
                <a:pos x="10" y="5"/>
              </a:cxn>
              <a:cxn ang="0">
                <a:pos x="5" y="5"/>
              </a:cxn>
              <a:cxn ang="0">
                <a:pos x="2" y="7"/>
              </a:cxn>
              <a:cxn ang="0">
                <a:pos x="1" y="7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13" h="7">
                <a:moveTo>
                  <a:pt x="0" y="0"/>
                </a:moveTo>
                <a:lnTo>
                  <a:pt x="5" y="0"/>
                </a:lnTo>
                <a:lnTo>
                  <a:pt x="8" y="2"/>
                </a:lnTo>
                <a:lnTo>
                  <a:pt x="12" y="2"/>
                </a:lnTo>
                <a:lnTo>
                  <a:pt x="13" y="2"/>
                </a:lnTo>
                <a:lnTo>
                  <a:pt x="13" y="4"/>
                </a:lnTo>
                <a:lnTo>
                  <a:pt x="12" y="4"/>
                </a:lnTo>
                <a:lnTo>
                  <a:pt x="10" y="5"/>
                </a:lnTo>
                <a:lnTo>
                  <a:pt x="5" y="5"/>
                </a:lnTo>
                <a:lnTo>
                  <a:pt x="2" y="7"/>
                </a:lnTo>
                <a:lnTo>
                  <a:pt x="1" y="7"/>
                </a:lnTo>
                <a:lnTo>
                  <a:pt x="0" y="2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49" name="Freeform 146"/>
          <p:cNvSpPr>
            <a:spLocks/>
          </p:cNvSpPr>
          <p:nvPr/>
        </p:nvSpPr>
        <p:spPr bwMode="auto">
          <a:xfrm>
            <a:off x="9277783" y="4406540"/>
            <a:ext cx="29233" cy="6444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4" y="2"/>
              </a:cxn>
              <a:cxn ang="0">
                <a:pos x="8" y="0"/>
              </a:cxn>
              <a:cxn ang="0">
                <a:pos x="14" y="0"/>
              </a:cxn>
              <a:cxn ang="0">
                <a:pos x="15" y="0"/>
              </a:cxn>
              <a:cxn ang="0">
                <a:pos x="14" y="2"/>
              </a:cxn>
              <a:cxn ang="0">
                <a:pos x="11" y="2"/>
              </a:cxn>
              <a:cxn ang="0">
                <a:pos x="3" y="3"/>
              </a:cxn>
              <a:cxn ang="0">
                <a:pos x="0" y="2"/>
              </a:cxn>
            </a:cxnLst>
            <a:rect l="0" t="0" r="r" b="b"/>
            <a:pathLst>
              <a:path w="15" h="3">
                <a:moveTo>
                  <a:pt x="0" y="2"/>
                </a:moveTo>
                <a:lnTo>
                  <a:pt x="0" y="0"/>
                </a:lnTo>
                <a:lnTo>
                  <a:pt x="4" y="2"/>
                </a:lnTo>
                <a:lnTo>
                  <a:pt x="8" y="0"/>
                </a:lnTo>
                <a:lnTo>
                  <a:pt x="14" y="0"/>
                </a:lnTo>
                <a:lnTo>
                  <a:pt x="15" y="0"/>
                </a:lnTo>
                <a:lnTo>
                  <a:pt x="14" y="2"/>
                </a:lnTo>
                <a:lnTo>
                  <a:pt x="11" y="2"/>
                </a:lnTo>
                <a:lnTo>
                  <a:pt x="3" y="3"/>
                </a:lnTo>
                <a:lnTo>
                  <a:pt x="0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50" name="Freeform 147"/>
          <p:cNvSpPr>
            <a:spLocks/>
          </p:cNvSpPr>
          <p:nvPr/>
        </p:nvSpPr>
        <p:spPr bwMode="auto">
          <a:xfrm>
            <a:off x="9277783" y="4406540"/>
            <a:ext cx="29233" cy="6444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4" y="2"/>
              </a:cxn>
              <a:cxn ang="0">
                <a:pos x="8" y="0"/>
              </a:cxn>
              <a:cxn ang="0">
                <a:pos x="14" y="0"/>
              </a:cxn>
              <a:cxn ang="0">
                <a:pos x="15" y="0"/>
              </a:cxn>
              <a:cxn ang="0">
                <a:pos x="14" y="2"/>
              </a:cxn>
              <a:cxn ang="0">
                <a:pos x="11" y="2"/>
              </a:cxn>
              <a:cxn ang="0">
                <a:pos x="3" y="3"/>
              </a:cxn>
              <a:cxn ang="0">
                <a:pos x="0" y="2"/>
              </a:cxn>
            </a:cxnLst>
            <a:rect l="0" t="0" r="r" b="b"/>
            <a:pathLst>
              <a:path w="15" h="3">
                <a:moveTo>
                  <a:pt x="0" y="2"/>
                </a:moveTo>
                <a:lnTo>
                  <a:pt x="0" y="0"/>
                </a:lnTo>
                <a:lnTo>
                  <a:pt x="4" y="2"/>
                </a:lnTo>
                <a:lnTo>
                  <a:pt x="8" y="0"/>
                </a:lnTo>
                <a:lnTo>
                  <a:pt x="14" y="0"/>
                </a:lnTo>
                <a:lnTo>
                  <a:pt x="15" y="0"/>
                </a:lnTo>
                <a:lnTo>
                  <a:pt x="14" y="2"/>
                </a:lnTo>
                <a:lnTo>
                  <a:pt x="11" y="2"/>
                </a:lnTo>
                <a:lnTo>
                  <a:pt x="3" y="3"/>
                </a:lnTo>
                <a:lnTo>
                  <a:pt x="0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51" name="Freeform 148"/>
          <p:cNvSpPr>
            <a:spLocks/>
          </p:cNvSpPr>
          <p:nvPr/>
        </p:nvSpPr>
        <p:spPr bwMode="auto">
          <a:xfrm>
            <a:off x="9293374" y="4412984"/>
            <a:ext cx="3898" cy="19328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2" y="0"/>
              </a:cxn>
              <a:cxn ang="0">
                <a:pos x="2" y="5"/>
              </a:cxn>
              <a:cxn ang="0">
                <a:pos x="2" y="10"/>
              </a:cxn>
              <a:cxn ang="0">
                <a:pos x="0" y="3"/>
              </a:cxn>
              <a:cxn ang="0">
                <a:pos x="0" y="2"/>
              </a:cxn>
            </a:cxnLst>
            <a:rect l="0" t="0" r="r" b="b"/>
            <a:pathLst>
              <a:path w="2" h="10">
                <a:moveTo>
                  <a:pt x="0" y="2"/>
                </a:moveTo>
                <a:lnTo>
                  <a:pt x="0" y="0"/>
                </a:lnTo>
                <a:lnTo>
                  <a:pt x="2" y="0"/>
                </a:lnTo>
                <a:lnTo>
                  <a:pt x="2" y="5"/>
                </a:lnTo>
                <a:lnTo>
                  <a:pt x="2" y="10"/>
                </a:lnTo>
                <a:lnTo>
                  <a:pt x="0" y="3"/>
                </a:lnTo>
                <a:lnTo>
                  <a:pt x="0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52" name="Freeform 149"/>
          <p:cNvSpPr>
            <a:spLocks/>
          </p:cNvSpPr>
          <p:nvPr/>
        </p:nvSpPr>
        <p:spPr bwMode="auto">
          <a:xfrm>
            <a:off x="9293374" y="4412984"/>
            <a:ext cx="3898" cy="19328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2" y="0"/>
              </a:cxn>
              <a:cxn ang="0">
                <a:pos x="2" y="5"/>
              </a:cxn>
              <a:cxn ang="0">
                <a:pos x="2" y="10"/>
              </a:cxn>
              <a:cxn ang="0">
                <a:pos x="0" y="3"/>
              </a:cxn>
              <a:cxn ang="0">
                <a:pos x="0" y="2"/>
              </a:cxn>
            </a:cxnLst>
            <a:rect l="0" t="0" r="r" b="b"/>
            <a:pathLst>
              <a:path w="2" h="10">
                <a:moveTo>
                  <a:pt x="0" y="2"/>
                </a:moveTo>
                <a:lnTo>
                  <a:pt x="0" y="0"/>
                </a:lnTo>
                <a:lnTo>
                  <a:pt x="2" y="0"/>
                </a:lnTo>
                <a:lnTo>
                  <a:pt x="2" y="5"/>
                </a:lnTo>
                <a:lnTo>
                  <a:pt x="2" y="10"/>
                </a:lnTo>
                <a:lnTo>
                  <a:pt x="0" y="3"/>
                </a:lnTo>
                <a:lnTo>
                  <a:pt x="0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53" name="Freeform 150"/>
          <p:cNvSpPr>
            <a:spLocks/>
          </p:cNvSpPr>
          <p:nvPr/>
        </p:nvSpPr>
        <p:spPr bwMode="auto">
          <a:xfrm>
            <a:off x="9297272" y="4451641"/>
            <a:ext cx="33130" cy="30067"/>
          </a:xfrm>
          <a:custGeom>
            <a:avLst/>
            <a:gdLst/>
            <a:ahLst/>
            <a:cxnLst>
              <a:cxn ang="0">
                <a:pos x="1" y="2"/>
              </a:cxn>
              <a:cxn ang="0">
                <a:pos x="2" y="3"/>
              </a:cxn>
              <a:cxn ang="0">
                <a:pos x="8" y="2"/>
              </a:cxn>
              <a:cxn ang="0">
                <a:pos x="10" y="0"/>
              </a:cxn>
              <a:cxn ang="0">
                <a:pos x="16" y="5"/>
              </a:cxn>
              <a:cxn ang="0">
                <a:pos x="16" y="6"/>
              </a:cxn>
              <a:cxn ang="0">
                <a:pos x="17" y="6"/>
              </a:cxn>
              <a:cxn ang="0">
                <a:pos x="18" y="9"/>
              </a:cxn>
              <a:cxn ang="0">
                <a:pos x="17" y="13"/>
              </a:cxn>
              <a:cxn ang="0">
                <a:pos x="14" y="14"/>
              </a:cxn>
              <a:cxn ang="0">
                <a:pos x="12" y="16"/>
              </a:cxn>
              <a:cxn ang="0">
                <a:pos x="8" y="14"/>
              </a:cxn>
              <a:cxn ang="0">
                <a:pos x="5" y="13"/>
              </a:cxn>
              <a:cxn ang="0">
                <a:pos x="2" y="9"/>
              </a:cxn>
              <a:cxn ang="0">
                <a:pos x="1" y="6"/>
              </a:cxn>
              <a:cxn ang="0">
                <a:pos x="0" y="3"/>
              </a:cxn>
              <a:cxn ang="0">
                <a:pos x="0" y="2"/>
              </a:cxn>
              <a:cxn ang="0">
                <a:pos x="1" y="2"/>
              </a:cxn>
            </a:cxnLst>
            <a:rect l="0" t="0" r="r" b="b"/>
            <a:pathLst>
              <a:path w="18" h="16">
                <a:moveTo>
                  <a:pt x="1" y="2"/>
                </a:moveTo>
                <a:lnTo>
                  <a:pt x="2" y="3"/>
                </a:lnTo>
                <a:lnTo>
                  <a:pt x="8" y="2"/>
                </a:lnTo>
                <a:lnTo>
                  <a:pt x="10" y="0"/>
                </a:lnTo>
                <a:lnTo>
                  <a:pt x="16" y="5"/>
                </a:lnTo>
                <a:lnTo>
                  <a:pt x="16" y="6"/>
                </a:lnTo>
                <a:lnTo>
                  <a:pt x="17" y="6"/>
                </a:lnTo>
                <a:lnTo>
                  <a:pt x="18" y="9"/>
                </a:lnTo>
                <a:lnTo>
                  <a:pt x="17" y="13"/>
                </a:lnTo>
                <a:lnTo>
                  <a:pt x="14" y="14"/>
                </a:lnTo>
                <a:lnTo>
                  <a:pt x="12" y="16"/>
                </a:lnTo>
                <a:lnTo>
                  <a:pt x="8" y="14"/>
                </a:lnTo>
                <a:lnTo>
                  <a:pt x="5" y="13"/>
                </a:lnTo>
                <a:lnTo>
                  <a:pt x="2" y="9"/>
                </a:lnTo>
                <a:lnTo>
                  <a:pt x="1" y="6"/>
                </a:lnTo>
                <a:lnTo>
                  <a:pt x="0" y="3"/>
                </a:lnTo>
                <a:lnTo>
                  <a:pt x="0" y="2"/>
                </a:lnTo>
                <a:lnTo>
                  <a:pt x="1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54" name="Freeform 151"/>
          <p:cNvSpPr>
            <a:spLocks/>
          </p:cNvSpPr>
          <p:nvPr/>
        </p:nvSpPr>
        <p:spPr bwMode="auto">
          <a:xfrm>
            <a:off x="9297272" y="4451641"/>
            <a:ext cx="33130" cy="30067"/>
          </a:xfrm>
          <a:custGeom>
            <a:avLst/>
            <a:gdLst/>
            <a:ahLst/>
            <a:cxnLst>
              <a:cxn ang="0">
                <a:pos x="1" y="2"/>
              </a:cxn>
              <a:cxn ang="0">
                <a:pos x="2" y="3"/>
              </a:cxn>
              <a:cxn ang="0">
                <a:pos x="8" y="2"/>
              </a:cxn>
              <a:cxn ang="0">
                <a:pos x="10" y="0"/>
              </a:cxn>
              <a:cxn ang="0">
                <a:pos x="16" y="5"/>
              </a:cxn>
              <a:cxn ang="0">
                <a:pos x="16" y="6"/>
              </a:cxn>
              <a:cxn ang="0">
                <a:pos x="17" y="6"/>
              </a:cxn>
              <a:cxn ang="0">
                <a:pos x="18" y="9"/>
              </a:cxn>
              <a:cxn ang="0">
                <a:pos x="17" y="13"/>
              </a:cxn>
              <a:cxn ang="0">
                <a:pos x="14" y="14"/>
              </a:cxn>
              <a:cxn ang="0">
                <a:pos x="12" y="16"/>
              </a:cxn>
              <a:cxn ang="0">
                <a:pos x="8" y="14"/>
              </a:cxn>
              <a:cxn ang="0">
                <a:pos x="5" y="13"/>
              </a:cxn>
              <a:cxn ang="0">
                <a:pos x="2" y="9"/>
              </a:cxn>
              <a:cxn ang="0">
                <a:pos x="1" y="6"/>
              </a:cxn>
              <a:cxn ang="0">
                <a:pos x="0" y="3"/>
              </a:cxn>
              <a:cxn ang="0">
                <a:pos x="0" y="2"/>
              </a:cxn>
              <a:cxn ang="0">
                <a:pos x="1" y="2"/>
              </a:cxn>
            </a:cxnLst>
            <a:rect l="0" t="0" r="r" b="b"/>
            <a:pathLst>
              <a:path w="18" h="16">
                <a:moveTo>
                  <a:pt x="1" y="2"/>
                </a:moveTo>
                <a:lnTo>
                  <a:pt x="2" y="3"/>
                </a:lnTo>
                <a:lnTo>
                  <a:pt x="8" y="2"/>
                </a:lnTo>
                <a:lnTo>
                  <a:pt x="10" y="0"/>
                </a:lnTo>
                <a:lnTo>
                  <a:pt x="16" y="5"/>
                </a:lnTo>
                <a:lnTo>
                  <a:pt x="16" y="6"/>
                </a:lnTo>
                <a:lnTo>
                  <a:pt x="17" y="6"/>
                </a:lnTo>
                <a:lnTo>
                  <a:pt x="18" y="9"/>
                </a:lnTo>
                <a:lnTo>
                  <a:pt x="17" y="13"/>
                </a:lnTo>
                <a:lnTo>
                  <a:pt x="14" y="14"/>
                </a:lnTo>
                <a:lnTo>
                  <a:pt x="12" y="16"/>
                </a:lnTo>
                <a:lnTo>
                  <a:pt x="8" y="14"/>
                </a:lnTo>
                <a:lnTo>
                  <a:pt x="5" y="13"/>
                </a:lnTo>
                <a:lnTo>
                  <a:pt x="2" y="9"/>
                </a:lnTo>
                <a:lnTo>
                  <a:pt x="1" y="6"/>
                </a:lnTo>
                <a:lnTo>
                  <a:pt x="0" y="3"/>
                </a:lnTo>
                <a:lnTo>
                  <a:pt x="0" y="2"/>
                </a:lnTo>
                <a:lnTo>
                  <a:pt x="1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55" name="Freeform 152"/>
          <p:cNvSpPr>
            <a:spLocks/>
          </p:cNvSpPr>
          <p:nvPr/>
        </p:nvSpPr>
        <p:spPr bwMode="auto">
          <a:xfrm>
            <a:off x="9281681" y="4213255"/>
            <a:ext cx="3898" cy="1288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1"/>
              </a:cxn>
              <a:cxn ang="0">
                <a:pos x="2" y="6"/>
              </a:cxn>
              <a:cxn ang="0">
                <a:pos x="0" y="0"/>
              </a:cxn>
            </a:cxnLst>
            <a:rect l="0" t="0" r="r" b="b"/>
            <a:pathLst>
              <a:path w="2" h="6">
                <a:moveTo>
                  <a:pt x="0" y="0"/>
                </a:moveTo>
                <a:lnTo>
                  <a:pt x="1" y="1"/>
                </a:lnTo>
                <a:lnTo>
                  <a:pt x="2" y="6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56" name="Freeform 153"/>
          <p:cNvSpPr>
            <a:spLocks/>
          </p:cNvSpPr>
          <p:nvPr/>
        </p:nvSpPr>
        <p:spPr bwMode="auto">
          <a:xfrm>
            <a:off x="9281681" y="4213255"/>
            <a:ext cx="3898" cy="1288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1"/>
              </a:cxn>
              <a:cxn ang="0">
                <a:pos x="2" y="6"/>
              </a:cxn>
              <a:cxn ang="0">
                <a:pos x="0" y="0"/>
              </a:cxn>
            </a:cxnLst>
            <a:rect l="0" t="0" r="r" b="b"/>
            <a:pathLst>
              <a:path w="2" h="6">
                <a:moveTo>
                  <a:pt x="0" y="0"/>
                </a:moveTo>
                <a:lnTo>
                  <a:pt x="1" y="1"/>
                </a:lnTo>
                <a:lnTo>
                  <a:pt x="2" y="6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57" name="Freeform 154"/>
          <p:cNvSpPr>
            <a:spLocks/>
          </p:cNvSpPr>
          <p:nvPr/>
        </p:nvSpPr>
        <p:spPr bwMode="auto">
          <a:xfrm>
            <a:off x="9320658" y="4185337"/>
            <a:ext cx="1949" cy="1503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0"/>
              </a:cxn>
              <a:cxn ang="0">
                <a:pos x="1" y="2"/>
              </a:cxn>
              <a:cxn ang="0">
                <a:pos x="1" y="5"/>
              </a:cxn>
              <a:cxn ang="0">
                <a:pos x="1" y="8"/>
              </a:cxn>
              <a:cxn ang="0">
                <a:pos x="0" y="8"/>
              </a:cxn>
              <a:cxn ang="0">
                <a:pos x="0" y="0"/>
              </a:cxn>
            </a:cxnLst>
            <a:rect l="0" t="0" r="r" b="b"/>
            <a:pathLst>
              <a:path w="1" h="8">
                <a:moveTo>
                  <a:pt x="0" y="0"/>
                </a:moveTo>
                <a:lnTo>
                  <a:pt x="1" y="0"/>
                </a:lnTo>
                <a:lnTo>
                  <a:pt x="1" y="2"/>
                </a:lnTo>
                <a:lnTo>
                  <a:pt x="1" y="5"/>
                </a:lnTo>
                <a:lnTo>
                  <a:pt x="1" y="8"/>
                </a:lnTo>
                <a:lnTo>
                  <a:pt x="0" y="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58" name="Freeform 155"/>
          <p:cNvSpPr>
            <a:spLocks/>
          </p:cNvSpPr>
          <p:nvPr/>
        </p:nvSpPr>
        <p:spPr bwMode="auto">
          <a:xfrm>
            <a:off x="9320658" y="4185337"/>
            <a:ext cx="1949" cy="1503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0"/>
              </a:cxn>
              <a:cxn ang="0">
                <a:pos x="1" y="2"/>
              </a:cxn>
              <a:cxn ang="0">
                <a:pos x="1" y="5"/>
              </a:cxn>
              <a:cxn ang="0">
                <a:pos x="1" y="8"/>
              </a:cxn>
              <a:cxn ang="0">
                <a:pos x="0" y="8"/>
              </a:cxn>
              <a:cxn ang="0">
                <a:pos x="0" y="0"/>
              </a:cxn>
            </a:cxnLst>
            <a:rect l="0" t="0" r="r" b="b"/>
            <a:pathLst>
              <a:path w="1" h="8">
                <a:moveTo>
                  <a:pt x="0" y="0"/>
                </a:moveTo>
                <a:lnTo>
                  <a:pt x="1" y="0"/>
                </a:lnTo>
                <a:lnTo>
                  <a:pt x="1" y="2"/>
                </a:lnTo>
                <a:lnTo>
                  <a:pt x="1" y="5"/>
                </a:lnTo>
                <a:lnTo>
                  <a:pt x="1" y="8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59" name="Freeform 156"/>
          <p:cNvSpPr>
            <a:spLocks/>
          </p:cNvSpPr>
          <p:nvPr/>
        </p:nvSpPr>
        <p:spPr bwMode="auto">
          <a:xfrm>
            <a:off x="9361584" y="4249766"/>
            <a:ext cx="11693" cy="21476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6" y="4"/>
              </a:cxn>
              <a:cxn ang="0">
                <a:pos x="6" y="5"/>
              </a:cxn>
              <a:cxn ang="0">
                <a:pos x="6" y="7"/>
              </a:cxn>
              <a:cxn ang="0">
                <a:pos x="4" y="11"/>
              </a:cxn>
              <a:cxn ang="0">
                <a:pos x="2" y="11"/>
              </a:cxn>
              <a:cxn ang="0">
                <a:pos x="0" y="7"/>
              </a:cxn>
              <a:cxn ang="0">
                <a:pos x="0" y="4"/>
              </a:cxn>
              <a:cxn ang="0">
                <a:pos x="2" y="2"/>
              </a:cxn>
              <a:cxn ang="0">
                <a:pos x="4" y="0"/>
              </a:cxn>
            </a:cxnLst>
            <a:rect l="0" t="0" r="r" b="b"/>
            <a:pathLst>
              <a:path w="6" h="11">
                <a:moveTo>
                  <a:pt x="4" y="0"/>
                </a:moveTo>
                <a:lnTo>
                  <a:pt x="6" y="4"/>
                </a:lnTo>
                <a:lnTo>
                  <a:pt x="6" y="5"/>
                </a:lnTo>
                <a:lnTo>
                  <a:pt x="6" y="7"/>
                </a:lnTo>
                <a:lnTo>
                  <a:pt x="4" y="11"/>
                </a:lnTo>
                <a:lnTo>
                  <a:pt x="2" y="11"/>
                </a:lnTo>
                <a:lnTo>
                  <a:pt x="0" y="7"/>
                </a:lnTo>
                <a:lnTo>
                  <a:pt x="0" y="4"/>
                </a:lnTo>
                <a:lnTo>
                  <a:pt x="2" y="2"/>
                </a:lnTo>
                <a:lnTo>
                  <a:pt x="4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60" name="Freeform 157"/>
          <p:cNvSpPr>
            <a:spLocks/>
          </p:cNvSpPr>
          <p:nvPr/>
        </p:nvSpPr>
        <p:spPr bwMode="auto">
          <a:xfrm>
            <a:off x="9361584" y="4249766"/>
            <a:ext cx="11693" cy="21476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6" y="4"/>
              </a:cxn>
              <a:cxn ang="0">
                <a:pos x="6" y="5"/>
              </a:cxn>
              <a:cxn ang="0">
                <a:pos x="6" y="7"/>
              </a:cxn>
              <a:cxn ang="0">
                <a:pos x="4" y="11"/>
              </a:cxn>
              <a:cxn ang="0">
                <a:pos x="2" y="11"/>
              </a:cxn>
              <a:cxn ang="0">
                <a:pos x="0" y="7"/>
              </a:cxn>
              <a:cxn ang="0">
                <a:pos x="0" y="4"/>
              </a:cxn>
              <a:cxn ang="0">
                <a:pos x="2" y="2"/>
              </a:cxn>
              <a:cxn ang="0">
                <a:pos x="4" y="0"/>
              </a:cxn>
            </a:cxnLst>
            <a:rect l="0" t="0" r="r" b="b"/>
            <a:pathLst>
              <a:path w="6" h="11">
                <a:moveTo>
                  <a:pt x="4" y="0"/>
                </a:moveTo>
                <a:lnTo>
                  <a:pt x="6" y="4"/>
                </a:lnTo>
                <a:lnTo>
                  <a:pt x="6" y="5"/>
                </a:lnTo>
                <a:lnTo>
                  <a:pt x="6" y="7"/>
                </a:lnTo>
                <a:lnTo>
                  <a:pt x="4" y="11"/>
                </a:lnTo>
                <a:lnTo>
                  <a:pt x="2" y="11"/>
                </a:lnTo>
                <a:lnTo>
                  <a:pt x="0" y="7"/>
                </a:lnTo>
                <a:lnTo>
                  <a:pt x="0" y="4"/>
                </a:lnTo>
                <a:lnTo>
                  <a:pt x="2" y="2"/>
                </a:lnTo>
                <a:lnTo>
                  <a:pt x="4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61" name="Freeform 158"/>
          <p:cNvSpPr>
            <a:spLocks/>
          </p:cNvSpPr>
          <p:nvPr/>
        </p:nvSpPr>
        <p:spPr bwMode="auto">
          <a:xfrm>
            <a:off x="9338197" y="4264798"/>
            <a:ext cx="37026" cy="109529"/>
          </a:xfrm>
          <a:custGeom>
            <a:avLst/>
            <a:gdLst/>
            <a:ahLst/>
            <a:cxnLst>
              <a:cxn ang="0">
                <a:pos x="8" y="0"/>
              </a:cxn>
              <a:cxn ang="0">
                <a:pos x="9" y="0"/>
              </a:cxn>
              <a:cxn ang="0">
                <a:pos x="9" y="2"/>
              </a:cxn>
              <a:cxn ang="0">
                <a:pos x="8" y="5"/>
              </a:cxn>
              <a:cxn ang="0">
                <a:pos x="7" y="5"/>
              </a:cxn>
              <a:cxn ang="0">
                <a:pos x="7" y="7"/>
              </a:cxn>
              <a:cxn ang="0">
                <a:pos x="8" y="8"/>
              </a:cxn>
              <a:cxn ang="0">
                <a:pos x="9" y="11"/>
              </a:cxn>
              <a:cxn ang="0">
                <a:pos x="9" y="14"/>
              </a:cxn>
              <a:cxn ang="0">
                <a:pos x="9" y="18"/>
              </a:cxn>
              <a:cxn ang="0">
                <a:pos x="5" y="21"/>
              </a:cxn>
              <a:cxn ang="0">
                <a:pos x="4" y="24"/>
              </a:cxn>
              <a:cxn ang="0">
                <a:pos x="5" y="24"/>
              </a:cxn>
              <a:cxn ang="0">
                <a:pos x="8" y="22"/>
              </a:cxn>
              <a:cxn ang="0">
                <a:pos x="9" y="21"/>
              </a:cxn>
              <a:cxn ang="0">
                <a:pos x="12" y="14"/>
              </a:cxn>
              <a:cxn ang="0">
                <a:pos x="15" y="13"/>
              </a:cxn>
              <a:cxn ang="0">
                <a:pos x="19" y="13"/>
              </a:cxn>
              <a:cxn ang="0">
                <a:pos x="20" y="16"/>
              </a:cxn>
              <a:cxn ang="0">
                <a:pos x="20" y="21"/>
              </a:cxn>
              <a:cxn ang="0">
                <a:pos x="13" y="25"/>
              </a:cxn>
              <a:cxn ang="0">
                <a:pos x="13" y="27"/>
              </a:cxn>
              <a:cxn ang="0">
                <a:pos x="19" y="30"/>
              </a:cxn>
              <a:cxn ang="0">
                <a:pos x="19" y="32"/>
              </a:cxn>
              <a:cxn ang="0">
                <a:pos x="20" y="33"/>
              </a:cxn>
              <a:cxn ang="0">
                <a:pos x="21" y="35"/>
              </a:cxn>
              <a:cxn ang="0">
                <a:pos x="19" y="35"/>
              </a:cxn>
              <a:cxn ang="0">
                <a:pos x="16" y="33"/>
              </a:cxn>
              <a:cxn ang="0">
                <a:pos x="12" y="32"/>
              </a:cxn>
              <a:cxn ang="0">
                <a:pos x="9" y="32"/>
              </a:cxn>
              <a:cxn ang="0">
                <a:pos x="8" y="33"/>
              </a:cxn>
              <a:cxn ang="0">
                <a:pos x="8" y="38"/>
              </a:cxn>
              <a:cxn ang="0">
                <a:pos x="8" y="44"/>
              </a:cxn>
              <a:cxn ang="0">
                <a:pos x="9" y="47"/>
              </a:cxn>
              <a:cxn ang="0">
                <a:pos x="12" y="51"/>
              </a:cxn>
              <a:cxn ang="0">
                <a:pos x="15" y="55"/>
              </a:cxn>
              <a:cxn ang="0">
                <a:pos x="13" y="55"/>
              </a:cxn>
              <a:cxn ang="0">
                <a:pos x="11" y="52"/>
              </a:cxn>
              <a:cxn ang="0">
                <a:pos x="5" y="44"/>
              </a:cxn>
              <a:cxn ang="0">
                <a:pos x="4" y="35"/>
              </a:cxn>
              <a:cxn ang="0">
                <a:pos x="3" y="30"/>
              </a:cxn>
              <a:cxn ang="0">
                <a:pos x="3" y="25"/>
              </a:cxn>
              <a:cxn ang="0">
                <a:pos x="3" y="24"/>
              </a:cxn>
              <a:cxn ang="0">
                <a:pos x="1" y="22"/>
              </a:cxn>
              <a:cxn ang="0">
                <a:pos x="0" y="19"/>
              </a:cxn>
              <a:cxn ang="0">
                <a:pos x="0" y="16"/>
              </a:cxn>
              <a:cxn ang="0">
                <a:pos x="3" y="8"/>
              </a:cxn>
              <a:cxn ang="0">
                <a:pos x="4" y="5"/>
              </a:cxn>
              <a:cxn ang="0">
                <a:pos x="8" y="0"/>
              </a:cxn>
            </a:cxnLst>
            <a:rect l="0" t="0" r="r" b="b"/>
            <a:pathLst>
              <a:path w="21" h="55">
                <a:moveTo>
                  <a:pt x="8" y="0"/>
                </a:moveTo>
                <a:lnTo>
                  <a:pt x="9" y="0"/>
                </a:lnTo>
                <a:lnTo>
                  <a:pt x="9" y="2"/>
                </a:lnTo>
                <a:lnTo>
                  <a:pt x="8" y="5"/>
                </a:lnTo>
                <a:lnTo>
                  <a:pt x="7" y="5"/>
                </a:lnTo>
                <a:lnTo>
                  <a:pt x="7" y="7"/>
                </a:lnTo>
                <a:lnTo>
                  <a:pt x="8" y="8"/>
                </a:lnTo>
                <a:lnTo>
                  <a:pt x="9" y="11"/>
                </a:lnTo>
                <a:lnTo>
                  <a:pt x="9" y="14"/>
                </a:lnTo>
                <a:lnTo>
                  <a:pt x="9" y="18"/>
                </a:lnTo>
                <a:lnTo>
                  <a:pt x="5" y="21"/>
                </a:lnTo>
                <a:lnTo>
                  <a:pt x="4" y="24"/>
                </a:lnTo>
                <a:lnTo>
                  <a:pt x="5" y="24"/>
                </a:lnTo>
                <a:lnTo>
                  <a:pt x="8" y="22"/>
                </a:lnTo>
                <a:lnTo>
                  <a:pt x="9" y="21"/>
                </a:lnTo>
                <a:lnTo>
                  <a:pt x="12" y="14"/>
                </a:lnTo>
                <a:lnTo>
                  <a:pt x="15" y="13"/>
                </a:lnTo>
                <a:lnTo>
                  <a:pt x="19" y="13"/>
                </a:lnTo>
                <a:lnTo>
                  <a:pt x="20" y="16"/>
                </a:lnTo>
                <a:lnTo>
                  <a:pt x="20" y="21"/>
                </a:lnTo>
                <a:lnTo>
                  <a:pt x="13" y="25"/>
                </a:lnTo>
                <a:lnTo>
                  <a:pt x="13" y="27"/>
                </a:lnTo>
                <a:lnTo>
                  <a:pt x="19" y="30"/>
                </a:lnTo>
                <a:lnTo>
                  <a:pt x="19" y="32"/>
                </a:lnTo>
                <a:lnTo>
                  <a:pt x="20" y="33"/>
                </a:lnTo>
                <a:lnTo>
                  <a:pt x="21" y="35"/>
                </a:lnTo>
                <a:lnTo>
                  <a:pt x="19" y="35"/>
                </a:lnTo>
                <a:lnTo>
                  <a:pt x="16" y="33"/>
                </a:lnTo>
                <a:lnTo>
                  <a:pt x="12" y="32"/>
                </a:lnTo>
                <a:lnTo>
                  <a:pt x="9" y="32"/>
                </a:lnTo>
                <a:lnTo>
                  <a:pt x="8" y="33"/>
                </a:lnTo>
                <a:lnTo>
                  <a:pt x="8" y="38"/>
                </a:lnTo>
                <a:lnTo>
                  <a:pt x="8" y="44"/>
                </a:lnTo>
                <a:lnTo>
                  <a:pt x="9" y="47"/>
                </a:lnTo>
                <a:lnTo>
                  <a:pt x="12" y="51"/>
                </a:lnTo>
                <a:lnTo>
                  <a:pt x="15" y="55"/>
                </a:lnTo>
                <a:lnTo>
                  <a:pt x="13" y="55"/>
                </a:lnTo>
                <a:lnTo>
                  <a:pt x="11" y="52"/>
                </a:lnTo>
                <a:lnTo>
                  <a:pt x="5" y="44"/>
                </a:lnTo>
                <a:lnTo>
                  <a:pt x="4" y="35"/>
                </a:lnTo>
                <a:lnTo>
                  <a:pt x="3" y="30"/>
                </a:lnTo>
                <a:lnTo>
                  <a:pt x="3" y="25"/>
                </a:lnTo>
                <a:lnTo>
                  <a:pt x="3" y="24"/>
                </a:lnTo>
                <a:lnTo>
                  <a:pt x="1" y="22"/>
                </a:lnTo>
                <a:lnTo>
                  <a:pt x="0" y="19"/>
                </a:lnTo>
                <a:lnTo>
                  <a:pt x="0" y="16"/>
                </a:lnTo>
                <a:lnTo>
                  <a:pt x="3" y="8"/>
                </a:lnTo>
                <a:lnTo>
                  <a:pt x="4" y="5"/>
                </a:lnTo>
                <a:lnTo>
                  <a:pt x="8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62" name="Freeform 159"/>
          <p:cNvSpPr>
            <a:spLocks/>
          </p:cNvSpPr>
          <p:nvPr/>
        </p:nvSpPr>
        <p:spPr bwMode="auto">
          <a:xfrm>
            <a:off x="9338197" y="4264798"/>
            <a:ext cx="37026" cy="109529"/>
          </a:xfrm>
          <a:custGeom>
            <a:avLst/>
            <a:gdLst/>
            <a:ahLst/>
            <a:cxnLst>
              <a:cxn ang="0">
                <a:pos x="8" y="0"/>
              </a:cxn>
              <a:cxn ang="0">
                <a:pos x="9" y="0"/>
              </a:cxn>
              <a:cxn ang="0">
                <a:pos x="9" y="2"/>
              </a:cxn>
              <a:cxn ang="0">
                <a:pos x="8" y="5"/>
              </a:cxn>
              <a:cxn ang="0">
                <a:pos x="7" y="5"/>
              </a:cxn>
              <a:cxn ang="0">
                <a:pos x="7" y="7"/>
              </a:cxn>
              <a:cxn ang="0">
                <a:pos x="8" y="8"/>
              </a:cxn>
              <a:cxn ang="0">
                <a:pos x="9" y="11"/>
              </a:cxn>
              <a:cxn ang="0">
                <a:pos x="9" y="14"/>
              </a:cxn>
              <a:cxn ang="0">
                <a:pos x="9" y="18"/>
              </a:cxn>
              <a:cxn ang="0">
                <a:pos x="5" y="21"/>
              </a:cxn>
              <a:cxn ang="0">
                <a:pos x="4" y="24"/>
              </a:cxn>
              <a:cxn ang="0">
                <a:pos x="5" y="24"/>
              </a:cxn>
              <a:cxn ang="0">
                <a:pos x="8" y="22"/>
              </a:cxn>
              <a:cxn ang="0">
                <a:pos x="9" y="21"/>
              </a:cxn>
              <a:cxn ang="0">
                <a:pos x="12" y="14"/>
              </a:cxn>
              <a:cxn ang="0">
                <a:pos x="15" y="13"/>
              </a:cxn>
              <a:cxn ang="0">
                <a:pos x="19" y="13"/>
              </a:cxn>
              <a:cxn ang="0">
                <a:pos x="20" y="16"/>
              </a:cxn>
              <a:cxn ang="0">
                <a:pos x="20" y="21"/>
              </a:cxn>
              <a:cxn ang="0">
                <a:pos x="13" y="25"/>
              </a:cxn>
              <a:cxn ang="0">
                <a:pos x="13" y="27"/>
              </a:cxn>
              <a:cxn ang="0">
                <a:pos x="19" y="30"/>
              </a:cxn>
              <a:cxn ang="0">
                <a:pos x="19" y="32"/>
              </a:cxn>
              <a:cxn ang="0">
                <a:pos x="20" y="33"/>
              </a:cxn>
              <a:cxn ang="0">
                <a:pos x="21" y="35"/>
              </a:cxn>
              <a:cxn ang="0">
                <a:pos x="19" y="35"/>
              </a:cxn>
              <a:cxn ang="0">
                <a:pos x="16" y="33"/>
              </a:cxn>
              <a:cxn ang="0">
                <a:pos x="12" y="32"/>
              </a:cxn>
              <a:cxn ang="0">
                <a:pos x="9" y="32"/>
              </a:cxn>
              <a:cxn ang="0">
                <a:pos x="8" y="33"/>
              </a:cxn>
              <a:cxn ang="0">
                <a:pos x="8" y="38"/>
              </a:cxn>
              <a:cxn ang="0">
                <a:pos x="8" y="44"/>
              </a:cxn>
              <a:cxn ang="0">
                <a:pos x="9" y="47"/>
              </a:cxn>
              <a:cxn ang="0">
                <a:pos x="12" y="51"/>
              </a:cxn>
              <a:cxn ang="0">
                <a:pos x="15" y="55"/>
              </a:cxn>
              <a:cxn ang="0">
                <a:pos x="13" y="55"/>
              </a:cxn>
              <a:cxn ang="0">
                <a:pos x="11" y="52"/>
              </a:cxn>
              <a:cxn ang="0">
                <a:pos x="5" y="44"/>
              </a:cxn>
              <a:cxn ang="0">
                <a:pos x="4" y="35"/>
              </a:cxn>
              <a:cxn ang="0">
                <a:pos x="3" y="30"/>
              </a:cxn>
              <a:cxn ang="0">
                <a:pos x="3" y="25"/>
              </a:cxn>
              <a:cxn ang="0">
                <a:pos x="3" y="24"/>
              </a:cxn>
              <a:cxn ang="0">
                <a:pos x="1" y="22"/>
              </a:cxn>
              <a:cxn ang="0">
                <a:pos x="0" y="19"/>
              </a:cxn>
              <a:cxn ang="0">
                <a:pos x="0" y="16"/>
              </a:cxn>
              <a:cxn ang="0">
                <a:pos x="3" y="8"/>
              </a:cxn>
              <a:cxn ang="0">
                <a:pos x="4" y="5"/>
              </a:cxn>
              <a:cxn ang="0">
                <a:pos x="8" y="0"/>
              </a:cxn>
            </a:cxnLst>
            <a:rect l="0" t="0" r="r" b="b"/>
            <a:pathLst>
              <a:path w="21" h="55">
                <a:moveTo>
                  <a:pt x="8" y="0"/>
                </a:moveTo>
                <a:lnTo>
                  <a:pt x="9" y="0"/>
                </a:lnTo>
                <a:lnTo>
                  <a:pt x="9" y="2"/>
                </a:lnTo>
                <a:lnTo>
                  <a:pt x="8" y="5"/>
                </a:lnTo>
                <a:lnTo>
                  <a:pt x="7" y="5"/>
                </a:lnTo>
                <a:lnTo>
                  <a:pt x="7" y="7"/>
                </a:lnTo>
                <a:lnTo>
                  <a:pt x="8" y="8"/>
                </a:lnTo>
                <a:lnTo>
                  <a:pt x="9" y="11"/>
                </a:lnTo>
                <a:lnTo>
                  <a:pt x="9" y="14"/>
                </a:lnTo>
                <a:lnTo>
                  <a:pt x="9" y="18"/>
                </a:lnTo>
                <a:lnTo>
                  <a:pt x="5" y="21"/>
                </a:lnTo>
                <a:lnTo>
                  <a:pt x="4" y="24"/>
                </a:lnTo>
                <a:lnTo>
                  <a:pt x="5" y="24"/>
                </a:lnTo>
                <a:lnTo>
                  <a:pt x="8" y="22"/>
                </a:lnTo>
                <a:lnTo>
                  <a:pt x="9" y="21"/>
                </a:lnTo>
                <a:lnTo>
                  <a:pt x="12" y="14"/>
                </a:lnTo>
                <a:lnTo>
                  <a:pt x="15" y="13"/>
                </a:lnTo>
                <a:lnTo>
                  <a:pt x="19" y="13"/>
                </a:lnTo>
                <a:lnTo>
                  <a:pt x="20" y="16"/>
                </a:lnTo>
                <a:lnTo>
                  <a:pt x="20" y="21"/>
                </a:lnTo>
                <a:lnTo>
                  <a:pt x="13" y="25"/>
                </a:lnTo>
                <a:lnTo>
                  <a:pt x="13" y="27"/>
                </a:lnTo>
                <a:lnTo>
                  <a:pt x="19" y="30"/>
                </a:lnTo>
                <a:lnTo>
                  <a:pt x="19" y="32"/>
                </a:lnTo>
                <a:lnTo>
                  <a:pt x="20" y="33"/>
                </a:lnTo>
                <a:lnTo>
                  <a:pt x="21" y="35"/>
                </a:lnTo>
                <a:lnTo>
                  <a:pt x="19" y="35"/>
                </a:lnTo>
                <a:lnTo>
                  <a:pt x="16" y="33"/>
                </a:lnTo>
                <a:lnTo>
                  <a:pt x="12" y="32"/>
                </a:lnTo>
                <a:lnTo>
                  <a:pt x="9" y="32"/>
                </a:lnTo>
                <a:lnTo>
                  <a:pt x="8" y="33"/>
                </a:lnTo>
                <a:lnTo>
                  <a:pt x="8" y="38"/>
                </a:lnTo>
                <a:lnTo>
                  <a:pt x="8" y="44"/>
                </a:lnTo>
                <a:lnTo>
                  <a:pt x="9" y="47"/>
                </a:lnTo>
                <a:lnTo>
                  <a:pt x="12" y="51"/>
                </a:lnTo>
                <a:lnTo>
                  <a:pt x="15" y="55"/>
                </a:lnTo>
                <a:lnTo>
                  <a:pt x="13" y="55"/>
                </a:lnTo>
                <a:lnTo>
                  <a:pt x="11" y="52"/>
                </a:lnTo>
                <a:lnTo>
                  <a:pt x="5" y="44"/>
                </a:lnTo>
                <a:lnTo>
                  <a:pt x="4" y="35"/>
                </a:lnTo>
                <a:lnTo>
                  <a:pt x="3" y="30"/>
                </a:lnTo>
                <a:lnTo>
                  <a:pt x="3" y="25"/>
                </a:lnTo>
                <a:lnTo>
                  <a:pt x="3" y="24"/>
                </a:lnTo>
                <a:lnTo>
                  <a:pt x="1" y="22"/>
                </a:lnTo>
                <a:lnTo>
                  <a:pt x="0" y="19"/>
                </a:lnTo>
                <a:lnTo>
                  <a:pt x="0" y="16"/>
                </a:lnTo>
                <a:lnTo>
                  <a:pt x="3" y="8"/>
                </a:lnTo>
                <a:lnTo>
                  <a:pt x="4" y="5"/>
                </a:lnTo>
                <a:lnTo>
                  <a:pt x="8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63" name="Freeform 160"/>
          <p:cNvSpPr>
            <a:spLocks/>
          </p:cNvSpPr>
          <p:nvPr/>
        </p:nvSpPr>
        <p:spPr bwMode="auto">
          <a:xfrm>
            <a:off x="9334298" y="4357145"/>
            <a:ext cx="15591" cy="1718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4" y="1"/>
              </a:cxn>
              <a:cxn ang="0">
                <a:pos x="4" y="5"/>
              </a:cxn>
              <a:cxn ang="0">
                <a:pos x="5" y="6"/>
              </a:cxn>
              <a:cxn ang="0">
                <a:pos x="8" y="8"/>
              </a:cxn>
              <a:cxn ang="0">
                <a:pos x="6" y="9"/>
              </a:cxn>
              <a:cxn ang="0">
                <a:pos x="5" y="8"/>
              </a:cxn>
              <a:cxn ang="0">
                <a:pos x="2" y="8"/>
              </a:cxn>
              <a:cxn ang="0">
                <a:pos x="2" y="6"/>
              </a:cxn>
              <a:cxn ang="0">
                <a:pos x="1" y="5"/>
              </a:cxn>
              <a:cxn ang="0">
                <a:pos x="1" y="1"/>
              </a:cxn>
              <a:cxn ang="0">
                <a:pos x="0" y="0"/>
              </a:cxn>
            </a:cxnLst>
            <a:rect l="0" t="0" r="r" b="b"/>
            <a:pathLst>
              <a:path w="8" h="9">
                <a:moveTo>
                  <a:pt x="0" y="0"/>
                </a:moveTo>
                <a:lnTo>
                  <a:pt x="2" y="0"/>
                </a:lnTo>
                <a:lnTo>
                  <a:pt x="4" y="1"/>
                </a:lnTo>
                <a:lnTo>
                  <a:pt x="4" y="5"/>
                </a:lnTo>
                <a:lnTo>
                  <a:pt x="5" y="6"/>
                </a:lnTo>
                <a:lnTo>
                  <a:pt x="8" y="8"/>
                </a:lnTo>
                <a:lnTo>
                  <a:pt x="6" y="9"/>
                </a:lnTo>
                <a:lnTo>
                  <a:pt x="5" y="8"/>
                </a:lnTo>
                <a:lnTo>
                  <a:pt x="2" y="8"/>
                </a:lnTo>
                <a:lnTo>
                  <a:pt x="2" y="6"/>
                </a:lnTo>
                <a:lnTo>
                  <a:pt x="1" y="5"/>
                </a:lnTo>
                <a:lnTo>
                  <a:pt x="1" y="1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64" name="Freeform 161"/>
          <p:cNvSpPr>
            <a:spLocks/>
          </p:cNvSpPr>
          <p:nvPr/>
        </p:nvSpPr>
        <p:spPr bwMode="auto">
          <a:xfrm>
            <a:off x="9334298" y="4357145"/>
            <a:ext cx="15591" cy="1718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4" y="1"/>
              </a:cxn>
              <a:cxn ang="0">
                <a:pos x="4" y="5"/>
              </a:cxn>
              <a:cxn ang="0">
                <a:pos x="5" y="6"/>
              </a:cxn>
              <a:cxn ang="0">
                <a:pos x="8" y="8"/>
              </a:cxn>
              <a:cxn ang="0">
                <a:pos x="6" y="9"/>
              </a:cxn>
              <a:cxn ang="0">
                <a:pos x="5" y="8"/>
              </a:cxn>
              <a:cxn ang="0">
                <a:pos x="2" y="8"/>
              </a:cxn>
              <a:cxn ang="0">
                <a:pos x="2" y="6"/>
              </a:cxn>
              <a:cxn ang="0">
                <a:pos x="1" y="5"/>
              </a:cxn>
              <a:cxn ang="0">
                <a:pos x="1" y="1"/>
              </a:cxn>
              <a:cxn ang="0">
                <a:pos x="0" y="0"/>
              </a:cxn>
            </a:cxnLst>
            <a:rect l="0" t="0" r="r" b="b"/>
            <a:pathLst>
              <a:path w="8" h="9">
                <a:moveTo>
                  <a:pt x="0" y="0"/>
                </a:moveTo>
                <a:lnTo>
                  <a:pt x="2" y="0"/>
                </a:lnTo>
                <a:lnTo>
                  <a:pt x="4" y="1"/>
                </a:lnTo>
                <a:lnTo>
                  <a:pt x="4" y="5"/>
                </a:lnTo>
                <a:lnTo>
                  <a:pt x="5" y="6"/>
                </a:lnTo>
                <a:lnTo>
                  <a:pt x="8" y="8"/>
                </a:lnTo>
                <a:lnTo>
                  <a:pt x="6" y="9"/>
                </a:lnTo>
                <a:lnTo>
                  <a:pt x="5" y="8"/>
                </a:lnTo>
                <a:lnTo>
                  <a:pt x="2" y="8"/>
                </a:lnTo>
                <a:lnTo>
                  <a:pt x="2" y="6"/>
                </a:lnTo>
                <a:lnTo>
                  <a:pt x="1" y="5"/>
                </a:lnTo>
                <a:lnTo>
                  <a:pt x="1" y="1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65" name="Freeform 162"/>
          <p:cNvSpPr>
            <a:spLocks/>
          </p:cNvSpPr>
          <p:nvPr/>
        </p:nvSpPr>
        <p:spPr bwMode="auto">
          <a:xfrm>
            <a:off x="9338197" y="4389358"/>
            <a:ext cx="21437" cy="17181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1" y="2"/>
              </a:cxn>
              <a:cxn ang="0">
                <a:pos x="3" y="0"/>
              </a:cxn>
              <a:cxn ang="0">
                <a:pos x="5" y="2"/>
              </a:cxn>
              <a:cxn ang="0">
                <a:pos x="11" y="3"/>
              </a:cxn>
              <a:cxn ang="0">
                <a:pos x="12" y="5"/>
              </a:cxn>
              <a:cxn ang="0">
                <a:pos x="11" y="6"/>
              </a:cxn>
              <a:cxn ang="0">
                <a:pos x="4" y="6"/>
              </a:cxn>
              <a:cxn ang="0">
                <a:pos x="1" y="8"/>
              </a:cxn>
              <a:cxn ang="0">
                <a:pos x="0" y="6"/>
              </a:cxn>
              <a:cxn ang="0">
                <a:pos x="0" y="3"/>
              </a:cxn>
              <a:cxn ang="0">
                <a:pos x="0" y="2"/>
              </a:cxn>
            </a:cxnLst>
            <a:rect l="0" t="0" r="r" b="b"/>
            <a:pathLst>
              <a:path w="12" h="8">
                <a:moveTo>
                  <a:pt x="0" y="2"/>
                </a:moveTo>
                <a:lnTo>
                  <a:pt x="1" y="2"/>
                </a:lnTo>
                <a:lnTo>
                  <a:pt x="3" y="0"/>
                </a:lnTo>
                <a:lnTo>
                  <a:pt x="5" y="2"/>
                </a:lnTo>
                <a:lnTo>
                  <a:pt x="11" y="3"/>
                </a:lnTo>
                <a:lnTo>
                  <a:pt x="12" y="5"/>
                </a:lnTo>
                <a:lnTo>
                  <a:pt x="11" y="6"/>
                </a:lnTo>
                <a:lnTo>
                  <a:pt x="4" y="6"/>
                </a:lnTo>
                <a:lnTo>
                  <a:pt x="1" y="8"/>
                </a:lnTo>
                <a:lnTo>
                  <a:pt x="0" y="6"/>
                </a:lnTo>
                <a:lnTo>
                  <a:pt x="0" y="3"/>
                </a:lnTo>
                <a:lnTo>
                  <a:pt x="0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66" name="Freeform 163"/>
          <p:cNvSpPr>
            <a:spLocks/>
          </p:cNvSpPr>
          <p:nvPr/>
        </p:nvSpPr>
        <p:spPr bwMode="auto">
          <a:xfrm>
            <a:off x="9338197" y="4389358"/>
            <a:ext cx="21437" cy="17181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1" y="2"/>
              </a:cxn>
              <a:cxn ang="0">
                <a:pos x="3" y="0"/>
              </a:cxn>
              <a:cxn ang="0">
                <a:pos x="5" y="2"/>
              </a:cxn>
              <a:cxn ang="0">
                <a:pos x="11" y="3"/>
              </a:cxn>
              <a:cxn ang="0">
                <a:pos x="12" y="5"/>
              </a:cxn>
              <a:cxn ang="0">
                <a:pos x="11" y="6"/>
              </a:cxn>
              <a:cxn ang="0">
                <a:pos x="4" y="6"/>
              </a:cxn>
              <a:cxn ang="0">
                <a:pos x="1" y="8"/>
              </a:cxn>
              <a:cxn ang="0">
                <a:pos x="0" y="6"/>
              </a:cxn>
              <a:cxn ang="0">
                <a:pos x="0" y="3"/>
              </a:cxn>
              <a:cxn ang="0">
                <a:pos x="0" y="2"/>
              </a:cxn>
            </a:cxnLst>
            <a:rect l="0" t="0" r="r" b="b"/>
            <a:pathLst>
              <a:path w="12" h="8">
                <a:moveTo>
                  <a:pt x="0" y="2"/>
                </a:moveTo>
                <a:lnTo>
                  <a:pt x="1" y="2"/>
                </a:lnTo>
                <a:lnTo>
                  <a:pt x="3" y="0"/>
                </a:lnTo>
                <a:lnTo>
                  <a:pt x="5" y="2"/>
                </a:lnTo>
                <a:lnTo>
                  <a:pt x="11" y="3"/>
                </a:lnTo>
                <a:lnTo>
                  <a:pt x="12" y="5"/>
                </a:lnTo>
                <a:lnTo>
                  <a:pt x="11" y="6"/>
                </a:lnTo>
                <a:lnTo>
                  <a:pt x="4" y="6"/>
                </a:lnTo>
                <a:lnTo>
                  <a:pt x="1" y="8"/>
                </a:lnTo>
                <a:lnTo>
                  <a:pt x="0" y="6"/>
                </a:lnTo>
                <a:lnTo>
                  <a:pt x="0" y="3"/>
                </a:lnTo>
                <a:lnTo>
                  <a:pt x="0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67" name="Freeform 164"/>
          <p:cNvSpPr>
            <a:spLocks/>
          </p:cNvSpPr>
          <p:nvPr/>
        </p:nvSpPr>
        <p:spPr bwMode="auto">
          <a:xfrm>
            <a:off x="9353788" y="4466673"/>
            <a:ext cx="7795" cy="10739"/>
          </a:xfrm>
          <a:custGeom>
            <a:avLst/>
            <a:gdLst/>
            <a:ahLst/>
            <a:cxnLst>
              <a:cxn ang="0">
                <a:pos x="0" y="5"/>
              </a:cxn>
              <a:cxn ang="0">
                <a:pos x="0" y="4"/>
              </a:cxn>
              <a:cxn ang="0">
                <a:pos x="0" y="2"/>
              </a:cxn>
              <a:cxn ang="0">
                <a:pos x="3" y="2"/>
              </a:cxn>
              <a:cxn ang="0">
                <a:pos x="3" y="0"/>
              </a:cxn>
              <a:cxn ang="0">
                <a:pos x="4" y="0"/>
              </a:cxn>
              <a:cxn ang="0">
                <a:pos x="4" y="4"/>
              </a:cxn>
              <a:cxn ang="0">
                <a:pos x="4" y="5"/>
              </a:cxn>
              <a:cxn ang="0">
                <a:pos x="3" y="5"/>
              </a:cxn>
              <a:cxn ang="0">
                <a:pos x="0" y="5"/>
              </a:cxn>
            </a:cxnLst>
            <a:rect l="0" t="0" r="r" b="b"/>
            <a:pathLst>
              <a:path w="4" h="5">
                <a:moveTo>
                  <a:pt x="0" y="5"/>
                </a:moveTo>
                <a:lnTo>
                  <a:pt x="0" y="4"/>
                </a:lnTo>
                <a:lnTo>
                  <a:pt x="0" y="2"/>
                </a:lnTo>
                <a:lnTo>
                  <a:pt x="3" y="2"/>
                </a:lnTo>
                <a:lnTo>
                  <a:pt x="3" y="0"/>
                </a:lnTo>
                <a:lnTo>
                  <a:pt x="4" y="0"/>
                </a:lnTo>
                <a:lnTo>
                  <a:pt x="4" y="4"/>
                </a:lnTo>
                <a:lnTo>
                  <a:pt x="4" y="5"/>
                </a:lnTo>
                <a:lnTo>
                  <a:pt x="3" y="5"/>
                </a:lnTo>
                <a:lnTo>
                  <a:pt x="0" y="5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68" name="Freeform 165"/>
          <p:cNvSpPr>
            <a:spLocks/>
          </p:cNvSpPr>
          <p:nvPr/>
        </p:nvSpPr>
        <p:spPr bwMode="auto">
          <a:xfrm>
            <a:off x="9353788" y="4466673"/>
            <a:ext cx="7795" cy="10739"/>
          </a:xfrm>
          <a:custGeom>
            <a:avLst/>
            <a:gdLst/>
            <a:ahLst/>
            <a:cxnLst>
              <a:cxn ang="0">
                <a:pos x="0" y="5"/>
              </a:cxn>
              <a:cxn ang="0">
                <a:pos x="0" y="4"/>
              </a:cxn>
              <a:cxn ang="0">
                <a:pos x="0" y="2"/>
              </a:cxn>
              <a:cxn ang="0">
                <a:pos x="3" y="2"/>
              </a:cxn>
              <a:cxn ang="0">
                <a:pos x="3" y="0"/>
              </a:cxn>
              <a:cxn ang="0">
                <a:pos x="4" y="0"/>
              </a:cxn>
              <a:cxn ang="0">
                <a:pos x="4" y="4"/>
              </a:cxn>
              <a:cxn ang="0">
                <a:pos x="4" y="5"/>
              </a:cxn>
              <a:cxn ang="0">
                <a:pos x="3" y="5"/>
              </a:cxn>
              <a:cxn ang="0">
                <a:pos x="0" y="5"/>
              </a:cxn>
            </a:cxnLst>
            <a:rect l="0" t="0" r="r" b="b"/>
            <a:pathLst>
              <a:path w="4" h="5">
                <a:moveTo>
                  <a:pt x="0" y="5"/>
                </a:moveTo>
                <a:lnTo>
                  <a:pt x="0" y="4"/>
                </a:lnTo>
                <a:lnTo>
                  <a:pt x="0" y="2"/>
                </a:lnTo>
                <a:lnTo>
                  <a:pt x="3" y="2"/>
                </a:lnTo>
                <a:lnTo>
                  <a:pt x="3" y="0"/>
                </a:lnTo>
                <a:lnTo>
                  <a:pt x="4" y="0"/>
                </a:lnTo>
                <a:lnTo>
                  <a:pt x="4" y="4"/>
                </a:lnTo>
                <a:lnTo>
                  <a:pt x="4" y="5"/>
                </a:lnTo>
                <a:lnTo>
                  <a:pt x="3" y="5"/>
                </a:lnTo>
                <a:lnTo>
                  <a:pt x="0" y="5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69" name="Freeform 166"/>
          <p:cNvSpPr>
            <a:spLocks/>
          </p:cNvSpPr>
          <p:nvPr/>
        </p:nvSpPr>
        <p:spPr bwMode="auto">
          <a:xfrm>
            <a:off x="9568159" y="4367884"/>
            <a:ext cx="25333" cy="21476"/>
          </a:xfrm>
          <a:custGeom>
            <a:avLst/>
            <a:gdLst/>
            <a:ahLst/>
            <a:cxnLst>
              <a:cxn ang="0">
                <a:pos x="1" y="2"/>
              </a:cxn>
              <a:cxn ang="0">
                <a:pos x="0" y="0"/>
              </a:cxn>
              <a:cxn ang="0">
                <a:pos x="1" y="0"/>
              </a:cxn>
              <a:cxn ang="0">
                <a:pos x="4" y="0"/>
              </a:cxn>
              <a:cxn ang="0">
                <a:pos x="7" y="2"/>
              </a:cxn>
              <a:cxn ang="0">
                <a:pos x="9" y="2"/>
              </a:cxn>
              <a:cxn ang="0">
                <a:pos x="11" y="5"/>
              </a:cxn>
              <a:cxn ang="0">
                <a:pos x="13" y="8"/>
              </a:cxn>
              <a:cxn ang="0">
                <a:pos x="12" y="8"/>
              </a:cxn>
              <a:cxn ang="0">
                <a:pos x="9" y="10"/>
              </a:cxn>
              <a:cxn ang="0">
                <a:pos x="8" y="8"/>
              </a:cxn>
              <a:cxn ang="0">
                <a:pos x="7" y="6"/>
              </a:cxn>
              <a:cxn ang="0">
                <a:pos x="5" y="3"/>
              </a:cxn>
              <a:cxn ang="0">
                <a:pos x="3" y="2"/>
              </a:cxn>
              <a:cxn ang="0">
                <a:pos x="1" y="2"/>
              </a:cxn>
            </a:cxnLst>
            <a:rect l="0" t="0" r="r" b="b"/>
            <a:pathLst>
              <a:path w="13" h="10">
                <a:moveTo>
                  <a:pt x="1" y="2"/>
                </a:moveTo>
                <a:lnTo>
                  <a:pt x="0" y="0"/>
                </a:lnTo>
                <a:lnTo>
                  <a:pt x="1" y="0"/>
                </a:lnTo>
                <a:lnTo>
                  <a:pt x="4" y="0"/>
                </a:lnTo>
                <a:lnTo>
                  <a:pt x="7" y="2"/>
                </a:lnTo>
                <a:lnTo>
                  <a:pt x="9" y="2"/>
                </a:lnTo>
                <a:lnTo>
                  <a:pt x="11" y="5"/>
                </a:lnTo>
                <a:lnTo>
                  <a:pt x="13" y="8"/>
                </a:lnTo>
                <a:lnTo>
                  <a:pt x="12" y="8"/>
                </a:lnTo>
                <a:lnTo>
                  <a:pt x="9" y="10"/>
                </a:lnTo>
                <a:lnTo>
                  <a:pt x="8" y="8"/>
                </a:lnTo>
                <a:lnTo>
                  <a:pt x="7" y="6"/>
                </a:lnTo>
                <a:lnTo>
                  <a:pt x="5" y="3"/>
                </a:lnTo>
                <a:lnTo>
                  <a:pt x="3" y="2"/>
                </a:lnTo>
                <a:lnTo>
                  <a:pt x="1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70" name="Freeform 167"/>
          <p:cNvSpPr>
            <a:spLocks/>
          </p:cNvSpPr>
          <p:nvPr/>
        </p:nvSpPr>
        <p:spPr bwMode="auto">
          <a:xfrm>
            <a:off x="9568159" y="4367884"/>
            <a:ext cx="25333" cy="21476"/>
          </a:xfrm>
          <a:custGeom>
            <a:avLst/>
            <a:gdLst/>
            <a:ahLst/>
            <a:cxnLst>
              <a:cxn ang="0">
                <a:pos x="1" y="2"/>
              </a:cxn>
              <a:cxn ang="0">
                <a:pos x="0" y="0"/>
              </a:cxn>
              <a:cxn ang="0">
                <a:pos x="1" y="0"/>
              </a:cxn>
              <a:cxn ang="0">
                <a:pos x="4" y="0"/>
              </a:cxn>
              <a:cxn ang="0">
                <a:pos x="7" y="2"/>
              </a:cxn>
              <a:cxn ang="0">
                <a:pos x="9" y="2"/>
              </a:cxn>
              <a:cxn ang="0">
                <a:pos x="11" y="5"/>
              </a:cxn>
              <a:cxn ang="0">
                <a:pos x="13" y="8"/>
              </a:cxn>
              <a:cxn ang="0">
                <a:pos x="12" y="8"/>
              </a:cxn>
              <a:cxn ang="0">
                <a:pos x="9" y="10"/>
              </a:cxn>
              <a:cxn ang="0">
                <a:pos x="8" y="8"/>
              </a:cxn>
              <a:cxn ang="0">
                <a:pos x="7" y="6"/>
              </a:cxn>
              <a:cxn ang="0">
                <a:pos x="5" y="3"/>
              </a:cxn>
              <a:cxn ang="0">
                <a:pos x="3" y="2"/>
              </a:cxn>
              <a:cxn ang="0">
                <a:pos x="1" y="2"/>
              </a:cxn>
            </a:cxnLst>
            <a:rect l="0" t="0" r="r" b="b"/>
            <a:pathLst>
              <a:path w="13" h="10">
                <a:moveTo>
                  <a:pt x="1" y="2"/>
                </a:moveTo>
                <a:lnTo>
                  <a:pt x="0" y="0"/>
                </a:lnTo>
                <a:lnTo>
                  <a:pt x="1" y="0"/>
                </a:lnTo>
                <a:lnTo>
                  <a:pt x="4" y="0"/>
                </a:lnTo>
                <a:lnTo>
                  <a:pt x="7" y="2"/>
                </a:lnTo>
                <a:lnTo>
                  <a:pt x="9" y="2"/>
                </a:lnTo>
                <a:lnTo>
                  <a:pt x="11" y="5"/>
                </a:lnTo>
                <a:lnTo>
                  <a:pt x="13" y="8"/>
                </a:lnTo>
                <a:lnTo>
                  <a:pt x="12" y="8"/>
                </a:lnTo>
                <a:lnTo>
                  <a:pt x="9" y="10"/>
                </a:lnTo>
                <a:lnTo>
                  <a:pt x="8" y="8"/>
                </a:lnTo>
                <a:lnTo>
                  <a:pt x="7" y="6"/>
                </a:lnTo>
                <a:lnTo>
                  <a:pt x="5" y="3"/>
                </a:lnTo>
                <a:lnTo>
                  <a:pt x="3" y="2"/>
                </a:lnTo>
                <a:lnTo>
                  <a:pt x="1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71" name="Freeform 168"/>
          <p:cNvSpPr>
            <a:spLocks/>
          </p:cNvSpPr>
          <p:nvPr/>
        </p:nvSpPr>
        <p:spPr bwMode="auto">
          <a:xfrm>
            <a:off x="9574003" y="4400099"/>
            <a:ext cx="33130" cy="12885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0" y="0"/>
              </a:cxn>
              <a:cxn ang="0">
                <a:pos x="2" y="0"/>
              </a:cxn>
              <a:cxn ang="0">
                <a:pos x="9" y="1"/>
              </a:cxn>
              <a:cxn ang="0">
                <a:pos x="17" y="3"/>
              </a:cxn>
              <a:cxn ang="0">
                <a:pos x="18" y="3"/>
              </a:cxn>
              <a:cxn ang="0">
                <a:pos x="18" y="5"/>
              </a:cxn>
              <a:cxn ang="0">
                <a:pos x="16" y="6"/>
              </a:cxn>
              <a:cxn ang="0">
                <a:pos x="9" y="5"/>
              </a:cxn>
              <a:cxn ang="0">
                <a:pos x="0" y="1"/>
              </a:cxn>
            </a:cxnLst>
            <a:rect l="0" t="0" r="r" b="b"/>
            <a:pathLst>
              <a:path w="18" h="6">
                <a:moveTo>
                  <a:pt x="0" y="1"/>
                </a:moveTo>
                <a:lnTo>
                  <a:pt x="0" y="0"/>
                </a:lnTo>
                <a:lnTo>
                  <a:pt x="2" y="0"/>
                </a:lnTo>
                <a:lnTo>
                  <a:pt x="9" y="1"/>
                </a:lnTo>
                <a:lnTo>
                  <a:pt x="17" y="3"/>
                </a:lnTo>
                <a:lnTo>
                  <a:pt x="18" y="3"/>
                </a:lnTo>
                <a:lnTo>
                  <a:pt x="18" y="5"/>
                </a:lnTo>
                <a:lnTo>
                  <a:pt x="16" y="6"/>
                </a:lnTo>
                <a:lnTo>
                  <a:pt x="9" y="5"/>
                </a:lnTo>
                <a:lnTo>
                  <a:pt x="0" y="1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72" name="Freeform 169"/>
          <p:cNvSpPr>
            <a:spLocks/>
          </p:cNvSpPr>
          <p:nvPr/>
        </p:nvSpPr>
        <p:spPr bwMode="auto">
          <a:xfrm>
            <a:off x="9574003" y="4400099"/>
            <a:ext cx="33130" cy="12885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0" y="0"/>
              </a:cxn>
              <a:cxn ang="0">
                <a:pos x="2" y="0"/>
              </a:cxn>
              <a:cxn ang="0">
                <a:pos x="9" y="1"/>
              </a:cxn>
              <a:cxn ang="0">
                <a:pos x="17" y="3"/>
              </a:cxn>
              <a:cxn ang="0">
                <a:pos x="18" y="3"/>
              </a:cxn>
              <a:cxn ang="0">
                <a:pos x="18" y="5"/>
              </a:cxn>
              <a:cxn ang="0">
                <a:pos x="16" y="6"/>
              </a:cxn>
              <a:cxn ang="0">
                <a:pos x="9" y="5"/>
              </a:cxn>
              <a:cxn ang="0">
                <a:pos x="0" y="1"/>
              </a:cxn>
            </a:cxnLst>
            <a:rect l="0" t="0" r="r" b="b"/>
            <a:pathLst>
              <a:path w="18" h="6">
                <a:moveTo>
                  <a:pt x="0" y="1"/>
                </a:moveTo>
                <a:lnTo>
                  <a:pt x="0" y="0"/>
                </a:lnTo>
                <a:lnTo>
                  <a:pt x="2" y="0"/>
                </a:lnTo>
                <a:lnTo>
                  <a:pt x="9" y="1"/>
                </a:lnTo>
                <a:lnTo>
                  <a:pt x="17" y="3"/>
                </a:lnTo>
                <a:lnTo>
                  <a:pt x="18" y="3"/>
                </a:lnTo>
                <a:lnTo>
                  <a:pt x="18" y="5"/>
                </a:lnTo>
                <a:lnTo>
                  <a:pt x="16" y="6"/>
                </a:lnTo>
                <a:lnTo>
                  <a:pt x="9" y="5"/>
                </a:lnTo>
                <a:lnTo>
                  <a:pt x="0" y="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73" name="Freeform 170"/>
          <p:cNvSpPr>
            <a:spLocks/>
          </p:cNvSpPr>
          <p:nvPr/>
        </p:nvSpPr>
        <p:spPr bwMode="auto">
          <a:xfrm>
            <a:off x="9499949" y="4533250"/>
            <a:ext cx="5847" cy="10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0"/>
              </a:cxn>
              <a:cxn ang="0">
                <a:pos x="3" y="0"/>
              </a:cxn>
              <a:cxn ang="0">
                <a:pos x="1" y="2"/>
              </a:cxn>
              <a:cxn ang="0">
                <a:pos x="0" y="5"/>
              </a:cxn>
              <a:cxn ang="0">
                <a:pos x="0" y="0"/>
              </a:cxn>
            </a:cxnLst>
            <a:rect l="0" t="0" r="r" b="b"/>
            <a:pathLst>
              <a:path w="3" h="5">
                <a:moveTo>
                  <a:pt x="0" y="0"/>
                </a:moveTo>
                <a:lnTo>
                  <a:pt x="1" y="0"/>
                </a:lnTo>
                <a:lnTo>
                  <a:pt x="3" y="0"/>
                </a:lnTo>
                <a:lnTo>
                  <a:pt x="1" y="2"/>
                </a:lnTo>
                <a:lnTo>
                  <a:pt x="0" y="5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74" name="Freeform 171"/>
          <p:cNvSpPr>
            <a:spLocks/>
          </p:cNvSpPr>
          <p:nvPr/>
        </p:nvSpPr>
        <p:spPr bwMode="auto">
          <a:xfrm>
            <a:off x="9499949" y="4533250"/>
            <a:ext cx="5847" cy="10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0"/>
              </a:cxn>
              <a:cxn ang="0">
                <a:pos x="3" y="0"/>
              </a:cxn>
              <a:cxn ang="0">
                <a:pos x="1" y="2"/>
              </a:cxn>
              <a:cxn ang="0">
                <a:pos x="0" y="5"/>
              </a:cxn>
              <a:cxn ang="0">
                <a:pos x="0" y="0"/>
              </a:cxn>
            </a:cxnLst>
            <a:rect l="0" t="0" r="r" b="b"/>
            <a:pathLst>
              <a:path w="3" h="5">
                <a:moveTo>
                  <a:pt x="0" y="0"/>
                </a:moveTo>
                <a:lnTo>
                  <a:pt x="1" y="0"/>
                </a:lnTo>
                <a:lnTo>
                  <a:pt x="3" y="0"/>
                </a:lnTo>
                <a:lnTo>
                  <a:pt x="1" y="2"/>
                </a:lnTo>
                <a:lnTo>
                  <a:pt x="0" y="5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75" name="Freeform 172"/>
          <p:cNvSpPr>
            <a:spLocks/>
          </p:cNvSpPr>
          <p:nvPr/>
        </p:nvSpPr>
        <p:spPr bwMode="auto">
          <a:xfrm>
            <a:off x="9535027" y="4537544"/>
            <a:ext cx="11693" cy="32213"/>
          </a:xfrm>
          <a:custGeom>
            <a:avLst/>
            <a:gdLst/>
            <a:ahLst/>
            <a:cxnLst>
              <a:cxn ang="0">
                <a:pos x="0" y="6"/>
              </a:cxn>
              <a:cxn ang="0">
                <a:pos x="2" y="0"/>
              </a:cxn>
              <a:cxn ang="0">
                <a:pos x="5" y="0"/>
              </a:cxn>
              <a:cxn ang="0">
                <a:pos x="6" y="5"/>
              </a:cxn>
              <a:cxn ang="0">
                <a:pos x="6" y="11"/>
              </a:cxn>
              <a:cxn ang="0">
                <a:pos x="6" y="14"/>
              </a:cxn>
              <a:cxn ang="0">
                <a:pos x="6" y="16"/>
              </a:cxn>
              <a:cxn ang="0">
                <a:pos x="5" y="16"/>
              </a:cxn>
              <a:cxn ang="0">
                <a:pos x="2" y="16"/>
              </a:cxn>
              <a:cxn ang="0">
                <a:pos x="1" y="12"/>
              </a:cxn>
              <a:cxn ang="0">
                <a:pos x="1" y="11"/>
              </a:cxn>
              <a:cxn ang="0">
                <a:pos x="2" y="6"/>
              </a:cxn>
              <a:cxn ang="0">
                <a:pos x="1" y="8"/>
              </a:cxn>
              <a:cxn ang="0">
                <a:pos x="0" y="6"/>
              </a:cxn>
            </a:cxnLst>
            <a:rect l="0" t="0" r="r" b="b"/>
            <a:pathLst>
              <a:path w="6" h="16">
                <a:moveTo>
                  <a:pt x="0" y="6"/>
                </a:moveTo>
                <a:lnTo>
                  <a:pt x="2" y="0"/>
                </a:lnTo>
                <a:lnTo>
                  <a:pt x="5" y="0"/>
                </a:lnTo>
                <a:lnTo>
                  <a:pt x="6" y="5"/>
                </a:lnTo>
                <a:lnTo>
                  <a:pt x="6" y="11"/>
                </a:lnTo>
                <a:lnTo>
                  <a:pt x="6" y="14"/>
                </a:lnTo>
                <a:lnTo>
                  <a:pt x="6" y="16"/>
                </a:lnTo>
                <a:lnTo>
                  <a:pt x="5" y="16"/>
                </a:lnTo>
                <a:lnTo>
                  <a:pt x="2" y="16"/>
                </a:lnTo>
                <a:lnTo>
                  <a:pt x="1" y="12"/>
                </a:lnTo>
                <a:lnTo>
                  <a:pt x="1" y="11"/>
                </a:lnTo>
                <a:lnTo>
                  <a:pt x="2" y="6"/>
                </a:lnTo>
                <a:lnTo>
                  <a:pt x="1" y="8"/>
                </a:lnTo>
                <a:lnTo>
                  <a:pt x="0" y="6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76" name="Freeform 173"/>
          <p:cNvSpPr>
            <a:spLocks/>
          </p:cNvSpPr>
          <p:nvPr/>
        </p:nvSpPr>
        <p:spPr bwMode="auto">
          <a:xfrm>
            <a:off x="9535027" y="4537544"/>
            <a:ext cx="11693" cy="32213"/>
          </a:xfrm>
          <a:custGeom>
            <a:avLst/>
            <a:gdLst/>
            <a:ahLst/>
            <a:cxnLst>
              <a:cxn ang="0">
                <a:pos x="0" y="6"/>
              </a:cxn>
              <a:cxn ang="0">
                <a:pos x="2" y="0"/>
              </a:cxn>
              <a:cxn ang="0">
                <a:pos x="5" y="0"/>
              </a:cxn>
              <a:cxn ang="0">
                <a:pos x="6" y="5"/>
              </a:cxn>
              <a:cxn ang="0">
                <a:pos x="6" y="11"/>
              </a:cxn>
              <a:cxn ang="0">
                <a:pos x="6" y="14"/>
              </a:cxn>
              <a:cxn ang="0">
                <a:pos x="6" y="16"/>
              </a:cxn>
              <a:cxn ang="0">
                <a:pos x="5" y="16"/>
              </a:cxn>
              <a:cxn ang="0">
                <a:pos x="2" y="16"/>
              </a:cxn>
              <a:cxn ang="0">
                <a:pos x="1" y="12"/>
              </a:cxn>
              <a:cxn ang="0">
                <a:pos x="1" y="11"/>
              </a:cxn>
              <a:cxn ang="0">
                <a:pos x="2" y="6"/>
              </a:cxn>
              <a:cxn ang="0">
                <a:pos x="1" y="8"/>
              </a:cxn>
              <a:cxn ang="0">
                <a:pos x="0" y="6"/>
              </a:cxn>
            </a:cxnLst>
            <a:rect l="0" t="0" r="r" b="b"/>
            <a:pathLst>
              <a:path w="6" h="16">
                <a:moveTo>
                  <a:pt x="0" y="6"/>
                </a:moveTo>
                <a:lnTo>
                  <a:pt x="2" y="0"/>
                </a:lnTo>
                <a:lnTo>
                  <a:pt x="5" y="0"/>
                </a:lnTo>
                <a:lnTo>
                  <a:pt x="6" y="5"/>
                </a:lnTo>
                <a:lnTo>
                  <a:pt x="6" y="11"/>
                </a:lnTo>
                <a:lnTo>
                  <a:pt x="6" y="14"/>
                </a:lnTo>
                <a:lnTo>
                  <a:pt x="6" y="16"/>
                </a:lnTo>
                <a:lnTo>
                  <a:pt x="5" y="16"/>
                </a:lnTo>
                <a:lnTo>
                  <a:pt x="2" y="16"/>
                </a:lnTo>
                <a:lnTo>
                  <a:pt x="1" y="12"/>
                </a:lnTo>
                <a:lnTo>
                  <a:pt x="1" y="11"/>
                </a:lnTo>
                <a:lnTo>
                  <a:pt x="2" y="6"/>
                </a:lnTo>
                <a:lnTo>
                  <a:pt x="1" y="8"/>
                </a:lnTo>
                <a:lnTo>
                  <a:pt x="0" y="6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77" name="Freeform 174"/>
          <p:cNvSpPr>
            <a:spLocks/>
          </p:cNvSpPr>
          <p:nvPr/>
        </p:nvSpPr>
        <p:spPr bwMode="auto">
          <a:xfrm>
            <a:off x="9531129" y="4561168"/>
            <a:ext cx="11693" cy="12885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0" y="0"/>
              </a:cxn>
              <a:cxn ang="0">
                <a:pos x="3" y="3"/>
              </a:cxn>
              <a:cxn ang="0">
                <a:pos x="6" y="5"/>
              </a:cxn>
              <a:cxn ang="0">
                <a:pos x="6" y="8"/>
              </a:cxn>
              <a:cxn ang="0">
                <a:pos x="3" y="5"/>
              </a:cxn>
              <a:cxn ang="0">
                <a:pos x="2" y="3"/>
              </a:cxn>
              <a:cxn ang="0">
                <a:pos x="0" y="1"/>
              </a:cxn>
            </a:cxnLst>
            <a:rect l="0" t="0" r="r" b="b"/>
            <a:pathLst>
              <a:path w="6" h="8">
                <a:moveTo>
                  <a:pt x="0" y="1"/>
                </a:moveTo>
                <a:lnTo>
                  <a:pt x="0" y="0"/>
                </a:lnTo>
                <a:lnTo>
                  <a:pt x="3" y="3"/>
                </a:lnTo>
                <a:lnTo>
                  <a:pt x="6" y="5"/>
                </a:lnTo>
                <a:lnTo>
                  <a:pt x="6" y="8"/>
                </a:lnTo>
                <a:lnTo>
                  <a:pt x="3" y="5"/>
                </a:lnTo>
                <a:lnTo>
                  <a:pt x="2" y="3"/>
                </a:lnTo>
                <a:lnTo>
                  <a:pt x="0" y="1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78" name="Freeform 175"/>
          <p:cNvSpPr>
            <a:spLocks/>
          </p:cNvSpPr>
          <p:nvPr/>
        </p:nvSpPr>
        <p:spPr bwMode="auto">
          <a:xfrm>
            <a:off x="9531129" y="4561168"/>
            <a:ext cx="11693" cy="12885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0" y="0"/>
              </a:cxn>
              <a:cxn ang="0">
                <a:pos x="3" y="3"/>
              </a:cxn>
              <a:cxn ang="0">
                <a:pos x="6" y="5"/>
              </a:cxn>
              <a:cxn ang="0">
                <a:pos x="6" y="8"/>
              </a:cxn>
              <a:cxn ang="0">
                <a:pos x="3" y="5"/>
              </a:cxn>
              <a:cxn ang="0">
                <a:pos x="2" y="3"/>
              </a:cxn>
              <a:cxn ang="0">
                <a:pos x="0" y="1"/>
              </a:cxn>
            </a:cxnLst>
            <a:rect l="0" t="0" r="r" b="b"/>
            <a:pathLst>
              <a:path w="6" h="8">
                <a:moveTo>
                  <a:pt x="0" y="1"/>
                </a:moveTo>
                <a:lnTo>
                  <a:pt x="0" y="0"/>
                </a:lnTo>
                <a:lnTo>
                  <a:pt x="3" y="3"/>
                </a:lnTo>
                <a:lnTo>
                  <a:pt x="6" y="5"/>
                </a:lnTo>
                <a:lnTo>
                  <a:pt x="6" y="8"/>
                </a:lnTo>
                <a:lnTo>
                  <a:pt x="3" y="5"/>
                </a:lnTo>
                <a:lnTo>
                  <a:pt x="2" y="3"/>
                </a:lnTo>
                <a:lnTo>
                  <a:pt x="0" y="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79" name="Freeform 176"/>
          <p:cNvSpPr>
            <a:spLocks/>
          </p:cNvSpPr>
          <p:nvPr/>
        </p:nvSpPr>
        <p:spPr bwMode="auto">
          <a:xfrm>
            <a:off x="9531129" y="4565463"/>
            <a:ext cx="7795" cy="25772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5" y="5"/>
              </a:cxn>
              <a:cxn ang="0">
                <a:pos x="5" y="8"/>
              </a:cxn>
              <a:cxn ang="0">
                <a:pos x="5" y="9"/>
              </a:cxn>
              <a:cxn ang="0">
                <a:pos x="4" y="11"/>
              </a:cxn>
              <a:cxn ang="0">
                <a:pos x="3" y="13"/>
              </a:cxn>
              <a:cxn ang="0">
                <a:pos x="1" y="11"/>
              </a:cxn>
              <a:cxn ang="0">
                <a:pos x="0" y="9"/>
              </a:cxn>
              <a:cxn ang="0">
                <a:pos x="0" y="6"/>
              </a:cxn>
              <a:cxn ang="0">
                <a:pos x="0" y="5"/>
              </a:cxn>
              <a:cxn ang="0">
                <a:pos x="1" y="8"/>
              </a:cxn>
              <a:cxn ang="0">
                <a:pos x="3" y="3"/>
              </a:cxn>
              <a:cxn ang="0">
                <a:pos x="1" y="3"/>
              </a:cxn>
              <a:cxn ang="0">
                <a:pos x="1" y="2"/>
              </a:cxn>
              <a:cxn ang="0">
                <a:pos x="1" y="0"/>
              </a:cxn>
            </a:cxnLst>
            <a:rect l="0" t="0" r="r" b="b"/>
            <a:pathLst>
              <a:path w="5" h="13">
                <a:moveTo>
                  <a:pt x="1" y="0"/>
                </a:moveTo>
                <a:lnTo>
                  <a:pt x="5" y="5"/>
                </a:lnTo>
                <a:lnTo>
                  <a:pt x="5" y="8"/>
                </a:lnTo>
                <a:lnTo>
                  <a:pt x="5" y="9"/>
                </a:lnTo>
                <a:lnTo>
                  <a:pt x="4" y="11"/>
                </a:lnTo>
                <a:lnTo>
                  <a:pt x="3" y="13"/>
                </a:lnTo>
                <a:lnTo>
                  <a:pt x="1" y="11"/>
                </a:lnTo>
                <a:lnTo>
                  <a:pt x="0" y="9"/>
                </a:lnTo>
                <a:lnTo>
                  <a:pt x="0" y="6"/>
                </a:lnTo>
                <a:lnTo>
                  <a:pt x="0" y="5"/>
                </a:lnTo>
                <a:lnTo>
                  <a:pt x="1" y="8"/>
                </a:lnTo>
                <a:lnTo>
                  <a:pt x="3" y="3"/>
                </a:lnTo>
                <a:lnTo>
                  <a:pt x="1" y="3"/>
                </a:lnTo>
                <a:lnTo>
                  <a:pt x="1" y="2"/>
                </a:lnTo>
                <a:lnTo>
                  <a:pt x="1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80" name="Freeform 177"/>
          <p:cNvSpPr>
            <a:spLocks/>
          </p:cNvSpPr>
          <p:nvPr/>
        </p:nvSpPr>
        <p:spPr bwMode="auto">
          <a:xfrm>
            <a:off x="9531129" y="4565463"/>
            <a:ext cx="7795" cy="25772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5" y="5"/>
              </a:cxn>
              <a:cxn ang="0">
                <a:pos x="5" y="8"/>
              </a:cxn>
              <a:cxn ang="0">
                <a:pos x="5" y="9"/>
              </a:cxn>
              <a:cxn ang="0">
                <a:pos x="4" y="11"/>
              </a:cxn>
              <a:cxn ang="0">
                <a:pos x="3" y="13"/>
              </a:cxn>
              <a:cxn ang="0">
                <a:pos x="1" y="11"/>
              </a:cxn>
              <a:cxn ang="0">
                <a:pos x="0" y="9"/>
              </a:cxn>
              <a:cxn ang="0">
                <a:pos x="0" y="6"/>
              </a:cxn>
              <a:cxn ang="0">
                <a:pos x="0" y="5"/>
              </a:cxn>
              <a:cxn ang="0">
                <a:pos x="1" y="8"/>
              </a:cxn>
              <a:cxn ang="0">
                <a:pos x="3" y="3"/>
              </a:cxn>
              <a:cxn ang="0">
                <a:pos x="1" y="3"/>
              </a:cxn>
              <a:cxn ang="0">
                <a:pos x="1" y="2"/>
              </a:cxn>
              <a:cxn ang="0">
                <a:pos x="1" y="0"/>
              </a:cxn>
            </a:cxnLst>
            <a:rect l="0" t="0" r="r" b="b"/>
            <a:pathLst>
              <a:path w="5" h="13">
                <a:moveTo>
                  <a:pt x="1" y="0"/>
                </a:moveTo>
                <a:lnTo>
                  <a:pt x="5" y="5"/>
                </a:lnTo>
                <a:lnTo>
                  <a:pt x="5" y="8"/>
                </a:lnTo>
                <a:lnTo>
                  <a:pt x="5" y="9"/>
                </a:lnTo>
                <a:lnTo>
                  <a:pt x="4" y="11"/>
                </a:lnTo>
                <a:lnTo>
                  <a:pt x="3" y="13"/>
                </a:lnTo>
                <a:lnTo>
                  <a:pt x="1" y="11"/>
                </a:lnTo>
                <a:lnTo>
                  <a:pt x="0" y="9"/>
                </a:lnTo>
                <a:lnTo>
                  <a:pt x="0" y="6"/>
                </a:lnTo>
                <a:lnTo>
                  <a:pt x="0" y="5"/>
                </a:lnTo>
                <a:lnTo>
                  <a:pt x="1" y="8"/>
                </a:lnTo>
                <a:lnTo>
                  <a:pt x="3" y="3"/>
                </a:lnTo>
                <a:lnTo>
                  <a:pt x="1" y="3"/>
                </a:lnTo>
                <a:lnTo>
                  <a:pt x="1" y="2"/>
                </a:lnTo>
                <a:lnTo>
                  <a:pt x="1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81" name="Freeform 178"/>
          <p:cNvSpPr>
            <a:spLocks/>
          </p:cNvSpPr>
          <p:nvPr/>
        </p:nvSpPr>
        <p:spPr bwMode="auto">
          <a:xfrm>
            <a:off x="9447331" y="4595531"/>
            <a:ext cx="13640" cy="32215"/>
          </a:xfrm>
          <a:custGeom>
            <a:avLst/>
            <a:gdLst/>
            <a:ahLst/>
            <a:cxnLst>
              <a:cxn ang="0">
                <a:pos x="0" y="11"/>
              </a:cxn>
              <a:cxn ang="0">
                <a:pos x="1" y="11"/>
              </a:cxn>
              <a:cxn ang="0">
                <a:pos x="0" y="6"/>
              </a:cxn>
              <a:cxn ang="0">
                <a:pos x="4" y="3"/>
              </a:cxn>
              <a:cxn ang="0">
                <a:pos x="5" y="0"/>
              </a:cxn>
              <a:cxn ang="0">
                <a:pos x="7" y="0"/>
              </a:cxn>
              <a:cxn ang="0">
                <a:pos x="8" y="1"/>
              </a:cxn>
              <a:cxn ang="0">
                <a:pos x="8" y="8"/>
              </a:cxn>
              <a:cxn ang="0">
                <a:pos x="3" y="15"/>
              </a:cxn>
              <a:cxn ang="0">
                <a:pos x="0" y="12"/>
              </a:cxn>
              <a:cxn ang="0">
                <a:pos x="0" y="11"/>
              </a:cxn>
            </a:cxnLst>
            <a:rect l="0" t="0" r="r" b="b"/>
            <a:pathLst>
              <a:path w="8" h="15">
                <a:moveTo>
                  <a:pt x="0" y="11"/>
                </a:moveTo>
                <a:lnTo>
                  <a:pt x="1" y="11"/>
                </a:lnTo>
                <a:lnTo>
                  <a:pt x="0" y="6"/>
                </a:lnTo>
                <a:lnTo>
                  <a:pt x="4" y="3"/>
                </a:lnTo>
                <a:lnTo>
                  <a:pt x="5" y="0"/>
                </a:lnTo>
                <a:lnTo>
                  <a:pt x="7" y="0"/>
                </a:lnTo>
                <a:lnTo>
                  <a:pt x="8" y="1"/>
                </a:lnTo>
                <a:lnTo>
                  <a:pt x="8" y="8"/>
                </a:lnTo>
                <a:lnTo>
                  <a:pt x="3" y="15"/>
                </a:lnTo>
                <a:lnTo>
                  <a:pt x="0" y="12"/>
                </a:lnTo>
                <a:lnTo>
                  <a:pt x="0" y="11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82" name="Freeform 179"/>
          <p:cNvSpPr>
            <a:spLocks/>
          </p:cNvSpPr>
          <p:nvPr/>
        </p:nvSpPr>
        <p:spPr bwMode="auto">
          <a:xfrm>
            <a:off x="9447331" y="4595531"/>
            <a:ext cx="13640" cy="32215"/>
          </a:xfrm>
          <a:custGeom>
            <a:avLst/>
            <a:gdLst/>
            <a:ahLst/>
            <a:cxnLst>
              <a:cxn ang="0">
                <a:pos x="0" y="11"/>
              </a:cxn>
              <a:cxn ang="0">
                <a:pos x="1" y="11"/>
              </a:cxn>
              <a:cxn ang="0">
                <a:pos x="0" y="6"/>
              </a:cxn>
              <a:cxn ang="0">
                <a:pos x="4" y="3"/>
              </a:cxn>
              <a:cxn ang="0">
                <a:pos x="5" y="0"/>
              </a:cxn>
              <a:cxn ang="0">
                <a:pos x="7" y="0"/>
              </a:cxn>
              <a:cxn ang="0">
                <a:pos x="8" y="1"/>
              </a:cxn>
              <a:cxn ang="0">
                <a:pos x="8" y="8"/>
              </a:cxn>
              <a:cxn ang="0">
                <a:pos x="3" y="15"/>
              </a:cxn>
              <a:cxn ang="0">
                <a:pos x="0" y="12"/>
              </a:cxn>
              <a:cxn ang="0">
                <a:pos x="0" y="11"/>
              </a:cxn>
            </a:cxnLst>
            <a:rect l="0" t="0" r="r" b="b"/>
            <a:pathLst>
              <a:path w="8" h="15">
                <a:moveTo>
                  <a:pt x="0" y="11"/>
                </a:moveTo>
                <a:lnTo>
                  <a:pt x="1" y="11"/>
                </a:lnTo>
                <a:lnTo>
                  <a:pt x="0" y="6"/>
                </a:lnTo>
                <a:lnTo>
                  <a:pt x="4" y="3"/>
                </a:lnTo>
                <a:lnTo>
                  <a:pt x="5" y="0"/>
                </a:lnTo>
                <a:lnTo>
                  <a:pt x="7" y="0"/>
                </a:lnTo>
                <a:lnTo>
                  <a:pt x="8" y="1"/>
                </a:lnTo>
                <a:lnTo>
                  <a:pt x="8" y="8"/>
                </a:lnTo>
                <a:lnTo>
                  <a:pt x="3" y="15"/>
                </a:lnTo>
                <a:lnTo>
                  <a:pt x="0" y="12"/>
                </a:lnTo>
                <a:lnTo>
                  <a:pt x="0" y="1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83" name="Freeform 180"/>
          <p:cNvSpPr>
            <a:spLocks/>
          </p:cNvSpPr>
          <p:nvPr/>
        </p:nvSpPr>
        <p:spPr bwMode="auto">
          <a:xfrm>
            <a:off x="9400559" y="4619153"/>
            <a:ext cx="5846" cy="8591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3" y="0"/>
              </a:cxn>
              <a:cxn ang="0">
                <a:pos x="4" y="2"/>
              </a:cxn>
              <a:cxn ang="0">
                <a:pos x="3" y="3"/>
              </a:cxn>
              <a:cxn ang="0">
                <a:pos x="2" y="3"/>
              </a:cxn>
              <a:cxn ang="0">
                <a:pos x="0" y="2"/>
              </a:cxn>
            </a:cxnLst>
            <a:rect l="0" t="0" r="r" b="b"/>
            <a:pathLst>
              <a:path w="4" h="3">
                <a:moveTo>
                  <a:pt x="0" y="2"/>
                </a:moveTo>
                <a:lnTo>
                  <a:pt x="0" y="0"/>
                </a:lnTo>
                <a:lnTo>
                  <a:pt x="3" y="0"/>
                </a:lnTo>
                <a:lnTo>
                  <a:pt x="4" y="2"/>
                </a:lnTo>
                <a:lnTo>
                  <a:pt x="3" y="3"/>
                </a:lnTo>
                <a:lnTo>
                  <a:pt x="2" y="3"/>
                </a:lnTo>
                <a:lnTo>
                  <a:pt x="0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84" name="Freeform 181"/>
          <p:cNvSpPr>
            <a:spLocks/>
          </p:cNvSpPr>
          <p:nvPr/>
        </p:nvSpPr>
        <p:spPr bwMode="auto">
          <a:xfrm>
            <a:off x="9400559" y="4619153"/>
            <a:ext cx="5846" cy="8591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3" y="0"/>
              </a:cxn>
              <a:cxn ang="0">
                <a:pos x="4" y="2"/>
              </a:cxn>
              <a:cxn ang="0">
                <a:pos x="3" y="3"/>
              </a:cxn>
              <a:cxn ang="0">
                <a:pos x="2" y="3"/>
              </a:cxn>
              <a:cxn ang="0">
                <a:pos x="0" y="2"/>
              </a:cxn>
            </a:cxnLst>
            <a:rect l="0" t="0" r="r" b="b"/>
            <a:pathLst>
              <a:path w="4" h="3">
                <a:moveTo>
                  <a:pt x="0" y="2"/>
                </a:moveTo>
                <a:lnTo>
                  <a:pt x="0" y="0"/>
                </a:lnTo>
                <a:lnTo>
                  <a:pt x="3" y="0"/>
                </a:lnTo>
                <a:lnTo>
                  <a:pt x="4" y="2"/>
                </a:lnTo>
                <a:lnTo>
                  <a:pt x="3" y="3"/>
                </a:lnTo>
                <a:lnTo>
                  <a:pt x="2" y="3"/>
                </a:lnTo>
                <a:lnTo>
                  <a:pt x="0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85" name="Freeform 182"/>
          <p:cNvSpPr>
            <a:spLocks/>
          </p:cNvSpPr>
          <p:nvPr/>
        </p:nvSpPr>
        <p:spPr bwMode="auto">
          <a:xfrm>
            <a:off x="9369379" y="4595529"/>
            <a:ext cx="3898" cy="214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1"/>
              </a:cxn>
              <a:cxn ang="0">
                <a:pos x="0" y="0"/>
              </a:cxn>
            </a:cxnLst>
            <a:rect l="0" t="0" r="r" b="b"/>
            <a:pathLst>
              <a:path w="2" h="1">
                <a:moveTo>
                  <a:pt x="0" y="0"/>
                </a:moveTo>
                <a:lnTo>
                  <a:pt x="2" y="0"/>
                </a:lnTo>
                <a:lnTo>
                  <a:pt x="2" y="1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86" name="Freeform 183"/>
          <p:cNvSpPr>
            <a:spLocks/>
          </p:cNvSpPr>
          <p:nvPr/>
        </p:nvSpPr>
        <p:spPr bwMode="auto">
          <a:xfrm>
            <a:off x="9369379" y="4595529"/>
            <a:ext cx="3898" cy="214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1"/>
              </a:cxn>
              <a:cxn ang="0">
                <a:pos x="0" y="0"/>
              </a:cxn>
            </a:cxnLst>
            <a:rect l="0" t="0" r="r" b="b"/>
            <a:pathLst>
              <a:path w="2" h="1">
                <a:moveTo>
                  <a:pt x="0" y="0"/>
                </a:moveTo>
                <a:lnTo>
                  <a:pt x="2" y="0"/>
                </a:lnTo>
                <a:lnTo>
                  <a:pt x="2" y="1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87" name="Freeform 184"/>
          <p:cNvSpPr>
            <a:spLocks/>
          </p:cNvSpPr>
          <p:nvPr/>
        </p:nvSpPr>
        <p:spPr bwMode="auto">
          <a:xfrm>
            <a:off x="7966231" y="3996347"/>
            <a:ext cx="60412" cy="137447"/>
          </a:xfrm>
          <a:custGeom>
            <a:avLst/>
            <a:gdLst/>
            <a:ahLst/>
            <a:cxnLst>
              <a:cxn ang="0">
                <a:pos x="5" y="0"/>
              </a:cxn>
              <a:cxn ang="0">
                <a:pos x="3" y="2"/>
              </a:cxn>
              <a:cxn ang="0">
                <a:pos x="5" y="3"/>
              </a:cxn>
              <a:cxn ang="0">
                <a:pos x="8" y="5"/>
              </a:cxn>
              <a:cxn ang="0">
                <a:pos x="8" y="7"/>
              </a:cxn>
              <a:cxn ang="0">
                <a:pos x="7" y="7"/>
              </a:cxn>
              <a:cxn ang="0">
                <a:pos x="5" y="8"/>
              </a:cxn>
              <a:cxn ang="0">
                <a:pos x="5" y="13"/>
              </a:cxn>
              <a:cxn ang="0">
                <a:pos x="3" y="16"/>
              </a:cxn>
              <a:cxn ang="0">
                <a:pos x="1" y="30"/>
              </a:cxn>
              <a:cxn ang="0">
                <a:pos x="0" y="30"/>
              </a:cxn>
              <a:cxn ang="0">
                <a:pos x="0" y="36"/>
              </a:cxn>
              <a:cxn ang="0">
                <a:pos x="1" y="54"/>
              </a:cxn>
              <a:cxn ang="0">
                <a:pos x="3" y="58"/>
              </a:cxn>
              <a:cxn ang="0">
                <a:pos x="5" y="65"/>
              </a:cxn>
              <a:cxn ang="0">
                <a:pos x="8" y="68"/>
              </a:cxn>
              <a:cxn ang="0">
                <a:pos x="12" y="69"/>
              </a:cxn>
              <a:cxn ang="0">
                <a:pos x="16" y="69"/>
              </a:cxn>
              <a:cxn ang="0">
                <a:pos x="23" y="65"/>
              </a:cxn>
              <a:cxn ang="0">
                <a:pos x="28" y="60"/>
              </a:cxn>
              <a:cxn ang="0">
                <a:pos x="31" y="55"/>
              </a:cxn>
              <a:cxn ang="0">
                <a:pos x="32" y="47"/>
              </a:cxn>
              <a:cxn ang="0">
                <a:pos x="32" y="41"/>
              </a:cxn>
              <a:cxn ang="0">
                <a:pos x="31" y="38"/>
              </a:cxn>
              <a:cxn ang="0">
                <a:pos x="29" y="38"/>
              </a:cxn>
              <a:cxn ang="0">
                <a:pos x="27" y="29"/>
              </a:cxn>
              <a:cxn ang="0">
                <a:pos x="25" y="24"/>
              </a:cxn>
              <a:cxn ang="0">
                <a:pos x="23" y="22"/>
              </a:cxn>
              <a:cxn ang="0">
                <a:pos x="23" y="21"/>
              </a:cxn>
              <a:cxn ang="0">
                <a:pos x="21" y="18"/>
              </a:cxn>
              <a:cxn ang="0">
                <a:pos x="19" y="14"/>
              </a:cxn>
              <a:cxn ang="0">
                <a:pos x="17" y="11"/>
              </a:cxn>
              <a:cxn ang="0">
                <a:pos x="12" y="5"/>
              </a:cxn>
              <a:cxn ang="0">
                <a:pos x="9" y="2"/>
              </a:cxn>
              <a:cxn ang="0">
                <a:pos x="7" y="0"/>
              </a:cxn>
              <a:cxn ang="0">
                <a:pos x="5" y="0"/>
              </a:cxn>
            </a:cxnLst>
            <a:rect l="0" t="0" r="r" b="b"/>
            <a:pathLst>
              <a:path w="32" h="69">
                <a:moveTo>
                  <a:pt x="5" y="0"/>
                </a:moveTo>
                <a:lnTo>
                  <a:pt x="3" y="2"/>
                </a:lnTo>
                <a:lnTo>
                  <a:pt x="5" y="3"/>
                </a:lnTo>
                <a:lnTo>
                  <a:pt x="8" y="5"/>
                </a:lnTo>
                <a:lnTo>
                  <a:pt x="8" y="7"/>
                </a:lnTo>
                <a:lnTo>
                  <a:pt x="7" y="7"/>
                </a:lnTo>
                <a:lnTo>
                  <a:pt x="5" y="8"/>
                </a:lnTo>
                <a:lnTo>
                  <a:pt x="5" y="13"/>
                </a:lnTo>
                <a:lnTo>
                  <a:pt x="3" y="16"/>
                </a:lnTo>
                <a:lnTo>
                  <a:pt x="1" y="30"/>
                </a:lnTo>
                <a:lnTo>
                  <a:pt x="0" y="30"/>
                </a:lnTo>
                <a:lnTo>
                  <a:pt x="0" y="36"/>
                </a:lnTo>
                <a:lnTo>
                  <a:pt x="1" y="54"/>
                </a:lnTo>
                <a:lnTo>
                  <a:pt x="3" y="58"/>
                </a:lnTo>
                <a:lnTo>
                  <a:pt x="5" y="65"/>
                </a:lnTo>
                <a:lnTo>
                  <a:pt x="8" y="68"/>
                </a:lnTo>
                <a:lnTo>
                  <a:pt x="12" y="69"/>
                </a:lnTo>
                <a:lnTo>
                  <a:pt x="16" y="69"/>
                </a:lnTo>
                <a:lnTo>
                  <a:pt x="23" y="65"/>
                </a:lnTo>
                <a:lnTo>
                  <a:pt x="28" y="60"/>
                </a:lnTo>
                <a:lnTo>
                  <a:pt x="31" y="55"/>
                </a:lnTo>
                <a:lnTo>
                  <a:pt x="32" y="47"/>
                </a:lnTo>
                <a:lnTo>
                  <a:pt x="32" y="41"/>
                </a:lnTo>
                <a:lnTo>
                  <a:pt x="31" y="38"/>
                </a:lnTo>
                <a:lnTo>
                  <a:pt x="29" y="38"/>
                </a:lnTo>
                <a:lnTo>
                  <a:pt x="27" y="29"/>
                </a:lnTo>
                <a:lnTo>
                  <a:pt x="25" y="24"/>
                </a:lnTo>
                <a:lnTo>
                  <a:pt x="23" y="22"/>
                </a:lnTo>
                <a:lnTo>
                  <a:pt x="23" y="21"/>
                </a:lnTo>
                <a:lnTo>
                  <a:pt x="21" y="18"/>
                </a:lnTo>
                <a:lnTo>
                  <a:pt x="19" y="14"/>
                </a:lnTo>
                <a:lnTo>
                  <a:pt x="17" y="11"/>
                </a:lnTo>
                <a:lnTo>
                  <a:pt x="12" y="5"/>
                </a:lnTo>
                <a:lnTo>
                  <a:pt x="9" y="2"/>
                </a:lnTo>
                <a:lnTo>
                  <a:pt x="7" y="0"/>
                </a:lnTo>
                <a:lnTo>
                  <a:pt x="5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88" name="Freeform 185"/>
          <p:cNvSpPr>
            <a:spLocks/>
          </p:cNvSpPr>
          <p:nvPr/>
        </p:nvSpPr>
        <p:spPr bwMode="auto">
          <a:xfrm>
            <a:off x="7966231" y="3996347"/>
            <a:ext cx="60412" cy="137447"/>
          </a:xfrm>
          <a:custGeom>
            <a:avLst/>
            <a:gdLst/>
            <a:ahLst/>
            <a:cxnLst>
              <a:cxn ang="0">
                <a:pos x="5" y="0"/>
              </a:cxn>
              <a:cxn ang="0">
                <a:pos x="3" y="2"/>
              </a:cxn>
              <a:cxn ang="0">
                <a:pos x="5" y="3"/>
              </a:cxn>
              <a:cxn ang="0">
                <a:pos x="8" y="5"/>
              </a:cxn>
              <a:cxn ang="0">
                <a:pos x="8" y="7"/>
              </a:cxn>
              <a:cxn ang="0">
                <a:pos x="7" y="7"/>
              </a:cxn>
              <a:cxn ang="0">
                <a:pos x="5" y="8"/>
              </a:cxn>
              <a:cxn ang="0">
                <a:pos x="5" y="13"/>
              </a:cxn>
              <a:cxn ang="0">
                <a:pos x="3" y="16"/>
              </a:cxn>
              <a:cxn ang="0">
                <a:pos x="1" y="30"/>
              </a:cxn>
              <a:cxn ang="0">
                <a:pos x="0" y="30"/>
              </a:cxn>
              <a:cxn ang="0">
                <a:pos x="0" y="36"/>
              </a:cxn>
              <a:cxn ang="0">
                <a:pos x="1" y="54"/>
              </a:cxn>
              <a:cxn ang="0">
                <a:pos x="3" y="58"/>
              </a:cxn>
              <a:cxn ang="0">
                <a:pos x="5" y="65"/>
              </a:cxn>
              <a:cxn ang="0">
                <a:pos x="8" y="68"/>
              </a:cxn>
              <a:cxn ang="0">
                <a:pos x="12" y="69"/>
              </a:cxn>
              <a:cxn ang="0">
                <a:pos x="16" y="69"/>
              </a:cxn>
              <a:cxn ang="0">
                <a:pos x="23" y="65"/>
              </a:cxn>
              <a:cxn ang="0">
                <a:pos x="28" y="60"/>
              </a:cxn>
              <a:cxn ang="0">
                <a:pos x="31" y="55"/>
              </a:cxn>
              <a:cxn ang="0">
                <a:pos x="32" y="47"/>
              </a:cxn>
              <a:cxn ang="0">
                <a:pos x="32" y="41"/>
              </a:cxn>
              <a:cxn ang="0">
                <a:pos x="31" y="38"/>
              </a:cxn>
              <a:cxn ang="0">
                <a:pos x="29" y="38"/>
              </a:cxn>
              <a:cxn ang="0">
                <a:pos x="27" y="29"/>
              </a:cxn>
              <a:cxn ang="0">
                <a:pos x="25" y="24"/>
              </a:cxn>
              <a:cxn ang="0">
                <a:pos x="23" y="22"/>
              </a:cxn>
              <a:cxn ang="0">
                <a:pos x="23" y="21"/>
              </a:cxn>
              <a:cxn ang="0">
                <a:pos x="21" y="18"/>
              </a:cxn>
              <a:cxn ang="0">
                <a:pos x="19" y="14"/>
              </a:cxn>
              <a:cxn ang="0">
                <a:pos x="17" y="11"/>
              </a:cxn>
              <a:cxn ang="0">
                <a:pos x="12" y="5"/>
              </a:cxn>
              <a:cxn ang="0">
                <a:pos x="9" y="2"/>
              </a:cxn>
              <a:cxn ang="0">
                <a:pos x="7" y="0"/>
              </a:cxn>
              <a:cxn ang="0">
                <a:pos x="5" y="0"/>
              </a:cxn>
            </a:cxnLst>
            <a:rect l="0" t="0" r="r" b="b"/>
            <a:pathLst>
              <a:path w="32" h="69">
                <a:moveTo>
                  <a:pt x="5" y="0"/>
                </a:moveTo>
                <a:lnTo>
                  <a:pt x="3" y="2"/>
                </a:lnTo>
                <a:lnTo>
                  <a:pt x="5" y="3"/>
                </a:lnTo>
                <a:lnTo>
                  <a:pt x="8" y="5"/>
                </a:lnTo>
                <a:lnTo>
                  <a:pt x="8" y="7"/>
                </a:lnTo>
                <a:lnTo>
                  <a:pt x="7" y="7"/>
                </a:lnTo>
                <a:lnTo>
                  <a:pt x="5" y="8"/>
                </a:lnTo>
                <a:lnTo>
                  <a:pt x="5" y="13"/>
                </a:lnTo>
                <a:lnTo>
                  <a:pt x="3" y="16"/>
                </a:lnTo>
                <a:lnTo>
                  <a:pt x="1" y="30"/>
                </a:lnTo>
                <a:lnTo>
                  <a:pt x="0" y="30"/>
                </a:lnTo>
                <a:lnTo>
                  <a:pt x="0" y="36"/>
                </a:lnTo>
                <a:lnTo>
                  <a:pt x="1" y="54"/>
                </a:lnTo>
                <a:lnTo>
                  <a:pt x="3" y="58"/>
                </a:lnTo>
                <a:lnTo>
                  <a:pt x="5" y="65"/>
                </a:lnTo>
                <a:lnTo>
                  <a:pt x="8" y="68"/>
                </a:lnTo>
                <a:lnTo>
                  <a:pt x="12" y="69"/>
                </a:lnTo>
                <a:lnTo>
                  <a:pt x="16" y="69"/>
                </a:lnTo>
                <a:lnTo>
                  <a:pt x="23" y="65"/>
                </a:lnTo>
                <a:lnTo>
                  <a:pt x="28" y="60"/>
                </a:lnTo>
                <a:lnTo>
                  <a:pt x="31" y="55"/>
                </a:lnTo>
                <a:lnTo>
                  <a:pt x="32" y="47"/>
                </a:lnTo>
                <a:lnTo>
                  <a:pt x="32" y="41"/>
                </a:lnTo>
                <a:lnTo>
                  <a:pt x="31" y="38"/>
                </a:lnTo>
                <a:lnTo>
                  <a:pt x="29" y="38"/>
                </a:lnTo>
                <a:lnTo>
                  <a:pt x="27" y="29"/>
                </a:lnTo>
                <a:lnTo>
                  <a:pt x="25" y="24"/>
                </a:lnTo>
                <a:lnTo>
                  <a:pt x="23" y="22"/>
                </a:lnTo>
                <a:lnTo>
                  <a:pt x="23" y="21"/>
                </a:lnTo>
                <a:lnTo>
                  <a:pt x="21" y="18"/>
                </a:lnTo>
                <a:lnTo>
                  <a:pt x="19" y="14"/>
                </a:lnTo>
                <a:lnTo>
                  <a:pt x="17" y="11"/>
                </a:lnTo>
                <a:lnTo>
                  <a:pt x="12" y="5"/>
                </a:lnTo>
                <a:lnTo>
                  <a:pt x="9" y="2"/>
                </a:lnTo>
                <a:lnTo>
                  <a:pt x="7" y="0"/>
                </a:lnTo>
                <a:lnTo>
                  <a:pt x="5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89" name="Freeform 186"/>
          <p:cNvSpPr>
            <a:spLocks/>
          </p:cNvSpPr>
          <p:nvPr/>
        </p:nvSpPr>
        <p:spPr bwMode="auto">
          <a:xfrm>
            <a:off x="6060292" y="2690602"/>
            <a:ext cx="89645" cy="55838"/>
          </a:xfrm>
          <a:custGeom>
            <a:avLst/>
            <a:gdLst/>
            <a:ahLst/>
            <a:cxnLst>
              <a:cxn ang="0">
                <a:pos x="37" y="0"/>
              </a:cxn>
              <a:cxn ang="0">
                <a:pos x="32" y="1"/>
              </a:cxn>
              <a:cxn ang="0">
                <a:pos x="25" y="3"/>
              </a:cxn>
              <a:cxn ang="0">
                <a:pos x="18" y="6"/>
              </a:cxn>
              <a:cxn ang="0">
                <a:pos x="8" y="6"/>
              </a:cxn>
              <a:cxn ang="0">
                <a:pos x="1" y="9"/>
              </a:cxn>
              <a:cxn ang="0">
                <a:pos x="1" y="12"/>
              </a:cxn>
              <a:cxn ang="0">
                <a:pos x="1" y="12"/>
              </a:cxn>
              <a:cxn ang="0">
                <a:pos x="2" y="17"/>
              </a:cxn>
              <a:cxn ang="0">
                <a:pos x="4" y="19"/>
              </a:cxn>
              <a:cxn ang="0">
                <a:pos x="6" y="20"/>
              </a:cxn>
              <a:cxn ang="0">
                <a:pos x="8" y="22"/>
              </a:cxn>
              <a:cxn ang="0">
                <a:pos x="6" y="23"/>
              </a:cxn>
              <a:cxn ang="0">
                <a:pos x="4" y="23"/>
              </a:cxn>
              <a:cxn ang="0">
                <a:pos x="4" y="26"/>
              </a:cxn>
              <a:cxn ang="0">
                <a:pos x="9" y="25"/>
              </a:cxn>
              <a:cxn ang="0">
                <a:pos x="14" y="25"/>
              </a:cxn>
              <a:cxn ang="0">
                <a:pos x="21" y="26"/>
              </a:cxn>
              <a:cxn ang="0">
                <a:pos x="22" y="26"/>
              </a:cxn>
              <a:cxn ang="0">
                <a:pos x="25" y="28"/>
              </a:cxn>
              <a:cxn ang="0">
                <a:pos x="28" y="26"/>
              </a:cxn>
              <a:cxn ang="0">
                <a:pos x="29" y="23"/>
              </a:cxn>
              <a:cxn ang="0">
                <a:pos x="30" y="19"/>
              </a:cxn>
              <a:cxn ang="0">
                <a:pos x="34" y="17"/>
              </a:cxn>
              <a:cxn ang="0">
                <a:pos x="33" y="14"/>
              </a:cxn>
              <a:cxn ang="0">
                <a:pos x="33" y="11"/>
              </a:cxn>
              <a:cxn ang="0">
                <a:pos x="40" y="9"/>
              </a:cxn>
              <a:cxn ang="0">
                <a:pos x="42" y="8"/>
              </a:cxn>
              <a:cxn ang="0">
                <a:pos x="42" y="8"/>
              </a:cxn>
              <a:cxn ang="0">
                <a:pos x="44" y="4"/>
              </a:cxn>
              <a:cxn ang="0">
                <a:pos x="46" y="6"/>
              </a:cxn>
              <a:cxn ang="0">
                <a:pos x="45" y="3"/>
              </a:cxn>
              <a:cxn ang="0">
                <a:pos x="42" y="0"/>
              </a:cxn>
            </a:cxnLst>
            <a:rect l="0" t="0" r="r" b="b"/>
            <a:pathLst>
              <a:path w="48" h="28">
                <a:moveTo>
                  <a:pt x="40" y="0"/>
                </a:moveTo>
                <a:lnTo>
                  <a:pt x="37" y="0"/>
                </a:lnTo>
                <a:lnTo>
                  <a:pt x="37" y="3"/>
                </a:lnTo>
                <a:lnTo>
                  <a:pt x="32" y="1"/>
                </a:lnTo>
                <a:lnTo>
                  <a:pt x="30" y="4"/>
                </a:lnTo>
                <a:lnTo>
                  <a:pt x="25" y="3"/>
                </a:lnTo>
                <a:lnTo>
                  <a:pt x="21" y="3"/>
                </a:lnTo>
                <a:lnTo>
                  <a:pt x="18" y="6"/>
                </a:lnTo>
                <a:lnTo>
                  <a:pt x="16" y="8"/>
                </a:lnTo>
                <a:lnTo>
                  <a:pt x="8" y="6"/>
                </a:lnTo>
                <a:lnTo>
                  <a:pt x="4" y="6"/>
                </a:lnTo>
                <a:lnTo>
                  <a:pt x="1" y="9"/>
                </a:lnTo>
                <a:lnTo>
                  <a:pt x="0" y="11"/>
                </a:lnTo>
                <a:lnTo>
                  <a:pt x="1" y="12"/>
                </a:lnTo>
                <a:lnTo>
                  <a:pt x="2" y="11"/>
                </a:lnTo>
                <a:lnTo>
                  <a:pt x="1" y="12"/>
                </a:lnTo>
                <a:lnTo>
                  <a:pt x="1" y="15"/>
                </a:lnTo>
                <a:lnTo>
                  <a:pt x="2" y="17"/>
                </a:lnTo>
                <a:lnTo>
                  <a:pt x="2" y="19"/>
                </a:lnTo>
                <a:lnTo>
                  <a:pt x="4" y="19"/>
                </a:lnTo>
                <a:lnTo>
                  <a:pt x="5" y="19"/>
                </a:lnTo>
                <a:lnTo>
                  <a:pt x="6" y="20"/>
                </a:lnTo>
                <a:lnTo>
                  <a:pt x="8" y="20"/>
                </a:lnTo>
                <a:lnTo>
                  <a:pt x="8" y="22"/>
                </a:lnTo>
                <a:lnTo>
                  <a:pt x="8" y="23"/>
                </a:lnTo>
                <a:lnTo>
                  <a:pt x="6" y="23"/>
                </a:lnTo>
                <a:lnTo>
                  <a:pt x="5" y="23"/>
                </a:lnTo>
                <a:lnTo>
                  <a:pt x="4" y="23"/>
                </a:lnTo>
                <a:lnTo>
                  <a:pt x="2" y="25"/>
                </a:lnTo>
                <a:lnTo>
                  <a:pt x="4" y="26"/>
                </a:lnTo>
                <a:lnTo>
                  <a:pt x="8" y="26"/>
                </a:lnTo>
                <a:lnTo>
                  <a:pt x="9" y="25"/>
                </a:lnTo>
                <a:lnTo>
                  <a:pt x="10" y="25"/>
                </a:lnTo>
                <a:lnTo>
                  <a:pt x="14" y="25"/>
                </a:lnTo>
                <a:lnTo>
                  <a:pt x="17" y="22"/>
                </a:lnTo>
                <a:lnTo>
                  <a:pt x="21" y="26"/>
                </a:lnTo>
                <a:lnTo>
                  <a:pt x="22" y="25"/>
                </a:lnTo>
                <a:lnTo>
                  <a:pt x="22" y="26"/>
                </a:lnTo>
                <a:lnTo>
                  <a:pt x="24" y="26"/>
                </a:lnTo>
                <a:lnTo>
                  <a:pt x="25" y="28"/>
                </a:lnTo>
                <a:lnTo>
                  <a:pt x="26" y="28"/>
                </a:lnTo>
                <a:lnTo>
                  <a:pt x="28" y="26"/>
                </a:lnTo>
                <a:lnTo>
                  <a:pt x="28" y="23"/>
                </a:lnTo>
                <a:lnTo>
                  <a:pt x="29" y="23"/>
                </a:lnTo>
                <a:lnTo>
                  <a:pt x="28" y="22"/>
                </a:lnTo>
                <a:lnTo>
                  <a:pt x="30" y="19"/>
                </a:lnTo>
                <a:lnTo>
                  <a:pt x="33" y="19"/>
                </a:lnTo>
                <a:lnTo>
                  <a:pt x="34" y="17"/>
                </a:lnTo>
                <a:lnTo>
                  <a:pt x="34" y="15"/>
                </a:lnTo>
                <a:lnTo>
                  <a:pt x="33" y="14"/>
                </a:lnTo>
                <a:lnTo>
                  <a:pt x="33" y="12"/>
                </a:lnTo>
                <a:lnTo>
                  <a:pt x="33" y="11"/>
                </a:lnTo>
                <a:lnTo>
                  <a:pt x="38" y="9"/>
                </a:lnTo>
                <a:lnTo>
                  <a:pt x="40" y="9"/>
                </a:lnTo>
                <a:lnTo>
                  <a:pt x="40" y="8"/>
                </a:lnTo>
                <a:lnTo>
                  <a:pt x="42" y="8"/>
                </a:lnTo>
                <a:lnTo>
                  <a:pt x="42" y="9"/>
                </a:lnTo>
                <a:lnTo>
                  <a:pt x="42" y="8"/>
                </a:lnTo>
                <a:lnTo>
                  <a:pt x="42" y="6"/>
                </a:lnTo>
                <a:lnTo>
                  <a:pt x="44" y="4"/>
                </a:lnTo>
                <a:lnTo>
                  <a:pt x="45" y="4"/>
                </a:lnTo>
                <a:lnTo>
                  <a:pt x="46" y="6"/>
                </a:lnTo>
                <a:lnTo>
                  <a:pt x="48" y="6"/>
                </a:lnTo>
                <a:lnTo>
                  <a:pt x="45" y="3"/>
                </a:lnTo>
                <a:lnTo>
                  <a:pt x="44" y="0"/>
                </a:lnTo>
                <a:lnTo>
                  <a:pt x="42" y="0"/>
                </a:lnTo>
                <a:lnTo>
                  <a:pt x="40" y="0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90" name="Freeform 187"/>
          <p:cNvSpPr>
            <a:spLocks/>
          </p:cNvSpPr>
          <p:nvPr/>
        </p:nvSpPr>
        <p:spPr bwMode="auto">
          <a:xfrm>
            <a:off x="6060292" y="2690602"/>
            <a:ext cx="89645" cy="55838"/>
          </a:xfrm>
          <a:custGeom>
            <a:avLst/>
            <a:gdLst/>
            <a:ahLst/>
            <a:cxnLst>
              <a:cxn ang="0">
                <a:pos x="37" y="0"/>
              </a:cxn>
              <a:cxn ang="0">
                <a:pos x="32" y="1"/>
              </a:cxn>
              <a:cxn ang="0">
                <a:pos x="25" y="3"/>
              </a:cxn>
              <a:cxn ang="0">
                <a:pos x="18" y="6"/>
              </a:cxn>
              <a:cxn ang="0">
                <a:pos x="8" y="6"/>
              </a:cxn>
              <a:cxn ang="0">
                <a:pos x="1" y="9"/>
              </a:cxn>
              <a:cxn ang="0">
                <a:pos x="1" y="12"/>
              </a:cxn>
              <a:cxn ang="0">
                <a:pos x="1" y="12"/>
              </a:cxn>
              <a:cxn ang="0">
                <a:pos x="2" y="17"/>
              </a:cxn>
              <a:cxn ang="0">
                <a:pos x="4" y="19"/>
              </a:cxn>
              <a:cxn ang="0">
                <a:pos x="6" y="20"/>
              </a:cxn>
              <a:cxn ang="0">
                <a:pos x="8" y="22"/>
              </a:cxn>
              <a:cxn ang="0">
                <a:pos x="6" y="23"/>
              </a:cxn>
              <a:cxn ang="0">
                <a:pos x="4" y="23"/>
              </a:cxn>
              <a:cxn ang="0">
                <a:pos x="4" y="26"/>
              </a:cxn>
              <a:cxn ang="0">
                <a:pos x="9" y="25"/>
              </a:cxn>
              <a:cxn ang="0">
                <a:pos x="14" y="25"/>
              </a:cxn>
              <a:cxn ang="0">
                <a:pos x="21" y="26"/>
              </a:cxn>
              <a:cxn ang="0">
                <a:pos x="22" y="26"/>
              </a:cxn>
              <a:cxn ang="0">
                <a:pos x="25" y="28"/>
              </a:cxn>
              <a:cxn ang="0">
                <a:pos x="28" y="26"/>
              </a:cxn>
              <a:cxn ang="0">
                <a:pos x="29" y="23"/>
              </a:cxn>
              <a:cxn ang="0">
                <a:pos x="30" y="19"/>
              </a:cxn>
              <a:cxn ang="0">
                <a:pos x="34" y="17"/>
              </a:cxn>
              <a:cxn ang="0">
                <a:pos x="33" y="14"/>
              </a:cxn>
              <a:cxn ang="0">
                <a:pos x="33" y="11"/>
              </a:cxn>
              <a:cxn ang="0">
                <a:pos x="40" y="9"/>
              </a:cxn>
              <a:cxn ang="0">
                <a:pos x="42" y="8"/>
              </a:cxn>
              <a:cxn ang="0">
                <a:pos x="42" y="8"/>
              </a:cxn>
              <a:cxn ang="0">
                <a:pos x="44" y="4"/>
              </a:cxn>
              <a:cxn ang="0">
                <a:pos x="46" y="6"/>
              </a:cxn>
              <a:cxn ang="0">
                <a:pos x="45" y="3"/>
              </a:cxn>
              <a:cxn ang="0">
                <a:pos x="42" y="0"/>
              </a:cxn>
            </a:cxnLst>
            <a:rect l="0" t="0" r="r" b="b"/>
            <a:pathLst>
              <a:path w="48" h="28">
                <a:moveTo>
                  <a:pt x="40" y="0"/>
                </a:moveTo>
                <a:lnTo>
                  <a:pt x="37" y="0"/>
                </a:lnTo>
                <a:lnTo>
                  <a:pt x="37" y="3"/>
                </a:lnTo>
                <a:lnTo>
                  <a:pt x="32" y="1"/>
                </a:lnTo>
                <a:lnTo>
                  <a:pt x="30" y="4"/>
                </a:lnTo>
                <a:lnTo>
                  <a:pt x="25" y="3"/>
                </a:lnTo>
                <a:lnTo>
                  <a:pt x="21" y="3"/>
                </a:lnTo>
                <a:lnTo>
                  <a:pt x="18" y="6"/>
                </a:lnTo>
                <a:lnTo>
                  <a:pt x="16" y="8"/>
                </a:lnTo>
                <a:lnTo>
                  <a:pt x="8" y="6"/>
                </a:lnTo>
                <a:lnTo>
                  <a:pt x="4" y="6"/>
                </a:lnTo>
                <a:lnTo>
                  <a:pt x="1" y="9"/>
                </a:lnTo>
                <a:lnTo>
                  <a:pt x="0" y="11"/>
                </a:lnTo>
                <a:lnTo>
                  <a:pt x="1" y="12"/>
                </a:lnTo>
                <a:lnTo>
                  <a:pt x="2" y="11"/>
                </a:lnTo>
                <a:lnTo>
                  <a:pt x="1" y="12"/>
                </a:lnTo>
                <a:lnTo>
                  <a:pt x="1" y="15"/>
                </a:lnTo>
                <a:lnTo>
                  <a:pt x="2" y="17"/>
                </a:lnTo>
                <a:lnTo>
                  <a:pt x="2" y="19"/>
                </a:lnTo>
                <a:lnTo>
                  <a:pt x="4" y="19"/>
                </a:lnTo>
                <a:lnTo>
                  <a:pt x="5" y="19"/>
                </a:lnTo>
                <a:lnTo>
                  <a:pt x="6" y="20"/>
                </a:lnTo>
                <a:lnTo>
                  <a:pt x="8" y="20"/>
                </a:lnTo>
                <a:lnTo>
                  <a:pt x="8" y="22"/>
                </a:lnTo>
                <a:lnTo>
                  <a:pt x="8" y="23"/>
                </a:lnTo>
                <a:lnTo>
                  <a:pt x="6" y="23"/>
                </a:lnTo>
                <a:lnTo>
                  <a:pt x="5" y="23"/>
                </a:lnTo>
                <a:lnTo>
                  <a:pt x="4" y="23"/>
                </a:lnTo>
                <a:lnTo>
                  <a:pt x="2" y="25"/>
                </a:lnTo>
                <a:lnTo>
                  <a:pt x="4" y="26"/>
                </a:lnTo>
                <a:lnTo>
                  <a:pt x="8" y="26"/>
                </a:lnTo>
                <a:lnTo>
                  <a:pt x="9" y="25"/>
                </a:lnTo>
                <a:lnTo>
                  <a:pt x="10" y="25"/>
                </a:lnTo>
                <a:lnTo>
                  <a:pt x="14" y="25"/>
                </a:lnTo>
                <a:lnTo>
                  <a:pt x="17" y="22"/>
                </a:lnTo>
                <a:lnTo>
                  <a:pt x="21" y="26"/>
                </a:lnTo>
                <a:lnTo>
                  <a:pt x="22" y="25"/>
                </a:lnTo>
                <a:lnTo>
                  <a:pt x="22" y="26"/>
                </a:lnTo>
                <a:lnTo>
                  <a:pt x="24" y="26"/>
                </a:lnTo>
                <a:lnTo>
                  <a:pt x="25" y="28"/>
                </a:lnTo>
                <a:lnTo>
                  <a:pt x="26" y="28"/>
                </a:lnTo>
                <a:lnTo>
                  <a:pt x="28" y="26"/>
                </a:lnTo>
                <a:lnTo>
                  <a:pt x="28" y="23"/>
                </a:lnTo>
                <a:lnTo>
                  <a:pt x="29" y="23"/>
                </a:lnTo>
                <a:lnTo>
                  <a:pt x="28" y="22"/>
                </a:lnTo>
                <a:lnTo>
                  <a:pt x="30" y="19"/>
                </a:lnTo>
                <a:lnTo>
                  <a:pt x="33" y="19"/>
                </a:lnTo>
                <a:lnTo>
                  <a:pt x="34" y="17"/>
                </a:lnTo>
                <a:lnTo>
                  <a:pt x="34" y="15"/>
                </a:lnTo>
                <a:lnTo>
                  <a:pt x="33" y="14"/>
                </a:lnTo>
                <a:lnTo>
                  <a:pt x="33" y="12"/>
                </a:lnTo>
                <a:lnTo>
                  <a:pt x="33" y="11"/>
                </a:lnTo>
                <a:lnTo>
                  <a:pt x="38" y="9"/>
                </a:lnTo>
                <a:lnTo>
                  <a:pt x="40" y="9"/>
                </a:lnTo>
                <a:lnTo>
                  <a:pt x="40" y="8"/>
                </a:lnTo>
                <a:lnTo>
                  <a:pt x="42" y="8"/>
                </a:lnTo>
                <a:lnTo>
                  <a:pt x="42" y="9"/>
                </a:lnTo>
                <a:lnTo>
                  <a:pt x="42" y="8"/>
                </a:lnTo>
                <a:lnTo>
                  <a:pt x="42" y="6"/>
                </a:lnTo>
                <a:lnTo>
                  <a:pt x="44" y="4"/>
                </a:lnTo>
                <a:lnTo>
                  <a:pt x="45" y="4"/>
                </a:lnTo>
                <a:lnTo>
                  <a:pt x="46" y="6"/>
                </a:lnTo>
                <a:lnTo>
                  <a:pt x="48" y="6"/>
                </a:lnTo>
                <a:lnTo>
                  <a:pt x="45" y="3"/>
                </a:lnTo>
                <a:lnTo>
                  <a:pt x="44" y="0"/>
                </a:lnTo>
                <a:lnTo>
                  <a:pt x="42" y="0"/>
                </a:lnTo>
                <a:lnTo>
                  <a:pt x="4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91" name="Freeform 188"/>
          <p:cNvSpPr>
            <a:spLocks/>
          </p:cNvSpPr>
          <p:nvPr/>
        </p:nvSpPr>
        <p:spPr bwMode="auto">
          <a:xfrm>
            <a:off x="6262967" y="2849526"/>
            <a:ext cx="70158" cy="51542"/>
          </a:xfrm>
          <a:custGeom>
            <a:avLst/>
            <a:gdLst/>
            <a:ahLst/>
            <a:cxnLst>
              <a:cxn ang="0">
                <a:pos x="7" y="27"/>
              </a:cxn>
              <a:cxn ang="0">
                <a:pos x="3" y="22"/>
              </a:cxn>
              <a:cxn ang="0">
                <a:pos x="0" y="17"/>
              </a:cxn>
              <a:cxn ang="0">
                <a:pos x="0" y="14"/>
              </a:cxn>
              <a:cxn ang="0">
                <a:pos x="2" y="5"/>
              </a:cxn>
              <a:cxn ang="0">
                <a:pos x="3" y="5"/>
              </a:cxn>
              <a:cxn ang="0">
                <a:pos x="4" y="5"/>
              </a:cxn>
              <a:cxn ang="0">
                <a:pos x="4" y="3"/>
              </a:cxn>
              <a:cxn ang="0">
                <a:pos x="10" y="1"/>
              </a:cxn>
              <a:cxn ang="0">
                <a:pos x="12" y="3"/>
              </a:cxn>
              <a:cxn ang="0">
                <a:pos x="12" y="1"/>
              </a:cxn>
              <a:cxn ang="0">
                <a:pos x="15" y="1"/>
              </a:cxn>
              <a:cxn ang="0">
                <a:pos x="19" y="1"/>
              </a:cxn>
              <a:cxn ang="0">
                <a:pos x="20" y="0"/>
              </a:cxn>
              <a:cxn ang="0">
                <a:pos x="24" y="1"/>
              </a:cxn>
              <a:cxn ang="0">
                <a:pos x="27" y="1"/>
              </a:cxn>
              <a:cxn ang="0">
                <a:pos x="28" y="1"/>
              </a:cxn>
              <a:cxn ang="0">
                <a:pos x="35" y="6"/>
              </a:cxn>
              <a:cxn ang="0">
                <a:pos x="36" y="14"/>
              </a:cxn>
              <a:cxn ang="0">
                <a:pos x="36" y="17"/>
              </a:cxn>
              <a:cxn ang="0">
                <a:pos x="35" y="17"/>
              </a:cxn>
              <a:cxn ang="0">
                <a:pos x="31" y="22"/>
              </a:cxn>
              <a:cxn ang="0">
                <a:pos x="26" y="22"/>
              </a:cxn>
              <a:cxn ang="0">
                <a:pos x="20" y="23"/>
              </a:cxn>
              <a:cxn ang="0">
                <a:pos x="18" y="25"/>
              </a:cxn>
              <a:cxn ang="0">
                <a:pos x="7" y="27"/>
              </a:cxn>
            </a:cxnLst>
            <a:rect l="0" t="0" r="r" b="b"/>
            <a:pathLst>
              <a:path w="36" h="27">
                <a:moveTo>
                  <a:pt x="7" y="27"/>
                </a:moveTo>
                <a:lnTo>
                  <a:pt x="3" y="22"/>
                </a:lnTo>
                <a:lnTo>
                  <a:pt x="0" y="17"/>
                </a:lnTo>
                <a:lnTo>
                  <a:pt x="0" y="14"/>
                </a:lnTo>
                <a:lnTo>
                  <a:pt x="2" y="5"/>
                </a:lnTo>
                <a:lnTo>
                  <a:pt x="3" y="5"/>
                </a:lnTo>
                <a:lnTo>
                  <a:pt x="4" y="5"/>
                </a:lnTo>
                <a:lnTo>
                  <a:pt x="4" y="3"/>
                </a:lnTo>
                <a:lnTo>
                  <a:pt x="10" y="1"/>
                </a:lnTo>
                <a:lnTo>
                  <a:pt x="12" y="3"/>
                </a:lnTo>
                <a:lnTo>
                  <a:pt x="12" y="1"/>
                </a:lnTo>
                <a:lnTo>
                  <a:pt x="15" y="1"/>
                </a:lnTo>
                <a:lnTo>
                  <a:pt x="19" y="1"/>
                </a:lnTo>
                <a:lnTo>
                  <a:pt x="20" y="0"/>
                </a:lnTo>
                <a:lnTo>
                  <a:pt x="24" y="1"/>
                </a:lnTo>
                <a:lnTo>
                  <a:pt x="27" y="1"/>
                </a:lnTo>
                <a:lnTo>
                  <a:pt x="28" y="1"/>
                </a:lnTo>
                <a:lnTo>
                  <a:pt x="35" y="6"/>
                </a:lnTo>
                <a:lnTo>
                  <a:pt x="36" y="14"/>
                </a:lnTo>
                <a:lnTo>
                  <a:pt x="36" y="17"/>
                </a:lnTo>
                <a:lnTo>
                  <a:pt x="35" y="17"/>
                </a:lnTo>
                <a:lnTo>
                  <a:pt x="31" y="22"/>
                </a:lnTo>
                <a:lnTo>
                  <a:pt x="26" y="22"/>
                </a:lnTo>
                <a:lnTo>
                  <a:pt x="20" y="23"/>
                </a:lnTo>
                <a:lnTo>
                  <a:pt x="18" y="25"/>
                </a:lnTo>
                <a:lnTo>
                  <a:pt x="7" y="27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92" name="Freeform 189"/>
          <p:cNvSpPr>
            <a:spLocks/>
          </p:cNvSpPr>
          <p:nvPr/>
        </p:nvSpPr>
        <p:spPr bwMode="auto">
          <a:xfrm>
            <a:off x="6262967" y="2849526"/>
            <a:ext cx="70158" cy="51542"/>
          </a:xfrm>
          <a:custGeom>
            <a:avLst/>
            <a:gdLst/>
            <a:ahLst/>
            <a:cxnLst>
              <a:cxn ang="0">
                <a:pos x="7" y="27"/>
              </a:cxn>
              <a:cxn ang="0">
                <a:pos x="3" y="22"/>
              </a:cxn>
              <a:cxn ang="0">
                <a:pos x="0" y="17"/>
              </a:cxn>
              <a:cxn ang="0">
                <a:pos x="0" y="14"/>
              </a:cxn>
              <a:cxn ang="0">
                <a:pos x="2" y="5"/>
              </a:cxn>
              <a:cxn ang="0">
                <a:pos x="3" y="5"/>
              </a:cxn>
              <a:cxn ang="0">
                <a:pos x="4" y="5"/>
              </a:cxn>
              <a:cxn ang="0">
                <a:pos x="4" y="3"/>
              </a:cxn>
              <a:cxn ang="0">
                <a:pos x="10" y="1"/>
              </a:cxn>
              <a:cxn ang="0">
                <a:pos x="12" y="3"/>
              </a:cxn>
              <a:cxn ang="0">
                <a:pos x="12" y="1"/>
              </a:cxn>
              <a:cxn ang="0">
                <a:pos x="15" y="1"/>
              </a:cxn>
              <a:cxn ang="0">
                <a:pos x="19" y="1"/>
              </a:cxn>
              <a:cxn ang="0">
                <a:pos x="20" y="0"/>
              </a:cxn>
              <a:cxn ang="0">
                <a:pos x="24" y="1"/>
              </a:cxn>
              <a:cxn ang="0">
                <a:pos x="27" y="1"/>
              </a:cxn>
              <a:cxn ang="0">
                <a:pos x="28" y="1"/>
              </a:cxn>
              <a:cxn ang="0">
                <a:pos x="35" y="6"/>
              </a:cxn>
              <a:cxn ang="0">
                <a:pos x="36" y="14"/>
              </a:cxn>
              <a:cxn ang="0">
                <a:pos x="36" y="17"/>
              </a:cxn>
              <a:cxn ang="0">
                <a:pos x="35" y="17"/>
              </a:cxn>
              <a:cxn ang="0">
                <a:pos x="31" y="22"/>
              </a:cxn>
              <a:cxn ang="0">
                <a:pos x="26" y="22"/>
              </a:cxn>
              <a:cxn ang="0">
                <a:pos x="20" y="23"/>
              </a:cxn>
              <a:cxn ang="0">
                <a:pos x="18" y="25"/>
              </a:cxn>
              <a:cxn ang="0">
                <a:pos x="7" y="27"/>
              </a:cxn>
            </a:cxnLst>
            <a:rect l="0" t="0" r="r" b="b"/>
            <a:pathLst>
              <a:path w="36" h="27">
                <a:moveTo>
                  <a:pt x="7" y="27"/>
                </a:moveTo>
                <a:lnTo>
                  <a:pt x="3" y="22"/>
                </a:lnTo>
                <a:lnTo>
                  <a:pt x="0" y="17"/>
                </a:lnTo>
                <a:lnTo>
                  <a:pt x="0" y="14"/>
                </a:lnTo>
                <a:lnTo>
                  <a:pt x="2" y="5"/>
                </a:lnTo>
                <a:lnTo>
                  <a:pt x="3" y="5"/>
                </a:lnTo>
                <a:lnTo>
                  <a:pt x="4" y="5"/>
                </a:lnTo>
                <a:lnTo>
                  <a:pt x="4" y="3"/>
                </a:lnTo>
                <a:lnTo>
                  <a:pt x="10" y="1"/>
                </a:lnTo>
                <a:lnTo>
                  <a:pt x="12" y="3"/>
                </a:lnTo>
                <a:lnTo>
                  <a:pt x="12" y="1"/>
                </a:lnTo>
                <a:lnTo>
                  <a:pt x="15" y="1"/>
                </a:lnTo>
                <a:lnTo>
                  <a:pt x="19" y="1"/>
                </a:lnTo>
                <a:lnTo>
                  <a:pt x="20" y="0"/>
                </a:lnTo>
                <a:lnTo>
                  <a:pt x="24" y="1"/>
                </a:lnTo>
                <a:lnTo>
                  <a:pt x="27" y="1"/>
                </a:lnTo>
                <a:lnTo>
                  <a:pt x="28" y="1"/>
                </a:lnTo>
                <a:lnTo>
                  <a:pt x="35" y="6"/>
                </a:lnTo>
                <a:lnTo>
                  <a:pt x="36" y="14"/>
                </a:lnTo>
                <a:lnTo>
                  <a:pt x="36" y="17"/>
                </a:lnTo>
                <a:lnTo>
                  <a:pt x="35" y="17"/>
                </a:lnTo>
                <a:lnTo>
                  <a:pt x="31" y="22"/>
                </a:lnTo>
                <a:lnTo>
                  <a:pt x="26" y="22"/>
                </a:lnTo>
                <a:lnTo>
                  <a:pt x="20" y="23"/>
                </a:lnTo>
                <a:lnTo>
                  <a:pt x="18" y="25"/>
                </a:lnTo>
                <a:lnTo>
                  <a:pt x="7" y="27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93" name="Freeform 190"/>
          <p:cNvSpPr>
            <a:spLocks/>
          </p:cNvSpPr>
          <p:nvPr/>
        </p:nvSpPr>
        <p:spPr bwMode="auto">
          <a:xfrm>
            <a:off x="8556722" y="3549646"/>
            <a:ext cx="206575" cy="302812"/>
          </a:xfrm>
          <a:custGeom>
            <a:avLst/>
            <a:gdLst/>
            <a:ahLst/>
            <a:cxnLst>
              <a:cxn ang="0">
                <a:pos x="37" y="13"/>
              </a:cxn>
              <a:cxn ang="0">
                <a:pos x="39" y="22"/>
              </a:cxn>
              <a:cxn ang="0">
                <a:pos x="50" y="30"/>
              </a:cxn>
              <a:cxn ang="0">
                <a:pos x="62" y="32"/>
              </a:cxn>
              <a:cxn ang="0">
                <a:pos x="66" y="39"/>
              </a:cxn>
              <a:cxn ang="0">
                <a:pos x="69" y="46"/>
              </a:cxn>
              <a:cxn ang="0">
                <a:pos x="59" y="50"/>
              </a:cxn>
              <a:cxn ang="0">
                <a:pos x="55" y="55"/>
              </a:cxn>
              <a:cxn ang="0">
                <a:pos x="61" y="60"/>
              </a:cxn>
              <a:cxn ang="0">
                <a:pos x="74" y="74"/>
              </a:cxn>
              <a:cxn ang="0">
                <a:pos x="86" y="88"/>
              </a:cxn>
              <a:cxn ang="0">
                <a:pos x="94" y="98"/>
              </a:cxn>
              <a:cxn ang="0">
                <a:pos x="95" y="105"/>
              </a:cxn>
              <a:cxn ang="0">
                <a:pos x="103" y="112"/>
              </a:cxn>
              <a:cxn ang="0">
                <a:pos x="109" y="129"/>
              </a:cxn>
              <a:cxn ang="0">
                <a:pos x="105" y="143"/>
              </a:cxn>
              <a:cxn ang="0">
                <a:pos x="98" y="143"/>
              </a:cxn>
              <a:cxn ang="0">
                <a:pos x="89" y="146"/>
              </a:cxn>
              <a:cxn ang="0">
                <a:pos x="82" y="151"/>
              </a:cxn>
              <a:cxn ang="0">
                <a:pos x="75" y="145"/>
              </a:cxn>
              <a:cxn ang="0">
                <a:pos x="78" y="129"/>
              </a:cxn>
              <a:cxn ang="0">
                <a:pos x="79" y="121"/>
              </a:cxn>
              <a:cxn ang="0">
                <a:pos x="74" y="115"/>
              </a:cxn>
              <a:cxn ang="0">
                <a:pos x="69" y="110"/>
              </a:cxn>
              <a:cxn ang="0">
                <a:pos x="67" y="94"/>
              </a:cxn>
              <a:cxn ang="0">
                <a:pos x="63" y="87"/>
              </a:cxn>
              <a:cxn ang="0">
                <a:pos x="58" y="80"/>
              </a:cxn>
              <a:cxn ang="0">
                <a:pos x="50" y="74"/>
              </a:cxn>
              <a:cxn ang="0">
                <a:pos x="42" y="77"/>
              </a:cxn>
              <a:cxn ang="0">
                <a:pos x="35" y="82"/>
              </a:cxn>
              <a:cxn ang="0">
                <a:pos x="30" y="77"/>
              </a:cxn>
              <a:cxn ang="0">
                <a:pos x="21" y="79"/>
              </a:cxn>
              <a:cxn ang="0">
                <a:pos x="13" y="87"/>
              </a:cxn>
              <a:cxn ang="0">
                <a:pos x="10" y="82"/>
              </a:cxn>
              <a:cxn ang="0">
                <a:pos x="14" y="68"/>
              </a:cxn>
              <a:cxn ang="0">
                <a:pos x="13" y="57"/>
              </a:cxn>
              <a:cxn ang="0">
                <a:pos x="8" y="50"/>
              </a:cxn>
              <a:cxn ang="0">
                <a:pos x="5" y="44"/>
              </a:cxn>
              <a:cxn ang="0">
                <a:pos x="2" y="36"/>
              </a:cxn>
              <a:cxn ang="0">
                <a:pos x="0" y="32"/>
              </a:cxn>
              <a:cxn ang="0">
                <a:pos x="2" y="28"/>
              </a:cxn>
              <a:cxn ang="0">
                <a:pos x="5" y="25"/>
              </a:cxn>
              <a:cxn ang="0">
                <a:pos x="14" y="16"/>
              </a:cxn>
              <a:cxn ang="0">
                <a:pos x="22" y="21"/>
              </a:cxn>
              <a:cxn ang="0">
                <a:pos x="21" y="6"/>
              </a:cxn>
              <a:cxn ang="0">
                <a:pos x="29" y="0"/>
              </a:cxn>
            </a:cxnLst>
            <a:rect l="0" t="0" r="r" b="b"/>
            <a:pathLst>
              <a:path w="109" h="152">
                <a:moveTo>
                  <a:pt x="29" y="2"/>
                </a:moveTo>
                <a:lnTo>
                  <a:pt x="31" y="6"/>
                </a:lnTo>
                <a:lnTo>
                  <a:pt x="37" y="13"/>
                </a:lnTo>
                <a:lnTo>
                  <a:pt x="39" y="14"/>
                </a:lnTo>
                <a:lnTo>
                  <a:pt x="41" y="17"/>
                </a:lnTo>
                <a:lnTo>
                  <a:pt x="39" y="22"/>
                </a:lnTo>
                <a:lnTo>
                  <a:pt x="41" y="24"/>
                </a:lnTo>
                <a:lnTo>
                  <a:pt x="45" y="28"/>
                </a:lnTo>
                <a:lnTo>
                  <a:pt x="50" y="30"/>
                </a:lnTo>
                <a:lnTo>
                  <a:pt x="55" y="28"/>
                </a:lnTo>
                <a:lnTo>
                  <a:pt x="59" y="28"/>
                </a:lnTo>
                <a:lnTo>
                  <a:pt x="62" y="32"/>
                </a:lnTo>
                <a:lnTo>
                  <a:pt x="63" y="35"/>
                </a:lnTo>
                <a:lnTo>
                  <a:pt x="65" y="36"/>
                </a:lnTo>
                <a:lnTo>
                  <a:pt x="66" y="39"/>
                </a:lnTo>
                <a:lnTo>
                  <a:pt x="67" y="41"/>
                </a:lnTo>
                <a:lnTo>
                  <a:pt x="69" y="44"/>
                </a:lnTo>
                <a:lnTo>
                  <a:pt x="69" y="46"/>
                </a:lnTo>
                <a:lnTo>
                  <a:pt x="65" y="50"/>
                </a:lnTo>
                <a:lnTo>
                  <a:pt x="63" y="50"/>
                </a:lnTo>
                <a:lnTo>
                  <a:pt x="59" y="50"/>
                </a:lnTo>
                <a:lnTo>
                  <a:pt x="58" y="50"/>
                </a:lnTo>
                <a:lnTo>
                  <a:pt x="57" y="52"/>
                </a:lnTo>
                <a:lnTo>
                  <a:pt x="55" y="55"/>
                </a:lnTo>
                <a:lnTo>
                  <a:pt x="57" y="57"/>
                </a:lnTo>
                <a:lnTo>
                  <a:pt x="58" y="58"/>
                </a:lnTo>
                <a:lnTo>
                  <a:pt x="61" y="60"/>
                </a:lnTo>
                <a:lnTo>
                  <a:pt x="66" y="63"/>
                </a:lnTo>
                <a:lnTo>
                  <a:pt x="73" y="69"/>
                </a:lnTo>
                <a:lnTo>
                  <a:pt x="74" y="74"/>
                </a:lnTo>
                <a:lnTo>
                  <a:pt x="81" y="80"/>
                </a:lnTo>
                <a:lnTo>
                  <a:pt x="81" y="83"/>
                </a:lnTo>
                <a:lnTo>
                  <a:pt x="86" y="88"/>
                </a:lnTo>
                <a:lnTo>
                  <a:pt x="87" y="90"/>
                </a:lnTo>
                <a:lnTo>
                  <a:pt x="91" y="93"/>
                </a:lnTo>
                <a:lnTo>
                  <a:pt x="94" y="98"/>
                </a:lnTo>
                <a:lnTo>
                  <a:pt x="94" y="101"/>
                </a:lnTo>
                <a:lnTo>
                  <a:pt x="94" y="102"/>
                </a:lnTo>
                <a:lnTo>
                  <a:pt x="95" y="105"/>
                </a:lnTo>
                <a:lnTo>
                  <a:pt x="98" y="105"/>
                </a:lnTo>
                <a:lnTo>
                  <a:pt x="102" y="108"/>
                </a:lnTo>
                <a:lnTo>
                  <a:pt x="103" y="112"/>
                </a:lnTo>
                <a:lnTo>
                  <a:pt x="105" y="118"/>
                </a:lnTo>
                <a:lnTo>
                  <a:pt x="109" y="126"/>
                </a:lnTo>
                <a:lnTo>
                  <a:pt x="109" y="129"/>
                </a:lnTo>
                <a:lnTo>
                  <a:pt x="109" y="138"/>
                </a:lnTo>
                <a:lnTo>
                  <a:pt x="109" y="141"/>
                </a:lnTo>
                <a:lnTo>
                  <a:pt x="105" y="143"/>
                </a:lnTo>
                <a:lnTo>
                  <a:pt x="102" y="145"/>
                </a:lnTo>
                <a:lnTo>
                  <a:pt x="101" y="145"/>
                </a:lnTo>
                <a:lnTo>
                  <a:pt x="98" y="143"/>
                </a:lnTo>
                <a:lnTo>
                  <a:pt x="95" y="143"/>
                </a:lnTo>
                <a:lnTo>
                  <a:pt x="93" y="143"/>
                </a:lnTo>
                <a:lnTo>
                  <a:pt x="89" y="146"/>
                </a:lnTo>
                <a:lnTo>
                  <a:pt x="87" y="151"/>
                </a:lnTo>
                <a:lnTo>
                  <a:pt x="86" y="152"/>
                </a:lnTo>
                <a:lnTo>
                  <a:pt x="82" y="151"/>
                </a:lnTo>
                <a:lnTo>
                  <a:pt x="78" y="149"/>
                </a:lnTo>
                <a:lnTo>
                  <a:pt x="75" y="146"/>
                </a:lnTo>
                <a:lnTo>
                  <a:pt x="75" y="145"/>
                </a:lnTo>
                <a:lnTo>
                  <a:pt x="77" y="145"/>
                </a:lnTo>
                <a:lnTo>
                  <a:pt x="78" y="141"/>
                </a:lnTo>
                <a:lnTo>
                  <a:pt x="78" y="129"/>
                </a:lnTo>
                <a:lnTo>
                  <a:pt x="79" y="126"/>
                </a:lnTo>
                <a:lnTo>
                  <a:pt x="79" y="123"/>
                </a:lnTo>
                <a:lnTo>
                  <a:pt x="79" y="121"/>
                </a:lnTo>
                <a:lnTo>
                  <a:pt x="78" y="119"/>
                </a:lnTo>
                <a:lnTo>
                  <a:pt x="75" y="118"/>
                </a:lnTo>
                <a:lnTo>
                  <a:pt x="74" y="115"/>
                </a:lnTo>
                <a:lnTo>
                  <a:pt x="73" y="115"/>
                </a:lnTo>
                <a:lnTo>
                  <a:pt x="70" y="113"/>
                </a:lnTo>
                <a:lnTo>
                  <a:pt x="69" y="110"/>
                </a:lnTo>
                <a:lnTo>
                  <a:pt x="67" y="107"/>
                </a:lnTo>
                <a:lnTo>
                  <a:pt x="67" y="99"/>
                </a:lnTo>
                <a:lnTo>
                  <a:pt x="67" y="94"/>
                </a:lnTo>
                <a:lnTo>
                  <a:pt x="66" y="91"/>
                </a:lnTo>
                <a:lnTo>
                  <a:pt x="65" y="88"/>
                </a:lnTo>
                <a:lnTo>
                  <a:pt x="63" y="87"/>
                </a:lnTo>
                <a:lnTo>
                  <a:pt x="62" y="83"/>
                </a:lnTo>
                <a:lnTo>
                  <a:pt x="59" y="83"/>
                </a:lnTo>
                <a:lnTo>
                  <a:pt x="58" y="80"/>
                </a:lnTo>
                <a:lnTo>
                  <a:pt x="57" y="79"/>
                </a:lnTo>
                <a:lnTo>
                  <a:pt x="53" y="74"/>
                </a:lnTo>
                <a:lnTo>
                  <a:pt x="50" y="74"/>
                </a:lnTo>
                <a:lnTo>
                  <a:pt x="46" y="74"/>
                </a:lnTo>
                <a:lnTo>
                  <a:pt x="43" y="74"/>
                </a:lnTo>
                <a:lnTo>
                  <a:pt x="42" y="77"/>
                </a:lnTo>
                <a:lnTo>
                  <a:pt x="42" y="79"/>
                </a:lnTo>
                <a:lnTo>
                  <a:pt x="39" y="80"/>
                </a:lnTo>
                <a:lnTo>
                  <a:pt x="35" y="82"/>
                </a:lnTo>
                <a:lnTo>
                  <a:pt x="34" y="82"/>
                </a:lnTo>
                <a:lnTo>
                  <a:pt x="31" y="80"/>
                </a:lnTo>
                <a:lnTo>
                  <a:pt x="30" y="77"/>
                </a:lnTo>
                <a:lnTo>
                  <a:pt x="27" y="77"/>
                </a:lnTo>
                <a:lnTo>
                  <a:pt x="25" y="77"/>
                </a:lnTo>
                <a:lnTo>
                  <a:pt x="21" y="79"/>
                </a:lnTo>
                <a:lnTo>
                  <a:pt x="18" y="82"/>
                </a:lnTo>
                <a:lnTo>
                  <a:pt x="14" y="83"/>
                </a:lnTo>
                <a:lnTo>
                  <a:pt x="13" y="87"/>
                </a:lnTo>
                <a:lnTo>
                  <a:pt x="12" y="88"/>
                </a:lnTo>
                <a:lnTo>
                  <a:pt x="12" y="87"/>
                </a:lnTo>
                <a:lnTo>
                  <a:pt x="10" y="82"/>
                </a:lnTo>
                <a:lnTo>
                  <a:pt x="12" y="79"/>
                </a:lnTo>
                <a:lnTo>
                  <a:pt x="13" y="71"/>
                </a:lnTo>
                <a:lnTo>
                  <a:pt x="14" y="68"/>
                </a:lnTo>
                <a:lnTo>
                  <a:pt x="14" y="65"/>
                </a:lnTo>
                <a:lnTo>
                  <a:pt x="14" y="61"/>
                </a:lnTo>
                <a:lnTo>
                  <a:pt x="13" y="57"/>
                </a:lnTo>
                <a:lnTo>
                  <a:pt x="14" y="52"/>
                </a:lnTo>
                <a:lnTo>
                  <a:pt x="13" y="50"/>
                </a:lnTo>
                <a:lnTo>
                  <a:pt x="8" y="50"/>
                </a:lnTo>
                <a:lnTo>
                  <a:pt x="6" y="50"/>
                </a:lnTo>
                <a:lnTo>
                  <a:pt x="5" y="50"/>
                </a:lnTo>
                <a:lnTo>
                  <a:pt x="5" y="44"/>
                </a:lnTo>
                <a:lnTo>
                  <a:pt x="5" y="39"/>
                </a:lnTo>
                <a:lnTo>
                  <a:pt x="4" y="36"/>
                </a:lnTo>
                <a:lnTo>
                  <a:pt x="2" y="36"/>
                </a:lnTo>
                <a:lnTo>
                  <a:pt x="0" y="36"/>
                </a:lnTo>
                <a:lnTo>
                  <a:pt x="0" y="35"/>
                </a:lnTo>
                <a:lnTo>
                  <a:pt x="0" y="32"/>
                </a:lnTo>
                <a:lnTo>
                  <a:pt x="1" y="32"/>
                </a:lnTo>
                <a:lnTo>
                  <a:pt x="1" y="30"/>
                </a:lnTo>
                <a:lnTo>
                  <a:pt x="2" y="28"/>
                </a:lnTo>
                <a:lnTo>
                  <a:pt x="5" y="28"/>
                </a:lnTo>
                <a:lnTo>
                  <a:pt x="6" y="28"/>
                </a:lnTo>
                <a:lnTo>
                  <a:pt x="5" y="25"/>
                </a:lnTo>
                <a:lnTo>
                  <a:pt x="5" y="24"/>
                </a:lnTo>
                <a:lnTo>
                  <a:pt x="13" y="19"/>
                </a:lnTo>
                <a:lnTo>
                  <a:pt x="14" y="16"/>
                </a:lnTo>
                <a:lnTo>
                  <a:pt x="15" y="24"/>
                </a:lnTo>
                <a:lnTo>
                  <a:pt x="21" y="22"/>
                </a:lnTo>
                <a:lnTo>
                  <a:pt x="22" y="21"/>
                </a:lnTo>
                <a:lnTo>
                  <a:pt x="23" y="16"/>
                </a:lnTo>
                <a:lnTo>
                  <a:pt x="21" y="11"/>
                </a:lnTo>
                <a:lnTo>
                  <a:pt x="21" y="6"/>
                </a:lnTo>
                <a:lnTo>
                  <a:pt x="21" y="3"/>
                </a:lnTo>
                <a:lnTo>
                  <a:pt x="23" y="0"/>
                </a:lnTo>
                <a:lnTo>
                  <a:pt x="29" y="0"/>
                </a:lnTo>
                <a:lnTo>
                  <a:pt x="29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94" name="Freeform 191"/>
          <p:cNvSpPr>
            <a:spLocks/>
          </p:cNvSpPr>
          <p:nvPr/>
        </p:nvSpPr>
        <p:spPr bwMode="auto">
          <a:xfrm>
            <a:off x="8556722" y="3549646"/>
            <a:ext cx="206575" cy="302812"/>
          </a:xfrm>
          <a:custGeom>
            <a:avLst/>
            <a:gdLst/>
            <a:ahLst/>
            <a:cxnLst>
              <a:cxn ang="0">
                <a:pos x="37" y="13"/>
              </a:cxn>
              <a:cxn ang="0">
                <a:pos x="39" y="22"/>
              </a:cxn>
              <a:cxn ang="0">
                <a:pos x="50" y="30"/>
              </a:cxn>
              <a:cxn ang="0">
                <a:pos x="62" y="32"/>
              </a:cxn>
              <a:cxn ang="0">
                <a:pos x="66" y="39"/>
              </a:cxn>
              <a:cxn ang="0">
                <a:pos x="69" y="46"/>
              </a:cxn>
              <a:cxn ang="0">
                <a:pos x="59" y="50"/>
              </a:cxn>
              <a:cxn ang="0">
                <a:pos x="55" y="55"/>
              </a:cxn>
              <a:cxn ang="0">
                <a:pos x="61" y="60"/>
              </a:cxn>
              <a:cxn ang="0">
                <a:pos x="74" y="74"/>
              </a:cxn>
              <a:cxn ang="0">
                <a:pos x="86" y="88"/>
              </a:cxn>
              <a:cxn ang="0">
                <a:pos x="94" y="98"/>
              </a:cxn>
              <a:cxn ang="0">
                <a:pos x="95" y="105"/>
              </a:cxn>
              <a:cxn ang="0">
                <a:pos x="103" y="112"/>
              </a:cxn>
              <a:cxn ang="0">
                <a:pos x="109" y="129"/>
              </a:cxn>
              <a:cxn ang="0">
                <a:pos x="105" y="143"/>
              </a:cxn>
              <a:cxn ang="0">
                <a:pos x="98" y="143"/>
              </a:cxn>
              <a:cxn ang="0">
                <a:pos x="89" y="146"/>
              </a:cxn>
              <a:cxn ang="0">
                <a:pos x="82" y="151"/>
              </a:cxn>
              <a:cxn ang="0">
                <a:pos x="75" y="145"/>
              </a:cxn>
              <a:cxn ang="0">
                <a:pos x="78" y="129"/>
              </a:cxn>
              <a:cxn ang="0">
                <a:pos x="79" y="121"/>
              </a:cxn>
              <a:cxn ang="0">
                <a:pos x="74" y="115"/>
              </a:cxn>
              <a:cxn ang="0">
                <a:pos x="69" y="110"/>
              </a:cxn>
              <a:cxn ang="0">
                <a:pos x="67" y="94"/>
              </a:cxn>
              <a:cxn ang="0">
                <a:pos x="63" y="87"/>
              </a:cxn>
              <a:cxn ang="0">
                <a:pos x="58" y="80"/>
              </a:cxn>
              <a:cxn ang="0">
                <a:pos x="50" y="74"/>
              </a:cxn>
              <a:cxn ang="0">
                <a:pos x="42" y="77"/>
              </a:cxn>
              <a:cxn ang="0">
                <a:pos x="35" y="82"/>
              </a:cxn>
              <a:cxn ang="0">
                <a:pos x="30" y="77"/>
              </a:cxn>
              <a:cxn ang="0">
                <a:pos x="21" y="79"/>
              </a:cxn>
              <a:cxn ang="0">
                <a:pos x="13" y="87"/>
              </a:cxn>
              <a:cxn ang="0">
                <a:pos x="10" y="82"/>
              </a:cxn>
              <a:cxn ang="0">
                <a:pos x="14" y="68"/>
              </a:cxn>
              <a:cxn ang="0">
                <a:pos x="13" y="57"/>
              </a:cxn>
              <a:cxn ang="0">
                <a:pos x="8" y="50"/>
              </a:cxn>
              <a:cxn ang="0">
                <a:pos x="5" y="44"/>
              </a:cxn>
              <a:cxn ang="0">
                <a:pos x="2" y="36"/>
              </a:cxn>
              <a:cxn ang="0">
                <a:pos x="0" y="32"/>
              </a:cxn>
              <a:cxn ang="0">
                <a:pos x="2" y="28"/>
              </a:cxn>
              <a:cxn ang="0">
                <a:pos x="5" y="25"/>
              </a:cxn>
              <a:cxn ang="0">
                <a:pos x="14" y="16"/>
              </a:cxn>
              <a:cxn ang="0">
                <a:pos x="22" y="21"/>
              </a:cxn>
              <a:cxn ang="0">
                <a:pos x="21" y="6"/>
              </a:cxn>
              <a:cxn ang="0">
                <a:pos x="29" y="0"/>
              </a:cxn>
            </a:cxnLst>
            <a:rect l="0" t="0" r="r" b="b"/>
            <a:pathLst>
              <a:path w="109" h="152">
                <a:moveTo>
                  <a:pt x="29" y="2"/>
                </a:moveTo>
                <a:lnTo>
                  <a:pt x="31" y="6"/>
                </a:lnTo>
                <a:lnTo>
                  <a:pt x="37" y="13"/>
                </a:lnTo>
                <a:lnTo>
                  <a:pt x="39" y="14"/>
                </a:lnTo>
                <a:lnTo>
                  <a:pt x="41" y="17"/>
                </a:lnTo>
                <a:lnTo>
                  <a:pt x="39" y="22"/>
                </a:lnTo>
                <a:lnTo>
                  <a:pt x="41" y="24"/>
                </a:lnTo>
                <a:lnTo>
                  <a:pt x="45" y="28"/>
                </a:lnTo>
                <a:lnTo>
                  <a:pt x="50" y="30"/>
                </a:lnTo>
                <a:lnTo>
                  <a:pt x="55" y="28"/>
                </a:lnTo>
                <a:lnTo>
                  <a:pt x="59" y="28"/>
                </a:lnTo>
                <a:lnTo>
                  <a:pt x="62" y="32"/>
                </a:lnTo>
                <a:lnTo>
                  <a:pt x="63" y="35"/>
                </a:lnTo>
                <a:lnTo>
                  <a:pt x="65" y="36"/>
                </a:lnTo>
                <a:lnTo>
                  <a:pt x="66" y="39"/>
                </a:lnTo>
                <a:lnTo>
                  <a:pt x="67" y="41"/>
                </a:lnTo>
                <a:lnTo>
                  <a:pt x="69" y="44"/>
                </a:lnTo>
                <a:lnTo>
                  <a:pt x="69" y="46"/>
                </a:lnTo>
                <a:lnTo>
                  <a:pt x="65" y="50"/>
                </a:lnTo>
                <a:lnTo>
                  <a:pt x="63" y="50"/>
                </a:lnTo>
                <a:lnTo>
                  <a:pt x="59" y="50"/>
                </a:lnTo>
                <a:lnTo>
                  <a:pt x="58" y="50"/>
                </a:lnTo>
                <a:lnTo>
                  <a:pt x="57" y="52"/>
                </a:lnTo>
                <a:lnTo>
                  <a:pt x="55" y="55"/>
                </a:lnTo>
                <a:lnTo>
                  <a:pt x="57" y="57"/>
                </a:lnTo>
                <a:lnTo>
                  <a:pt x="58" y="58"/>
                </a:lnTo>
                <a:lnTo>
                  <a:pt x="61" y="60"/>
                </a:lnTo>
                <a:lnTo>
                  <a:pt x="66" y="63"/>
                </a:lnTo>
                <a:lnTo>
                  <a:pt x="73" y="69"/>
                </a:lnTo>
                <a:lnTo>
                  <a:pt x="74" y="74"/>
                </a:lnTo>
                <a:lnTo>
                  <a:pt x="81" y="80"/>
                </a:lnTo>
                <a:lnTo>
                  <a:pt x="81" y="83"/>
                </a:lnTo>
                <a:lnTo>
                  <a:pt x="86" y="88"/>
                </a:lnTo>
                <a:lnTo>
                  <a:pt x="87" y="90"/>
                </a:lnTo>
                <a:lnTo>
                  <a:pt x="91" y="93"/>
                </a:lnTo>
                <a:lnTo>
                  <a:pt x="94" y="98"/>
                </a:lnTo>
                <a:lnTo>
                  <a:pt x="94" y="101"/>
                </a:lnTo>
                <a:lnTo>
                  <a:pt x="94" y="102"/>
                </a:lnTo>
                <a:lnTo>
                  <a:pt x="95" y="105"/>
                </a:lnTo>
                <a:lnTo>
                  <a:pt x="98" y="105"/>
                </a:lnTo>
                <a:lnTo>
                  <a:pt x="102" y="108"/>
                </a:lnTo>
                <a:lnTo>
                  <a:pt x="103" y="112"/>
                </a:lnTo>
                <a:lnTo>
                  <a:pt x="105" y="118"/>
                </a:lnTo>
                <a:lnTo>
                  <a:pt x="109" y="126"/>
                </a:lnTo>
                <a:lnTo>
                  <a:pt x="109" y="129"/>
                </a:lnTo>
                <a:lnTo>
                  <a:pt x="109" y="138"/>
                </a:lnTo>
                <a:lnTo>
                  <a:pt x="109" y="141"/>
                </a:lnTo>
                <a:lnTo>
                  <a:pt x="105" y="143"/>
                </a:lnTo>
                <a:lnTo>
                  <a:pt x="102" y="145"/>
                </a:lnTo>
                <a:lnTo>
                  <a:pt x="101" y="145"/>
                </a:lnTo>
                <a:lnTo>
                  <a:pt x="98" y="143"/>
                </a:lnTo>
                <a:lnTo>
                  <a:pt x="95" y="143"/>
                </a:lnTo>
                <a:lnTo>
                  <a:pt x="93" y="143"/>
                </a:lnTo>
                <a:lnTo>
                  <a:pt x="89" y="146"/>
                </a:lnTo>
                <a:lnTo>
                  <a:pt x="87" y="151"/>
                </a:lnTo>
                <a:lnTo>
                  <a:pt x="86" y="152"/>
                </a:lnTo>
                <a:lnTo>
                  <a:pt x="82" y="151"/>
                </a:lnTo>
                <a:lnTo>
                  <a:pt x="78" y="149"/>
                </a:lnTo>
                <a:lnTo>
                  <a:pt x="75" y="146"/>
                </a:lnTo>
                <a:lnTo>
                  <a:pt x="75" y="145"/>
                </a:lnTo>
                <a:lnTo>
                  <a:pt x="77" y="145"/>
                </a:lnTo>
                <a:lnTo>
                  <a:pt x="78" y="141"/>
                </a:lnTo>
                <a:lnTo>
                  <a:pt x="78" y="129"/>
                </a:lnTo>
                <a:lnTo>
                  <a:pt x="79" y="126"/>
                </a:lnTo>
                <a:lnTo>
                  <a:pt x="79" y="123"/>
                </a:lnTo>
                <a:lnTo>
                  <a:pt x="79" y="121"/>
                </a:lnTo>
                <a:lnTo>
                  <a:pt x="78" y="119"/>
                </a:lnTo>
                <a:lnTo>
                  <a:pt x="75" y="118"/>
                </a:lnTo>
                <a:lnTo>
                  <a:pt x="74" y="115"/>
                </a:lnTo>
                <a:lnTo>
                  <a:pt x="73" y="115"/>
                </a:lnTo>
                <a:lnTo>
                  <a:pt x="70" y="113"/>
                </a:lnTo>
                <a:lnTo>
                  <a:pt x="69" y="110"/>
                </a:lnTo>
                <a:lnTo>
                  <a:pt x="67" y="107"/>
                </a:lnTo>
                <a:lnTo>
                  <a:pt x="67" y="99"/>
                </a:lnTo>
                <a:lnTo>
                  <a:pt x="67" y="94"/>
                </a:lnTo>
                <a:lnTo>
                  <a:pt x="66" y="91"/>
                </a:lnTo>
                <a:lnTo>
                  <a:pt x="65" y="88"/>
                </a:lnTo>
                <a:lnTo>
                  <a:pt x="63" y="87"/>
                </a:lnTo>
                <a:lnTo>
                  <a:pt x="62" y="83"/>
                </a:lnTo>
                <a:lnTo>
                  <a:pt x="59" y="83"/>
                </a:lnTo>
                <a:lnTo>
                  <a:pt x="58" y="80"/>
                </a:lnTo>
                <a:lnTo>
                  <a:pt x="57" y="79"/>
                </a:lnTo>
                <a:lnTo>
                  <a:pt x="53" y="74"/>
                </a:lnTo>
                <a:lnTo>
                  <a:pt x="50" y="74"/>
                </a:lnTo>
                <a:lnTo>
                  <a:pt x="46" y="74"/>
                </a:lnTo>
                <a:lnTo>
                  <a:pt x="43" y="74"/>
                </a:lnTo>
                <a:lnTo>
                  <a:pt x="42" y="77"/>
                </a:lnTo>
                <a:lnTo>
                  <a:pt x="42" y="79"/>
                </a:lnTo>
                <a:lnTo>
                  <a:pt x="39" y="80"/>
                </a:lnTo>
                <a:lnTo>
                  <a:pt x="35" y="82"/>
                </a:lnTo>
                <a:lnTo>
                  <a:pt x="34" y="82"/>
                </a:lnTo>
                <a:lnTo>
                  <a:pt x="31" y="80"/>
                </a:lnTo>
                <a:lnTo>
                  <a:pt x="30" y="77"/>
                </a:lnTo>
                <a:lnTo>
                  <a:pt x="27" y="77"/>
                </a:lnTo>
                <a:lnTo>
                  <a:pt x="25" y="77"/>
                </a:lnTo>
                <a:lnTo>
                  <a:pt x="21" y="79"/>
                </a:lnTo>
                <a:lnTo>
                  <a:pt x="18" y="82"/>
                </a:lnTo>
                <a:lnTo>
                  <a:pt x="14" y="83"/>
                </a:lnTo>
                <a:lnTo>
                  <a:pt x="13" y="87"/>
                </a:lnTo>
                <a:lnTo>
                  <a:pt x="12" y="88"/>
                </a:lnTo>
                <a:lnTo>
                  <a:pt x="12" y="87"/>
                </a:lnTo>
                <a:lnTo>
                  <a:pt x="10" y="82"/>
                </a:lnTo>
                <a:lnTo>
                  <a:pt x="12" y="79"/>
                </a:lnTo>
                <a:lnTo>
                  <a:pt x="13" y="71"/>
                </a:lnTo>
                <a:lnTo>
                  <a:pt x="14" y="68"/>
                </a:lnTo>
                <a:lnTo>
                  <a:pt x="14" y="65"/>
                </a:lnTo>
                <a:lnTo>
                  <a:pt x="14" y="61"/>
                </a:lnTo>
                <a:lnTo>
                  <a:pt x="13" y="57"/>
                </a:lnTo>
                <a:lnTo>
                  <a:pt x="14" y="52"/>
                </a:lnTo>
                <a:lnTo>
                  <a:pt x="13" y="50"/>
                </a:lnTo>
                <a:lnTo>
                  <a:pt x="8" y="50"/>
                </a:lnTo>
                <a:lnTo>
                  <a:pt x="6" y="50"/>
                </a:lnTo>
                <a:lnTo>
                  <a:pt x="5" y="50"/>
                </a:lnTo>
                <a:lnTo>
                  <a:pt x="5" y="44"/>
                </a:lnTo>
                <a:lnTo>
                  <a:pt x="5" y="39"/>
                </a:lnTo>
                <a:lnTo>
                  <a:pt x="4" y="36"/>
                </a:lnTo>
                <a:lnTo>
                  <a:pt x="2" y="36"/>
                </a:lnTo>
                <a:lnTo>
                  <a:pt x="0" y="36"/>
                </a:lnTo>
                <a:lnTo>
                  <a:pt x="0" y="35"/>
                </a:lnTo>
                <a:lnTo>
                  <a:pt x="0" y="32"/>
                </a:lnTo>
                <a:lnTo>
                  <a:pt x="1" y="32"/>
                </a:lnTo>
                <a:lnTo>
                  <a:pt x="1" y="30"/>
                </a:lnTo>
                <a:lnTo>
                  <a:pt x="2" y="28"/>
                </a:lnTo>
                <a:lnTo>
                  <a:pt x="5" y="28"/>
                </a:lnTo>
                <a:lnTo>
                  <a:pt x="6" y="28"/>
                </a:lnTo>
                <a:lnTo>
                  <a:pt x="5" y="25"/>
                </a:lnTo>
                <a:lnTo>
                  <a:pt x="5" y="24"/>
                </a:lnTo>
                <a:lnTo>
                  <a:pt x="13" y="19"/>
                </a:lnTo>
                <a:lnTo>
                  <a:pt x="14" y="16"/>
                </a:lnTo>
                <a:lnTo>
                  <a:pt x="15" y="24"/>
                </a:lnTo>
                <a:lnTo>
                  <a:pt x="21" y="22"/>
                </a:lnTo>
                <a:lnTo>
                  <a:pt x="22" y="21"/>
                </a:lnTo>
                <a:lnTo>
                  <a:pt x="23" y="16"/>
                </a:lnTo>
                <a:lnTo>
                  <a:pt x="21" y="11"/>
                </a:lnTo>
                <a:lnTo>
                  <a:pt x="21" y="6"/>
                </a:lnTo>
                <a:lnTo>
                  <a:pt x="21" y="3"/>
                </a:lnTo>
                <a:lnTo>
                  <a:pt x="23" y="0"/>
                </a:lnTo>
                <a:lnTo>
                  <a:pt x="29" y="0"/>
                </a:lnTo>
                <a:lnTo>
                  <a:pt x="29" y="2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95" name="Freeform 192"/>
          <p:cNvSpPr>
            <a:spLocks/>
          </p:cNvSpPr>
          <p:nvPr/>
        </p:nvSpPr>
        <p:spPr bwMode="auto">
          <a:xfrm>
            <a:off x="9250500" y="2828050"/>
            <a:ext cx="183189" cy="191136"/>
          </a:xfrm>
          <a:custGeom>
            <a:avLst/>
            <a:gdLst/>
            <a:ahLst/>
            <a:cxnLst>
              <a:cxn ang="0">
                <a:pos x="60" y="77"/>
              </a:cxn>
              <a:cxn ang="0">
                <a:pos x="50" y="68"/>
              </a:cxn>
              <a:cxn ang="0">
                <a:pos x="46" y="65"/>
              </a:cxn>
              <a:cxn ang="0">
                <a:pos x="48" y="65"/>
              </a:cxn>
              <a:cxn ang="0">
                <a:pos x="48" y="59"/>
              </a:cxn>
              <a:cxn ang="0">
                <a:pos x="50" y="55"/>
              </a:cxn>
              <a:cxn ang="0">
                <a:pos x="54" y="52"/>
              </a:cxn>
              <a:cxn ang="0">
                <a:pos x="64" y="49"/>
              </a:cxn>
              <a:cxn ang="0">
                <a:pos x="70" y="44"/>
              </a:cxn>
              <a:cxn ang="0">
                <a:pos x="78" y="38"/>
              </a:cxn>
              <a:cxn ang="0">
                <a:pos x="81" y="29"/>
              </a:cxn>
              <a:cxn ang="0">
                <a:pos x="81" y="24"/>
              </a:cxn>
              <a:cxn ang="0">
                <a:pos x="84" y="19"/>
              </a:cxn>
              <a:cxn ang="0">
                <a:pos x="93" y="11"/>
              </a:cxn>
              <a:cxn ang="0">
                <a:pos x="94" y="10"/>
              </a:cxn>
              <a:cxn ang="0">
                <a:pos x="93" y="7"/>
              </a:cxn>
              <a:cxn ang="0">
                <a:pos x="89" y="4"/>
              </a:cxn>
              <a:cxn ang="0">
                <a:pos x="84" y="2"/>
              </a:cxn>
              <a:cxn ang="0">
                <a:pos x="78" y="11"/>
              </a:cxn>
              <a:cxn ang="0">
                <a:pos x="64" y="18"/>
              </a:cxn>
              <a:cxn ang="0">
                <a:pos x="57" y="19"/>
              </a:cxn>
              <a:cxn ang="0">
                <a:pos x="46" y="29"/>
              </a:cxn>
              <a:cxn ang="0">
                <a:pos x="37" y="26"/>
              </a:cxn>
              <a:cxn ang="0">
                <a:pos x="28" y="35"/>
              </a:cxn>
              <a:cxn ang="0">
                <a:pos x="12" y="43"/>
              </a:cxn>
              <a:cxn ang="0">
                <a:pos x="0" y="54"/>
              </a:cxn>
              <a:cxn ang="0">
                <a:pos x="2" y="59"/>
              </a:cxn>
              <a:cxn ang="0">
                <a:pos x="8" y="59"/>
              </a:cxn>
              <a:cxn ang="0">
                <a:pos x="14" y="60"/>
              </a:cxn>
              <a:cxn ang="0">
                <a:pos x="16" y="63"/>
              </a:cxn>
              <a:cxn ang="0">
                <a:pos x="13" y="74"/>
              </a:cxn>
              <a:cxn ang="0">
                <a:pos x="16" y="76"/>
              </a:cxn>
              <a:cxn ang="0">
                <a:pos x="12" y="79"/>
              </a:cxn>
              <a:cxn ang="0">
                <a:pos x="8" y="84"/>
              </a:cxn>
              <a:cxn ang="0">
                <a:pos x="10" y="87"/>
              </a:cxn>
              <a:cxn ang="0">
                <a:pos x="13" y="88"/>
              </a:cxn>
              <a:cxn ang="0">
                <a:pos x="10" y="90"/>
              </a:cxn>
              <a:cxn ang="0">
                <a:pos x="12" y="91"/>
              </a:cxn>
              <a:cxn ang="0">
                <a:pos x="14" y="95"/>
              </a:cxn>
              <a:cxn ang="0">
                <a:pos x="17" y="93"/>
              </a:cxn>
              <a:cxn ang="0">
                <a:pos x="20" y="90"/>
              </a:cxn>
              <a:cxn ang="0">
                <a:pos x="21" y="88"/>
              </a:cxn>
              <a:cxn ang="0">
                <a:pos x="25" y="91"/>
              </a:cxn>
              <a:cxn ang="0">
                <a:pos x="28" y="91"/>
              </a:cxn>
              <a:cxn ang="0">
                <a:pos x="33" y="93"/>
              </a:cxn>
              <a:cxn ang="0">
                <a:pos x="42" y="85"/>
              </a:cxn>
              <a:cxn ang="0">
                <a:pos x="52" y="84"/>
              </a:cxn>
              <a:cxn ang="0">
                <a:pos x="61" y="79"/>
              </a:cxn>
            </a:cxnLst>
            <a:rect l="0" t="0" r="r" b="b"/>
            <a:pathLst>
              <a:path w="96" h="95">
                <a:moveTo>
                  <a:pt x="61" y="79"/>
                </a:moveTo>
                <a:lnTo>
                  <a:pt x="60" y="77"/>
                </a:lnTo>
                <a:lnTo>
                  <a:pt x="53" y="71"/>
                </a:lnTo>
                <a:lnTo>
                  <a:pt x="50" y="68"/>
                </a:lnTo>
                <a:lnTo>
                  <a:pt x="46" y="66"/>
                </a:lnTo>
                <a:lnTo>
                  <a:pt x="46" y="65"/>
                </a:lnTo>
                <a:lnTo>
                  <a:pt x="46" y="62"/>
                </a:lnTo>
                <a:lnTo>
                  <a:pt x="48" y="65"/>
                </a:lnTo>
                <a:lnTo>
                  <a:pt x="48" y="63"/>
                </a:lnTo>
                <a:lnTo>
                  <a:pt x="48" y="59"/>
                </a:lnTo>
                <a:lnTo>
                  <a:pt x="48" y="57"/>
                </a:lnTo>
                <a:lnTo>
                  <a:pt x="50" y="55"/>
                </a:lnTo>
                <a:lnTo>
                  <a:pt x="53" y="54"/>
                </a:lnTo>
                <a:lnTo>
                  <a:pt x="54" y="52"/>
                </a:lnTo>
                <a:lnTo>
                  <a:pt x="61" y="51"/>
                </a:lnTo>
                <a:lnTo>
                  <a:pt x="64" y="49"/>
                </a:lnTo>
                <a:lnTo>
                  <a:pt x="65" y="48"/>
                </a:lnTo>
                <a:lnTo>
                  <a:pt x="70" y="44"/>
                </a:lnTo>
                <a:lnTo>
                  <a:pt x="74" y="40"/>
                </a:lnTo>
                <a:lnTo>
                  <a:pt x="78" y="38"/>
                </a:lnTo>
                <a:lnTo>
                  <a:pt x="81" y="37"/>
                </a:lnTo>
                <a:lnTo>
                  <a:pt x="81" y="29"/>
                </a:lnTo>
                <a:lnTo>
                  <a:pt x="80" y="27"/>
                </a:lnTo>
                <a:lnTo>
                  <a:pt x="81" y="24"/>
                </a:lnTo>
                <a:lnTo>
                  <a:pt x="82" y="21"/>
                </a:lnTo>
                <a:lnTo>
                  <a:pt x="84" y="19"/>
                </a:lnTo>
                <a:lnTo>
                  <a:pt x="92" y="11"/>
                </a:lnTo>
                <a:lnTo>
                  <a:pt x="93" y="11"/>
                </a:lnTo>
                <a:lnTo>
                  <a:pt x="96" y="11"/>
                </a:lnTo>
                <a:lnTo>
                  <a:pt x="94" y="10"/>
                </a:lnTo>
                <a:lnTo>
                  <a:pt x="94" y="8"/>
                </a:lnTo>
                <a:lnTo>
                  <a:pt x="93" y="7"/>
                </a:lnTo>
                <a:lnTo>
                  <a:pt x="92" y="7"/>
                </a:lnTo>
                <a:lnTo>
                  <a:pt x="89" y="4"/>
                </a:lnTo>
                <a:lnTo>
                  <a:pt x="86" y="0"/>
                </a:lnTo>
                <a:lnTo>
                  <a:pt x="84" y="2"/>
                </a:lnTo>
                <a:lnTo>
                  <a:pt x="81" y="7"/>
                </a:lnTo>
                <a:lnTo>
                  <a:pt x="78" y="11"/>
                </a:lnTo>
                <a:lnTo>
                  <a:pt x="70" y="16"/>
                </a:lnTo>
                <a:lnTo>
                  <a:pt x="64" y="18"/>
                </a:lnTo>
                <a:lnTo>
                  <a:pt x="58" y="18"/>
                </a:lnTo>
                <a:lnTo>
                  <a:pt x="57" y="19"/>
                </a:lnTo>
                <a:lnTo>
                  <a:pt x="58" y="27"/>
                </a:lnTo>
                <a:lnTo>
                  <a:pt x="46" y="29"/>
                </a:lnTo>
                <a:lnTo>
                  <a:pt x="42" y="27"/>
                </a:lnTo>
                <a:lnTo>
                  <a:pt x="37" y="26"/>
                </a:lnTo>
                <a:lnTo>
                  <a:pt x="34" y="27"/>
                </a:lnTo>
                <a:lnTo>
                  <a:pt x="28" y="35"/>
                </a:lnTo>
                <a:lnTo>
                  <a:pt x="22" y="38"/>
                </a:lnTo>
                <a:lnTo>
                  <a:pt x="12" y="43"/>
                </a:lnTo>
                <a:lnTo>
                  <a:pt x="8" y="44"/>
                </a:lnTo>
                <a:lnTo>
                  <a:pt x="0" y="54"/>
                </a:lnTo>
                <a:lnTo>
                  <a:pt x="0" y="55"/>
                </a:lnTo>
                <a:lnTo>
                  <a:pt x="2" y="59"/>
                </a:lnTo>
                <a:lnTo>
                  <a:pt x="4" y="60"/>
                </a:lnTo>
                <a:lnTo>
                  <a:pt x="8" y="59"/>
                </a:lnTo>
                <a:lnTo>
                  <a:pt x="10" y="60"/>
                </a:lnTo>
                <a:lnTo>
                  <a:pt x="14" y="60"/>
                </a:lnTo>
                <a:lnTo>
                  <a:pt x="17" y="62"/>
                </a:lnTo>
                <a:lnTo>
                  <a:pt x="16" y="63"/>
                </a:lnTo>
                <a:lnTo>
                  <a:pt x="14" y="68"/>
                </a:lnTo>
                <a:lnTo>
                  <a:pt x="13" y="74"/>
                </a:lnTo>
                <a:lnTo>
                  <a:pt x="13" y="76"/>
                </a:lnTo>
                <a:lnTo>
                  <a:pt x="16" y="76"/>
                </a:lnTo>
                <a:lnTo>
                  <a:pt x="12" y="77"/>
                </a:lnTo>
                <a:lnTo>
                  <a:pt x="12" y="79"/>
                </a:lnTo>
                <a:lnTo>
                  <a:pt x="9" y="80"/>
                </a:lnTo>
                <a:lnTo>
                  <a:pt x="8" y="84"/>
                </a:lnTo>
                <a:lnTo>
                  <a:pt x="6" y="87"/>
                </a:lnTo>
                <a:lnTo>
                  <a:pt x="10" y="87"/>
                </a:lnTo>
                <a:lnTo>
                  <a:pt x="13" y="87"/>
                </a:lnTo>
                <a:lnTo>
                  <a:pt x="13" y="88"/>
                </a:lnTo>
                <a:lnTo>
                  <a:pt x="12" y="90"/>
                </a:lnTo>
                <a:lnTo>
                  <a:pt x="10" y="90"/>
                </a:lnTo>
                <a:lnTo>
                  <a:pt x="10" y="91"/>
                </a:lnTo>
                <a:lnTo>
                  <a:pt x="12" y="91"/>
                </a:lnTo>
                <a:lnTo>
                  <a:pt x="13" y="93"/>
                </a:lnTo>
                <a:lnTo>
                  <a:pt x="14" y="95"/>
                </a:lnTo>
                <a:lnTo>
                  <a:pt x="16" y="95"/>
                </a:lnTo>
                <a:lnTo>
                  <a:pt x="17" y="93"/>
                </a:lnTo>
                <a:lnTo>
                  <a:pt x="18" y="91"/>
                </a:lnTo>
                <a:lnTo>
                  <a:pt x="20" y="90"/>
                </a:lnTo>
                <a:lnTo>
                  <a:pt x="18" y="88"/>
                </a:lnTo>
                <a:lnTo>
                  <a:pt x="21" y="88"/>
                </a:lnTo>
                <a:lnTo>
                  <a:pt x="22" y="91"/>
                </a:lnTo>
                <a:lnTo>
                  <a:pt x="25" y="91"/>
                </a:lnTo>
                <a:lnTo>
                  <a:pt x="26" y="93"/>
                </a:lnTo>
                <a:lnTo>
                  <a:pt x="28" y="91"/>
                </a:lnTo>
                <a:lnTo>
                  <a:pt x="30" y="91"/>
                </a:lnTo>
                <a:lnTo>
                  <a:pt x="33" y="93"/>
                </a:lnTo>
                <a:lnTo>
                  <a:pt x="36" y="90"/>
                </a:lnTo>
                <a:lnTo>
                  <a:pt x="42" y="85"/>
                </a:lnTo>
                <a:lnTo>
                  <a:pt x="48" y="84"/>
                </a:lnTo>
                <a:lnTo>
                  <a:pt x="52" y="84"/>
                </a:lnTo>
                <a:lnTo>
                  <a:pt x="56" y="84"/>
                </a:lnTo>
                <a:lnTo>
                  <a:pt x="61" y="79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96" name="Freeform 193"/>
          <p:cNvSpPr>
            <a:spLocks/>
          </p:cNvSpPr>
          <p:nvPr/>
        </p:nvSpPr>
        <p:spPr bwMode="auto">
          <a:xfrm>
            <a:off x="9250500" y="2828050"/>
            <a:ext cx="183189" cy="191136"/>
          </a:xfrm>
          <a:custGeom>
            <a:avLst/>
            <a:gdLst/>
            <a:ahLst/>
            <a:cxnLst>
              <a:cxn ang="0">
                <a:pos x="60" y="77"/>
              </a:cxn>
              <a:cxn ang="0">
                <a:pos x="50" y="68"/>
              </a:cxn>
              <a:cxn ang="0">
                <a:pos x="46" y="65"/>
              </a:cxn>
              <a:cxn ang="0">
                <a:pos x="48" y="65"/>
              </a:cxn>
              <a:cxn ang="0">
                <a:pos x="48" y="59"/>
              </a:cxn>
              <a:cxn ang="0">
                <a:pos x="50" y="55"/>
              </a:cxn>
              <a:cxn ang="0">
                <a:pos x="54" y="52"/>
              </a:cxn>
              <a:cxn ang="0">
                <a:pos x="64" y="49"/>
              </a:cxn>
              <a:cxn ang="0">
                <a:pos x="70" y="44"/>
              </a:cxn>
              <a:cxn ang="0">
                <a:pos x="78" y="38"/>
              </a:cxn>
              <a:cxn ang="0">
                <a:pos x="81" y="29"/>
              </a:cxn>
              <a:cxn ang="0">
                <a:pos x="81" y="24"/>
              </a:cxn>
              <a:cxn ang="0">
                <a:pos x="84" y="19"/>
              </a:cxn>
              <a:cxn ang="0">
                <a:pos x="93" y="11"/>
              </a:cxn>
              <a:cxn ang="0">
                <a:pos x="94" y="10"/>
              </a:cxn>
              <a:cxn ang="0">
                <a:pos x="93" y="7"/>
              </a:cxn>
              <a:cxn ang="0">
                <a:pos x="89" y="4"/>
              </a:cxn>
              <a:cxn ang="0">
                <a:pos x="84" y="2"/>
              </a:cxn>
              <a:cxn ang="0">
                <a:pos x="78" y="11"/>
              </a:cxn>
              <a:cxn ang="0">
                <a:pos x="64" y="18"/>
              </a:cxn>
              <a:cxn ang="0">
                <a:pos x="57" y="19"/>
              </a:cxn>
              <a:cxn ang="0">
                <a:pos x="46" y="29"/>
              </a:cxn>
              <a:cxn ang="0">
                <a:pos x="37" y="26"/>
              </a:cxn>
              <a:cxn ang="0">
                <a:pos x="28" y="35"/>
              </a:cxn>
              <a:cxn ang="0">
                <a:pos x="12" y="43"/>
              </a:cxn>
              <a:cxn ang="0">
                <a:pos x="0" y="54"/>
              </a:cxn>
              <a:cxn ang="0">
                <a:pos x="2" y="59"/>
              </a:cxn>
              <a:cxn ang="0">
                <a:pos x="8" y="59"/>
              </a:cxn>
              <a:cxn ang="0">
                <a:pos x="14" y="60"/>
              </a:cxn>
              <a:cxn ang="0">
                <a:pos x="16" y="63"/>
              </a:cxn>
              <a:cxn ang="0">
                <a:pos x="13" y="74"/>
              </a:cxn>
              <a:cxn ang="0">
                <a:pos x="16" y="76"/>
              </a:cxn>
              <a:cxn ang="0">
                <a:pos x="12" y="79"/>
              </a:cxn>
              <a:cxn ang="0">
                <a:pos x="8" y="84"/>
              </a:cxn>
              <a:cxn ang="0">
                <a:pos x="10" y="87"/>
              </a:cxn>
              <a:cxn ang="0">
                <a:pos x="13" y="88"/>
              </a:cxn>
              <a:cxn ang="0">
                <a:pos x="10" y="90"/>
              </a:cxn>
              <a:cxn ang="0">
                <a:pos x="12" y="91"/>
              </a:cxn>
              <a:cxn ang="0">
                <a:pos x="14" y="95"/>
              </a:cxn>
              <a:cxn ang="0">
                <a:pos x="17" y="93"/>
              </a:cxn>
              <a:cxn ang="0">
                <a:pos x="20" y="90"/>
              </a:cxn>
              <a:cxn ang="0">
                <a:pos x="21" y="88"/>
              </a:cxn>
              <a:cxn ang="0">
                <a:pos x="25" y="91"/>
              </a:cxn>
              <a:cxn ang="0">
                <a:pos x="28" y="91"/>
              </a:cxn>
              <a:cxn ang="0">
                <a:pos x="33" y="93"/>
              </a:cxn>
              <a:cxn ang="0">
                <a:pos x="42" y="85"/>
              </a:cxn>
              <a:cxn ang="0">
                <a:pos x="52" y="84"/>
              </a:cxn>
              <a:cxn ang="0">
                <a:pos x="61" y="79"/>
              </a:cxn>
            </a:cxnLst>
            <a:rect l="0" t="0" r="r" b="b"/>
            <a:pathLst>
              <a:path w="96" h="95">
                <a:moveTo>
                  <a:pt x="61" y="79"/>
                </a:moveTo>
                <a:lnTo>
                  <a:pt x="60" y="77"/>
                </a:lnTo>
                <a:lnTo>
                  <a:pt x="53" y="71"/>
                </a:lnTo>
                <a:lnTo>
                  <a:pt x="50" y="68"/>
                </a:lnTo>
                <a:lnTo>
                  <a:pt x="46" y="66"/>
                </a:lnTo>
                <a:lnTo>
                  <a:pt x="46" y="65"/>
                </a:lnTo>
                <a:lnTo>
                  <a:pt x="46" y="62"/>
                </a:lnTo>
                <a:lnTo>
                  <a:pt x="48" y="65"/>
                </a:lnTo>
                <a:lnTo>
                  <a:pt x="48" y="63"/>
                </a:lnTo>
                <a:lnTo>
                  <a:pt x="48" y="59"/>
                </a:lnTo>
                <a:lnTo>
                  <a:pt x="48" y="57"/>
                </a:lnTo>
                <a:lnTo>
                  <a:pt x="50" y="55"/>
                </a:lnTo>
                <a:lnTo>
                  <a:pt x="53" y="54"/>
                </a:lnTo>
                <a:lnTo>
                  <a:pt x="54" y="52"/>
                </a:lnTo>
                <a:lnTo>
                  <a:pt x="61" y="51"/>
                </a:lnTo>
                <a:lnTo>
                  <a:pt x="64" y="49"/>
                </a:lnTo>
                <a:lnTo>
                  <a:pt x="65" y="48"/>
                </a:lnTo>
                <a:lnTo>
                  <a:pt x="70" y="44"/>
                </a:lnTo>
                <a:lnTo>
                  <a:pt x="74" y="40"/>
                </a:lnTo>
                <a:lnTo>
                  <a:pt x="78" y="38"/>
                </a:lnTo>
                <a:lnTo>
                  <a:pt x="81" y="37"/>
                </a:lnTo>
                <a:lnTo>
                  <a:pt x="81" y="29"/>
                </a:lnTo>
                <a:lnTo>
                  <a:pt x="80" y="27"/>
                </a:lnTo>
                <a:lnTo>
                  <a:pt x="81" y="24"/>
                </a:lnTo>
                <a:lnTo>
                  <a:pt x="82" y="21"/>
                </a:lnTo>
                <a:lnTo>
                  <a:pt x="84" y="19"/>
                </a:lnTo>
                <a:lnTo>
                  <a:pt x="92" y="11"/>
                </a:lnTo>
                <a:lnTo>
                  <a:pt x="93" y="11"/>
                </a:lnTo>
                <a:lnTo>
                  <a:pt x="96" y="11"/>
                </a:lnTo>
                <a:lnTo>
                  <a:pt x="94" y="10"/>
                </a:lnTo>
                <a:lnTo>
                  <a:pt x="94" y="8"/>
                </a:lnTo>
                <a:lnTo>
                  <a:pt x="93" y="7"/>
                </a:lnTo>
                <a:lnTo>
                  <a:pt x="92" y="7"/>
                </a:lnTo>
                <a:lnTo>
                  <a:pt x="89" y="4"/>
                </a:lnTo>
                <a:lnTo>
                  <a:pt x="86" y="0"/>
                </a:lnTo>
                <a:lnTo>
                  <a:pt x="84" y="2"/>
                </a:lnTo>
                <a:lnTo>
                  <a:pt x="81" y="7"/>
                </a:lnTo>
                <a:lnTo>
                  <a:pt x="78" y="11"/>
                </a:lnTo>
                <a:lnTo>
                  <a:pt x="70" y="16"/>
                </a:lnTo>
                <a:lnTo>
                  <a:pt x="64" y="18"/>
                </a:lnTo>
                <a:lnTo>
                  <a:pt x="58" y="18"/>
                </a:lnTo>
                <a:lnTo>
                  <a:pt x="57" y="19"/>
                </a:lnTo>
                <a:lnTo>
                  <a:pt x="58" y="27"/>
                </a:lnTo>
                <a:lnTo>
                  <a:pt x="46" y="29"/>
                </a:lnTo>
                <a:lnTo>
                  <a:pt x="42" y="27"/>
                </a:lnTo>
                <a:lnTo>
                  <a:pt x="37" y="26"/>
                </a:lnTo>
                <a:lnTo>
                  <a:pt x="34" y="27"/>
                </a:lnTo>
                <a:lnTo>
                  <a:pt x="28" y="35"/>
                </a:lnTo>
                <a:lnTo>
                  <a:pt x="22" y="38"/>
                </a:lnTo>
                <a:lnTo>
                  <a:pt x="12" y="43"/>
                </a:lnTo>
                <a:lnTo>
                  <a:pt x="8" y="44"/>
                </a:lnTo>
                <a:lnTo>
                  <a:pt x="0" y="54"/>
                </a:lnTo>
                <a:lnTo>
                  <a:pt x="0" y="55"/>
                </a:lnTo>
                <a:lnTo>
                  <a:pt x="2" y="59"/>
                </a:lnTo>
                <a:lnTo>
                  <a:pt x="4" y="60"/>
                </a:lnTo>
                <a:lnTo>
                  <a:pt x="8" y="59"/>
                </a:lnTo>
                <a:lnTo>
                  <a:pt x="10" y="60"/>
                </a:lnTo>
                <a:lnTo>
                  <a:pt x="14" y="60"/>
                </a:lnTo>
                <a:lnTo>
                  <a:pt x="17" y="62"/>
                </a:lnTo>
                <a:lnTo>
                  <a:pt x="16" y="63"/>
                </a:lnTo>
                <a:lnTo>
                  <a:pt x="14" y="68"/>
                </a:lnTo>
                <a:lnTo>
                  <a:pt x="13" y="74"/>
                </a:lnTo>
                <a:lnTo>
                  <a:pt x="13" y="76"/>
                </a:lnTo>
                <a:lnTo>
                  <a:pt x="16" y="76"/>
                </a:lnTo>
                <a:lnTo>
                  <a:pt x="12" y="77"/>
                </a:lnTo>
                <a:lnTo>
                  <a:pt x="12" y="79"/>
                </a:lnTo>
                <a:lnTo>
                  <a:pt x="9" y="80"/>
                </a:lnTo>
                <a:lnTo>
                  <a:pt x="8" y="84"/>
                </a:lnTo>
                <a:lnTo>
                  <a:pt x="6" y="87"/>
                </a:lnTo>
                <a:lnTo>
                  <a:pt x="10" y="87"/>
                </a:lnTo>
                <a:lnTo>
                  <a:pt x="13" y="87"/>
                </a:lnTo>
                <a:lnTo>
                  <a:pt x="13" y="88"/>
                </a:lnTo>
                <a:lnTo>
                  <a:pt x="12" y="90"/>
                </a:lnTo>
                <a:lnTo>
                  <a:pt x="10" y="90"/>
                </a:lnTo>
                <a:lnTo>
                  <a:pt x="10" y="91"/>
                </a:lnTo>
                <a:lnTo>
                  <a:pt x="12" y="91"/>
                </a:lnTo>
                <a:lnTo>
                  <a:pt x="13" y="93"/>
                </a:lnTo>
                <a:lnTo>
                  <a:pt x="14" y="95"/>
                </a:lnTo>
                <a:lnTo>
                  <a:pt x="16" y="95"/>
                </a:lnTo>
                <a:lnTo>
                  <a:pt x="17" y="93"/>
                </a:lnTo>
                <a:lnTo>
                  <a:pt x="18" y="91"/>
                </a:lnTo>
                <a:lnTo>
                  <a:pt x="20" y="90"/>
                </a:lnTo>
                <a:lnTo>
                  <a:pt x="18" y="88"/>
                </a:lnTo>
                <a:lnTo>
                  <a:pt x="21" y="88"/>
                </a:lnTo>
                <a:lnTo>
                  <a:pt x="22" y="91"/>
                </a:lnTo>
                <a:lnTo>
                  <a:pt x="25" y="91"/>
                </a:lnTo>
                <a:lnTo>
                  <a:pt x="26" y="93"/>
                </a:lnTo>
                <a:lnTo>
                  <a:pt x="28" y="91"/>
                </a:lnTo>
                <a:lnTo>
                  <a:pt x="30" y="91"/>
                </a:lnTo>
                <a:lnTo>
                  <a:pt x="33" y="93"/>
                </a:lnTo>
                <a:lnTo>
                  <a:pt x="36" y="90"/>
                </a:lnTo>
                <a:lnTo>
                  <a:pt x="42" y="85"/>
                </a:lnTo>
                <a:lnTo>
                  <a:pt x="48" y="84"/>
                </a:lnTo>
                <a:lnTo>
                  <a:pt x="52" y="84"/>
                </a:lnTo>
                <a:lnTo>
                  <a:pt x="56" y="84"/>
                </a:lnTo>
                <a:lnTo>
                  <a:pt x="61" y="79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97" name="Freeform 194"/>
          <p:cNvSpPr>
            <a:spLocks/>
          </p:cNvSpPr>
          <p:nvPr/>
        </p:nvSpPr>
        <p:spPr bwMode="auto">
          <a:xfrm>
            <a:off x="8808119" y="4189631"/>
            <a:ext cx="288425" cy="298517"/>
          </a:xfrm>
          <a:custGeom>
            <a:avLst/>
            <a:gdLst/>
            <a:ahLst/>
            <a:cxnLst>
              <a:cxn ang="0">
                <a:pos x="129" y="5"/>
              </a:cxn>
              <a:cxn ang="0">
                <a:pos x="129" y="8"/>
              </a:cxn>
              <a:cxn ang="0">
                <a:pos x="133" y="13"/>
              </a:cxn>
              <a:cxn ang="0">
                <a:pos x="129" y="14"/>
              </a:cxn>
              <a:cxn ang="0">
                <a:pos x="127" y="19"/>
              </a:cxn>
              <a:cxn ang="0">
                <a:pos x="127" y="22"/>
              </a:cxn>
              <a:cxn ang="0">
                <a:pos x="131" y="27"/>
              </a:cxn>
              <a:cxn ang="0">
                <a:pos x="135" y="39"/>
              </a:cxn>
              <a:cxn ang="0">
                <a:pos x="135" y="44"/>
              </a:cxn>
              <a:cxn ang="0">
                <a:pos x="151" y="61"/>
              </a:cxn>
              <a:cxn ang="0">
                <a:pos x="143" y="64"/>
              </a:cxn>
              <a:cxn ang="0">
                <a:pos x="136" y="61"/>
              </a:cxn>
              <a:cxn ang="0">
                <a:pos x="131" y="69"/>
              </a:cxn>
              <a:cxn ang="0">
                <a:pos x="129" y="79"/>
              </a:cxn>
              <a:cxn ang="0">
                <a:pos x="127" y="90"/>
              </a:cxn>
              <a:cxn ang="0">
                <a:pos x="119" y="101"/>
              </a:cxn>
              <a:cxn ang="0">
                <a:pos x="111" y="112"/>
              </a:cxn>
              <a:cxn ang="0">
                <a:pos x="112" y="116"/>
              </a:cxn>
              <a:cxn ang="0">
                <a:pos x="112" y="124"/>
              </a:cxn>
              <a:cxn ang="0">
                <a:pos x="109" y="132"/>
              </a:cxn>
              <a:cxn ang="0">
                <a:pos x="108" y="137"/>
              </a:cxn>
              <a:cxn ang="0">
                <a:pos x="103" y="145"/>
              </a:cxn>
              <a:cxn ang="0">
                <a:pos x="88" y="152"/>
              </a:cxn>
              <a:cxn ang="0">
                <a:pos x="84" y="141"/>
              </a:cxn>
              <a:cxn ang="0">
                <a:pos x="76" y="138"/>
              </a:cxn>
              <a:cxn ang="0">
                <a:pos x="71" y="138"/>
              </a:cxn>
              <a:cxn ang="0">
                <a:pos x="63" y="134"/>
              </a:cxn>
              <a:cxn ang="0">
                <a:pos x="60" y="135"/>
              </a:cxn>
              <a:cxn ang="0">
                <a:pos x="52" y="140"/>
              </a:cxn>
              <a:cxn ang="0">
                <a:pos x="46" y="140"/>
              </a:cxn>
              <a:cxn ang="0">
                <a:pos x="42" y="129"/>
              </a:cxn>
              <a:cxn ang="0">
                <a:pos x="36" y="130"/>
              </a:cxn>
              <a:cxn ang="0">
                <a:pos x="32" y="132"/>
              </a:cxn>
              <a:cxn ang="0">
                <a:pos x="26" y="132"/>
              </a:cxn>
              <a:cxn ang="0">
                <a:pos x="20" y="132"/>
              </a:cxn>
              <a:cxn ang="0">
                <a:pos x="18" y="123"/>
              </a:cxn>
              <a:cxn ang="0">
                <a:pos x="15" y="110"/>
              </a:cxn>
              <a:cxn ang="0">
                <a:pos x="15" y="102"/>
              </a:cxn>
              <a:cxn ang="0">
                <a:pos x="11" y="93"/>
              </a:cxn>
              <a:cxn ang="0">
                <a:pos x="6" y="88"/>
              </a:cxn>
              <a:cxn ang="0">
                <a:pos x="3" y="83"/>
              </a:cxn>
              <a:cxn ang="0">
                <a:pos x="0" y="72"/>
              </a:cxn>
              <a:cxn ang="0">
                <a:pos x="0" y="60"/>
              </a:cxn>
              <a:cxn ang="0">
                <a:pos x="4" y="49"/>
              </a:cxn>
              <a:cxn ang="0">
                <a:pos x="8" y="44"/>
              </a:cxn>
              <a:cxn ang="0">
                <a:pos x="24" y="61"/>
              </a:cxn>
              <a:cxn ang="0">
                <a:pos x="32" y="63"/>
              </a:cxn>
              <a:cxn ang="0">
                <a:pos x="40" y="61"/>
              </a:cxn>
              <a:cxn ang="0">
                <a:pos x="48" y="52"/>
              </a:cxn>
              <a:cxn ang="0">
                <a:pos x="59" y="52"/>
              </a:cxn>
              <a:cxn ang="0">
                <a:pos x="67" y="57"/>
              </a:cxn>
              <a:cxn ang="0">
                <a:pos x="75" y="53"/>
              </a:cxn>
              <a:cxn ang="0">
                <a:pos x="83" y="50"/>
              </a:cxn>
              <a:cxn ang="0">
                <a:pos x="88" y="39"/>
              </a:cxn>
              <a:cxn ang="0">
                <a:pos x="99" y="16"/>
              </a:cxn>
              <a:cxn ang="0">
                <a:pos x="103" y="2"/>
              </a:cxn>
              <a:cxn ang="0">
                <a:pos x="124" y="3"/>
              </a:cxn>
            </a:cxnLst>
            <a:rect l="0" t="0" r="r" b="b"/>
            <a:pathLst>
              <a:path w="151" h="152">
                <a:moveTo>
                  <a:pt x="129" y="5"/>
                </a:moveTo>
                <a:lnTo>
                  <a:pt x="131" y="5"/>
                </a:lnTo>
                <a:lnTo>
                  <a:pt x="129" y="5"/>
                </a:lnTo>
                <a:lnTo>
                  <a:pt x="128" y="6"/>
                </a:lnTo>
                <a:lnTo>
                  <a:pt x="127" y="6"/>
                </a:lnTo>
                <a:lnTo>
                  <a:pt x="129" y="8"/>
                </a:lnTo>
                <a:lnTo>
                  <a:pt x="131" y="9"/>
                </a:lnTo>
                <a:lnTo>
                  <a:pt x="133" y="9"/>
                </a:lnTo>
                <a:lnTo>
                  <a:pt x="133" y="13"/>
                </a:lnTo>
                <a:lnTo>
                  <a:pt x="131" y="14"/>
                </a:lnTo>
                <a:lnTo>
                  <a:pt x="129" y="13"/>
                </a:lnTo>
                <a:lnTo>
                  <a:pt x="129" y="14"/>
                </a:lnTo>
                <a:lnTo>
                  <a:pt x="125" y="14"/>
                </a:lnTo>
                <a:lnTo>
                  <a:pt x="124" y="16"/>
                </a:lnTo>
                <a:lnTo>
                  <a:pt x="127" y="19"/>
                </a:lnTo>
                <a:lnTo>
                  <a:pt x="127" y="20"/>
                </a:lnTo>
                <a:lnTo>
                  <a:pt x="128" y="20"/>
                </a:lnTo>
                <a:lnTo>
                  <a:pt x="127" y="22"/>
                </a:lnTo>
                <a:lnTo>
                  <a:pt x="127" y="24"/>
                </a:lnTo>
                <a:lnTo>
                  <a:pt x="129" y="25"/>
                </a:lnTo>
                <a:lnTo>
                  <a:pt x="131" y="27"/>
                </a:lnTo>
                <a:lnTo>
                  <a:pt x="131" y="28"/>
                </a:lnTo>
                <a:lnTo>
                  <a:pt x="136" y="38"/>
                </a:lnTo>
                <a:lnTo>
                  <a:pt x="135" y="39"/>
                </a:lnTo>
                <a:lnTo>
                  <a:pt x="135" y="41"/>
                </a:lnTo>
                <a:lnTo>
                  <a:pt x="135" y="42"/>
                </a:lnTo>
                <a:lnTo>
                  <a:pt x="135" y="44"/>
                </a:lnTo>
                <a:lnTo>
                  <a:pt x="135" y="46"/>
                </a:lnTo>
                <a:lnTo>
                  <a:pt x="148" y="60"/>
                </a:lnTo>
                <a:lnTo>
                  <a:pt x="151" y="61"/>
                </a:lnTo>
                <a:lnTo>
                  <a:pt x="151" y="63"/>
                </a:lnTo>
                <a:lnTo>
                  <a:pt x="148" y="63"/>
                </a:lnTo>
                <a:lnTo>
                  <a:pt x="143" y="64"/>
                </a:lnTo>
                <a:lnTo>
                  <a:pt x="139" y="63"/>
                </a:lnTo>
                <a:lnTo>
                  <a:pt x="136" y="60"/>
                </a:lnTo>
                <a:lnTo>
                  <a:pt x="136" y="61"/>
                </a:lnTo>
                <a:lnTo>
                  <a:pt x="136" y="64"/>
                </a:lnTo>
                <a:lnTo>
                  <a:pt x="133" y="66"/>
                </a:lnTo>
                <a:lnTo>
                  <a:pt x="131" y="69"/>
                </a:lnTo>
                <a:lnTo>
                  <a:pt x="129" y="72"/>
                </a:lnTo>
                <a:lnTo>
                  <a:pt x="129" y="75"/>
                </a:lnTo>
                <a:lnTo>
                  <a:pt x="129" y="79"/>
                </a:lnTo>
                <a:lnTo>
                  <a:pt x="128" y="82"/>
                </a:lnTo>
                <a:lnTo>
                  <a:pt x="128" y="88"/>
                </a:lnTo>
                <a:lnTo>
                  <a:pt x="127" y="90"/>
                </a:lnTo>
                <a:lnTo>
                  <a:pt x="123" y="99"/>
                </a:lnTo>
                <a:lnTo>
                  <a:pt x="120" y="102"/>
                </a:lnTo>
                <a:lnTo>
                  <a:pt x="119" y="101"/>
                </a:lnTo>
                <a:lnTo>
                  <a:pt x="117" y="104"/>
                </a:lnTo>
                <a:lnTo>
                  <a:pt x="111" y="110"/>
                </a:lnTo>
                <a:lnTo>
                  <a:pt x="111" y="112"/>
                </a:lnTo>
                <a:lnTo>
                  <a:pt x="112" y="112"/>
                </a:lnTo>
                <a:lnTo>
                  <a:pt x="112" y="115"/>
                </a:lnTo>
                <a:lnTo>
                  <a:pt x="112" y="116"/>
                </a:lnTo>
                <a:lnTo>
                  <a:pt x="116" y="119"/>
                </a:lnTo>
                <a:lnTo>
                  <a:pt x="115" y="126"/>
                </a:lnTo>
                <a:lnTo>
                  <a:pt x="112" y="124"/>
                </a:lnTo>
                <a:lnTo>
                  <a:pt x="112" y="129"/>
                </a:lnTo>
                <a:lnTo>
                  <a:pt x="111" y="132"/>
                </a:lnTo>
                <a:lnTo>
                  <a:pt x="109" y="132"/>
                </a:lnTo>
                <a:lnTo>
                  <a:pt x="109" y="134"/>
                </a:lnTo>
                <a:lnTo>
                  <a:pt x="109" y="135"/>
                </a:lnTo>
                <a:lnTo>
                  <a:pt x="108" y="137"/>
                </a:lnTo>
                <a:lnTo>
                  <a:pt x="107" y="138"/>
                </a:lnTo>
                <a:lnTo>
                  <a:pt x="106" y="141"/>
                </a:lnTo>
                <a:lnTo>
                  <a:pt x="103" y="145"/>
                </a:lnTo>
                <a:lnTo>
                  <a:pt x="102" y="145"/>
                </a:lnTo>
                <a:lnTo>
                  <a:pt x="99" y="146"/>
                </a:lnTo>
                <a:lnTo>
                  <a:pt x="88" y="152"/>
                </a:lnTo>
                <a:lnTo>
                  <a:pt x="87" y="152"/>
                </a:lnTo>
                <a:lnTo>
                  <a:pt x="86" y="145"/>
                </a:lnTo>
                <a:lnTo>
                  <a:pt x="84" y="141"/>
                </a:lnTo>
                <a:lnTo>
                  <a:pt x="83" y="141"/>
                </a:lnTo>
                <a:lnTo>
                  <a:pt x="80" y="138"/>
                </a:lnTo>
                <a:lnTo>
                  <a:pt x="76" y="138"/>
                </a:lnTo>
                <a:lnTo>
                  <a:pt x="74" y="140"/>
                </a:lnTo>
                <a:lnTo>
                  <a:pt x="72" y="140"/>
                </a:lnTo>
                <a:lnTo>
                  <a:pt x="71" y="138"/>
                </a:lnTo>
                <a:lnTo>
                  <a:pt x="71" y="135"/>
                </a:lnTo>
                <a:lnTo>
                  <a:pt x="66" y="135"/>
                </a:lnTo>
                <a:lnTo>
                  <a:pt x="63" y="134"/>
                </a:lnTo>
                <a:lnTo>
                  <a:pt x="62" y="132"/>
                </a:lnTo>
                <a:lnTo>
                  <a:pt x="60" y="134"/>
                </a:lnTo>
                <a:lnTo>
                  <a:pt x="60" y="135"/>
                </a:lnTo>
                <a:lnTo>
                  <a:pt x="59" y="137"/>
                </a:lnTo>
                <a:lnTo>
                  <a:pt x="55" y="138"/>
                </a:lnTo>
                <a:lnTo>
                  <a:pt x="52" y="140"/>
                </a:lnTo>
                <a:lnTo>
                  <a:pt x="50" y="138"/>
                </a:lnTo>
                <a:lnTo>
                  <a:pt x="47" y="140"/>
                </a:lnTo>
                <a:lnTo>
                  <a:pt x="46" y="140"/>
                </a:lnTo>
                <a:lnTo>
                  <a:pt x="44" y="141"/>
                </a:lnTo>
                <a:lnTo>
                  <a:pt x="43" y="135"/>
                </a:lnTo>
                <a:lnTo>
                  <a:pt x="42" y="129"/>
                </a:lnTo>
                <a:lnTo>
                  <a:pt x="40" y="130"/>
                </a:lnTo>
                <a:lnTo>
                  <a:pt x="39" y="132"/>
                </a:lnTo>
                <a:lnTo>
                  <a:pt x="36" y="130"/>
                </a:lnTo>
                <a:lnTo>
                  <a:pt x="35" y="130"/>
                </a:lnTo>
                <a:lnTo>
                  <a:pt x="34" y="132"/>
                </a:lnTo>
                <a:lnTo>
                  <a:pt x="32" y="132"/>
                </a:lnTo>
                <a:lnTo>
                  <a:pt x="30" y="134"/>
                </a:lnTo>
                <a:lnTo>
                  <a:pt x="28" y="132"/>
                </a:lnTo>
                <a:lnTo>
                  <a:pt x="26" y="132"/>
                </a:lnTo>
                <a:lnTo>
                  <a:pt x="23" y="130"/>
                </a:lnTo>
                <a:lnTo>
                  <a:pt x="22" y="130"/>
                </a:lnTo>
                <a:lnTo>
                  <a:pt x="20" y="132"/>
                </a:lnTo>
                <a:lnTo>
                  <a:pt x="19" y="127"/>
                </a:lnTo>
                <a:lnTo>
                  <a:pt x="19" y="124"/>
                </a:lnTo>
                <a:lnTo>
                  <a:pt x="18" y="123"/>
                </a:lnTo>
                <a:lnTo>
                  <a:pt x="16" y="115"/>
                </a:lnTo>
                <a:lnTo>
                  <a:pt x="15" y="112"/>
                </a:lnTo>
                <a:lnTo>
                  <a:pt x="15" y="110"/>
                </a:lnTo>
                <a:lnTo>
                  <a:pt x="16" y="108"/>
                </a:lnTo>
                <a:lnTo>
                  <a:pt x="16" y="107"/>
                </a:lnTo>
                <a:lnTo>
                  <a:pt x="15" y="102"/>
                </a:lnTo>
                <a:lnTo>
                  <a:pt x="15" y="101"/>
                </a:lnTo>
                <a:lnTo>
                  <a:pt x="12" y="94"/>
                </a:lnTo>
                <a:lnTo>
                  <a:pt x="11" y="93"/>
                </a:lnTo>
                <a:lnTo>
                  <a:pt x="10" y="91"/>
                </a:lnTo>
                <a:lnTo>
                  <a:pt x="7" y="90"/>
                </a:lnTo>
                <a:lnTo>
                  <a:pt x="6" y="88"/>
                </a:lnTo>
                <a:lnTo>
                  <a:pt x="4" y="88"/>
                </a:lnTo>
                <a:lnTo>
                  <a:pt x="3" y="86"/>
                </a:lnTo>
                <a:lnTo>
                  <a:pt x="3" y="83"/>
                </a:lnTo>
                <a:lnTo>
                  <a:pt x="3" y="77"/>
                </a:lnTo>
                <a:lnTo>
                  <a:pt x="2" y="72"/>
                </a:lnTo>
                <a:lnTo>
                  <a:pt x="0" y="72"/>
                </a:lnTo>
                <a:lnTo>
                  <a:pt x="0" y="71"/>
                </a:lnTo>
                <a:lnTo>
                  <a:pt x="0" y="64"/>
                </a:lnTo>
                <a:lnTo>
                  <a:pt x="0" y="60"/>
                </a:lnTo>
                <a:lnTo>
                  <a:pt x="2" y="53"/>
                </a:lnTo>
                <a:lnTo>
                  <a:pt x="3" y="50"/>
                </a:lnTo>
                <a:lnTo>
                  <a:pt x="4" y="49"/>
                </a:lnTo>
                <a:lnTo>
                  <a:pt x="7" y="44"/>
                </a:lnTo>
                <a:lnTo>
                  <a:pt x="8" y="42"/>
                </a:lnTo>
                <a:lnTo>
                  <a:pt x="8" y="44"/>
                </a:lnTo>
                <a:lnTo>
                  <a:pt x="16" y="57"/>
                </a:lnTo>
                <a:lnTo>
                  <a:pt x="20" y="61"/>
                </a:lnTo>
                <a:lnTo>
                  <a:pt x="24" y="61"/>
                </a:lnTo>
                <a:lnTo>
                  <a:pt x="27" y="61"/>
                </a:lnTo>
                <a:lnTo>
                  <a:pt x="30" y="60"/>
                </a:lnTo>
                <a:lnTo>
                  <a:pt x="32" y="63"/>
                </a:lnTo>
                <a:lnTo>
                  <a:pt x="35" y="61"/>
                </a:lnTo>
                <a:lnTo>
                  <a:pt x="38" y="61"/>
                </a:lnTo>
                <a:lnTo>
                  <a:pt x="40" y="61"/>
                </a:lnTo>
                <a:lnTo>
                  <a:pt x="43" y="60"/>
                </a:lnTo>
                <a:lnTo>
                  <a:pt x="47" y="53"/>
                </a:lnTo>
                <a:lnTo>
                  <a:pt x="48" y="52"/>
                </a:lnTo>
                <a:lnTo>
                  <a:pt x="50" y="52"/>
                </a:lnTo>
                <a:lnTo>
                  <a:pt x="58" y="52"/>
                </a:lnTo>
                <a:lnTo>
                  <a:pt x="59" y="52"/>
                </a:lnTo>
                <a:lnTo>
                  <a:pt x="59" y="55"/>
                </a:lnTo>
                <a:lnTo>
                  <a:pt x="60" y="55"/>
                </a:lnTo>
                <a:lnTo>
                  <a:pt x="67" y="57"/>
                </a:lnTo>
                <a:lnTo>
                  <a:pt x="70" y="57"/>
                </a:lnTo>
                <a:lnTo>
                  <a:pt x="72" y="55"/>
                </a:lnTo>
                <a:lnTo>
                  <a:pt x="75" y="53"/>
                </a:lnTo>
                <a:lnTo>
                  <a:pt x="78" y="53"/>
                </a:lnTo>
                <a:lnTo>
                  <a:pt x="82" y="52"/>
                </a:lnTo>
                <a:lnTo>
                  <a:pt x="83" y="50"/>
                </a:lnTo>
                <a:lnTo>
                  <a:pt x="84" y="49"/>
                </a:lnTo>
                <a:lnTo>
                  <a:pt x="87" y="44"/>
                </a:lnTo>
                <a:lnTo>
                  <a:pt x="88" y="39"/>
                </a:lnTo>
                <a:lnTo>
                  <a:pt x="91" y="30"/>
                </a:lnTo>
                <a:lnTo>
                  <a:pt x="98" y="20"/>
                </a:lnTo>
                <a:lnTo>
                  <a:pt x="99" y="16"/>
                </a:lnTo>
                <a:lnTo>
                  <a:pt x="100" y="9"/>
                </a:lnTo>
                <a:lnTo>
                  <a:pt x="102" y="3"/>
                </a:lnTo>
                <a:lnTo>
                  <a:pt x="103" y="2"/>
                </a:lnTo>
                <a:lnTo>
                  <a:pt x="108" y="0"/>
                </a:lnTo>
                <a:lnTo>
                  <a:pt x="123" y="2"/>
                </a:lnTo>
                <a:lnTo>
                  <a:pt x="124" y="3"/>
                </a:lnTo>
                <a:lnTo>
                  <a:pt x="128" y="5"/>
                </a:lnTo>
                <a:lnTo>
                  <a:pt x="129" y="5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98" name="Freeform 195"/>
          <p:cNvSpPr>
            <a:spLocks/>
          </p:cNvSpPr>
          <p:nvPr/>
        </p:nvSpPr>
        <p:spPr bwMode="auto">
          <a:xfrm>
            <a:off x="8808119" y="4189631"/>
            <a:ext cx="288425" cy="298517"/>
          </a:xfrm>
          <a:custGeom>
            <a:avLst/>
            <a:gdLst/>
            <a:ahLst/>
            <a:cxnLst>
              <a:cxn ang="0">
                <a:pos x="129" y="5"/>
              </a:cxn>
              <a:cxn ang="0">
                <a:pos x="129" y="8"/>
              </a:cxn>
              <a:cxn ang="0">
                <a:pos x="133" y="13"/>
              </a:cxn>
              <a:cxn ang="0">
                <a:pos x="129" y="14"/>
              </a:cxn>
              <a:cxn ang="0">
                <a:pos x="127" y="19"/>
              </a:cxn>
              <a:cxn ang="0">
                <a:pos x="127" y="22"/>
              </a:cxn>
              <a:cxn ang="0">
                <a:pos x="131" y="27"/>
              </a:cxn>
              <a:cxn ang="0">
                <a:pos x="135" y="39"/>
              </a:cxn>
              <a:cxn ang="0">
                <a:pos x="135" y="44"/>
              </a:cxn>
              <a:cxn ang="0">
                <a:pos x="151" y="61"/>
              </a:cxn>
              <a:cxn ang="0">
                <a:pos x="143" y="64"/>
              </a:cxn>
              <a:cxn ang="0">
                <a:pos x="136" y="61"/>
              </a:cxn>
              <a:cxn ang="0">
                <a:pos x="131" y="69"/>
              </a:cxn>
              <a:cxn ang="0">
                <a:pos x="129" y="79"/>
              </a:cxn>
              <a:cxn ang="0">
                <a:pos x="127" y="90"/>
              </a:cxn>
              <a:cxn ang="0">
                <a:pos x="119" y="101"/>
              </a:cxn>
              <a:cxn ang="0">
                <a:pos x="111" y="112"/>
              </a:cxn>
              <a:cxn ang="0">
                <a:pos x="112" y="116"/>
              </a:cxn>
              <a:cxn ang="0">
                <a:pos x="112" y="124"/>
              </a:cxn>
              <a:cxn ang="0">
                <a:pos x="109" y="132"/>
              </a:cxn>
              <a:cxn ang="0">
                <a:pos x="108" y="137"/>
              </a:cxn>
              <a:cxn ang="0">
                <a:pos x="103" y="145"/>
              </a:cxn>
              <a:cxn ang="0">
                <a:pos x="88" y="152"/>
              </a:cxn>
              <a:cxn ang="0">
                <a:pos x="84" y="141"/>
              </a:cxn>
              <a:cxn ang="0">
                <a:pos x="76" y="138"/>
              </a:cxn>
              <a:cxn ang="0">
                <a:pos x="71" y="138"/>
              </a:cxn>
              <a:cxn ang="0">
                <a:pos x="63" y="134"/>
              </a:cxn>
              <a:cxn ang="0">
                <a:pos x="60" y="135"/>
              </a:cxn>
              <a:cxn ang="0">
                <a:pos x="52" y="140"/>
              </a:cxn>
              <a:cxn ang="0">
                <a:pos x="46" y="140"/>
              </a:cxn>
              <a:cxn ang="0">
                <a:pos x="42" y="129"/>
              </a:cxn>
              <a:cxn ang="0">
                <a:pos x="36" y="130"/>
              </a:cxn>
              <a:cxn ang="0">
                <a:pos x="32" y="132"/>
              </a:cxn>
              <a:cxn ang="0">
                <a:pos x="26" y="132"/>
              </a:cxn>
              <a:cxn ang="0">
                <a:pos x="20" y="132"/>
              </a:cxn>
              <a:cxn ang="0">
                <a:pos x="18" y="123"/>
              </a:cxn>
              <a:cxn ang="0">
                <a:pos x="15" y="110"/>
              </a:cxn>
              <a:cxn ang="0">
                <a:pos x="15" y="102"/>
              </a:cxn>
              <a:cxn ang="0">
                <a:pos x="11" y="93"/>
              </a:cxn>
              <a:cxn ang="0">
                <a:pos x="6" y="88"/>
              </a:cxn>
              <a:cxn ang="0">
                <a:pos x="3" y="83"/>
              </a:cxn>
              <a:cxn ang="0">
                <a:pos x="0" y="72"/>
              </a:cxn>
              <a:cxn ang="0">
                <a:pos x="0" y="60"/>
              </a:cxn>
              <a:cxn ang="0">
                <a:pos x="4" y="49"/>
              </a:cxn>
              <a:cxn ang="0">
                <a:pos x="8" y="44"/>
              </a:cxn>
              <a:cxn ang="0">
                <a:pos x="24" y="61"/>
              </a:cxn>
              <a:cxn ang="0">
                <a:pos x="32" y="63"/>
              </a:cxn>
              <a:cxn ang="0">
                <a:pos x="40" y="61"/>
              </a:cxn>
              <a:cxn ang="0">
                <a:pos x="48" y="52"/>
              </a:cxn>
              <a:cxn ang="0">
                <a:pos x="59" y="52"/>
              </a:cxn>
              <a:cxn ang="0">
                <a:pos x="67" y="57"/>
              </a:cxn>
              <a:cxn ang="0">
                <a:pos x="75" y="53"/>
              </a:cxn>
              <a:cxn ang="0">
                <a:pos x="83" y="50"/>
              </a:cxn>
              <a:cxn ang="0">
                <a:pos x="88" y="39"/>
              </a:cxn>
              <a:cxn ang="0">
                <a:pos x="99" y="16"/>
              </a:cxn>
              <a:cxn ang="0">
                <a:pos x="103" y="2"/>
              </a:cxn>
              <a:cxn ang="0">
                <a:pos x="124" y="3"/>
              </a:cxn>
            </a:cxnLst>
            <a:rect l="0" t="0" r="r" b="b"/>
            <a:pathLst>
              <a:path w="151" h="152">
                <a:moveTo>
                  <a:pt x="129" y="5"/>
                </a:moveTo>
                <a:lnTo>
                  <a:pt x="131" y="5"/>
                </a:lnTo>
                <a:lnTo>
                  <a:pt x="129" y="5"/>
                </a:lnTo>
                <a:lnTo>
                  <a:pt x="128" y="6"/>
                </a:lnTo>
                <a:lnTo>
                  <a:pt x="127" y="6"/>
                </a:lnTo>
                <a:lnTo>
                  <a:pt x="129" y="8"/>
                </a:lnTo>
                <a:lnTo>
                  <a:pt x="131" y="9"/>
                </a:lnTo>
                <a:lnTo>
                  <a:pt x="133" y="9"/>
                </a:lnTo>
                <a:lnTo>
                  <a:pt x="133" y="13"/>
                </a:lnTo>
                <a:lnTo>
                  <a:pt x="131" y="14"/>
                </a:lnTo>
                <a:lnTo>
                  <a:pt x="129" y="13"/>
                </a:lnTo>
                <a:lnTo>
                  <a:pt x="129" y="14"/>
                </a:lnTo>
                <a:lnTo>
                  <a:pt x="125" y="14"/>
                </a:lnTo>
                <a:lnTo>
                  <a:pt x="124" y="16"/>
                </a:lnTo>
                <a:lnTo>
                  <a:pt x="127" y="19"/>
                </a:lnTo>
                <a:lnTo>
                  <a:pt x="127" y="20"/>
                </a:lnTo>
                <a:lnTo>
                  <a:pt x="128" y="20"/>
                </a:lnTo>
                <a:lnTo>
                  <a:pt x="127" y="22"/>
                </a:lnTo>
                <a:lnTo>
                  <a:pt x="127" y="24"/>
                </a:lnTo>
                <a:lnTo>
                  <a:pt x="129" y="25"/>
                </a:lnTo>
                <a:lnTo>
                  <a:pt x="131" y="27"/>
                </a:lnTo>
                <a:lnTo>
                  <a:pt x="131" y="28"/>
                </a:lnTo>
                <a:lnTo>
                  <a:pt x="136" y="38"/>
                </a:lnTo>
                <a:lnTo>
                  <a:pt x="135" y="39"/>
                </a:lnTo>
                <a:lnTo>
                  <a:pt x="135" y="41"/>
                </a:lnTo>
                <a:lnTo>
                  <a:pt x="135" y="42"/>
                </a:lnTo>
                <a:lnTo>
                  <a:pt x="135" y="44"/>
                </a:lnTo>
                <a:lnTo>
                  <a:pt x="135" y="46"/>
                </a:lnTo>
                <a:lnTo>
                  <a:pt x="148" y="60"/>
                </a:lnTo>
                <a:lnTo>
                  <a:pt x="151" y="61"/>
                </a:lnTo>
                <a:lnTo>
                  <a:pt x="151" y="63"/>
                </a:lnTo>
                <a:lnTo>
                  <a:pt x="148" y="63"/>
                </a:lnTo>
                <a:lnTo>
                  <a:pt x="143" y="64"/>
                </a:lnTo>
                <a:lnTo>
                  <a:pt x="139" y="63"/>
                </a:lnTo>
                <a:lnTo>
                  <a:pt x="136" y="60"/>
                </a:lnTo>
                <a:lnTo>
                  <a:pt x="136" y="61"/>
                </a:lnTo>
                <a:lnTo>
                  <a:pt x="136" y="64"/>
                </a:lnTo>
                <a:lnTo>
                  <a:pt x="133" y="66"/>
                </a:lnTo>
                <a:lnTo>
                  <a:pt x="131" y="69"/>
                </a:lnTo>
                <a:lnTo>
                  <a:pt x="129" y="72"/>
                </a:lnTo>
                <a:lnTo>
                  <a:pt x="129" y="75"/>
                </a:lnTo>
                <a:lnTo>
                  <a:pt x="129" y="79"/>
                </a:lnTo>
                <a:lnTo>
                  <a:pt x="128" y="82"/>
                </a:lnTo>
                <a:lnTo>
                  <a:pt x="128" y="88"/>
                </a:lnTo>
                <a:lnTo>
                  <a:pt x="127" y="90"/>
                </a:lnTo>
                <a:lnTo>
                  <a:pt x="123" y="99"/>
                </a:lnTo>
                <a:lnTo>
                  <a:pt x="120" y="102"/>
                </a:lnTo>
                <a:lnTo>
                  <a:pt x="119" y="101"/>
                </a:lnTo>
                <a:lnTo>
                  <a:pt x="117" y="104"/>
                </a:lnTo>
                <a:lnTo>
                  <a:pt x="111" y="110"/>
                </a:lnTo>
                <a:lnTo>
                  <a:pt x="111" y="112"/>
                </a:lnTo>
                <a:lnTo>
                  <a:pt x="112" y="112"/>
                </a:lnTo>
                <a:lnTo>
                  <a:pt x="112" y="115"/>
                </a:lnTo>
                <a:lnTo>
                  <a:pt x="112" y="116"/>
                </a:lnTo>
                <a:lnTo>
                  <a:pt x="116" y="119"/>
                </a:lnTo>
                <a:lnTo>
                  <a:pt x="115" y="126"/>
                </a:lnTo>
                <a:lnTo>
                  <a:pt x="112" y="124"/>
                </a:lnTo>
                <a:lnTo>
                  <a:pt x="112" y="129"/>
                </a:lnTo>
                <a:lnTo>
                  <a:pt x="111" y="132"/>
                </a:lnTo>
                <a:lnTo>
                  <a:pt x="109" y="132"/>
                </a:lnTo>
                <a:lnTo>
                  <a:pt x="109" y="134"/>
                </a:lnTo>
                <a:lnTo>
                  <a:pt x="109" y="135"/>
                </a:lnTo>
                <a:lnTo>
                  <a:pt x="108" y="137"/>
                </a:lnTo>
                <a:lnTo>
                  <a:pt x="107" y="138"/>
                </a:lnTo>
                <a:lnTo>
                  <a:pt x="106" y="141"/>
                </a:lnTo>
                <a:lnTo>
                  <a:pt x="103" y="145"/>
                </a:lnTo>
                <a:lnTo>
                  <a:pt x="102" y="145"/>
                </a:lnTo>
                <a:lnTo>
                  <a:pt x="99" y="146"/>
                </a:lnTo>
                <a:lnTo>
                  <a:pt x="88" y="152"/>
                </a:lnTo>
                <a:lnTo>
                  <a:pt x="87" y="152"/>
                </a:lnTo>
                <a:lnTo>
                  <a:pt x="86" y="145"/>
                </a:lnTo>
                <a:lnTo>
                  <a:pt x="84" y="141"/>
                </a:lnTo>
                <a:lnTo>
                  <a:pt x="83" y="141"/>
                </a:lnTo>
                <a:lnTo>
                  <a:pt x="80" y="138"/>
                </a:lnTo>
                <a:lnTo>
                  <a:pt x="76" y="138"/>
                </a:lnTo>
                <a:lnTo>
                  <a:pt x="74" y="140"/>
                </a:lnTo>
                <a:lnTo>
                  <a:pt x="72" y="140"/>
                </a:lnTo>
                <a:lnTo>
                  <a:pt x="71" y="138"/>
                </a:lnTo>
                <a:lnTo>
                  <a:pt x="71" y="135"/>
                </a:lnTo>
                <a:lnTo>
                  <a:pt x="66" y="135"/>
                </a:lnTo>
                <a:lnTo>
                  <a:pt x="63" y="134"/>
                </a:lnTo>
                <a:lnTo>
                  <a:pt x="62" y="132"/>
                </a:lnTo>
                <a:lnTo>
                  <a:pt x="60" y="134"/>
                </a:lnTo>
                <a:lnTo>
                  <a:pt x="60" y="135"/>
                </a:lnTo>
                <a:lnTo>
                  <a:pt x="59" y="137"/>
                </a:lnTo>
                <a:lnTo>
                  <a:pt x="55" y="138"/>
                </a:lnTo>
                <a:lnTo>
                  <a:pt x="52" y="140"/>
                </a:lnTo>
                <a:lnTo>
                  <a:pt x="50" y="138"/>
                </a:lnTo>
                <a:lnTo>
                  <a:pt x="47" y="140"/>
                </a:lnTo>
                <a:lnTo>
                  <a:pt x="46" y="140"/>
                </a:lnTo>
                <a:lnTo>
                  <a:pt x="44" y="141"/>
                </a:lnTo>
                <a:lnTo>
                  <a:pt x="43" y="135"/>
                </a:lnTo>
                <a:lnTo>
                  <a:pt x="42" y="129"/>
                </a:lnTo>
                <a:lnTo>
                  <a:pt x="40" y="130"/>
                </a:lnTo>
                <a:lnTo>
                  <a:pt x="39" y="132"/>
                </a:lnTo>
                <a:lnTo>
                  <a:pt x="36" y="130"/>
                </a:lnTo>
                <a:lnTo>
                  <a:pt x="35" y="130"/>
                </a:lnTo>
                <a:lnTo>
                  <a:pt x="34" y="132"/>
                </a:lnTo>
                <a:lnTo>
                  <a:pt x="32" y="132"/>
                </a:lnTo>
                <a:lnTo>
                  <a:pt x="30" y="134"/>
                </a:lnTo>
                <a:lnTo>
                  <a:pt x="28" y="132"/>
                </a:lnTo>
                <a:lnTo>
                  <a:pt x="26" y="132"/>
                </a:lnTo>
                <a:lnTo>
                  <a:pt x="23" y="130"/>
                </a:lnTo>
                <a:lnTo>
                  <a:pt x="22" y="130"/>
                </a:lnTo>
                <a:lnTo>
                  <a:pt x="20" y="132"/>
                </a:lnTo>
                <a:lnTo>
                  <a:pt x="19" y="127"/>
                </a:lnTo>
                <a:lnTo>
                  <a:pt x="19" y="124"/>
                </a:lnTo>
                <a:lnTo>
                  <a:pt x="18" y="123"/>
                </a:lnTo>
                <a:lnTo>
                  <a:pt x="16" y="115"/>
                </a:lnTo>
                <a:lnTo>
                  <a:pt x="15" y="112"/>
                </a:lnTo>
                <a:lnTo>
                  <a:pt x="15" y="110"/>
                </a:lnTo>
                <a:lnTo>
                  <a:pt x="16" y="108"/>
                </a:lnTo>
                <a:lnTo>
                  <a:pt x="16" y="107"/>
                </a:lnTo>
                <a:lnTo>
                  <a:pt x="15" y="102"/>
                </a:lnTo>
                <a:lnTo>
                  <a:pt x="15" y="101"/>
                </a:lnTo>
                <a:lnTo>
                  <a:pt x="12" y="94"/>
                </a:lnTo>
                <a:lnTo>
                  <a:pt x="11" y="93"/>
                </a:lnTo>
                <a:lnTo>
                  <a:pt x="10" y="91"/>
                </a:lnTo>
                <a:lnTo>
                  <a:pt x="7" y="90"/>
                </a:lnTo>
                <a:lnTo>
                  <a:pt x="6" y="88"/>
                </a:lnTo>
                <a:lnTo>
                  <a:pt x="4" y="88"/>
                </a:lnTo>
                <a:lnTo>
                  <a:pt x="3" y="86"/>
                </a:lnTo>
                <a:lnTo>
                  <a:pt x="3" y="83"/>
                </a:lnTo>
                <a:lnTo>
                  <a:pt x="3" y="77"/>
                </a:lnTo>
                <a:lnTo>
                  <a:pt x="2" y="72"/>
                </a:lnTo>
                <a:lnTo>
                  <a:pt x="0" y="72"/>
                </a:lnTo>
                <a:lnTo>
                  <a:pt x="0" y="71"/>
                </a:lnTo>
                <a:lnTo>
                  <a:pt x="0" y="64"/>
                </a:lnTo>
                <a:lnTo>
                  <a:pt x="0" y="60"/>
                </a:lnTo>
                <a:lnTo>
                  <a:pt x="2" y="53"/>
                </a:lnTo>
                <a:lnTo>
                  <a:pt x="3" y="50"/>
                </a:lnTo>
                <a:lnTo>
                  <a:pt x="4" y="49"/>
                </a:lnTo>
                <a:lnTo>
                  <a:pt x="7" y="44"/>
                </a:lnTo>
                <a:lnTo>
                  <a:pt x="8" y="42"/>
                </a:lnTo>
                <a:lnTo>
                  <a:pt x="8" y="44"/>
                </a:lnTo>
                <a:lnTo>
                  <a:pt x="16" y="57"/>
                </a:lnTo>
                <a:lnTo>
                  <a:pt x="20" y="61"/>
                </a:lnTo>
                <a:lnTo>
                  <a:pt x="24" y="61"/>
                </a:lnTo>
                <a:lnTo>
                  <a:pt x="27" y="61"/>
                </a:lnTo>
                <a:lnTo>
                  <a:pt x="30" y="60"/>
                </a:lnTo>
                <a:lnTo>
                  <a:pt x="32" y="63"/>
                </a:lnTo>
                <a:lnTo>
                  <a:pt x="35" y="61"/>
                </a:lnTo>
                <a:lnTo>
                  <a:pt x="38" y="61"/>
                </a:lnTo>
                <a:lnTo>
                  <a:pt x="40" y="61"/>
                </a:lnTo>
                <a:lnTo>
                  <a:pt x="43" y="60"/>
                </a:lnTo>
                <a:lnTo>
                  <a:pt x="47" y="53"/>
                </a:lnTo>
                <a:lnTo>
                  <a:pt x="48" y="52"/>
                </a:lnTo>
                <a:lnTo>
                  <a:pt x="50" y="52"/>
                </a:lnTo>
                <a:lnTo>
                  <a:pt x="58" y="52"/>
                </a:lnTo>
                <a:lnTo>
                  <a:pt x="59" y="52"/>
                </a:lnTo>
                <a:lnTo>
                  <a:pt x="59" y="55"/>
                </a:lnTo>
                <a:lnTo>
                  <a:pt x="60" y="55"/>
                </a:lnTo>
                <a:lnTo>
                  <a:pt x="67" y="57"/>
                </a:lnTo>
                <a:lnTo>
                  <a:pt x="70" y="57"/>
                </a:lnTo>
                <a:lnTo>
                  <a:pt x="72" y="55"/>
                </a:lnTo>
                <a:lnTo>
                  <a:pt x="75" y="53"/>
                </a:lnTo>
                <a:lnTo>
                  <a:pt x="78" y="53"/>
                </a:lnTo>
                <a:lnTo>
                  <a:pt x="82" y="52"/>
                </a:lnTo>
                <a:lnTo>
                  <a:pt x="83" y="50"/>
                </a:lnTo>
                <a:lnTo>
                  <a:pt x="84" y="49"/>
                </a:lnTo>
                <a:lnTo>
                  <a:pt x="87" y="44"/>
                </a:lnTo>
                <a:lnTo>
                  <a:pt x="88" y="39"/>
                </a:lnTo>
                <a:lnTo>
                  <a:pt x="91" y="30"/>
                </a:lnTo>
                <a:lnTo>
                  <a:pt x="98" y="20"/>
                </a:lnTo>
                <a:lnTo>
                  <a:pt x="99" y="16"/>
                </a:lnTo>
                <a:lnTo>
                  <a:pt x="100" y="9"/>
                </a:lnTo>
                <a:lnTo>
                  <a:pt x="102" y="3"/>
                </a:lnTo>
                <a:lnTo>
                  <a:pt x="103" y="2"/>
                </a:lnTo>
                <a:lnTo>
                  <a:pt x="108" y="0"/>
                </a:lnTo>
                <a:lnTo>
                  <a:pt x="123" y="2"/>
                </a:lnTo>
                <a:lnTo>
                  <a:pt x="124" y="3"/>
                </a:lnTo>
                <a:lnTo>
                  <a:pt x="128" y="5"/>
                </a:lnTo>
                <a:lnTo>
                  <a:pt x="129" y="5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299" name="Freeform 196"/>
          <p:cNvSpPr>
            <a:spLocks/>
          </p:cNvSpPr>
          <p:nvPr/>
        </p:nvSpPr>
        <p:spPr bwMode="auto">
          <a:xfrm>
            <a:off x="9437586" y="4357147"/>
            <a:ext cx="300118" cy="313550"/>
          </a:xfrm>
          <a:custGeom>
            <a:avLst/>
            <a:gdLst/>
            <a:ahLst/>
            <a:cxnLst>
              <a:cxn ang="0">
                <a:pos x="152" y="152"/>
              </a:cxn>
              <a:cxn ang="0">
                <a:pos x="138" y="140"/>
              </a:cxn>
              <a:cxn ang="0">
                <a:pos x="130" y="140"/>
              </a:cxn>
              <a:cxn ang="0">
                <a:pos x="121" y="141"/>
              </a:cxn>
              <a:cxn ang="0">
                <a:pos x="112" y="143"/>
              </a:cxn>
              <a:cxn ang="0">
                <a:pos x="107" y="136"/>
              </a:cxn>
              <a:cxn ang="0">
                <a:pos x="118" y="125"/>
              </a:cxn>
              <a:cxn ang="0">
                <a:pos x="120" y="122"/>
              </a:cxn>
              <a:cxn ang="0">
                <a:pos x="117" y="116"/>
              </a:cxn>
              <a:cxn ang="0">
                <a:pos x="113" y="99"/>
              </a:cxn>
              <a:cxn ang="0">
                <a:pos x="108" y="91"/>
              </a:cxn>
              <a:cxn ang="0">
                <a:pos x="100" y="85"/>
              </a:cxn>
              <a:cxn ang="0">
                <a:pos x="83" y="77"/>
              </a:cxn>
              <a:cxn ang="0">
                <a:pos x="67" y="74"/>
              </a:cxn>
              <a:cxn ang="0">
                <a:pos x="59" y="67"/>
              </a:cxn>
              <a:cxn ang="0">
                <a:pos x="52" y="67"/>
              </a:cxn>
              <a:cxn ang="0">
                <a:pos x="47" y="60"/>
              </a:cxn>
              <a:cxn ang="0">
                <a:pos x="45" y="49"/>
              </a:cxn>
              <a:cxn ang="0">
                <a:pos x="43" y="55"/>
              </a:cxn>
              <a:cxn ang="0">
                <a:pos x="37" y="66"/>
              </a:cxn>
              <a:cxn ang="0">
                <a:pos x="29" y="63"/>
              </a:cxn>
              <a:cxn ang="0">
                <a:pos x="27" y="53"/>
              </a:cxn>
              <a:cxn ang="0">
                <a:pos x="16" y="47"/>
              </a:cxn>
              <a:cxn ang="0">
                <a:pos x="27" y="42"/>
              </a:cxn>
              <a:cxn ang="0">
                <a:pos x="41" y="39"/>
              </a:cxn>
              <a:cxn ang="0">
                <a:pos x="45" y="30"/>
              </a:cxn>
              <a:cxn ang="0">
                <a:pos x="27" y="34"/>
              </a:cxn>
              <a:cxn ang="0">
                <a:pos x="16" y="28"/>
              </a:cxn>
              <a:cxn ang="0">
                <a:pos x="8" y="20"/>
              </a:cxn>
              <a:cxn ang="0">
                <a:pos x="2" y="17"/>
              </a:cxn>
              <a:cxn ang="0">
                <a:pos x="8" y="8"/>
              </a:cxn>
              <a:cxn ang="0">
                <a:pos x="23" y="0"/>
              </a:cxn>
              <a:cxn ang="0">
                <a:pos x="35" y="6"/>
              </a:cxn>
              <a:cxn ang="0">
                <a:pos x="49" y="16"/>
              </a:cxn>
              <a:cxn ang="0">
                <a:pos x="49" y="38"/>
              </a:cxn>
              <a:cxn ang="0">
                <a:pos x="57" y="41"/>
              </a:cxn>
              <a:cxn ang="0">
                <a:pos x="65" y="53"/>
              </a:cxn>
              <a:cxn ang="0">
                <a:pos x="75" y="49"/>
              </a:cxn>
              <a:cxn ang="0">
                <a:pos x="84" y="34"/>
              </a:cxn>
              <a:cxn ang="0">
                <a:pos x="96" y="30"/>
              </a:cxn>
              <a:cxn ang="0">
                <a:pos x="105" y="19"/>
              </a:cxn>
              <a:cxn ang="0">
                <a:pos x="116" y="25"/>
              </a:cxn>
              <a:cxn ang="0">
                <a:pos x="130" y="33"/>
              </a:cxn>
              <a:cxn ang="0">
                <a:pos x="140" y="34"/>
              </a:cxn>
              <a:cxn ang="0">
                <a:pos x="148" y="38"/>
              </a:cxn>
              <a:cxn ang="0">
                <a:pos x="153" y="39"/>
              </a:cxn>
              <a:cxn ang="0">
                <a:pos x="153" y="113"/>
              </a:cxn>
              <a:cxn ang="0">
                <a:pos x="156" y="152"/>
              </a:cxn>
            </a:cxnLst>
            <a:rect l="0" t="0" r="r" b="b"/>
            <a:pathLst>
              <a:path w="157" h="157">
                <a:moveTo>
                  <a:pt x="157" y="157"/>
                </a:moveTo>
                <a:lnTo>
                  <a:pt x="157" y="155"/>
                </a:lnTo>
                <a:lnTo>
                  <a:pt x="153" y="155"/>
                </a:lnTo>
                <a:lnTo>
                  <a:pt x="152" y="152"/>
                </a:lnTo>
                <a:lnTo>
                  <a:pt x="146" y="147"/>
                </a:lnTo>
                <a:lnTo>
                  <a:pt x="144" y="144"/>
                </a:lnTo>
                <a:lnTo>
                  <a:pt x="141" y="141"/>
                </a:lnTo>
                <a:lnTo>
                  <a:pt x="138" y="140"/>
                </a:lnTo>
                <a:lnTo>
                  <a:pt x="138" y="138"/>
                </a:lnTo>
                <a:lnTo>
                  <a:pt x="137" y="136"/>
                </a:lnTo>
                <a:lnTo>
                  <a:pt x="133" y="138"/>
                </a:lnTo>
                <a:lnTo>
                  <a:pt x="130" y="140"/>
                </a:lnTo>
                <a:lnTo>
                  <a:pt x="125" y="138"/>
                </a:lnTo>
                <a:lnTo>
                  <a:pt x="124" y="141"/>
                </a:lnTo>
                <a:lnTo>
                  <a:pt x="121" y="140"/>
                </a:lnTo>
                <a:lnTo>
                  <a:pt x="121" y="141"/>
                </a:lnTo>
                <a:lnTo>
                  <a:pt x="121" y="143"/>
                </a:lnTo>
                <a:lnTo>
                  <a:pt x="118" y="143"/>
                </a:lnTo>
                <a:lnTo>
                  <a:pt x="117" y="141"/>
                </a:lnTo>
                <a:lnTo>
                  <a:pt x="112" y="143"/>
                </a:lnTo>
                <a:lnTo>
                  <a:pt x="107" y="144"/>
                </a:lnTo>
                <a:lnTo>
                  <a:pt x="104" y="143"/>
                </a:lnTo>
                <a:lnTo>
                  <a:pt x="104" y="141"/>
                </a:lnTo>
                <a:lnTo>
                  <a:pt x="107" y="136"/>
                </a:lnTo>
                <a:lnTo>
                  <a:pt x="108" y="132"/>
                </a:lnTo>
                <a:lnTo>
                  <a:pt x="112" y="127"/>
                </a:lnTo>
                <a:lnTo>
                  <a:pt x="116" y="125"/>
                </a:lnTo>
                <a:lnTo>
                  <a:pt x="118" y="125"/>
                </a:lnTo>
                <a:lnTo>
                  <a:pt x="121" y="127"/>
                </a:lnTo>
                <a:lnTo>
                  <a:pt x="122" y="129"/>
                </a:lnTo>
                <a:lnTo>
                  <a:pt x="122" y="125"/>
                </a:lnTo>
                <a:lnTo>
                  <a:pt x="120" y="122"/>
                </a:lnTo>
                <a:lnTo>
                  <a:pt x="122" y="121"/>
                </a:lnTo>
                <a:lnTo>
                  <a:pt x="118" y="121"/>
                </a:lnTo>
                <a:lnTo>
                  <a:pt x="116" y="118"/>
                </a:lnTo>
                <a:lnTo>
                  <a:pt x="117" y="116"/>
                </a:lnTo>
                <a:lnTo>
                  <a:pt x="118" y="111"/>
                </a:lnTo>
                <a:lnTo>
                  <a:pt x="116" y="110"/>
                </a:lnTo>
                <a:lnTo>
                  <a:pt x="115" y="105"/>
                </a:lnTo>
                <a:lnTo>
                  <a:pt x="113" y="99"/>
                </a:lnTo>
                <a:lnTo>
                  <a:pt x="113" y="97"/>
                </a:lnTo>
                <a:lnTo>
                  <a:pt x="112" y="96"/>
                </a:lnTo>
                <a:lnTo>
                  <a:pt x="109" y="91"/>
                </a:lnTo>
                <a:lnTo>
                  <a:pt x="108" y="91"/>
                </a:lnTo>
                <a:lnTo>
                  <a:pt x="105" y="89"/>
                </a:lnTo>
                <a:lnTo>
                  <a:pt x="104" y="88"/>
                </a:lnTo>
                <a:lnTo>
                  <a:pt x="103" y="86"/>
                </a:lnTo>
                <a:lnTo>
                  <a:pt x="100" y="85"/>
                </a:lnTo>
                <a:lnTo>
                  <a:pt x="95" y="82"/>
                </a:lnTo>
                <a:lnTo>
                  <a:pt x="92" y="82"/>
                </a:lnTo>
                <a:lnTo>
                  <a:pt x="87" y="78"/>
                </a:lnTo>
                <a:lnTo>
                  <a:pt x="83" y="77"/>
                </a:lnTo>
                <a:lnTo>
                  <a:pt x="80" y="77"/>
                </a:lnTo>
                <a:lnTo>
                  <a:pt x="75" y="75"/>
                </a:lnTo>
                <a:lnTo>
                  <a:pt x="72" y="74"/>
                </a:lnTo>
                <a:lnTo>
                  <a:pt x="67" y="74"/>
                </a:lnTo>
                <a:lnTo>
                  <a:pt x="64" y="74"/>
                </a:lnTo>
                <a:lnTo>
                  <a:pt x="63" y="72"/>
                </a:lnTo>
                <a:lnTo>
                  <a:pt x="60" y="71"/>
                </a:lnTo>
                <a:lnTo>
                  <a:pt x="59" y="67"/>
                </a:lnTo>
                <a:lnTo>
                  <a:pt x="57" y="64"/>
                </a:lnTo>
                <a:lnTo>
                  <a:pt x="55" y="66"/>
                </a:lnTo>
                <a:lnTo>
                  <a:pt x="52" y="64"/>
                </a:lnTo>
                <a:lnTo>
                  <a:pt x="52" y="67"/>
                </a:lnTo>
                <a:lnTo>
                  <a:pt x="51" y="64"/>
                </a:lnTo>
                <a:lnTo>
                  <a:pt x="48" y="63"/>
                </a:lnTo>
                <a:lnTo>
                  <a:pt x="47" y="63"/>
                </a:lnTo>
                <a:lnTo>
                  <a:pt x="47" y="60"/>
                </a:lnTo>
                <a:lnTo>
                  <a:pt x="44" y="58"/>
                </a:lnTo>
                <a:lnTo>
                  <a:pt x="44" y="56"/>
                </a:lnTo>
                <a:lnTo>
                  <a:pt x="44" y="53"/>
                </a:lnTo>
                <a:lnTo>
                  <a:pt x="45" y="49"/>
                </a:lnTo>
                <a:lnTo>
                  <a:pt x="44" y="47"/>
                </a:lnTo>
                <a:lnTo>
                  <a:pt x="44" y="49"/>
                </a:lnTo>
                <a:lnTo>
                  <a:pt x="43" y="52"/>
                </a:lnTo>
                <a:lnTo>
                  <a:pt x="43" y="55"/>
                </a:lnTo>
                <a:lnTo>
                  <a:pt x="40" y="60"/>
                </a:lnTo>
                <a:lnTo>
                  <a:pt x="40" y="63"/>
                </a:lnTo>
                <a:lnTo>
                  <a:pt x="39" y="64"/>
                </a:lnTo>
                <a:lnTo>
                  <a:pt x="37" y="66"/>
                </a:lnTo>
                <a:lnTo>
                  <a:pt x="32" y="67"/>
                </a:lnTo>
                <a:lnTo>
                  <a:pt x="31" y="66"/>
                </a:lnTo>
                <a:lnTo>
                  <a:pt x="29" y="66"/>
                </a:lnTo>
                <a:lnTo>
                  <a:pt x="29" y="63"/>
                </a:lnTo>
                <a:lnTo>
                  <a:pt x="28" y="58"/>
                </a:lnTo>
                <a:lnTo>
                  <a:pt x="29" y="56"/>
                </a:lnTo>
                <a:lnTo>
                  <a:pt x="29" y="53"/>
                </a:lnTo>
                <a:lnTo>
                  <a:pt x="27" y="53"/>
                </a:lnTo>
                <a:lnTo>
                  <a:pt x="25" y="49"/>
                </a:lnTo>
                <a:lnTo>
                  <a:pt x="21" y="47"/>
                </a:lnTo>
                <a:lnTo>
                  <a:pt x="19" y="47"/>
                </a:lnTo>
                <a:lnTo>
                  <a:pt x="16" y="47"/>
                </a:lnTo>
                <a:lnTo>
                  <a:pt x="16" y="44"/>
                </a:lnTo>
                <a:lnTo>
                  <a:pt x="19" y="42"/>
                </a:lnTo>
                <a:lnTo>
                  <a:pt x="23" y="42"/>
                </a:lnTo>
                <a:lnTo>
                  <a:pt x="27" y="42"/>
                </a:lnTo>
                <a:lnTo>
                  <a:pt x="32" y="39"/>
                </a:lnTo>
                <a:lnTo>
                  <a:pt x="35" y="38"/>
                </a:lnTo>
                <a:lnTo>
                  <a:pt x="37" y="39"/>
                </a:lnTo>
                <a:lnTo>
                  <a:pt x="41" y="39"/>
                </a:lnTo>
                <a:lnTo>
                  <a:pt x="44" y="38"/>
                </a:lnTo>
                <a:lnTo>
                  <a:pt x="44" y="34"/>
                </a:lnTo>
                <a:lnTo>
                  <a:pt x="44" y="33"/>
                </a:lnTo>
                <a:lnTo>
                  <a:pt x="45" y="30"/>
                </a:lnTo>
                <a:lnTo>
                  <a:pt x="43" y="31"/>
                </a:lnTo>
                <a:lnTo>
                  <a:pt x="37" y="33"/>
                </a:lnTo>
                <a:lnTo>
                  <a:pt x="31" y="34"/>
                </a:lnTo>
                <a:lnTo>
                  <a:pt x="27" y="34"/>
                </a:lnTo>
                <a:lnTo>
                  <a:pt x="24" y="34"/>
                </a:lnTo>
                <a:lnTo>
                  <a:pt x="21" y="34"/>
                </a:lnTo>
                <a:lnTo>
                  <a:pt x="17" y="33"/>
                </a:lnTo>
                <a:lnTo>
                  <a:pt x="16" y="28"/>
                </a:lnTo>
                <a:lnTo>
                  <a:pt x="15" y="23"/>
                </a:lnTo>
                <a:lnTo>
                  <a:pt x="13" y="22"/>
                </a:lnTo>
                <a:lnTo>
                  <a:pt x="11" y="20"/>
                </a:lnTo>
                <a:lnTo>
                  <a:pt x="8" y="20"/>
                </a:lnTo>
                <a:lnTo>
                  <a:pt x="5" y="20"/>
                </a:lnTo>
                <a:lnTo>
                  <a:pt x="5" y="22"/>
                </a:lnTo>
                <a:lnTo>
                  <a:pt x="0" y="19"/>
                </a:lnTo>
                <a:lnTo>
                  <a:pt x="2" y="17"/>
                </a:lnTo>
                <a:lnTo>
                  <a:pt x="3" y="16"/>
                </a:lnTo>
                <a:lnTo>
                  <a:pt x="5" y="9"/>
                </a:lnTo>
                <a:lnTo>
                  <a:pt x="5" y="8"/>
                </a:lnTo>
                <a:lnTo>
                  <a:pt x="8" y="8"/>
                </a:lnTo>
                <a:lnTo>
                  <a:pt x="11" y="8"/>
                </a:lnTo>
                <a:lnTo>
                  <a:pt x="13" y="6"/>
                </a:lnTo>
                <a:lnTo>
                  <a:pt x="19" y="1"/>
                </a:lnTo>
                <a:lnTo>
                  <a:pt x="23" y="0"/>
                </a:lnTo>
                <a:lnTo>
                  <a:pt x="27" y="0"/>
                </a:lnTo>
                <a:lnTo>
                  <a:pt x="29" y="1"/>
                </a:lnTo>
                <a:lnTo>
                  <a:pt x="33" y="5"/>
                </a:lnTo>
                <a:lnTo>
                  <a:pt x="35" y="6"/>
                </a:lnTo>
                <a:lnTo>
                  <a:pt x="37" y="8"/>
                </a:lnTo>
                <a:lnTo>
                  <a:pt x="47" y="8"/>
                </a:lnTo>
                <a:lnTo>
                  <a:pt x="48" y="12"/>
                </a:lnTo>
                <a:lnTo>
                  <a:pt x="49" y="16"/>
                </a:lnTo>
                <a:lnTo>
                  <a:pt x="49" y="22"/>
                </a:lnTo>
                <a:lnTo>
                  <a:pt x="48" y="25"/>
                </a:lnTo>
                <a:lnTo>
                  <a:pt x="48" y="30"/>
                </a:lnTo>
                <a:lnTo>
                  <a:pt x="49" y="38"/>
                </a:lnTo>
                <a:lnTo>
                  <a:pt x="53" y="44"/>
                </a:lnTo>
                <a:lnTo>
                  <a:pt x="53" y="42"/>
                </a:lnTo>
                <a:lnTo>
                  <a:pt x="55" y="39"/>
                </a:lnTo>
                <a:lnTo>
                  <a:pt x="57" y="41"/>
                </a:lnTo>
                <a:lnTo>
                  <a:pt x="59" y="45"/>
                </a:lnTo>
                <a:lnTo>
                  <a:pt x="59" y="47"/>
                </a:lnTo>
                <a:lnTo>
                  <a:pt x="60" y="50"/>
                </a:lnTo>
                <a:lnTo>
                  <a:pt x="65" y="53"/>
                </a:lnTo>
                <a:lnTo>
                  <a:pt x="67" y="53"/>
                </a:lnTo>
                <a:lnTo>
                  <a:pt x="71" y="53"/>
                </a:lnTo>
                <a:lnTo>
                  <a:pt x="72" y="50"/>
                </a:lnTo>
                <a:lnTo>
                  <a:pt x="75" y="49"/>
                </a:lnTo>
                <a:lnTo>
                  <a:pt x="76" y="47"/>
                </a:lnTo>
                <a:lnTo>
                  <a:pt x="76" y="44"/>
                </a:lnTo>
                <a:lnTo>
                  <a:pt x="81" y="39"/>
                </a:lnTo>
                <a:lnTo>
                  <a:pt x="84" y="34"/>
                </a:lnTo>
                <a:lnTo>
                  <a:pt x="87" y="33"/>
                </a:lnTo>
                <a:lnTo>
                  <a:pt x="88" y="33"/>
                </a:lnTo>
                <a:lnTo>
                  <a:pt x="93" y="31"/>
                </a:lnTo>
                <a:lnTo>
                  <a:pt x="96" y="30"/>
                </a:lnTo>
                <a:lnTo>
                  <a:pt x="95" y="27"/>
                </a:lnTo>
                <a:lnTo>
                  <a:pt x="96" y="25"/>
                </a:lnTo>
                <a:lnTo>
                  <a:pt x="100" y="22"/>
                </a:lnTo>
                <a:lnTo>
                  <a:pt x="105" y="19"/>
                </a:lnTo>
                <a:lnTo>
                  <a:pt x="107" y="20"/>
                </a:lnTo>
                <a:lnTo>
                  <a:pt x="108" y="22"/>
                </a:lnTo>
                <a:lnTo>
                  <a:pt x="113" y="23"/>
                </a:lnTo>
                <a:lnTo>
                  <a:pt x="116" y="25"/>
                </a:lnTo>
                <a:lnTo>
                  <a:pt x="118" y="27"/>
                </a:lnTo>
                <a:lnTo>
                  <a:pt x="120" y="27"/>
                </a:lnTo>
                <a:lnTo>
                  <a:pt x="125" y="30"/>
                </a:lnTo>
                <a:lnTo>
                  <a:pt x="130" y="33"/>
                </a:lnTo>
                <a:lnTo>
                  <a:pt x="132" y="34"/>
                </a:lnTo>
                <a:lnTo>
                  <a:pt x="136" y="36"/>
                </a:lnTo>
                <a:lnTo>
                  <a:pt x="138" y="34"/>
                </a:lnTo>
                <a:lnTo>
                  <a:pt x="140" y="34"/>
                </a:lnTo>
                <a:lnTo>
                  <a:pt x="141" y="36"/>
                </a:lnTo>
                <a:lnTo>
                  <a:pt x="144" y="34"/>
                </a:lnTo>
                <a:lnTo>
                  <a:pt x="144" y="36"/>
                </a:lnTo>
                <a:lnTo>
                  <a:pt x="148" y="38"/>
                </a:lnTo>
                <a:lnTo>
                  <a:pt x="149" y="38"/>
                </a:lnTo>
                <a:lnTo>
                  <a:pt x="149" y="39"/>
                </a:lnTo>
                <a:lnTo>
                  <a:pt x="152" y="39"/>
                </a:lnTo>
                <a:lnTo>
                  <a:pt x="153" y="39"/>
                </a:lnTo>
                <a:lnTo>
                  <a:pt x="153" y="42"/>
                </a:lnTo>
                <a:lnTo>
                  <a:pt x="154" y="83"/>
                </a:lnTo>
                <a:lnTo>
                  <a:pt x="154" y="107"/>
                </a:lnTo>
                <a:lnTo>
                  <a:pt x="153" y="113"/>
                </a:lnTo>
                <a:lnTo>
                  <a:pt x="153" y="114"/>
                </a:lnTo>
                <a:lnTo>
                  <a:pt x="154" y="121"/>
                </a:lnTo>
                <a:lnTo>
                  <a:pt x="156" y="133"/>
                </a:lnTo>
                <a:lnTo>
                  <a:pt x="156" y="152"/>
                </a:lnTo>
                <a:lnTo>
                  <a:pt x="157" y="157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00" name="Freeform 197"/>
          <p:cNvSpPr>
            <a:spLocks/>
          </p:cNvSpPr>
          <p:nvPr/>
        </p:nvSpPr>
        <p:spPr bwMode="auto">
          <a:xfrm>
            <a:off x="9437586" y="4357147"/>
            <a:ext cx="300118" cy="313550"/>
          </a:xfrm>
          <a:custGeom>
            <a:avLst/>
            <a:gdLst/>
            <a:ahLst/>
            <a:cxnLst>
              <a:cxn ang="0">
                <a:pos x="152" y="152"/>
              </a:cxn>
              <a:cxn ang="0">
                <a:pos x="138" y="140"/>
              </a:cxn>
              <a:cxn ang="0">
                <a:pos x="130" y="140"/>
              </a:cxn>
              <a:cxn ang="0">
                <a:pos x="121" y="141"/>
              </a:cxn>
              <a:cxn ang="0">
                <a:pos x="112" y="143"/>
              </a:cxn>
              <a:cxn ang="0">
                <a:pos x="107" y="136"/>
              </a:cxn>
              <a:cxn ang="0">
                <a:pos x="118" y="125"/>
              </a:cxn>
              <a:cxn ang="0">
                <a:pos x="120" y="122"/>
              </a:cxn>
              <a:cxn ang="0">
                <a:pos x="117" y="116"/>
              </a:cxn>
              <a:cxn ang="0">
                <a:pos x="113" y="99"/>
              </a:cxn>
              <a:cxn ang="0">
                <a:pos x="108" y="91"/>
              </a:cxn>
              <a:cxn ang="0">
                <a:pos x="100" y="85"/>
              </a:cxn>
              <a:cxn ang="0">
                <a:pos x="83" y="77"/>
              </a:cxn>
              <a:cxn ang="0">
                <a:pos x="67" y="74"/>
              </a:cxn>
              <a:cxn ang="0">
                <a:pos x="59" y="67"/>
              </a:cxn>
              <a:cxn ang="0">
                <a:pos x="52" y="67"/>
              </a:cxn>
              <a:cxn ang="0">
                <a:pos x="47" y="60"/>
              </a:cxn>
              <a:cxn ang="0">
                <a:pos x="45" y="49"/>
              </a:cxn>
              <a:cxn ang="0">
                <a:pos x="43" y="55"/>
              </a:cxn>
              <a:cxn ang="0">
                <a:pos x="37" y="66"/>
              </a:cxn>
              <a:cxn ang="0">
                <a:pos x="29" y="63"/>
              </a:cxn>
              <a:cxn ang="0">
                <a:pos x="27" y="53"/>
              </a:cxn>
              <a:cxn ang="0">
                <a:pos x="16" y="47"/>
              </a:cxn>
              <a:cxn ang="0">
                <a:pos x="27" y="42"/>
              </a:cxn>
              <a:cxn ang="0">
                <a:pos x="41" y="39"/>
              </a:cxn>
              <a:cxn ang="0">
                <a:pos x="45" y="30"/>
              </a:cxn>
              <a:cxn ang="0">
                <a:pos x="27" y="34"/>
              </a:cxn>
              <a:cxn ang="0">
                <a:pos x="16" y="28"/>
              </a:cxn>
              <a:cxn ang="0">
                <a:pos x="8" y="20"/>
              </a:cxn>
              <a:cxn ang="0">
                <a:pos x="2" y="17"/>
              </a:cxn>
              <a:cxn ang="0">
                <a:pos x="8" y="8"/>
              </a:cxn>
              <a:cxn ang="0">
                <a:pos x="23" y="0"/>
              </a:cxn>
              <a:cxn ang="0">
                <a:pos x="35" y="6"/>
              </a:cxn>
              <a:cxn ang="0">
                <a:pos x="49" y="16"/>
              </a:cxn>
              <a:cxn ang="0">
                <a:pos x="49" y="38"/>
              </a:cxn>
              <a:cxn ang="0">
                <a:pos x="57" y="41"/>
              </a:cxn>
              <a:cxn ang="0">
                <a:pos x="65" y="53"/>
              </a:cxn>
              <a:cxn ang="0">
                <a:pos x="75" y="49"/>
              </a:cxn>
              <a:cxn ang="0">
                <a:pos x="84" y="34"/>
              </a:cxn>
              <a:cxn ang="0">
                <a:pos x="96" y="30"/>
              </a:cxn>
              <a:cxn ang="0">
                <a:pos x="105" y="19"/>
              </a:cxn>
              <a:cxn ang="0">
                <a:pos x="116" y="25"/>
              </a:cxn>
              <a:cxn ang="0">
                <a:pos x="130" y="33"/>
              </a:cxn>
              <a:cxn ang="0">
                <a:pos x="140" y="34"/>
              </a:cxn>
              <a:cxn ang="0">
                <a:pos x="148" y="38"/>
              </a:cxn>
              <a:cxn ang="0">
                <a:pos x="153" y="39"/>
              </a:cxn>
              <a:cxn ang="0">
                <a:pos x="153" y="113"/>
              </a:cxn>
              <a:cxn ang="0">
                <a:pos x="156" y="152"/>
              </a:cxn>
            </a:cxnLst>
            <a:rect l="0" t="0" r="r" b="b"/>
            <a:pathLst>
              <a:path w="157" h="157">
                <a:moveTo>
                  <a:pt x="157" y="157"/>
                </a:moveTo>
                <a:lnTo>
                  <a:pt x="157" y="155"/>
                </a:lnTo>
                <a:lnTo>
                  <a:pt x="153" y="155"/>
                </a:lnTo>
                <a:lnTo>
                  <a:pt x="152" y="152"/>
                </a:lnTo>
                <a:lnTo>
                  <a:pt x="146" y="147"/>
                </a:lnTo>
                <a:lnTo>
                  <a:pt x="144" y="144"/>
                </a:lnTo>
                <a:lnTo>
                  <a:pt x="141" y="141"/>
                </a:lnTo>
                <a:lnTo>
                  <a:pt x="138" y="140"/>
                </a:lnTo>
                <a:lnTo>
                  <a:pt x="138" y="138"/>
                </a:lnTo>
                <a:lnTo>
                  <a:pt x="137" y="136"/>
                </a:lnTo>
                <a:lnTo>
                  <a:pt x="133" y="138"/>
                </a:lnTo>
                <a:lnTo>
                  <a:pt x="130" y="140"/>
                </a:lnTo>
                <a:lnTo>
                  <a:pt x="125" y="138"/>
                </a:lnTo>
                <a:lnTo>
                  <a:pt x="124" y="141"/>
                </a:lnTo>
                <a:lnTo>
                  <a:pt x="121" y="140"/>
                </a:lnTo>
                <a:lnTo>
                  <a:pt x="121" y="141"/>
                </a:lnTo>
                <a:lnTo>
                  <a:pt x="121" y="143"/>
                </a:lnTo>
                <a:lnTo>
                  <a:pt x="118" y="143"/>
                </a:lnTo>
                <a:lnTo>
                  <a:pt x="117" y="141"/>
                </a:lnTo>
                <a:lnTo>
                  <a:pt x="112" y="143"/>
                </a:lnTo>
                <a:lnTo>
                  <a:pt x="107" y="144"/>
                </a:lnTo>
                <a:lnTo>
                  <a:pt x="104" y="143"/>
                </a:lnTo>
                <a:lnTo>
                  <a:pt x="104" y="141"/>
                </a:lnTo>
                <a:lnTo>
                  <a:pt x="107" y="136"/>
                </a:lnTo>
                <a:lnTo>
                  <a:pt x="108" y="132"/>
                </a:lnTo>
                <a:lnTo>
                  <a:pt x="112" y="127"/>
                </a:lnTo>
                <a:lnTo>
                  <a:pt x="116" y="125"/>
                </a:lnTo>
                <a:lnTo>
                  <a:pt x="118" y="125"/>
                </a:lnTo>
                <a:lnTo>
                  <a:pt x="121" y="127"/>
                </a:lnTo>
                <a:lnTo>
                  <a:pt x="122" y="129"/>
                </a:lnTo>
                <a:lnTo>
                  <a:pt x="122" y="125"/>
                </a:lnTo>
                <a:lnTo>
                  <a:pt x="120" y="122"/>
                </a:lnTo>
                <a:lnTo>
                  <a:pt x="122" y="121"/>
                </a:lnTo>
                <a:lnTo>
                  <a:pt x="118" y="121"/>
                </a:lnTo>
                <a:lnTo>
                  <a:pt x="116" y="118"/>
                </a:lnTo>
                <a:lnTo>
                  <a:pt x="117" y="116"/>
                </a:lnTo>
                <a:lnTo>
                  <a:pt x="118" y="111"/>
                </a:lnTo>
                <a:lnTo>
                  <a:pt x="116" y="110"/>
                </a:lnTo>
                <a:lnTo>
                  <a:pt x="115" y="105"/>
                </a:lnTo>
                <a:lnTo>
                  <a:pt x="113" y="99"/>
                </a:lnTo>
                <a:lnTo>
                  <a:pt x="113" y="97"/>
                </a:lnTo>
                <a:lnTo>
                  <a:pt x="112" y="96"/>
                </a:lnTo>
                <a:lnTo>
                  <a:pt x="109" y="91"/>
                </a:lnTo>
                <a:lnTo>
                  <a:pt x="108" y="91"/>
                </a:lnTo>
                <a:lnTo>
                  <a:pt x="105" y="89"/>
                </a:lnTo>
                <a:lnTo>
                  <a:pt x="104" y="88"/>
                </a:lnTo>
                <a:lnTo>
                  <a:pt x="103" y="86"/>
                </a:lnTo>
                <a:lnTo>
                  <a:pt x="100" y="85"/>
                </a:lnTo>
                <a:lnTo>
                  <a:pt x="95" y="82"/>
                </a:lnTo>
                <a:lnTo>
                  <a:pt x="92" y="82"/>
                </a:lnTo>
                <a:lnTo>
                  <a:pt x="87" y="78"/>
                </a:lnTo>
                <a:lnTo>
                  <a:pt x="83" y="77"/>
                </a:lnTo>
                <a:lnTo>
                  <a:pt x="80" y="77"/>
                </a:lnTo>
                <a:lnTo>
                  <a:pt x="75" y="75"/>
                </a:lnTo>
                <a:lnTo>
                  <a:pt x="72" y="74"/>
                </a:lnTo>
                <a:lnTo>
                  <a:pt x="67" y="74"/>
                </a:lnTo>
                <a:lnTo>
                  <a:pt x="64" y="74"/>
                </a:lnTo>
                <a:lnTo>
                  <a:pt x="63" y="72"/>
                </a:lnTo>
                <a:lnTo>
                  <a:pt x="60" y="71"/>
                </a:lnTo>
                <a:lnTo>
                  <a:pt x="59" y="67"/>
                </a:lnTo>
                <a:lnTo>
                  <a:pt x="57" y="64"/>
                </a:lnTo>
                <a:lnTo>
                  <a:pt x="55" y="66"/>
                </a:lnTo>
                <a:lnTo>
                  <a:pt x="52" y="64"/>
                </a:lnTo>
                <a:lnTo>
                  <a:pt x="52" y="67"/>
                </a:lnTo>
                <a:lnTo>
                  <a:pt x="51" y="64"/>
                </a:lnTo>
                <a:lnTo>
                  <a:pt x="48" y="63"/>
                </a:lnTo>
                <a:lnTo>
                  <a:pt x="47" y="63"/>
                </a:lnTo>
                <a:lnTo>
                  <a:pt x="47" y="60"/>
                </a:lnTo>
                <a:lnTo>
                  <a:pt x="44" y="58"/>
                </a:lnTo>
                <a:lnTo>
                  <a:pt x="44" y="56"/>
                </a:lnTo>
                <a:lnTo>
                  <a:pt x="44" y="53"/>
                </a:lnTo>
                <a:lnTo>
                  <a:pt x="45" y="49"/>
                </a:lnTo>
                <a:lnTo>
                  <a:pt x="44" y="47"/>
                </a:lnTo>
                <a:lnTo>
                  <a:pt x="44" y="49"/>
                </a:lnTo>
                <a:lnTo>
                  <a:pt x="43" y="52"/>
                </a:lnTo>
                <a:lnTo>
                  <a:pt x="43" y="55"/>
                </a:lnTo>
                <a:lnTo>
                  <a:pt x="40" y="60"/>
                </a:lnTo>
                <a:lnTo>
                  <a:pt x="40" y="63"/>
                </a:lnTo>
                <a:lnTo>
                  <a:pt x="39" y="64"/>
                </a:lnTo>
                <a:lnTo>
                  <a:pt x="37" y="66"/>
                </a:lnTo>
                <a:lnTo>
                  <a:pt x="32" y="67"/>
                </a:lnTo>
                <a:lnTo>
                  <a:pt x="31" y="66"/>
                </a:lnTo>
                <a:lnTo>
                  <a:pt x="29" y="66"/>
                </a:lnTo>
                <a:lnTo>
                  <a:pt x="29" y="63"/>
                </a:lnTo>
                <a:lnTo>
                  <a:pt x="28" y="58"/>
                </a:lnTo>
                <a:lnTo>
                  <a:pt x="29" y="56"/>
                </a:lnTo>
                <a:lnTo>
                  <a:pt x="29" y="53"/>
                </a:lnTo>
                <a:lnTo>
                  <a:pt x="27" y="53"/>
                </a:lnTo>
                <a:lnTo>
                  <a:pt x="25" y="49"/>
                </a:lnTo>
                <a:lnTo>
                  <a:pt x="21" y="47"/>
                </a:lnTo>
                <a:lnTo>
                  <a:pt x="19" y="47"/>
                </a:lnTo>
                <a:lnTo>
                  <a:pt x="16" y="47"/>
                </a:lnTo>
                <a:lnTo>
                  <a:pt x="16" y="44"/>
                </a:lnTo>
                <a:lnTo>
                  <a:pt x="19" y="42"/>
                </a:lnTo>
                <a:lnTo>
                  <a:pt x="23" y="42"/>
                </a:lnTo>
                <a:lnTo>
                  <a:pt x="27" y="42"/>
                </a:lnTo>
                <a:lnTo>
                  <a:pt x="32" y="39"/>
                </a:lnTo>
                <a:lnTo>
                  <a:pt x="35" y="38"/>
                </a:lnTo>
                <a:lnTo>
                  <a:pt x="37" y="39"/>
                </a:lnTo>
                <a:lnTo>
                  <a:pt x="41" y="39"/>
                </a:lnTo>
                <a:lnTo>
                  <a:pt x="44" y="38"/>
                </a:lnTo>
                <a:lnTo>
                  <a:pt x="44" y="34"/>
                </a:lnTo>
                <a:lnTo>
                  <a:pt x="44" y="33"/>
                </a:lnTo>
                <a:lnTo>
                  <a:pt x="45" y="30"/>
                </a:lnTo>
                <a:lnTo>
                  <a:pt x="43" y="31"/>
                </a:lnTo>
                <a:lnTo>
                  <a:pt x="37" y="33"/>
                </a:lnTo>
                <a:lnTo>
                  <a:pt x="31" y="34"/>
                </a:lnTo>
                <a:lnTo>
                  <a:pt x="27" y="34"/>
                </a:lnTo>
                <a:lnTo>
                  <a:pt x="24" y="34"/>
                </a:lnTo>
                <a:lnTo>
                  <a:pt x="21" y="34"/>
                </a:lnTo>
                <a:lnTo>
                  <a:pt x="17" y="33"/>
                </a:lnTo>
                <a:lnTo>
                  <a:pt x="16" y="28"/>
                </a:lnTo>
                <a:lnTo>
                  <a:pt x="15" y="23"/>
                </a:lnTo>
                <a:lnTo>
                  <a:pt x="13" y="22"/>
                </a:lnTo>
                <a:lnTo>
                  <a:pt x="11" y="20"/>
                </a:lnTo>
                <a:lnTo>
                  <a:pt x="8" y="20"/>
                </a:lnTo>
                <a:lnTo>
                  <a:pt x="5" y="20"/>
                </a:lnTo>
                <a:lnTo>
                  <a:pt x="5" y="22"/>
                </a:lnTo>
                <a:lnTo>
                  <a:pt x="0" y="19"/>
                </a:lnTo>
                <a:lnTo>
                  <a:pt x="2" y="17"/>
                </a:lnTo>
                <a:lnTo>
                  <a:pt x="3" y="16"/>
                </a:lnTo>
                <a:lnTo>
                  <a:pt x="5" y="9"/>
                </a:lnTo>
                <a:lnTo>
                  <a:pt x="5" y="8"/>
                </a:lnTo>
                <a:lnTo>
                  <a:pt x="8" y="8"/>
                </a:lnTo>
                <a:lnTo>
                  <a:pt x="11" y="8"/>
                </a:lnTo>
                <a:lnTo>
                  <a:pt x="13" y="6"/>
                </a:lnTo>
                <a:lnTo>
                  <a:pt x="19" y="1"/>
                </a:lnTo>
                <a:lnTo>
                  <a:pt x="23" y="0"/>
                </a:lnTo>
                <a:lnTo>
                  <a:pt x="27" y="0"/>
                </a:lnTo>
                <a:lnTo>
                  <a:pt x="29" y="1"/>
                </a:lnTo>
                <a:lnTo>
                  <a:pt x="33" y="5"/>
                </a:lnTo>
                <a:lnTo>
                  <a:pt x="35" y="6"/>
                </a:lnTo>
                <a:lnTo>
                  <a:pt x="37" y="8"/>
                </a:lnTo>
                <a:lnTo>
                  <a:pt x="47" y="8"/>
                </a:lnTo>
                <a:lnTo>
                  <a:pt x="48" y="12"/>
                </a:lnTo>
                <a:lnTo>
                  <a:pt x="49" y="16"/>
                </a:lnTo>
                <a:lnTo>
                  <a:pt x="49" y="22"/>
                </a:lnTo>
                <a:lnTo>
                  <a:pt x="48" y="25"/>
                </a:lnTo>
                <a:lnTo>
                  <a:pt x="48" y="30"/>
                </a:lnTo>
                <a:lnTo>
                  <a:pt x="49" y="38"/>
                </a:lnTo>
                <a:lnTo>
                  <a:pt x="53" y="44"/>
                </a:lnTo>
                <a:lnTo>
                  <a:pt x="53" y="42"/>
                </a:lnTo>
                <a:lnTo>
                  <a:pt x="55" y="39"/>
                </a:lnTo>
                <a:lnTo>
                  <a:pt x="57" y="41"/>
                </a:lnTo>
                <a:lnTo>
                  <a:pt x="59" y="45"/>
                </a:lnTo>
                <a:lnTo>
                  <a:pt x="59" y="47"/>
                </a:lnTo>
                <a:lnTo>
                  <a:pt x="60" y="50"/>
                </a:lnTo>
                <a:lnTo>
                  <a:pt x="65" y="53"/>
                </a:lnTo>
                <a:lnTo>
                  <a:pt x="67" y="53"/>
                </a:lnTo>
                <a:lnTo>
                  <a:pt x="71" y="53"/>
                </a:lnTo>
                <a:lnTo>
                  <a:pt x="72" y="50"/>
                </a:lnTo>
                <a:lnTo>
                  <a:pt x="75" y="49"/>
                </a:lnTo>
                <a:lnTo>
                  <a:pt x="76" y="47"/>
                </a:lnTo>
                <a:lnTo>
                  <a:pt x="76" y="44"/>
                </a:lnTo>
                <a:lnTo>
                  <a:pt x="81" y="39"/>
                </a:lnTo>
                <a:lnTo>
                  <a:pt x="84" y="34"/>
                </a:lnTo>
                <a:lnTo>
                  <a:pt x="87" y="33"/>
                </a:lnTo>
                <a:lnTo>
                  <a:pt x="88" y="33"/>
                </a:lnTo>
                <a:lnTo>
                  <a:pt x="93" y="31"/>
                </a:lnTo>
                <a:lnTo>
                  <a:pt x="96" y="30"/>
                </a:lnTo>
                <a:lnTo>
                  <a:pt x="95" y="27"/>
                </a:lnTo>
                <a:lnTo>
                  <a:pt x="96" y="25"/>
                </a:lnTo>
                <a:lnTo>
                  <a:pt x="100" y="22"/>
                </a:lnTo>
                <a:lnTo>
                  <a:pt x="105" y="19"/>
                </a:lnTo>
                <a:lnTo>
                  <a:pt x="107" y="20"/>
                </a:lnTo>
                <a:lnTo>
                  <a:pt x="108" y="22"/>
                </a:lnTo>
                <a:lnTo>
                  <a:pt x="113" y="23"/>
                </a:lnTo>
                <a:lnTo>
                  <a:pt x="116" y="25"/>
                </a:lnTo>
                <a:lnTo>
                  <a:pt x="118" y="27"/>
                </a:lnTo>
                <a:lnTo>
                  <a:pt x="120" y="27"/>
                </a:lnTo>
                <a:lnTo>
                  <a:pt x="125" y="30"/>
                </a:lnTo>
                <a:lnTo>
                  <a:pt x="130" y="33"/>
                </a:lnTo>
                <a:lnTo>
                  <a:pt x="132" y="34"/>
                </a:lnTo>
                <a:lnTo>
                  <a:pt x="136" y="36"/>
                </a:lnTo>
                <a:lnTo>
                  <a:pt x="138" y="34"/>
                </a:lnTo>
                <a:lnTo>
                  <a:pt x="140" y="34"/>
                </a:lnTo>
                <a:lnTo>
                  <a:pt x="141" y="36"/>
                </a:lnTo>
                <a:lnTo>
                  <a:pt x="144" y="34"/>
                </a:lnTo>
                <a:lnTo>
                  <a:pt x="144" y="36"/>
                </a:lnTo>
                <a:lnTo>
                  <a:pt x="148" y="38"/>
                </a:lnTo>
                <a:lnTo>
                  <a:pt x="149" y="38"/>
                </a:lnTo>
                <a:lnTo>
                  <a:pt x="149" y="39"/>
                </a:lnTo>
                <a:lnTo>
                  <a:pt x="152" y="39"/>
                </a:lnTo>
                <a:lnTo>
                  <a:pt x="153" y="39"/>
                </a:lnTo>
                <a:lnTo>
                  <a:pt x="153" y="42"/>
                </a:lnTo>
                <a:lnTo>
                  <a:pt x="154" y="83"/>
                </a:lnTo>
                <a:lnTo>
                  <a:pt x="154" y="107"/>
                </a:lnTo>
                <a:lnTo>
                  <a:pt x="153" y="113"/>
                </a:lnTo>
                <a:lnTo>
                  <a:pt x="153" y="114"/>
                </a:lnTo>
                <a:lnTo>
                  <a:pt x="154" y="121"/>
                </a:lnTo>
                <a:lnTo>
                  <a:pt x="156" y="133"/>
                </a:lnTo>
                <a:lnTo>
                  <a:pt x="156" y="152"/>
                </a:lnTo>
                <a:lnTo>
                  <a:pt x="157" y="157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01" name="Freeform 198"/>
          <p:cNvSpPr>
            <a:spLocks/>
          </p:cNvSpPr>
          <p:nvPr/>
        </p:nvSpPr>
        <p:spPr bwMode="auto">
          <a:xfrm>
            <a:off x="6253223" y="2641207"/>
            <a:ext cx="274783" cy="161071"/>
          </a:xfrm>
          <a:custGeom>
            <a:avLst/>
            <a:gdLst/>
            <a:ahLst/>
            <a:cxnLst>
              <a:cxn ang="0">
                <a:pos x="122" y="80"/>
              </a:cxn>
              <a:cxn ang="0">
                <a:pos x="109" y="75"/>
              </a:cxn>
              <a:cxn ang="0">
                <a:pos x="102" y="73"/>
              </a:cxn>
              <a:cxn ang="0">
                <a:pos x="89" y="78"/>
              </a:cxn>
              <a:cxn ang="0">
                <a:pos x="80" y="81"/>
              </a:cxn>
              <a:cxn ang="0">
                <a:pos x="56" y="80"/>
              </a:cxn>
              <a:cxn ang="0">
                <a:pos x="43" y="80"/>
              </a:cxn>
              <a:cxn ang="0">
                <a:pos x="41" y="73"/>
              </a:cxn>
              <a:cxn ang="0">
                <a:pos x="36" y="72"/>
              </a:cxn>
              <a:cxn ang="0">
                <a:pos x="36" y="66"/>
              </a:cxn>
              <a:cxn ang="0">
                <a:pos x="32" y="66"/>
              </a:cxn>
              <a:cxn ang="0">
                <a:pos x="20" y="61"/>
              </a:cxn>
              <a:cxn ang="0">
                <a:pos x="19" y="55"/>
              </a:cxn>
              <a:cxn ang="0">
                <a:pos x="13" y="53"/>
              </a:cxn>
              <a:cxn ang="0">
                <a:pos x="9" y="45"/>
              </a:cxn>
              <a:cxn ang="0">
                <a:pos x="5" y="40"/>
              </a:cxn>
              <a:cxn ang="0">
                <a:pos x="0" y="37"/>
              </a:cxn>
              <a:cxn ang="0">
                <a:pos x="13" y="34"/>
              </a:cxn>
              <a:cxn ang="0">
                <a:pos x="17" y="28"/>
              </a:cxn>
              <a:cxn ang="0">
                <a:pos x="21" y="22"/>
              </a:cxn>
              <a:cxn ang="0">
                <a:pos x="25" y="15"/>
              </a:cxn>
              <a:cxn ang="0">
                <a:pos x="27" y="12"/>
              </a:cxn>
              <a:cxn ang="0">
                <a:pos x="33" y="9"/>
              </a:cxn>
              <a:cxn ang="0">
                <a:pos x="39" y="7"/>
              </a:cxn>
              <a:cxn ang="0">
                <a:pos x="41" y="4"/>
              </a:cxn>
              <a:cxn ang="0">
                <a:pos x="51" y="6"/>
              </a:cxn>
              <a:cxn ang="0">
                <a:pos x="61" y="4"/>
              </a:cxn>
              <a:cxn ang="0">
                <a:pos x="69" y="7"/>
              </a:cxn>
              <a:cxn ang="0">
                <a:pos x="76" y="6"/>
              </a:cxn>
              <a:cxn ang="0">
                <a:pos x="85" y="4"/>
              </a:cxn>
              <a:cxn ang="0">
                <a:pos x="97" y="0"/>
              </a:cxn>
              <a:cxn ang="0">
                <a:pos x="102" y="3"/>
              </a:cxn>
              <a:cxn ang="0">
                <a:pos x="108" y="7"/>
              </a:cxn>
              <a:cxn ang="0">
                <a:pos x="112" y="17"/>
              </a:cxn>
              <a:cxn ang="0">
                <a:pos x="118" y="25"/>
              </a:cxn>
              <a:cxn ang="0">
                <a:pos x="120" y="36"/>
              </a:cxn>
              <a:cxn ang="0">
                <a:pos x="120" y="44"/>
              </a:cxn>
              <a:cxn ang="0">
                <a:pos x="121" y="48"/>
              </a:cxn>
              <a:cxn ang="0">
                <a:pos x="122" y="50"/>
              </a:cxn>
              <a:cxn ang="0">
                <a:pos x="129" y="53"/>
              </a:cxn>
              <a:cxn ang="0">
                <a:pos x="136" y="51"/>
              </a:cxn>
              <a:cxn ang="0">
                <a:pos x="141" y="50"/>
              </a:cxn>
              <a:cxn ang="0">
                <a:pos x="144" y="53"/>
              </a:cxn>
              <a:cxn ang="0">
                <a:pos x="142" y="59"/>
              </a:cxn>
              <a:cxn ang="0">
                <a:pos x="141" y="61"/>
              </a:cxn>
              <a:cxn ang="0">
                <a:pos x="134" y="64"/>
              </a:cxn>
              <a:cxn ang="0">
                <a:pos x="130" y="67"/>
              </a:cxn>
              <a:cxn ang="0">
                <a:pos x="132" y="64"/>
              </a:cxn>
              <a:cxn ang="0">
                <a:pos x="133" y="58"/>
              </a:cxn>
              <a:cxn ang="0">
                <a:pos x="130" y="64"/>
              </a:cxn>
              <a:cxn ang="0">
                <a:pos x="129" y="69"/>
              </a:cxn>
              <a:cxn ang="0">
                <a:pos x="128" y="75"/>
              </a:cxn>
              <a:cxn ang="0">
                <a:pos x="128" y="80"/>
              </a:cxn>
            </a:cxnLst>
            <a:rect l="0" t="0" r="r" b="b"/>
            <a:pathLst>
              <a:path w="144" h="81">
                <a:moveTo>
                  <a:pt x="128" y="80"/>
                </a:moveTo>
                <a:lnTo>
                  <a:pt x="122" y="80"/>
                </a:lnTo>
                <a:lnTo>
                  <a:pt x="117" y="77"/>
                </a:lnTo>
                <a:lnTo>
                  <a:pt x="109" y="75"/>
                </a:lnTo>
                <a:lnTo>
                  <a:pt x="108" y="73"/>
                </a:lnTo>
                <a:lnTo>
                  <a:pt x="102" y="73"/>
                </a:lnTo>
                <a:lnTo>
                  <a:pt x="96" y="75"/>
                </a:lnTo>
                <a:lnTo>
                  <a:pt x="89" y="78"/>
                </a:lnTo>
                <a:lnTo>
                  <a:pt x="84" y="81"/>
                </a:lnTo>
                <a:lnTo>
                  <a:pt x="80" y="81"/>
                </a:lnTo>
                <a:lnTo>
                  <a:pt x="68" y="80"/>
                </a:lnTo>
                <a:lnTo>
                  <a:pt x="56" y="80"/>
                </a:lnTo>
                <a:lnTo>
                  <a:pt x="47" y="80"/>
                </a:lnTo>
                <a:lnTo>
                  <a:pt x="43" y="80"/>
                </a:lnTo>
                <a:lnTo>
                  <a:pt x="40" y="77"/>
                </a:lnTo>
                <a:lnTo>
                  <a:pt x="41" y="73"/>
                </a:lnTo>
                <a:lnTo>
                  <a:pt x="39" y="73"/>
                </a:lnTo>
                <a:lnTo>
                  <a:pt x="36" y="72"/>
                </a:lnTo>
                <a:lnTo>
                  <a:pt x="33" y="69"/>
                </a:lnTo>
                <a:lnTo>
                  <a:pt x="36" y="66"/>
                </a:lnTo>
                <a:lnTo>
                  <a:pt x="35" y="64"/>
                </a:lnTo>
                <a:lnTo>
                  <a:pt x="32" y="66"/>
                </a:lnTo>
                <a:lnTo>
                  <a:pt x="24" y="62"/>
                </a:lnTo>
                <a:lnTo>
                  <a:pt x="20" y="61"/>
                </a:lnTo>
                <a:lnTo>
                  <a:pt x="19" y="56"/>
                </a:lnTo>
                <a:lnTo>
                  <a:pt x="19" y="55"/>
                </a:lnTo>
                <a:lnTo>
                  <a:pt x="16" y="53"/>
                </a:lnTo>
                <a:lnTo>
                  <a:pt x="13" y="53"/>
                </a:lnTo>
                <a:lnTo>
                  <a:pt x="11" y="50"/>
                </a:lnTo>
                <a:lnTo>
                  <a:pt x="9" y="45"/>
                </a:lnTo>
                <a:lnTo>
                  <a:pt x="8" y="44"/>
                </a:lnTo>
                <a:lnTo>
                  <a:pt x="5" y="40"/>
                </a:lnTo>
                <a:lnTo>
                  <a:pt x="1" y="39"/>
                </a:lnTo>
                <a:lnTo>
                  <a:pt x="0" y="37"/>
                </a:lnTo>
                <a:lnTo>
                  <a:pt x="9" y="36"/>
                </a:lnTo>
                <a:lnTo>
                  <a:pt x="13" y="34"/>
                </a:lnTo>
                <a:lnTo>
                  <a:pt x="16" y="29"/>
                </a:lnTo>
                <a:lnTo>
                  <a:pt x="17" y="28"/>
                </a:lnTo>
                <a:lnTo>
                  <a:pt x="20" y="25"/>
                </a:lnTo>
                <a:lnTo>
                  <a:pt x="21" y="22"/>
                </a:lnTo>
                <a:lnTo>
                  <a:pt x="25" y="18"/>
                </a:lnTo>
                <a:lnTo>
                  <a:pt x="25" y="15"/>
                </a:lnTo>
                <a:lnTo>
                  <a:pt x="27" y="14"/>
                </a:lnTo>
                <a:lnTo>
                  <a:pt x="27" y="12"/>
                </a:lnTo>
                <a:lnTo>
                  <a:pt x="31" y="9"/>
                </a:lnTo>
                <a:lnTo>
                  <a:pt x="33" y="9"/>
                </a:lnTo>
                <a:lnTo>
                  <a:pt x="36" y="9"/>
                </a:lnTo>
                <a:lnTo>
                  <a:pt x="39" y="7"/>
                </a:lnTo>
                <a:lnTo>
                  <a:pt x="39" y="6"/>
                </a:lnTo>
                <a:lnTo>
                  <a:pt x="41" y="4"/>
                </a:lnTo>
                <a:lnTo>
                  <a:pt x="45" y="4"/>
                </a:lnTo>
                <a:lnTo>
                  <a:pt x="51" y="6"/>
                </a:lnTo>
                <a:lnTo>
                  <a:pt x="57" y="6"/>
                </a:lnTo>
                <a:lnTo>
                  <a:pt x="61" y="4"/>
                </a:lnTo>
                <a:lnTo>
                  <a:pt x="65" y="4"/>
                </a:lnTo>
                <a:lnTo>
                  <a:pt x="69" y="7"/>
                </a:lnTo>
                <a:lnTo>
                  <a:pt x="72" y="7"/>
                </a:lnTo>
                <a:lnTo>
                  <a:pt x="76" y="6"/>
                </a:lnTo>
                <a:lnTo>
                  <a:pt x="80" y="4"/>
                </a:lnTo>
                <a:lnTo>
                  <a:pt x="85" y="4"/>
                </a:lnTo>
                <a:lnTo>
                  <a:pt x="94" y="0"/>
                </a:lnTo>
                <a:lnTo>
                  <a:pt x="97" y="0"/>
                </a:lnTo>
                <a:lnTo>
                  <a:pt x="98" y="0"/>
                </a:lnTo>
                <a:lnTo>
                  <a:pt x="102" y="3"/>
                </a:lnTo>
                <a:lnTo>
                  <a:pt x="105" y="6"/>
                </a:lnTo>
                <a:lnTo>
                  <a:pt x="108" y="7"/>
                </a:lnTo>
                <a:lnTo>
                  <a:pt x="109" y="12"/>
                </a:lnTo>
                <a:lnTo>
                  <a:pt x="112" y="17"/>
                </a:lnTo>
                <a:lnTo>
                  <a:pt x="116" y="22"/>
                </a:lnTo>
                <a:lnTo>
                  <a:pt x="118" y="25"/>
                </a:lnTo>
                <a:lnTo>
                  <a:pt x="120" y="33"/>
                </a:lnTo>
                <a:lnTo>
                  <a:pt x="120" y="36"/>
                </a:lnTo>
                <a:lnTo>
                  <a:pt x="120" y="40"/>
                </a:lnTo>
                <a:lnTo>
                  <a:pt x="120" y="44"/>
                </a:lnTo>
                <a:lnTo>
                  <a:pt x="121" y="45"/>
                </a:lnTo>
                <a:lnTo>
                  <a:pt x="121" y="48"/>
                </a:lnTo>
                <a:lnTo>
                  <a:pt x="121" y="50"/>
                </a:lnTo>
                <a:lnTo>
                  <a:pt x="122" y="50"/>
                </a:lnTo>
                <a:lnTo>
                  <a:pt x="126" y="53"/>
                </a:lnTo>
                <a:lnTo>
                  <a:pt x="129" y="53"/>
                </a:lnTo>
                <a:lnTo>
                  <a:pt x="132" y="51"/>
                </a:lnTo>
                <a:lnTo>
                  <a:pt x="136" y="51"/>
                </a:lnTo>
                <a:lnTo>
                  <a:pt x="138" y="50"/>
                </a:lnTo>
                <a:lnTo>
                  <a:pt x="141" y="50"/>
                </a:lnTo>
                <a:lnTo>
                  <a:pt x="142" y="51"/>
                </a:lnTo>
                <a:lnTo>
                  <a:pt x="144" y="53"/>
                </a:lnTo>
                <a:lnTo>
                  <a:pt x="144" y="56"/>
                </a:lnTo>
                <a:lnTo>
                  <a:pt x="142" y="59"/>
                </a:lnTo>
                <a:lnTo>
                  <a:pt x="142" y="61"/>
                </a:lnTo>
                <a:lnTo>
                  <a:pt x="141" y="61"/>
                </a:lnTo>
                <a:lnTo>
                  <a:pt x="138" y="62"/>
                </a:lnTo>
                <a:lnTo>
                  <a:pt x="134" y="64"/>
                </a:lnTo>
                <a:lnTo>
                  <a:pt x="133" y="66"/>
                </a:lnTo>
                <a:lnTo>
                  <a:pt x="130" y="67"/>
                </a:lnTo>
                <a:lnTo>
                  <a:pt x="130" y="66"/>
                </a:lnTo>
                <a:lnTo>
                  <a:pt x="132" y="64"/>
                </a:lnTo>
                <a:lnTo>
                  <a:pt x="133" y="62"/>
                </a:lnTo>
                <a:lnTo>
                  <a:pt x="133" y="58"/>
                </a:lnTo>
                <a:lnTo>
                  <a:pt x="132" y="58"/>
                </a:lnTo>
                <a:lnTo>
                  <a:pt x="130" y="64"/>
                </a:lnTo>
                <a:lnTo>
                  <a:pt x="129" y="67"/>
                </a:lnTo>
                <a:lnTo>
                  <a:pt x="129" y="69"/>
                </a:lnTo>
                <a:lnTo>
                  <a:pt x="128" y="72"/>
                </a:lnTo>
                <a:lnTo>
                  <a:pt x="128" y="75"/>
                </a:lnTo>
                <a:lnTo>
                  <a:pt x="128" y="77"/>
                </a:lnTo>
                <a:lnTo>
                  <a:pt x="128" y="8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02" name="Freeform 199"/>
          <p:cNvSpPr>
            <a:spLocks/>
          </p:cNvSpPr>
          <p:nvPr/>
        </p:nvSpPr>
        <p:spPr bwMode="auto">
          <a:xfrm>
            <a:off x="6253223" y="2641207"/>
            <a:ext cx="274783" cy="161071"/>
          </a:xfrm>
          <a:custGeom>
            <a:avLst/>
            <a:gdLst/>
            <a:ahLst/>
            <a:cxnLst>
              <a:cxn ang="0">
                <a:pos x="122" y="80"/>
              </a:cxn>
              <a:cxn ang="0">
                <a:pos x="109" y="75"/>
              </a:cxn>
              <a:cxn ang="0">
                <a:pos x="102" y="73"/>
              </a:cxn>
              <a:cxn ang="0">
                <a:pos x="89" y="78"/>
              </a:cxn>
              <a:cxn ang="0">
                <a:pos x="80" y="81"/>
              </a:cxn>
              <a:cxn ang="0">
                <a:pos x="56" y="80"/>
              </a:cxn>
              <a:cxn ang="0">
                <a:pos x="43" y="80"/>
              </a:cxn>
              <a:cxn ang="0">
                <a:pos x="41" y="73"/>
              </a:cxn>
              <a:cxn ang="0">
                <a:pos x="36" y="72"/>
              </a:cxn>
              <a:cxn ang="0">
                <a:pos x="36" y="66"/>
              </a:cxn>
              <a:cxn ang="0">
                <a:pos x="32" y="66"/>
              </a:cxn>
              <a:cxn ang="0">
                <a:pos x="20" y="61"/>
              </a:cxn>
              <a:cxn ang="0">
                <a:pos x="19" y="55"/>
              </a:cxn>
              <a:cxn ang="0">
                <a:pos x="13" y="53"/>
              </a:cxn>
              <a:cxn ang="0">
                <a:pos x="9" y="45"/>
              </a:cxn>
              <a:cxn ang="0">
                <a:pos x="5" y="40"/>
              </a:cxn>
              <a:cxn ang="0">
                <a:pos x="0" y="37"/>
              </a:cxn>
              <a:cxn ang="0">
                <a:pos x="13" y="34"/>
              </a:cxn>
              <a:cxn ang="0">
                <a:pos x="17" y="28"/>
              </a:cxn>
              <a:cxn ang="0">
                <a:pos x="21" y="22"/>
              </a:cxn>
              <a:cxn ang="0">
                <a:pos x="25" y="15"/>
              </a:cxn>
              <a:cxn ang="0">
                <a:pos x="27" y="12"/>
              </a:cxn>
              <a:cxn ang="0">
                <a:pos x="33" y="9"/>
              </a:cxn>
              <a:cxn ang="0">
                <a:pos x="39" y="7"/>
              </a:cxn>
              <a:cxn ang="0">
                <a:pos x="41" y="4"/>
              </a:cxn>
              <a:cxn ang="0">
                <a:pos x="51" y="6"/>
              </a:cxn>
              <a:cxn ang="0">
                <a:pos x="61" y="4"/>
              </a:cxn>
              <a:cxn ang="0">
                <a:pos x="69" y="7"/>
              </a:cxn>
              <a:cxn ang="0">
                <a:pos x="76" y="6"/>
              </a:cxn>
              <a:cxn ang="0">
                <a:pos x="85" y="4"/>
              </a:cxn>
              <a:cxn ang="0">
                <a:pos x="97" y="0"/>
              </a:cxn>
              <a:cxn ang="0">
                <a:pos x="102" y="3"/>
              </a:cxn>
              <a:cxn ang="0">
                <a:pos x="108" y="7"/>
              </a:cxn>
              <a:cxn ang="0">
                <a:pos x="112" y="17"/>
              </a:cxn>
              <a:cxn ang="0">
                <a:pos x="118" y="25"/>
              </a:cxn>
              <a:cxn ang="0">
                <a:pos x="120" y="36"/>
              </a:cxn>
              <a:cxn ang="0">
                <a:pos x="120" y="44"/>
              </a:cxn>
              <a:cxn ang="0">
                <a:pos x="121" y="48"/>
              </a:cxn>
              <a:cxn ang="0">
                <a:pos x="122" y="50"/>
              </a:cxn>
              <a:cxn ang="0">
                <a:pos x="129" y="53"/>
              </a:cxn>
              <a:cxn ang="0">
                <a:pos x="136" y="51"/>
              </a:cxn>
              <a:cxn ang="0">
                <a:pos x="141" y="50"/>
              </a:cxn>
              <a:cxn ang="0">
                <a:pos x="144" y="53"/>
              </a:cxn>
              <a:cxn ang="0">
                <a:pos x="142" y="59"/>
              </a:cxn>
              <a:cxn ang="0">
                <a:pos x="141" y="61"/>
              </a:cxn>
              <a:cxn ang="0">
                <a:pos x="134" y="64"/>
              </a:cxn>
              <a:cxn ang="0">
                <a:pos x="130" y="67"/>
              </a:cxn>
              <a:cxn ang="0">
                <a:pos x="132" y="64"/>
              </a:cxn>
              <a:cxn ang="0">
                <a:pos x="133" y="58"/>
              </a:cxn>
              <a:cxn ang="0">
                <a:pos x="130" y="64"/>
              </a:cxn>
              <a:cxn ang="0">
                <a:pos x="129" y="69"/>
              </a:cxn>
              <a:cxn ang="0">
                <a:pos x="128" y="75"/>
              </a:cxn>
              <a:cxn ang="0">
                <a:pos x="128" y="80"/>
              </a:cxn>
            </a:cxnLst>
            <a:rect l="0" t="0" r="r" b="b"/>
            <a:pathLst>
              <a:path w="144" h="81">
                <a:moveTo>
                  <a:pt x="128" y="80"/>
                </a:moveTo>
                <a:lnTo>
                  <a:pt x="122" y="80"/>
                </a:lnTo>
                <a:lnTo>
                  <a:pt x="117" y="77"/>
                </a:lnTo>
                <a:lnTo>
                  <a:pt x="109" y="75"/>
                </a:lnTo>
                <a:lnTo>
                  <a:pt x="108" y="73"/>
                </a:lnTo>
                <a:lnTo>
                  <a:pt x="102" y="73"/>
                </a:lnTo>
                <a:lnTo>
                  <a:pt x="96" y="75"/>
                </a:lnTo>
                <a:lnTo>
                  <a:pt x="89" y="78"/>
                </a:lnTo>
                <a:lnTo>
                  <a:pt x="84" y="81"/>
                </a:lnTo>
                <a:lnTo>
                  <a:pt x="80" y="81"/>
                </a:lnTo>
                <a:lnTo>
                  <a:pt x="68" y="80"/>
                </a:lnTo>
                <a:lnTo>
                  <a:pt x="56" y="80"/>
                </a:lnTo>
                <a:lnTo>
                  <a:pt x="47" y="80"/>
                </a:lnTo>
                <a:lnTo>
                  <a:pt x="43" y="80"/>
                </a:lnTo>
                <a:lnTo>
                  <a:pt x="40" y="77"/>
                </a:lnTo>
                <a:lnTo>
                  <a:pt x="41" y="73"/>
                </a:lnTo>
                <a:lnTo>
                  <a:pt x="39" y="73"/>
                </a:lnTo>
                <a:lnTo>
                  <a:pt x="36" y="72"/>
                </a:lnTo>
                <a:lnTo>
                  <a:pt x="33" y="69"/>
                </a:lnTo>
                <a:lnTo>
                  <a:pt x="36" y="66"/>
                </a:lnTo>
                <a:lnTo>
                  <a:pt x="35" y="64"/>
                </a:lnTo>
                <a:lnTo>
                  <a:pt x="32" y="66"/>
                </a:lnTo>
                <a:lnTo>
                  <a:pt x="24" y="62"/>
                </a:lnTo>
                <a:lnTo>
                  <a:pt x="20" y="61"/>
                </a:lnTo>
                <a:lnTo>
                  <a:pt x="19" y="56"/>
                </a:lnTo>
                <a:lnTo>
                  <a:pt x="19" y="55"/>
                </a:lnTo>
                <a:lnTo>
                  <a:pt x="16" y="53"/>
                </a:lnTo>
                <a:lnTo>
                  <a:pt x="13" y="53"/>
                </a:lnTo>
                <a:lnTo>
                  <a:pt x="11" y="50"/>
                </a:lnTo>
                <a:lnTo>
                  <a:pt x="9" y="45"/>
                </a:lnTo>
                <a:lnTo>
                  <a:pt x="8" y="44"/>
                </a:lnTo>
                <a:lnTo>
                  <a:pt x="5" y="40"/>
                </a:lnTo>
                <a:lnTo>
                  <a:pt x="1" y="39"/>
                </a:lnTo>
                <a:lnTo>
                  <a:pt x="0" y="37"/>
                </a:lnTo>
                <a:lnTo>
                  <a:pt x="9" y="36"/>
                </a:lnTo>
                <a:lnTo>
                  <a:pt x="13" y="34"/>
                </a:lnTo>
                <a:lnTo>
                  <a:pt x="16" y="29"/>
                </a:lnTo>
                <a:lnTo>
                  <a:pt x="17" y="28"/>
                </a:lnTo>
                <a:lnTo>
                  <a:pt x="20" y="25"/>
                </a:lnTo>
                <a:lnTo>
                  <a:pt x="21" y="22"/>
                </a:lnTo>
                <a:lnTo>
                  <a:pt x="25" y="18"/>
                </a:lnTo>
                <a:lnTo>
                  <a:pt x="25" y="15"/>
                </a:lnTo>
                <a:lnTo>
                  <a:pt x="27" y="14"/>
                </a:lnTo>
                <a:lnTo>
                  <a:pt x="27" y="12"/>
                </a:lnTo>
                <a:lnTo>
                  <a:pt x="31" y="9"/>
                </a:lnTo>
                <a:lnTo>
                  <a:pt x="33" y="9"/>
                </a:lnTo>
                <a:lnTo>
                  <a:pt x="36" y="9"/>
                </a:lnTo>
                <a:lnTo>
                  <a:pt x="39" y="7"/>
                </a:lnTo>
                <a:lnTo>
                  <a:pt x="39" y="6"/>
                </a:lnTo>
                <a:lnTo>
                  <a:pt x="41" y="4"/>
                </a:lnTo>
                <a:lnTo>
                  <a:pt x="45" y="4"/>
                </a:lnTo>
                <a:lnTo>
                  <a:pt x="51" y="6"/>
                </a:lnTo>
                <a:lnTo>
                  <a:pt x="57" y="6"/>
                </a:lnTo>
                <a:lnTo>
                  <a:pt x="61" y="4"/>
                </a:lnTo>
                <a:lnTo>
                  <a:pt x="65" y="4"/>
                </a:lnTo>
                <a:lnTo>
                  <a:pt x="69" y="7"/>
                </a:lnTo>
                <a:lnTo>
                  <a:pt x="72" y="7"/>
                </a:lnTo>
                <a:lnTo>
                  <a:pt x="76" y="6"/>
                </a:lnTo>
                <a:lnTo>
                  <a:pt x="80" y="4"/>
                </a:lnTo>
                <a:lnTo>
                  <a:pt x="85" y="4"/>
                </a:lnTo>
                <a:lnTo>
                  <a:pt x="94" y="0"/>
                </a:lnTo>
                <a:lnTo>
                  <a:pt x="97" y="0"/>
                </a:lnTo>
                <a:lnTo>
                  <a:pt x="98" y="0"/>
                </a:lnTo>
                <a:lnTo>
                  <a:pt x="102" y="3"/>
                </a:lnTo>
                <a:lnTo>
                  <a:pt x="105" y="6"/>
                </a:lnTo>
                <a:lnTo>
                  <a:pt x="108" y="7"/>
                </a:lnTo>
                <a:lnTo>
                  <a:pt x="109" y="12"/>
                </a:lnTo>
                <a:lnTo>
                  <a:pt x="112" y="17"/>
                </a:lnTo>
                <a:lnTo>
                  <a:pt x="116" y="22"/>
                </a:lnTo>
                <a:lnTo>
                  <a:pt x="118" y="25"/>
                </a:lnTo>
                <a:lnTo>
                  <a:pt x="120" y="33"/>
                </a:lnTo>
                <a:lnTo>
                  <a:pt x="120" y="36"/>
                </a:lnTo>
                <a:lnTo>
                  <a:pt x="120" y="40"/>
                </a:lnTo>
                <a:lnTo>
                  <a:pt x="120" y="44"/>
                </a:lnTo>
                <a:lnTo>
                  <a:pt x="121" y="45"/>
                </a:lnTo>
                <a:lnTo>
                  <a:pt x="121" y="48"/>
                </a:lnTo>
                <a:lnTo>
                  <a:pt x="121" y="50"/>
                </a:lnTo>
                <a:lnTo>
                  <a:pt x="122" y="50"/>
                </a:lnTo>
                <a:lnTo>
                  <a:pt x="126" y="53"/>
                </a:lnTo>
                <a:lnTo>
                  <a:pt x="129" y="53"/>
                </a:lnTo>
                <a:lnTo>
                  <a:pt x="132" y="51"/>
                </a:lnTo>
                <a:lnTo>
                  <a:pt x="136" y="51"/>
                </a:lnTo>
                <a:lnTo>
                  <a:pt x="138" y="50"/>
                </a:lnTo>
                <a:lnTo>
                  <a:pt x="141" y="50"/>
                </a:lnTo>
                <a:lnTo>
                  <a:pt x="142" y="51"/>
                </a:lnTo>
                <a:lnTo>
                  <a:pt x="144" y="53"/>
                </a:lnTo>
                <a:lnTo>
                  <a:pt x="144" y="56"/>
                </a:lnTo>
                <a:lnTo>
                  <a:pt x="142" y="59"/>
                </a:lnTo>
                <a:lnTo>
                  <a:pt x="142" y="61"/>
                </a:lnTo>
                <a:lnTo>
                  <a:pt x="141" y="61"/>
                </a:lnTo>
                <a:lnTo>
                  <a:pt x="138" y="62"/>
                </a:lnTo>
                <a:lnTo>
                  <a:pt x="134" y="64"/>
                </a:lnTo>
                <a:lnTo>
                  <a:pt x="133" y="66"/>
                </a:lnTo>
                <a:lnTo>
                  <a:pt x="130" y="67"/>
                </a:lnTo>
                <a:lnTo>
                  <a:pt x="130" y="66"/>
                </a:lnTo>
                <a:lnTo>
                  <a:pt x="132" y="64"/>
                </a:lnTo>
                <a:lnTo>
                  <a:pt x="133" y="62"/>
                </a:lnTo>
                <a:lnTo>
                  <a:pt x="133" y="58"/>
                </a:lnTo>
                <a:lnTo>
                  <a:pt x="132" y="58"/>
                </a:lnTo>
                <a:lnTo>
                  <a:pt x="130" y="64"/>
                </a:lnTo>
                <a:lnTo>
                  <a:pt x="129" y="67"/>
                </a:lnTo>
                <a:lnTo>
                  <a:pt x="129" y="69"/>
                </a:lnTo>
                <a:lnTo>
                  <a:pt x="128" y="72"/>
                </a:lnTo>
                <a:lnTo>
                  <a:pt x="128" y="75"/>
                </a:lnTo>
                <a:lnTo>
                  <a:pt x="128" y="77"/>
                </a:lnTo>
                <a:lnTo>
                  <a:pt x="128" y="8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03" name="Freeform 200"/>
          <p:cNvSpPr>
            <a:spLocks/>
          </p:cNvSpPr>
          <p:nvPr/>
        </p:nvSpPr>
        <p:spPr bwMode="auto">
          <a:xfrm>
            <a:off x="6299993" y="2276114"/>
            <a:ext cx="40926" cy="21476"/>
          </a:xfrm>
          <a:custGeom>
            <a:avLst/>
            <a:gdLst/>
            <a:ahLst/>
            <a:cxnLst>
              <a:cxn ang="0">
                <a:pos x="16" y="0"/>
              </a:cxn>
              <a:cxn ang="0">
                <a:pos x="15" y="0"/>
              </a:cxn>
              <a:cxn ang="0">
                <a:pos x="11" y="0"/>
              </a:cxn>
              <a:cxn ang="0">
                <a:pos x="7" y="0"/>
              </a:cxn>
              <a:cxn ang="0">
                <a:pos x="6" y="1"/>
              </a:cxn>
              <a:cxn ang="0">
                <a:pos x="4" y="1"/>
              </a:cxn>
              <a:cxn ang="0">
                <a:pos x="2" y="1"/>
              </a:cxn>
              <a:cxn ang="0">
                <a:pos x="0" y="1"/>
              </a:cxn>
              <a:cxn ang="0">
                <a:pos x="0" y="6"/>
              </a:cxn>
              <a:cxn ang="0">
                <a:pos x="2" y="6"/>
              </a:cxn>
              <a:cxn ang="0">
                <a:pos x="3" y="8"/>
              </a:cxn>
              <a:cxn ang="0">
                <a:pos x="3" y="9"/>
              </a:cxn>
              <a:cxn ang="0">
                <a:pos x="2" y="11"/>
              </a:cxn>
              <a:cxn ang="0">
                <a:pos x="4" y="9"/>
              </a:cxn>
              <a:cxn ang="0">
                <a:pos x="6" y="8"/>
              </a:cxn>
              <a:cxn ang="0">
                <a:pos x="7" y="6"/>
              </a:cxn>
              <a:cxn ang="0">
                <a:pos x="10" y="6"/>
              </a:cxn>
              <a:cxn ang="0">
                <a:pos x="11" y="6"/>
              </a:cxn>
              <a:cxn ang="0">
                <a:pos x="12" y="6"/>
              </a:cxn>
              <a:cxn ang="0">
                <a:pos x="14" y="5"/>
              </a:cxn>
              <a:cxn ang="0">
                <a:pos x="16" y="3"/>
              </a:cxn>
              <a:cxn ang="0">
                <a:pos x="18" y="3"/>
              </a:cxn>
              <a:cxn ang="0">
                <a:pos x="20" y="3"/>
              </a:cxn>
              <a:cxn ang="0">
                <a:pos x="20" y="1"/>
              </a:cxn>
              <a:cxn ang="0">
                <a:pos x="18" y="0"/>
              </a:cxn>
              <a:cxn ang="0">
                <a:pos x="16" y="0"/>
              </a:cxn>
            </a:cxnLst>
            <a:rect l="0" t="0" r="r" b="b"/>
            <a:pathLst>
              <a:path w="20" h="11">
                <a:moveTo>
                  <a:pt x="16" y="0"/>
                </a:moveTo>
                <a:lnTo>
                  <a:pt x="15" y="0"/>
                </a:lnTo>
                <a:lnTo>
                  <a:pt x="11" y="0"/>
                </a:lnTo>
                <a:lnTo>
                  <a:pt x="7" y="0"/>
                </a:lnTo>
                <a:lnTo>
                  <a:pt x="6" y="1"/>
                </a:lnTo>
                <a:lnTo>
                  <a:pt x="4" y="1"/>
                </a:lnTo>
                <a:lnTo>
                  <a:pt x="2" y="1"/>
                </a:lnTo>
                <a:lnTo>
                  <a:pt x="0" y="1"/>
                </a:lnTo>
                <a:lnTo>
                  <a:pt x="0" y="6"/>
                </a:lnTo>
                <a:lnTo>
                  <a:pt x="2" y="6"/>
                </a:lnTo>
                <a:lnTo>
                  <a:pt x="3" y="8"/>
                </a:lnTo>
                <a:lnTo>
                  <a:pt x="3" y="9"/>
                </a:lnTo>
                <a:lnTo>
                  <a:pt x="2" y="11"/>
                </a:lnTo>
                <a:lnTo>
                  <a:pt x="4" y="9"/>
                </a:lnTo>
                <a:lnTo>
                  <a:pt x="6" y="8"/>
                </a:lnTo>
                <a:lnTo>
                  <a:pt x="7" y="6"/>
                </a:lnTo>
                <a:lnTo>
                  <a:pt x="10" y="6"/>
                </a:lnTo>
                <a:lnTo>
                  <a:pt x="11" y="6"/>
                </a:lnTo>
                <a:lnTo>
                  <a:pt x="12" y="6"/>
                </a:lnTo>
                <a:lnTo>
                  <a:pt x="14" y="5"/>
                </a:lnTo>
                <a:lnTo>
                  <a:pt x="16" y="3"/>
                </a:lnTo>
                <a:lnTo>
                  <a:pt x="18" y="3"/>
                </a:lnTo>
                <a:lnTo>
                  <a:pt x="20" y="3"/>
                </a:lnTo>
                <a:lnTo>
                  <a:pt x="20" y="1"/>
                </a:lnTo>
                <a:lnTo>
                  <a:pt x="18" y="0"/>
                </a:lnTo>
                <a:lnTo>
                  <a:pt x="16" y="0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04" name="Freeform 201"/>
          <p:cNvSpPr>
            <a:spLocks/>
          </p:cNvSpPr>
          <p:nvPr/>
        </p:nvSpPr>
        <p:spPr bwMode="auto">
          <a:xfrm>
            <a:off x="6299993" y="2276114"/>
            <a:ext cx="40926" cy="21476"/>
          </a:xfrm>
          <a:custGeom>
            <a:avLst/>
            <a:gdLst/>
            <a:ahLst/>
            <a:cxnLst>
              <a:cxn ang="0">
                <a:pos x="16" y="0"/>
              </a:cxn>
              <a:cxn ang="0">
                <a:pos x="15" y="0"/>
              </a:cxn>
              <a:cxn ang="0">
                <a:pos x="11" y="0"/>
              </a:cxn>
              <a:cxn ang="0">
                <a:pos x="7" y="0"/>
              </a:cxn>
              <a:cxn ang="0">
                <a:pos x="6" y="1"/>
              </a:cxn>
              <a:cxn ang="0">
                <a:pos x="4" y="1"/>
              </a:cxn>
              <a:cxn ang="0">
                <a:pos x="2" y="1"/>
              </a:cxn>
              <a:cxn ang="0">
                <a:pos x="0" y="1"/>
              </a:cxn>
              <a:cxn ang="0">
                <a:pos x="0" y="6"/>
              </a:cxn>
              <a:cxn ang="0">
                <a:pos x="2" y="6"/>
              </a:cxn>
              <a:cxn ang="0">
                <a:pos x="3" y="8"/>
              </a:cxn>
              <a:cxn ang="0">
                <a:pos x="3" y="9"/>
              </a:cxn>
              <a:cxn ang="0">
                <a:pos x="2" y="11"/>
              </a:cxn>
              <a:cxn ang="0">
                <a:pos x="4" y="9"/>
              </a:cxn>
              <a:cxn ang="0">
                <a:pos x="6" y="8"/>
              </a:cxn>
              <a:cxn ang="0">
                <a:pos x="7" y="6"/>
              </a:cxn>
              <a:cxn ang="0">
                <a:pos x="10" y="6"/>
              </a:cxn>
              <a:cxn ang="0">
                <a:pos x="11" y="6"/>
              </a:cxn>
              <a:cxn ang="0">
                <a:pos x="12" y="6"/>
              </a:cxn>
              <a:cxn ang="0">
                <a:pos x="14" y="5"/>
              </a:cxn>
              <a:cxn ang="0">
                <a:pos x="16" y="3"/>
              </a:cxn>
              <a:cxn ang="0">
                <a:pos x="18" y="3"/>
              </a:cxn>
              <a:cxn ang="0">
                <a:pos x="20" y="3"/>
              </a:cxn>
              <a:cxn ang="0">
                <a:pos x="20" y="1"/>
              </a:cxn>
              <a:cxn ang="0">
                <a:pos x="18" y="0"/>
              </a:cxn>
              <a:cxn ang="0">
                <a:pos x="16" y="0"/>
              </a:cxn>
            </a:cxnLst>
            <a:rect l="0" t="0" r="r" b="b"/>
            <a:pathLst>
              <a:path w="20" h="11">
                <a:moveTo>
                  <a:pt x="16" y="0"/>
                </a:moveTo>
                <a:lnTo>
                  <a:pt x="15" y="0"/>
                </a:lnTo>
                <a:lnTo>
                  <a:pt x="11" y="0"/>
                </a:lnTo>
                <a:lnTo>
                  <a:pt x="7" y="0"/>
                </a:lnTo>
                <a:lnTo>
                  <a:pt x="6" y="1"/>
                </a:lnTo>
                <a:lnTo>
                  <a:pt x="4" y="1"/>
                </a:lnTo>
                <a:lnTo>
                  <a:pt x="2" y="1"/>
                </a:lnTo>
                <a:lnTo>
                  <a:pt x="0" y="1"/>
                </a:lnTo>
                <a:lnTo>
                  <a:pt x="0" y="6"/>
                </a:lnTo>
                <a:lnTo>
                  <a:pt x="2" y="6"/>
                </a:lnTo>
                <a:lnTo>
                  <a:pt x="3" y="8"/>
                </a:lnTo>
                <a:lnTo>
                  <a:pt x="3" y="9"/>
                </a:lnTo>
                <a:lnTo>
                  <a:pt x="2" y="11"/>
                </a:lnTo>
                <a:lnTo>
                  <a:pt x="4" y="9"/>
                </a:lnTo>
                <a:lnTo>
                  <a:pt x="6" y="8"/>
                </a:lnTo>
                <a:lnTo>
                  <a:pt x="7" y="6"/>
                </a:lnTo>
                <a:lnTo>
                  <a:pt x="10" y="6"/>
                </a:lnTo>
                <a:lnTo>
                  <a:pt x="11" y="6"/>
                </a:lnTo>
                <a:lnTo>
                  <a:pt x="12" y="6"/>
                </a:lnTo>
                <a:lnTo>
                  <a:pt x="14" y="5"/>
                </a:lnTo>
                <a:lnTo>
                  <a:pt x="16" y="3"/>
                </a:lnTo>
                <a:lnTo>
                  <a:pt x="18" y="3"/>
                </a:lnTo>
                <a:lnTo>
                  <a:pt x="20" y="3"/>
                </a:lnTo>
                <a:lnTo>
                  <a:pt x="20" y="1"/>
                </a:lnTo>
                <a:lnTo>
                  <a:pt x="18" y="0"/>
                </a:lnTo>
                <a:lnTo>
                  <a:pt x="16" y="0"/>
                </a:lnTo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05" name="Freeform 202"/>
          <p:cNvSpPr>
            <a:spLocks/>
          </p:cNvSpPr>
          <p:nvPr/>
        </p:nvSpPr>
        <p:spPr bwMode="auto">
          <a:xfrm>
            <a:off x="6303893" y="2258933"/>
            <a:ext cx="29233" cy="12885"/>
          </a:xfrm>
          <a:custGeom>
            <a:avLst/>
            <a:gdLst/>
            <a:ahLst/>
            <a:cxnLst>
              <a:cxn ang="0">
                <a:pos x="5" y="2"/>
              </a:cxn>
              <a:cxn ang="0">
                <a:pos x="1" y="2"/>
              </a:cxn>
              <a:cxn ang="0">
                <a:pos x="0" y="3"/>
              </a:cxn>
              <a:cxn ang="0">
                <a:pos x="1" y="3"/>
              </a:cxn>
              <a:cxn ang="0">
                <a:pos x="4" y="3"/>
              </a:cxn>
              <a:cxn ang="0">
                <a:pos x="5" y="5"/>
              </a:cxn>
              <a:cxn ang="0">
                <a:pos x="6" y="6"/>
              </a:cxn>
              <a:cxn ang="0">
                <a:pos x="8" y="6"/>
              </a:cxn>
              <a:cxn ang="0">
                <a:pos x="9" y="5"/>
              </a:cxn>
              <a:cxn ang="0">
                <a:pos x="14" y="3"/>
              </a:cxn>
              <a:cxn ang="0">
                <a:pos x="14" y="2"/>
              </a:cxn>
              <a:cxn ang="0">
                <a:pos x="13" y="0"/>
              </a:cxn>
              <a:cxn ang="0">
                <a:pos x="12" y="0"/>
              </a:cxn>
              <a:cxn ang="0">
                <a:pos x="9" y="0"/>
              </a:cxn>
              <a:cxn ang="0">
                <a:pos x="8" y="0"/>
              </a:cxn>
              <a:cxn ang="0">
                <a:pos x="6" y="2"/>
              </a:cxn>
              <a:cxn ang="0">
                <a:pos x="5" y="2"/>
              </a:cxn>
            </a:cxnLst>
            <a:rect l="0" t="0" r="r" b="b"/>
            <a:pathLst>
              <a:path w="14" h="6">
                <a:moveTo>
                  <a:pt x="5" y="2"/>
                </a:moveTo>
                <a:lnTo>
                  <a:pt x="1" y="2"/>
                </a:lnTo>
                <a:lnTo>
                  <a:pt x="0" y="3"/>
                </a:lnTo>
                <a:lnTo>
                  <a:pt x="1" y="3"/>
                </a:lnTo>
                <a:lnTo>
                  <a:pt x="4" y="3"/>
                </a:lnTo>
                <a:lnTo>
                  <a:pt x="5" y="5"/>
                </a:lnTo>
                <a:lnTo>
                  <a:pt x="6" y="6"/>
                </a:lnTo>
                <a:lnTo>
                  <a:pt x="8" y="6"/>
                </a:lnTo>
                <a:lnTo>
                  <a:pt x="9" y="5"/>
                </a:lnTo>
                <a:lnTo>
                  <a:pt x="14" y="3"/>
                </a:lnTo>
                <a:lnTo>
                  <a:pt x="14" y="2"/>
                </a:lnTo>
                <a:lnTo>
                  <a:pt x="13" y="0"/>
                </a:lnTo>
                <a:lnTo>
                  <a:pt x="12" y="0"/>
                </a:lnTo>
                <a:lnTo>
                  <a:pt x="9" y="0"/>
                </a:lnTo>
                <a:lnTo>
                  <a:pt x="8" y="0"/>
                </a:lnTo>
                <a:lnTo>
                  <a:pt x="6" y="2"/>
                </a:lnTo>
                <a:lnTo>
                  <a:pt x="5" y="2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06" name="Freeform 203"/>
          <p:cNvSpPr>
            <a:spLocks/>
          </p:cNvSpPr>
          <p:nvPr/>
        </p:nvSpPr>
        <p:spPr bwMode="auto">
          <a:xfrm>
            <a:off x="6303893" y="2258933"/>
            <a:ext cx="29233" cy="12885"/>
          </a:xfrm>
          <a:custGeom>
            <a:avLst/>
            <a:gdLst/>
            <a:ahLst/>
            <a:cxnLst>
              <a:cxn ang="0">
                <a:pos x="5" y="2"/>
              </a:cxn>
              <a:cxn ang="0">
                <a:pos x="1" y="2"/>
              </a:cxn>
              <a:cxn ang="0">
                <a:pos x="0" y="3"/>
              </a:cxn>
              <a:cxn ang="0">
                <a:pos x="1" y="3"/>
              </a:cxn>
              <a:cxn ang="0">
                <a:pos x="4" y="3"/>
              </a:cxn>
              <a:cxn ang="0">
                <a:pos x="5" y="5"/>
              </a:cxn>
              <a:cxn ang="0">
                <a:pos x="6" y="6"/>
              </a:cxn>
              <a:cxn ang="0">
                <a:pos x="8" y="6"/>
              </a:cxn>
              <a:cxn ang="0">
                <a:pos x="9" y="5"/>
              </a:cxn>
              <a:cxn ang="0">
                <a:pos x="14" y="3"/>
              </a:cxn>
              <a:cxn ang="0">
                <a:pos x="14" y="2"/>
              </a:cxn>
              <a:cxn ang="0">
                <a:pos x="13" y="0"/>
              </a:cxn>
              <a:cxn ang="0">
                <a:pos x="12" y="0"/>
              </a:cxn>
              <a:cxn ang="0">
                <a:pos x="9" y="0"/>
              </a:cxn>
              <a:cxn ang="0">
                <a:pos x="8" y="0"/>
              </a:cxn>
              <a:cxn ang="0">
                <a:pos x="6" y="2"/>
              </a:cxn>
              <a:cxn ang="0">
                <a:pos x="5" y="2"/>
              </a:cxn>
            </a:cxnLst>
            <a:rect l="0" t="0" r="r" b="b"/>
            <a:pathLst>
              <a:path w="14" h="6">
                <a:moveTo>
                  <a:pt x="5" y="2"/>
                </a:moveTo>
                <a:lnTo>
                  <a:pt x="1" y="2"/>
                </a:lnTo>
                <a:lnTo>
                  <a:pt x="0" y="3"/>
                </a:lnTo>
                <a:lnTo>
                  <a:pt x="1" y="3"/>
                </a:lnTo>
                <a:lnTo>
                  <a:pt x="4" y="3"/>
                </a:lnTo>
                <a:lnTo>
                  <a:pt x="5" y="5"/>
                </a:lnTo>
                <a:lnTo>
                  <a:pt x="6" y="6"/>
                </a:lnTo>
                <a:lnTo>
                  <a:pt x="8" y="6"/>
                </a:lnTo>
                <a:lnTo>
                  <a:pt x="9" y="5"/>
                </a:lnTo>
                <a:lnTo>
                  <a:pt x="14" y="3"/>
                </a:lnTo>
                <a:lnTo>
                  <a:pt x="14" y="2"/>
                </a:lnTo>
                <a:lnTo>
                  <a:pt x="13" y="0"/>
                </a:lnTo>
                <a:lnTo>
                  <a:pt x="12" y="0"/>
                </a:lnTo>
                <a:lnTo>
                  <a:pt x="9" y="0"/>
                </a:lnTo>
                <a:lnTo>
                  <a:pt x="8" y="0"/>
                </a:lnTo>
                <a:lnTo>
                  <a:pt x="6" y="2"/>
                </a:lnTo>
                <a:lnTo>
                  <a:pt x="5" y="2"/>
                </a:lnTo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07" name="Freeform 204"/>
          <p:cNvSpPr>
            <a:spLocks/>
          </p:cNvSpPr>
          <p:nvPr/>
        </p:nvSpPr>
        <p:spPr bwMode="auto">
          <a:xfrm>
            <a:off x="6344818" y="2237457"/>
            <a:ext cx="140315" cy="77314"/>
          </a:xfrm>
          <a:custGeom>
            <a:avLst/>
            <a:gdLst/>
            <a:ahLst/>
            <a:cxnLst>
              <a:cxn ang="0">
                <a:pos x="35" y="0"/>
              </a:cxn>
              <a:cxn ang="0">
                <a:pos x="39" y="2"/>
              </a:cxn>
              <a:cxn ang="0">
                <a:pos x="44" y="2"/>
              </a:cxn>
              <a:cxn ang="0">
                <a:pos x="50" y="3"/>
              </a:cxn>
              <a:cxn ang="0">
                <a:pos x="66" y="5"/>
              </a:cxn>
              <a:cxn ang="0">
                <a:pos x="70" y="2"/>
              </a:cxn>
              <a:cxn ang="0">
                <a:pos x="73" y="3"/>
              </a:cxn>
              <a:cxn ang="0">
                <a:pos x="73" y="6"/>
              </a:cxn>
              <a:cxn ang="0">
                <a:pos x="68" y="11"/>
              </a:cxn>
              <a:cxn ang="0">
                <a:pos x="66" y="16"/>
              </a:cxn>
              <a:cxn ang="0">
                <a:pos x="68" y="20"/>
              </a:cxn>
              <a:cxn ang="0">
                <a:pos x="64" y="24"/>
              </a:cxn>
              <a:cxn ang="0">
                <a:pos x="62" y="27"/>
              </a:cxn>
              <a:cxn ang="0">
                <a:pos x="69" y="27"/>
              </a:cxn>
              <a:cxn ang="0">
                <a:pos x="72" y="33"/>
              </a:cxn>
              <a:cxn ang="0">
                <a:pos x="66" y="31"/>
              </a:cxn>
              <a:cxn ang="0">
                <a:pos x="65" y="31"/>
              </a:cxn>
              <a:cxn ang="0">
                <a:pos x="61" y="36"/>
              </a:cxn>
              <a:cxn ang="0">
                <a:pos x="61" y="38"/>
              </a:cxn>
              <a:cxn ang="0">
                <a:pos x="53" y="36"/>
              </a:cxn>
              <a:cxn ang="0">
                <a:pos x="48" y="38"/>
              </a:cxn>
              <a:cxn ang="0">
                <a:pos x="41" y="31"/>
              </a:cxn>
              <a:cxn ang="0">
                <a:pos x="33" y="30"/>
              </a:cxn>
              <a:cxn ang="0">
                <a:pos x="21" y="30"/>
              </a:cxn>
              <a:cxn ang="0">
                <a:pos x="16" y="31"/>
              </a:cxn>
              <a:cxn ang="0">
                <a:pos x="15" y="30"/>
              </a:cxn>
              <a:cxn ang="0">
                <a:pos x="17" y="24"/>
              </a:cxn>
              <a:cxn ang="0">
                <a:pos x="12" y="24"/>
              </a:cxn>
              <a:cxn ang="0">
                <a:pos x="8" y="24"/>
              </a:cxn>
              <a:cxn ang="0">
                <a:pos x="4" y="24"/>
              </a:cxn>
              <a:cxn ang="0">
                <a:pos x="1" y="20"/>
              </a:cxn>
              <a:cxn ang="0">
                <a:pos x="3" y="16"/>
              </a:cxn>
              <a:cxn ang="0">
                <a:pos x="1" y="16"/>
              </a:cxn>
              <a:cxn ang="0">
                <a:pos x="1" y="11"/>
              </a:cxn>
              <a:cxn ang="0">
                <a:pos x="1" y="8"/>
              </a:cxn>
              <a:cxn ang="0">
                <a:pos x="9" y="6"/>
              </a:cxn>
              <a:cxn ang="0">
                <a:pos x="13" y="5"/>
              </a:cxn>
              <a:cxn ang="0">
                <a:pos x="21" y="3"/>
              </a:cxn>
              <a:cxn ang="0">
                <a:pos x="24" y="3"/>
              </a:cxn>
              <a:cxn ang="0">
                <a:pos x="32" y="2"/>
              </a:cxn>
              <a:cxn ang="0">
                <a:pos x="33" y="2"/>
              </a:cxn>
            </a:cxnLst>
            <a:rect l="0" t="0" r="r" b="b"/>
            <a:pathLst>
              <a:path w="73" h="38">
                <a:moveTo>
                  <a:pt x="33" y="2"/>
                </a:moveTo>
                <a:lnTo>
                  <a:pt x="35" y="0"/>
                </a:lnTo>
                <a:lnTo>
                  <a:pt x="36" y="2"/>
                </a:lnTo>
                <a:lnTo>
                  <a:pt x="39" y="2"/>
                </a:lnTo>
                <a:lnTo>
                  <a:pt x="41" y="2"/>
                </a:lnTo>
                <a:lnTo>
                  <a:pt x="44" y="2"/>
                </a:lnTo>
                <a:lnTo>
                  <a:pt x="49" y="3"/>
                </a:lnTo>
                <a:lnTo>
                  <a:pt x="50" y="3"/>
                </a:lnTo>
                <a:lnTo>
                  <a:pt x="54" y="5"/>
                </a:lnTo>
                <a:lnTo>
                  <a:pt x="66" y="5"/>
                </a:lnTo>
                <a:lnTo>
                  <a:pt x="69" y="3"/>
                </a:lnTo>
                <a:lnTo>
                  <a:pt x="70" y="2"/>
                </a:lnTo>
                <a:lnTo>
                  <a:pt x="72" y="3"/>
                </a:lnTo>
                <a:lnTo>
                  <a:pt x="73" y="3"/>
                </a:lnTo>
                <a:lnTo>
                  <a:pt x="73" y="5"/>
                </a:lnTo>
                <a:lnTo>
                  <a:pt x="73" y="6"/>
                </a:lnTo>
                <a:lnTo>
                  <a:pt x="70" y="8"/>
                </a:lnTo>
                <a:lnTo>
                  <a:pt x="68" y="11"/>
                </a:lnTo>
                <a:lnTo>
                  <a:pt x="65" y="13"/>
                </a:lnTo>
                <a:lnTo>
                  <a:pt x="66" y="16"/>
                </a:lnTo>
                <a:lnTo>
                  <a:pt x="66" y="19"/>
                </a:lnTo>
                <a:lnTo>
                  <a:pt x="68" y="20"/>
                </a:lnTo>
                <a:lnTo>
                  <a:pt x="66" y="22"/>
                </a:lnTo>
                <a:lnTo>
                  <a:pt x="64" y="24"/>
                </a:lnTo>
                <a:lnTo>
                  <a:pt x="62" y="25"/>
                </a:lnTo>
                <a:lnTo>
                  <a:pt x="62" y="27"/>
                </a:lnTo>
                <a:lnTo>
                  <a:pt x="65" y="27"/>
                </a:lnTo>
                <a:lnTo>
                  <a:pt x="69" y="27"/>
                </a:lnTo>
                <a:lnTo>
                  <a:pt x="72" y="30"/>
                </a:lnTo>
                <a:lnTo>
                  <a:pt x="72" y="33"/>
                </a:lnTo>
                <a:lnTo>
                  <a:pt x="69" y="33"/>
                </a:lnTo>
                <a:lnTo>
                  <a:pt x="66" y="31"/>
                </a:lnTo>
                <a:lnTo>
                  <a:pt x="64" y="30"/>
                </a:lnTo>
                <a:lnTo>
                  <a:pt x="65" y="31"/>
                </a:lnTo>
                <a:lnTo>
                  <a:pt x="64" y="33"/>
                </a:lnTo>
                <a:lnTo>
                  <a:pt x="61" y="36"/>
                </a:lnTo>
                <a:lnTo>
                  <a:pt x="62" y="38"/>
                </a:lnTo>
                <a:lnTo>
                  <a:pt x="61" y="38"/>
                </a:lnTo>
                <a:lnTo>
                  <a:pt x="57" y="36"/>
                </a:lnTo>
                <a:lnTo>
                  <a:pt x="53" y="36"/>
                </a:lnTo>
                <a:lnTo>
                  <a:pt x="50" y="38"/>
                </a:lnTo>
                <a:lnTo>
                  <a:pt x="48" y="38"/>
                </a:lnTo>
                <a:lnTo>
                  <a:pt x="42" y="33"/>
                </a:lnTo>
                <a:lnTo>
                  <a:pt x="41" y="31"/>
                </a:lnTo>
                <a:lnTo>
                  <a:pt x="37" y="31"/>
                </a:lnTo>
                <a:lnTo>
                  <a:pt x="33" y="30"/>
                </a:lnTo>
                <a:lnTo>
                  <a:pt x="29" y="28"/>
                </a:lnTo>
                <a:lnTo>
                  <a:pt x="21" y="30"/>
                </a:lnTo>
                <a:lnTo>
                  <a:pt x="19" y="31"/>
                </a:lnTo>
                <a:lnTo>
                  <a:pt x="16" y="31"/>
                </a:lnTo>
                <a:lnTo>
                  <a:pt x="15" y="33"/>
                </a:lnTo>
                <a:lnTo>
                  <a:pt x="15" y="30"/>
                </a:lnTo>
                <a:lnTo>
                  <a:pt x="16" y="25"/>
                </a:lnTo>
                <a:lnTo>
                  <a:pt x="17" y="24"/>
                </a:lnTo>
                <a:lnTo>
                  <a:pt x="13" y="22"/>
                </a:lnTo>
                <a:lnTo>
                  <a:pt x="12" y="24"/>
                </a:lnTo>
                <a:lnTo>
                  <a:pt x="9" y="25"/>
                </a:lnTo>
                <a:lnTo>
                  <a:pt x="8" y="24"/>
                </a:lnTo>
                <a:lnTo>
                  <a:pt x="7" y="24"/>
                </a:lnTo>
                <a:lnTo>
                  <a:pt x="4" y="24"/>
                </a:lnTo>
                <a:lnTo>
                  <a:pt x="3" y="22"/>
                </a:lnTo>
                <a:lnTo>
                  <a:pt x="1" y="20"/>
                </a:lnTo>
                <a:lnTo>
                  <a:pt x="1" y="17"/>
                </a:lnTo>
                <a:lnTo>
                  <a:pt x="3" y="16"/>
                </a:lnTo>
                <a:lnTo>
                  <a:pt x="5" y="16"/>
                </a:lnTo>
                <a:lnTo>
                  <a:pt x="1" y="16"/>
                </a:lnTo>
                <a:lnTo>
                  <a:pt x="1" y="13"/>
                </a:lnTo>
                <a:lnTo>
                  <a:pt x="1" y="11"/>
                </a:lnTo>
                <a:lnTo>
                  <a:pt x="0" y="11"/>
                </a:lnTo>
                <a:lnTo>
                  <a:pt x="1" y="8"/>
                </a:lnTo>
                <a:lnTo>
                  <a:pt x="3" y="8"/>
                </a:lnTo>
                <a:lnTo>
                  <a:pt x="9" y="6"/>
                </a:lnTo>
                <a:lnTo>
                  <a:pt x="11" y="5"/>
                </a:lnTo>
                <a:lnTo>
                  <a:pt x="13" y="5"/>
                </a:lnTo>
                <a:lnTo>
                  <a:pt x="15" y="3"/>
                </a:lnTo>
                <a:lnTo>
                  <a:pt x="21" y="3"/>
                </a:lnTo>
                <a:lnTo>
                  <a:pt x="21" y="2"/>
                </a:lnTo>
                <a:lnTo>
                  <a:pt x="24" y="3"/>
                </a:lnTo>
                <a:lnTo>
                  <a:pt x="29" y="3"/>
                </a:lnTo>
                <a:lnTo>
                  <a:pt x="32" y="2"/>
                </a:lnTo>
                <a:lnTo>
                  <a:pt x="31" y="2"/>
                </a:lnTo>
                <a:lnTo>
                  <a:pt x="33" y="2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08" name="Freeform 205"/>
          <p:cNvSpPr>
            <a:spLocks/>
          </p:cNvSpPr>
          <p:nvPr/>
        </p:nvSpPr>
        <p:spPr bwMode="auto">
          <a:xfrm>
            <a:off x="6344818" y="2237457"/>
            <a:ext cx="140315" cy="77314"/>
          </a:xfrm>
          <a:custGeom>
            <a:avLst/>
            <a:gdLst/>
            <a:ahLst/>
            <a:cxnLst>
              <a:cxn ang="0">
                <a:pos x="35" y="0"/>
              </a:cxn>
              <a:cxn ang="0">
                <a:pos x="39" y="2"/>
              </a:cxn>
              <a:cxn ang="0">
                <a:pos x="44" y="2"/>
              </a:cxn>
              <a:cxn ang="0">
                <a:pos x="50" y="3"/>
              </a:cxn>
              <a:cxn ang="0">
                <a:pos x="66" y="5"/>
              </a:cxn>
              <a:cxn ang="0">
                <a:pos x="70" y="2"/>
              </a:cxn>
              <a:cxn ang="0">
                <a:pos x="73" y="3"/>
              </a:cxn>
              <a:cxn ang="0">
                <a:pos x="73" y="6"/>
              </a:cxn>
              <a:cxn ang="0">
                <a:pos x="68" y="11"/>
              </a:cxn>
              <a:cxn ang="0">
                <a:pos x="66" y="16"/>
              </a:cxn>
              <a:cxn ang="0">
                <a:pos x="68" y="20"/>
              </a:cxn>
              <a:cxn ang="0">
                <a:pos x="64" y="24"/>
              </a:cxn>
              <a:cxn ang="0">
                <a:pos x="62" y="27"/>
              </a:cxn>
              <a:cxn ang="0">
                <a:pos x="69" y="27"/>
              </a:cxn>
              <a:cxn ang="0">
                <a:pos x="72" y="33"/>
              </a:cxn>
              <a:cxn ang="0">
                <a:pos x="66" y="31"/>
              </a:cxn>
              <a:cxn ang="0">
                <a:pos x="65" y="31"/>
              </a:cxn>
              <a:cxn ang="0">
                <a:pos x="61" y="36"/>
              </a:cxn>
              <a:cxn ang="0">
                <a:pos x="61" y="38"/>
              </a:cxn>
              <a:cxn ang="0">
                <a:pos x="53" y="36"/>
              </a:cxn>
              <a:cxn ang="0">
                <a:pos x="48" y="38"/>
              </a:cxn>
              <a:cxn ang="0">
                <a:pos x="41" y="31"/>
              </a:cxn>
              <a:cxn ang="0">
                <a:pos x="33" y="30"/>
              </a:cxn>
              <a:cxn ang="0">
                <a:pos x="21" y="30"/>
              </a:cxn>
              <a:cxn ang="0">
                <a:pos x="16" y="31"/>
              </a:cxn>
              <a:cxn ang="0">
                <a:pos x="15" y="30"/>
              </a:cxn>
              <a:cxn ang="0">
                <a:pos x="17" y="24"/>
              </a:cxn>
              <a:cxn ang="0">
                <a:pos x="12" y="24"/>
              </a:cxn>
              <a:cxn ang="0">
                <a:pos x="8" y="24"/>
              </a:cxn>
              <a:cxn ang="0">
                <a:pos x="4" y="24"/>
              </a:cxn>
              <a:cxn ang="0">
                <a:pos x="1" y="20"/>
              </a:cxn>
              <a:cxn ang="0">
                <a:pos x="3" y="16"/>
              </a:cxn>
              <a:cxn ang="0">
                <a:pos x="1" y="16"/>
              </a:cxn>
              <a:cxn ang="0">
                <a:pos x="1" y="11"/>
              </a:cxn>
              <a:cxn ang="0">
                <a:pos x="1" y="8"/>
              </a:cxn>
              <a:cxn ang="0">
                <a:pos x="9" y="6"/>
              </a:cxn>
              <a:cxn ang="0">
                <a:pos x="13" y="5"/>
              </a:cxn>
              <a:cxn ang="0">
                <a:pos x="21" y="3"/>
              </a:cxn>
              <a:cxn ang="0">
                <a:pos x="24" y="3"/>
              </a:cxn>
              <a:cxn ang="0">
                <a:pos x="32" y="2"/>
              </a:cxn>
              <a:cxn ang="0">
                <a:pos x="33" y="2"/>
              </a:cxn>
            </a:cxnLst>
            <a:rect l="0" t="0" r="r" b="b"/>
            <a:pathLst>
              <a:path w="73" h="38">
                <a:moveTo>
                  <a:pt x="33" y="2"/>
                </a:moveTo>
                <a:lnTo>
                  <a:pt x="35" y="0"/>
                </a:lnTo>
                <a:lnTo>
                  <a:pt x="36" y="2"/>
                </a:lnTo>
                <a:lnTo>
                  <a:pt x="39" y="2"/>
                </a:lnTo>
                <a:lnTo>
                  <a:pt x="41" y="2"/>
                </a:lnTo>
                <a:lnTo>
                  <a:pt x="44" y="2"/>
                </a:lnTo>
                <a:lnTo>
                  <a:pt x="49" y="3"/>
                </a:lnTo>
                <a:lnTo>
                  <a:pt x="50" y="3"/>
                </a:lnTo>
                <a:lnTo>
                  <a:pt x="54" y="5"/>
                </a:lnTo>
                <a:lnTo>
                  <a:pt x="66" y="5"/>
                </a:lnTo>
                <a:lnTo>
                  <a:pt x="69" y="3"/>
                </a:lnTo>
                <a:lnTo>
                  <a:pt x="70" y="2"/>
                </a:lnTo>
                <a:lnTo>
                  <a:pt x="72" y="3"/>
                </a:lnTo>
                <a:lnTo>
                  <a:pt x="73" y="3"/>
                </a:lnTo>
                <a:lnTo>
                  <a:pt x="73" y="5"/>
                </a:lnTo>
                <a:lnTo>
                  <a:pt x="73" y="6"/>
                </a:lnTo>
                <a:lnTo>
                  <a:pt x="70" y="8"/>
                </a:lnTo>
                <a:lnTo>
                  <a:pt x="68" y="11"/>
                </a:lnTo>
                <a:lnTo>
                  <a:pt x="65" y="13"/>
                </a:lnTo>
                <a:lnTo>
                  <a:pt x="66" y="16"/>
                </a:lnTo>
                <a:lnTo>
                  <a:pt x="66" y="19"/>
                </a:lnTo>
                <a:lnTo>
                  <a:pt x="68" y="20"/>
                </a:lnTo>
                <a:lnTo>
                  <a:pt x="66" y="22"/>
                </a:lnTo>
                <a:lnTo>
                  <a:pt x="64" y="24"/>
                </a:lnTo>
                <a:lnTo>
                  <a:pt x="62" y="25"/>
                </a:lnTo>
                <a:lnTo>
                  <a:pt x="62" y="27"/>
                </a:lnTo>
                <a:lnTo>
                  <a:pt x="65" y="27"/>
                </a:lnTo>
                <a:lnTo>
                  <a:pt x="69" y="27"/>
                </a:lnTo>
                <a:lnTo>
                  <a:pt x="72" y="30"/>
                </a:lnTo>
                <a:lnTo>
                  <a:pt x="72" y="33"/>
                </a:lnTo>
                <a:lnTo>
                  <a:pt x="69" y="33"/>
                </a:lnTo>
                <a:lnTo>
                  <a:pt x="66" y="31"/>
                </a:lnTo>
                <a:lnTo>
                  <a:pt x="64" y="30"/>
                </a:lnTo>
                <a:lnTo>
                  <a:pt x="65" y="31"/>
                </a:lnTo>
                <a:lnTo>
                  <a:pt x="64" y="33"/>
                </a:lnTo>
                <a:lnTo>
                  <a:pt x="61" y="36"/>
                </a:lnTo>
                <a:lnTo>
                  <a:pt x="62" y="38"/>
                </a:lnTo>
                <a:lnTo>
                  <a:pt x="61" y="38"/>
                </a:lnTo>
                <a:lnTo>
                  <a:pt x="57" y="36"/>
                </a:lnTo>
                <a:lnTo>
                  <a:pt x="53" y="36"/>
                </a:lnTo>
                <a:lnTo>
                  <a:pt x="50" y="38"/>
                </a:lnTo>
                <a:lnTo>
                  <a:pt x="48" y="38"/>
                </a:lnTo>
                <a:lnTo>
                  <a:pt x="42" y="33"/>
                </a:lnTo>
                <a:lnTo>
                  <a:pt x="41" y="31"/>
                </a:lnTo>
                <a:lnTo>
                  <a:pt x="37" y="31"/>
                </a:lnTo>
                <a:lnTo>
                  <a:pt x="33" y="30"/>
                </a:lnTo>
                <a:lnTo>
                  <a:pt x="29" y="28"/>
                </a:lnTo>
                <a:lnTo>
                  <a:pt x="21" y="30"/>
                </a:lnTo>
                <a:lnTo>
                  <a:pt x="19" y="31"/>
                </a:lnTo>
                <a:lnTo>
                  <a:pt x="16" y="31"/>
                </a:lnTo>
                <a:lnTo>
                  <a:pt x="15" y="33"/>
                </a:lnTo>
                <a:lnTo>
                  <a:pt x="15" y="30"/>
                </a:lnTo>
                <a:lnTo>
                  <a:pt x="16" y="25"/>
                </a:lnTo>
                <a:lnTo>
                  <a:pt x="17" y="24"/>
                </a:lnTo>
                <a:lnTo>
                  <a:pt x="13" y="22"/>
                </a:lnTo>
                <a:lnTo>
                  <a:pt x="12" y="24"/>
                </a:lnTo>
                <a:lnTo>
                  <a:pt x="9" y="25"/>
                </a:lnTo>
                <a:lnTo>
                  <a:pt x="8" y="24"/>
                </a:lnTo>
                <a:lnTo>
                  <a:pt x="7" y="24"/>
                </a:lnTo>
                <a:lnTo>
                  <a:pt x="4" y="24"/>
                </a:lnTo>
                <a:lnTo>
                  <a:pt x="3" y="22"/>
                </a:lnTo>
                <a:lnTo>
                  <a:pt x="1" y="20"/>
                </a:lnTo>
                <a:lnTo>
                  <a:pt x="1" y="17"/>
                </a:lnTo>
                <a:lnTo>
                  <a:pt x="3" y="16"/>
                </a:lnTo>
                <a:lnTo>
                  <a:pt x="5" y="16"/>
                </a:lnTo>
                <a:lnTo>
                  <a:pt x="1" y="16"/>
                </a:lnTo>
                <a:lnTo>
                  <a:pt x="1" y="13"/>
                </a:lnTo>
                <a:lnTo>
                  <a:pt x="1" y="11"/>
                </a:lnTo>
                <a:lnTo>
                  <a:pt x="0" y="11"/>
                </a:lnTo>
                <a:lnTo>
                  <a:pt x="1" y="8"/>
                </a:lnTo>
                <a:lnTo>
                  <a:pt x="3" y="8"/>
                </a:lnTo>
                <a:lnTo>
                  <a:pt x="9" y="6"/>
                </a:lnTo>
                <a:lnTo>
                  <a:pt x="11" y="5"/>
                </a:lnTo>
                <a:lnTo>
                  <a:pt x="13" y="5"/>
                </a:lnTo>
                <a:lnTo>
                  <a:pt x="15" y="3"/>
                </a:lnTo>
                <a:lnTo>
                  <a:pt x="21" y="3"/>
                </a:lnTo>
                <a:lnTo>
                  <a:pt x="21" y="2"/>
                </a:lnTo>
                <a:lnTo>
                  <a:pt x="24" y="3"/>
                </a:lnTo>
                <a:lnTo>
                  <a:pt x="29" y="3"/>
                </a:lnTo>
                <a:lnTo>
                  <a:pt x="32" y="2"/>
                </a:lnTo>
                <a:lnTo>
                  <a:pt x="31" y="2"/>
                </a:lnTo>
                <a:lnTo>
                  <a:pt x="33" y="2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09" name="Freeform 206"/>
          <p:cNvSpPr>
            <a:spLocks/>
          </p:cNvSpPr>
          <p:nvPr/>
        </p:nvSpPr>
        <p:spPr bwMode="auto">
          <a:xfrm>
            <a:off x="5845921" y="2407117"/>
            <a:ext cx="255294" cy="266304"/>
          </a:xfrm>
          <a:custGeom>
            <a:avLst/>
            <a:gdLst/>
            <a:ahLst/>
            <a:cxnLst>
              <a:cxn ang="0">
                <a:pos x="75" y="12"/>
              </a:cxn>
              <a:cxn ang="0">
                <a:pos x="69" y="11"/>
              </a:cxn>
              <a:cxn ang="0">
                <a:pos x="63" y="9"/>
              </a:cxn>
              <a:cxn ang="0">
                <a:pos x="57" y="8"/>
              </a:cxn>
              <a:cxn ang="0">
                <a:pos x="53" y="1"/>
              </a:cxn>
              <a:cxn ang="0">
                <a:pos x="43" y="0"/>
              </a:cxn>
              <a:cxn ang="0">
                <a:pos x="44" y="6"/>
              </a:cxn>
              <a:cxn ang="0">
                <a:pos x="43" y="11"/>
              </a:cxn>
              <a:cxn ang="0">
                <a:pos x="44" y="16"/>
              </a:cxn>
              <a:cxn ang="0">
                <a:pos x="40" y="20"/>
              </a:cxn>
              <a:cxn ang="0">
                <a:pos x="39" y="27"/>
              </a:cxn>
              <a:cxn ang="0">
                <a:pos x="33" y="27"/>
              </a:cxn>
              <a:cxn ang="0">
                <a:pos x="20" y="22"/>
              </a:cxn>
              <a:cxn ang="0">
                <a:pos x="17" y="27"/>
              </a:cxn>
              <a:cxn ang="0">
                <a:pos x="23" y="31"/>
              </a:cxn>
              <a:cxn ang="0">
                <a:pos x="11" y="41"/>
              </a:cxn>
              <a:cxn ang="0">
                <a:pos x="13" y="49"/>
              </a:cxn>
              <a:cxn ang="0">
                <a:pos x="7" y="55"/>
              </a:cxn>
              <a:cxn ang="0">
                <a:pos x="1" y="58"/>
              </a:cxn>
              <a:cxn ang="0">
                <a:pos x="0" y="67"/>
              </a:cxn>
              <a:cxn ang="0">
                <a:pos x="3" y="75"/>
              </a:cxn>
              <a:cxn ang="0">
                <a:pos x="1" y="85"/>
              </a:cxn>
              <a:cxn ang="0">
                <a:pos x="4" y="89"/>
              </a:cxn>
              <a:cxn ang="0">
                <a:pos x="8" y="97"/>
              </a:cxn>
              <a:cxn ang="0">
                <a:pos x="28" y="103"/>
              </a:cxn>
              <a:cxn ang="0">
                <a:pos x="25" y="116"/>
              </a:cxn>
              <a:cxn ang="0">
                <a:pos x="24" y="130"/>
              </a:cxn>
              <a:cxn ang="0">
                <a:pos x="48" y="130"/>
              </a:cxn>
              <a:cxn ang="0">
                <a:pos x="60" y="132"/>
              </a:cxn>
              <a:cxn ang="0">
                <a:pos x="67" y="132"/>
              </a:cxn>
              <a:cxn ang="0">
                <a:pos x="78" y="133"/>
              </a:cxn>
              <a:cxn ang="0">
                <a:pos x="98" y="129"/>
              </a:cxn>
              <a:cxn ang="0">
                <a:pos x="105" y="129"/>
              </a:cxn>
              <a:cxn ang="0">
                <a:pos x="110" y="116"/>
              </a:cxn>
              <a:cxn ang="0">
                <a:pos x="117" y="110"/>
              </a:cxn>
              <a:cxn ang="0">
                <a:pos x="98" y="96"/>
              </a:cxn>
              <a:cxn ang="0">
                <a:pos x="92" y="86"/>
              </a:cxn>
              <a:cxn ang="0">
                <a:pos x="94" y="85"/>
              </a:cxn>
              <a:cxn ang="0">
                <a:pos x="110" y="77"/>
              </a:cxn>
              <a:cxn ang="0">
                <a:pos x="126" y="67"/>
              </a:cxn>
              <a:cxn ang="0">
                <a:pos x="133" y="71"/>
              </a:cxn>
              <a:cxn ang="0">
                <a:pos x="129" y="58"/>
              </a:cxn>
              <a:cxn ang="0">
                <a:pos x="128" y="45"/>
              </a:cxn>
              <a:cxn ang="0">
                <a:pos x="122" y="36"/>
              </a:cxn>
              <a:cxn ang="0">
                <a:pos x="125" y="25"/>
              </a:cxn>
              <a:cxn ang="0">
                <a:pos x="116" y="17"/>
              </a:cxn>
              <a:cxn ang="0">
                <a:pos x="108" y="11"/>
              </a:cxn>
              <a:cxn ang="0">
                <a:pos x="97" y="11"/>
              </a:cxn>
              <a:cxn ang="0">
                <a:pos x="101" y="8"/>
              </a:cxn>
              <a:cxn ang="0">
                <a:pos x="92" y="12"/>
              </a:cxn>
              <a:cxn ang="0">
                <a:pos x="81" y="16"/>
              </a:cxn>
              <a:cxn ang="0">
                <a:pos x="72" y="17"/>
              </a:cxn>
            </a:cxnLst>
            <a:rect l="0" t="0" r="r" b="b"/>
            <a:pathLst>
              <a:path w="134" h="135">
                <a:moveTo>
                  <a:pt x="72" y="17"/>
                </a:moveTo>
                <a:lnTo>
                  <a:pt x="71" y="16"/>
                </a:lnTo>
                <a:lnTo>
                  <a:pt x="72" y="14"/>
                </a:lnTo>
                <a:lnTo>
                  <a:pt x="75" y="12"/>
                </a:lnTo>
                <a:lnTo>
                  <a:pt x="76" y="12"/>
                </a:lnTo>
                <a:lnTo>
                  <a:pt x="76" y="9"/>
                </a:lnTo>
                <a:lnTo>
                  <a:pt x="75" y="9"/>
                </a:lnTo>
                <a:lnTo>
                  <a:pt x="69" y="11"/>
                </a:lnTo>
                <a:lnTo>
                  <a:pt x="68" y="11"/>
                </a:lnTo>
                <a:lnTo>
                  <a:pt x="67" y="9"/>
                </a:lnTo>
                <a:lnTo>
                  <a:pt x="64" y="8"/>
                </a:lnTo>
                <a:lnTo>
                  <a:pt x="63" y="9"/>
                </a:lnTo>
                <a:lnTo>
                  <a:pt x="61" y="9"/>
                </a:lnTo>
                <a:lnTo>
                  <a:pt x="61" y="8"/>
                </a:lnTo>
                <a:lnTo>
                  <a:pt x="59" y="8"/>
                </a:lnTo>
                <a:lnTo>
                  <a:pt x="57" y="8"/>
                </a:lnTo>
                <a:lnTo>
                  <a:pt x="59" y="6"/>
                </a:lnTo>
                <a:lnTo>
                  <a:pt x="60" y="5"/>
                </a:lnTo>
                <a:lnTo>
                  <a:pt x="57" y="1"/>
                </a:lnTo>
                <a:lnTo>
                  <a:pt x="53" y="1"/>
                </a:lnTo>
                <a:lnTo>
                  <a:pt x="52" y="1"/>
                </a:lnTo>
                <a:lnTo>
                  <a:pt x="52" y="0"/>
                </a:lnTo>
                <a:lnTo>
                  <a:pt x="49" y="1"/>
                </a:lnTo>
                <a:lnTo>
                  <a:pt x="43" y="0"/>
                </a:lnTo>
                <a:lnTo>
                  <a:pt x="41" y="0"/>
                </a:lnTo>
                <a:lnTo>
                  <a:pt x="40" y="1"/>
                </a:lnTo>
                <a:lnTo>
                  <a:pt x="43" y="5"/>
                </a:lnTo>
                <a:lnTo>
                  <a:pt x="44" y="6"/>
                </a:lnTo>
                <a:lnTo>
                  <a:pt x="45" y="8"/>
                </a:lnTo>
                <a:lnTo>
                  <a:pt x="41" y="9"/>
                </a:lnTo>
                <a:lnTo>
                  <a:pt x="40" y="11"/>
                </a:lnTo>
                <a:lnTo>
                  <a:pt x="43" y="11"/>
                </a:lnTo>
                <a:lnTo>
                  <a:pt x="43" y="12"/>
                </a:lnTo>
                <a:lnTo>
                  <a:pt x="44" y="14"/>
                </a:lnTo>
                <a:lnTo>
                  <a:pt x="45" y="14"/>
                </a:lnTo>
                <a:lnTo>
                  <a:pt x="44" y="16"/>
                </a:lnTo>
                <a:lnTo>
                  <a:pt x="43" y="17"/>
                </a:lnTo>
                <a:lnTo>
                  <a:pt x="47" y="19"/>
                </a:lnTo>
                <a:lnTo>
                  <a:pt x="40" y="19"/>
                </a:lnTo>
                <a:lnTo>
                  <a:pt x="40" y="20"/>
                </a:lnTo>
                <a:lnTo>
                  <a:pt x="39" y="22"/>
                </a:lnTo>
                <a:lnTo>
                  <a:pt x="39" y="25"/>
                </a:lnTo>
                <a:lnTo>
                  <a:pt x="40" y="28"/>
                </a:lnTo>
                <a:lnTo>
                  <a:pt x="39" y="27"/>
                </a:lnTo>
                <a:lnTo>
                  <a:pt x="37" y="25"/>
                </a:lnTo>
                <a:lnTo>
                  <a:pt x="35" y="23"/>
                </a:lnTo>
                <a:lnTo>
                  <a:pt x="35" y="27"/>
                </a:lnTo>
                <a:lnTo>
                  <a:pt x="33" y="27"/>
                </a:lnTo>
                <a:lnTo>
                  <a:pt x="32" y="23"/>
                </a:lnTo>
                <a:lnTo>
                  <a:pt x="31" y="22"/>
                </a:lnTo>
                <a:lnTo>
                  <a:pt x="27" y="22"/>
                </a:lnTo>
                <a:lnTo>
                  <a:pt x="20" y="22"/>
                </a:lnTo>
                <a:lnTo>
                  <a:pt x="19" y="23"/>
                </a:lnTo>
                <a:lnTo>
                  <a:pt x="17" y="25"/>
                </a:lnTo>
                <a:lnTo>
                  <a:pt x="16" y="27"/>
                </a:lnTo>
                <a:lnTo>
                  <a:pt x="17" y="27"/>
                </a:lnTo>
                <a:lnTo>
                  <a:pt x="20" y="27"/>
                </a:lnTo>
                <a:lnTo>
                  <a:pt x="21" y="28"/>
                </a:lnTo>
                <a:lnTo>
                  <a:pt x="23" y="30"/>
                </a:lnTo>
                <a:lnTo>
                  <a:pt x="23" y="31"/>
                </a:lnTo>
                <a:lnTo>
                  <a:pt x="21" y="28"/>
                </a:lnTo>
                <a:lnTo>
                  <a:pt x="17" y="30"/>
                </a:lnTo>
                <a:lnTo>
                  <a:pt x="15" y="39"/>
                </a:lnTo>
                <a:lnTo>
                  <a:pt x="11" y="41"/>
                </a:lnTo>
                <a:lnTo>
                  <a:pt x="11" y="42"/>
                </a:lnTo>
                <a:lnTo>
                  <a:pt x="16" y="44"/>
                </a:lnTo>
                <a:lnTo>
                  <a:pt x="16" y="47"/>
                </a:lnTo>
                <a:lnTo>
                  <a:pt x="13" y="49"/>
                </a:lnTo>
                <a:lnTo>
                  <a:pt x="11" y="50"/>
                </a:lnTo>
                <a:lnTo>
                  <a:pt x="11" y="52"/>
                </a:lnTo>
                <a:lnTo>
                  <a:pt x="9" y="53"/>
                </a:lnTo>
                <a:lnTo>
                  <a:pt x="7" y="55"/>
                </a:lnTo>
                <a:lnTo>
                  <a:pt x="3" y="53"/>
                </a:lnTo>
                <a:lnTo>
                  <a:pt x="0" y="53"/>
                </a:lnTo>
                <a:lnTo>
                  <a:pt x="0" y="55"/>
                </a:lnTo>
                <a:lnTo>
                  <a:pt x="1" y="58"/>
                </a:lnTo>
                <a:lnTo>
                  <a:pt x="1" y="60"/>
                </a:lnTo>
                <a:lnTo>
                  <a:pt x="1" y="63"/>
                </a:lnTo>
                <a:lnTo>
                  <a:pt x="1" y="66"/>
                </a:lnTo>
                <a:lnTo>
                  <a:pt x="0" y="67"/>
                </a:lnTo>
                <a:lnTo>
                  <a:pt x="0" y="69"/>
                </a:lnTo>
                <a:lnTo>
                  <a:pt x="1" y="72"/>
                </a:lnTo>
                <a:lnTo>
                  <a:pt x="1" y="74"/>
                </a:lnTo>
                <a:lnTo>
                  <a:pt x="3" y="75"/>
                </a:lnTo>
                <a:lnTo>
                  <a:pt x="3" y="77"/>
                </a:lnTo>
                <a:lnTo>
                  <a:pt x="4" y="80"/>
                </a:lnTo>
                <a:lnTo>
                  <a:pt x="4" y="81"/>
                </a:lnTo>
                <a:lnTo>
                  <a:pt x="1" y="85"/>
                </a:lnTo>
                <a:lnTo>
                  <a:pt x="4" y="85"/>
                </a:lnTo>
                <a:lnTo>
                  <a:pt x="3" y="86"/>
                </a:lnTo>
                <a:lnTo>
                  <a:pt x="3" y="88"/>
                </a:lnTo>
                <a:lnTo>
                  <a:pt x="4" y="89"/>
                </a:lnTo>
                <a:lnTo>
                  <a:pt x="5" y="91"/>
                </a:lnTo>
                <a:lnTo>
                  <a:pt x="5" y="94"/>
                </a:lnTo>
                <a:lnTo>
                  <a:pt x="4" y="96"/>
                </a:lnTo>
                <a:lnTo>
                  <a:pt x="8" y="97"/>
                </a:lnTo>
                <a:lnTo>
                  <a:pt x="9" y="99"/>
                </a:lnTo>
                <a:lnTo>
                  <a:pt x="11" y="102"/>
                </a:lnTo>
                <a:lnTo>
                  <a:pt x="16" y="102"/>
                </a:lnTo>
                <a:lnTo>
                  <a:pt x="28" y="103"/>
                </a:lnTo>
                <a:lnTo>
                  <a:pt x="32" y="105"/>
                </a:lnTo>
                <a:lnTo>
                  <a:pt x="31" y="108"/>
                </a:lnTo>
                <a:lnTo>
                  <a:pt x="25" y="113"/>
                </a:lnTo>
                <a:lnTo>
                  <a:pt x="25" y="116"/>
                </a:lnTo>
                <a:lnTo>
                  <a:pt x="23" y="121"/>
                </a:lnTo>
                <a:lnTo>
                  <a:pt x="23" y="127"/>
                </a:lnTo>
                <a:lnTo>
                  <a:pt x="23" y="129"/>
                </a:lnTo>
                <a:lnTo>
                  <a:pt x="24" y="130"/>
                </a:lnTo>
                <a:lnTo>
                  <a:pt x="25" y="130"/>
                </a:lnTo>
                <a:lnTo>
                  <a:pt x="35" y="130"/>
                </a:lnTo>
                <a:lnTo>
                  <a:pt x="43" y="129"/>
                </a:lnTo>
                <a:lnTo>
                  <a:pt x="48" y="130"/>
                </a:lnTo>
                <a:lnTo>
                  <a:pt x="52" y="132"/>
                </a:lnTo>
                <a:lnTo>
                  <a:pt x="56" y="130"/>
                </a:lnTo>
                <a:lnTo>
                  <a:pt x="59" y="130"/>
                </a:lnTo>
                <a:lnTo>
                  <a:pt x="60" y="132"/>
                </a:lnTo>
                <a:lnTo>
                  <a:pt x="61" y="133"/>
                </a:lnTo>
                <a:lnTo>
                  <a:pt x="64" y="135"/>
                </a:lnTo>
                <a:lnTo>
                  <a:pt x="67" y="133"/>
                </a:lnTo>
                <a:lnTo>
                  <a:pt x="67" y="132"/>
                </a:lnTo>
                <a:lnTo>
                  <a:pt x="69" y="130"/>
                </a:lnTo>
                <a:lnTo>
                  <a:pt x="72" y="130"/>
                </a:lnTo>
                <a:lnTo>
                  <a:pt x="76" y="133"/>
                </a:lnTo>
                <a:lnTo>
                  <a:pt x="78" y="133"/>
                </a:lnTo>
                <a:lnTo>
                  <a:pt x="84" y="130"/>
                </a:lnTo>
                <a:lnTo>
                  <a:pt x="93" y="129"/>
                </a:lnTo>
                <a:lnTo>
                  <a:pt x="94" y="129"/>
                </a:lnTo>
                <a:lnTo>
                  <a:pt x="98" y="129"/>
                </a:lnTo>
                <a:lnTo>
                  <a:pt x="102" y="129"/>
                </a:lnTo>
                <a:lnTo>
                  <a:pt x="102" y="130"/>
                </a:lnTo>
                <a:lnTo>
                  <a:pt x="105" y="130"/>
                </a:lnTo>
                <a:lnTo>
                  <a:pt x="105" y="129"/>
                </a:lnTo>
                <a:lnTo>
                  <a:pt x="104" y="124"/>
                </a:lnTo>
                <a:lnTo>
                  <a:pt x="102" y="121"/>
                </a:lnTo>
                <a:lnTo>
                  <a:pt x="104" y="119"/>
                </a:lnTo>
                <a:lnTo>
                  <a:pt x="110" y="116"/>
                </a:lnTo>
                <a:lnTo>
                  <a:pt x="112" y="114"/>
                </a:lnTo>
                <a:lnTo>
                  <a:pt x="112" y="113"/>
                </a:lnTo>
                <a:lnTo>
                  <a:pt x="117" y="111"/>
                </a:lnTo>
                <a:lnTo>
                  <a:pt x="117" y="110"/>
                </a:lnTo>
                <a:lnTo>
                  <a:pt x="116" y="108"/>
                </a:lnTo>
                <a:lnTo>
                  <a:pt x="109" y="103"/>
                </a:lnTo>
                <a:lnTo>
                  <a:pt x="106" y="100"/>
                </a:lnTo>
                <a:lnTo>
                  <a:pt x="98" y="96"/>
                </a:lnTo>
                <a:lnTo>
                  <a:pt x="96" y="94"/>
                </a:lnTo>
                <a:lnTo>
                  <a:pt x="96" y="89"/>
                </a:lnTo>
                <a:lnTo>
                  <a:pt x="96" y="88"/>
                </a:lnTo>
                <a:lnTo>
                  <a:pt x="92" y="86"/>
                </a:lnTo>
                <a:lnTo>
                  <a:pt x="89" y="85"/>
                </a:lnTo>
                <a:lnTo>
                  <a:pt x="89" y="81"/>
                </a:lnTo>
                <a:lnTo>
                  <a:pt x="90" y="81"/>
                </a:lnTo>
                <a:lnTo>
                  <a:pt x="94" y="85"/>
                </a:lnTo>
                <a:lnTo>
                  <a:pt x="96" y="81"/>
                </a:lnTo>
                <a:lnTo>
                  <a:pt x="101" y="80"/>
                </a:lnTo>
                <a:lnTo>
                  <a:pt x="105" y="78"/>
                </a:lnTo>
                <a:lnTo>
                  <a:pt x="110" y="77"/>
                </a:lnTo>
                <a:lnTo>
                  <a:pt x="112" y="75"/>
                </a:lnTo>
                <a:lnTo>
                  <a:pt x="122" y="72"/>
                </a:lnTo>
                <a:lnTo>
                  <a:pt x="124" y="67"/>
                </a:lnTo>
                <a:lnTo>
                  <a:pt x="126" y="67"/>
                </a:lnTo>
                <a:lnTo>
                  <a:pt x="128" y="71"/>
                </a:lnTo>
                <a:lnTo>
                  <a:pt x="130" y="72"/>
                </a:lnTo>
                <a:lnTo>
                  <a:pt x="132" y="72"/>
                </a:lnTo>
                <a:lnTo>
                  <a:pt x="133" y="71"/>
                </a:lnTo>
                <a:lnTo>
                  <a:pt x="133" y="67"/>
                </a:lnTo>
                <a:lnTo>
                  <a:pt x="134" y="63"/>
                </a:lnTo>
                <a:lnTo>
                  <a:pt x="133" y="61"/>
                </a:lnTo>
                <a:lnTo>
                  <a:pt x="129" y="58"/>
                </a:lnTo>
                <a:lnTo>
                  <a:pt x="129" y="53"/>
                </a:lnTo>
                <a:lnTo>
                  <a:pt x="129" y="52"/>
                </a:lnTo>
                <a:lnTo>
                  <a:pt x="129" y="47"/>
                </a:lnTo>
                <a:lnTo>
                  <a:pt x="128" y="45"/>
                </a:lnTo>
                <a:lnTo>
                  <a:pt x="128" y="41"/>
                </a:lnTo>
                <a:lnTo>
                  <a:pt x="126" y="39"/>
                </a:lnTo>
                <a:lnTo>
                  <a:pt x="122" y="38"/>
                </a:lnTo>
                <a:lnTo>
                  <a:pt x="122" y="36"/>
                </a:lnTo>
                <a:lnTo>
                  <a:pt x="124" y="33"/>
                </a:lnTo>
                <a:lnTo>
                  <a:pt x="125" y="31"/>
                </a:lnTo>
                <a:lnTo>
                  <a:pt x="125" y="28"/>
                </a:lnTo>
                <a:lnTo>
                  <a:pt x="125" y="25"/>
                </a:lnTo>
                <a:lnTo>
                  <a:pt x="124" y="22"/>
                </a:lnTo>
                <a:lnTo>
                  <a:pt x="122" y="20"/>
                </a:lnTo>
                <a:lnTo>
                  <a:pt x="117" y="19"/>
                </a:lnTo>
                <a:lnTo>
                  <a:pt x="116" y="17"/>
                </a:lnTo>
                <a:lnTo>
                  <a:pt x="113" y="14"/>
                </a:lnTo>
                <a:lnTo>
                  <a:pt x="110" y="14"/>
                </a:lnTo>
                <a:lnTo>
                  <a:pt x="109" y="12"/>
                </a:lnTo>
                <a:lnTo>
                  <a:pt x="108" y="11"/>
                </a:lnTo>
                <a:lnTo>
                  <a:pt x="105" y="11"/>
                </a:lnTo>
                <a:lnTo>
                  <a:pt x="104" y="9"/>
                </a:lnTo>
                <a:lnTo>
                  <a:pt x="100" y="9"/>
                </a:lnTo>
                <a:lnTo>
                  <a:pt x="97" y="11"/>
                </a:lnTo>
                <a:lnTo>
                  <a:pt x="96" y="11"/>
                </a:lnTo>
                <a:lnTo>
                  <a:pt x="97" y="11"/>
                </a:lnTo>
                <a:lnTo>
                  <a:pt x="98" y="9"/>
                </a:lnTo>
                <a:lnTo>
                  <a:pt x="101" y="8"/>
                </a:lnTo>
                <a:lnTo>
                  <a:pt x="98" y="8"/>
                </a:lnTo>
                <a:lnTo>
                  <a:pt x="97" y="8"/>
                </a:lnTo>
                <a:lnTo>
                  <a:pt x="93" y="11"/>
                </a:lnTo>
                <a:lnTo>
                  <a:pt x="92" y="12"/>
                </a:lnTo>
                <a:lnTo>
                  <a:pt x="90" y="14"/>
                </a:lnTo>
                <a:lnTo>
                  <a:pt x="90" y="12"/>
                </a:lnTo>
                <a:lnTo>
                  <a:pt x="85" y="14"/>
                </a:lnTo>
                <a:lnTo>
                  <a:pt x="81" y="16"/>
                </a:lnTo>
                <a:lnTo>
                  <a:pt x="81" y="17"/>
                </a:lnTo>
                <a:lnTo>
                  <a:pt x="80" y="17"/>
                </a:lnTo>
                <a:lnTo>
                  <a:pt x="76" y="16"/>
                </a:lnTo>
                <a:lnTo>
                  <a:pt x="72" y="17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10" name="Freeform 207"/>
          <p:cNvSpPr>
            <a:spLocks/>
          </p:cNvSpPr>
          <p:nvPr/>
        </p:nvSpPr>
        <p:spPr bwMode="auto">
          <a:xfrm>
            <a:off x="5845921" y="2407117"/>
            <a:ext cx="255294" cy="266304"/>
          </a:xfrm>
          <a:custGeom>
            <a:avLst/>
            <a:gdLst/>
            <a:ahLst/>
            <a:cxnLst>
              <a:cxn ang="0">
                <a:pos x="75" y="12"/>
              </a:cxn>
              <a:cxn ang="0">
                <a:pos x="69" y="11"/>
              </a:cxn>
              <a:cxn ang="0">
                <a:pos x="63" y="9"/>
              </a:cxn>
              <a:cxn ang="0">
                <a:pos x="57" y="8"/>
              </a:cxn>
              <a:cxn ang="0">
                <a:pos x="53" y="1"/>
              </a:cxn>
              <a:cxn ang="0">
                <a:pos x="43" y="0"/>
              </a:cxn>
              <a:cxn ang="0">
                <a:pos x="44" y="6"/>
              </a:cxn>
              <a:cxn ang="0">
                <a:pos x="43" y="11"/>
              </a:cxn>
              <a:cxn ang="0">
                <a:pos x="44" y="16"/>
              </a:cxn>
              <a:cxn ang="0">
                <a:pos x="40" y="20"/>
              </a:cxn>
              <a:cxn ang="0">
                <a:pos x="39" y="27"/>
              </a:cxn>
              <a:cxn ang="0">
                <a:pos x="33" y="27"/>
              </a:cxn>
              <a:cxn ang="0">
                <a:pos x="20" y="22"/>
              </a:cxn>
              <a:cxn ang="0">
                <a:pos x="17" y="27"/>
              </a:cxn>
              <a:cxn ang="0">
                <a:pos x="23" y="31"/>
              </a:cxn>
              <a:cxn ang="0">
                <a:pos x="11" y="41"/>
              </a:cxn>
              <a:cxn ang="0">
                <a:pos x="13" y="49"/>
              </a:cxn>
              <a:cxn ang="0">
                <a:pos x="7" y="55"/>
              </a:cxn>
              <a:cxn ang="0">
                <a:pos x="1" y="58"/>
              </a:cxn>
              <a:cxn ang="0">
                <a:pos x="0" y="67"/>
              </a:cxn>
              <a:cxn ang="0">
                <a:pos x="3" y="75"/>
              </a:cxn>
              <a:cxn ang="0">
                <a:pos x="1" y="85"/>
              </a:cxn>
              <a:cxn ang="0">
                <a:pos x="4" y="89"/>
              </a:cxn>
              <a:cxn ang="0">
                <a:pos x="8" y="97"/>
              </a:cxn>
              <a:cxn ang="0">
                <a:pos x="28" y="103"/>
              </a:cxn>
              <a:cxn ang="0">
                <a:pos x="25" y="116"/>
              </a:cxn>
              <a:cxn ang="0">
                <a:pos x="24" y="130"/>
              </a:cxn>
              <a:cxn ang="0">
                <a:pos x="48" y="130"/>
              </a:cxn>
              <a:cxn ang="0">
                <a:pos x="60" y="132"/>
              </a:cxn>
              <a:cxn ang="0">
                <a:pos x="67" y="132"/>
              </a:cxn>
              <a:cxn ang="0">
                <a:pos x="78" y="133"/>
              </a:cxn>
              <a:cxn ang="0">
                <a:pos x="98" y="129"/>
              </a:cxn>
              <a:cxn ang="0">
                <a:pos x="105" y="129"/>
              </a:cxn>
              <a:cxn ang="0">
                <a:pos x="110" y="116"/>
              </a:cxn>
              <a:cxn ang="0">
                <a:pos x="117" y="110"/>
              </a:cxn>
              <a:cxn ang="0">
                <a:pos x="98" y="96"/>
              </a:cxn>
              <a:cxn ang="0">
                <a:pos x="92" y="86"/>
              </a:cxn>
              <a:cxn ang="0">
                <a:pos x="94" y="85"/>
              </a:cxn>
              <a:cxn ang="0">
                <a:pos x="110" y="77"/>
              </a:cxn>
              <a:cxn ang="0">
                <a:pos x="126" y="67"/>
              </a:cxn>
              <a:cxn ang="0">
                <a:pos x="133" y="71"/>
              </a:cxn>
              <a:cxn ang="0">
                <a:pos x="129" y="58"/>
              </a:cxn>
              <a:cxn ang="0">
                <a:pos x="128" y="45"/>
              </a:cxn>
              <a:cxn ang="0">
                <a:pos x="122" y="36"/>
              </a:cxn>
              <a:cxn ang="0">
                <a:pos x="125" y="25"/>
              </a:cxn>
              <a:cxn ang="0">
                <a:pos x="116" y="17"/>
              </a:cxn>
              <a:cxn ang="0">
                <a:pos x="108" y="11"/>
              </a:cxn>
              <a:cxn ang="0">
                <a:pos x="97" y="11"/>
              </a:cxn>
              <a:cxn ang="0">
                <a:pos x="101" y="8"/>
              </a:cxn>
            </a:cxnLst>
            <a:rect l="0" t="0" r="r" b="b"/>
            <a:pathLst>
              <a:path w="134" h="135">
                <a:moveTo>
                  <a:pt x="72" y="17"/>
                </a:moveTo>
                <a:lnTo>
                  <a:pt x="71" y="16"/>
                </a:lnTo>
                <a:lnTo>
                  <a:pt x="72" y="14"/>
                </a:lnTo>
                <a:lnTo>
                  <a:pt x="75" y="12"/>
                </a:lnTo>
                <a:lnTo>
                  <a:pt x="76" y="12"/>
                </a:lnTo>
                <a:lnTo>
                  <a:pt x="76" y="9"/>
                </a:lnTo>
                <a:lnTo>
                  <a:pt x="75" y="9"/>
                </a:lnTo>
                <a:lnTo>
                  <a:pt x="69" y="11"/>
                </a:lnTo>
                <a:lnTo>
                  <a:pt x="68" y="11"/>
                </a:lnTo>
                <a:lnTo>
                  <a:pt x="67" y="9"/>
                </a:lnTo>
                <a:lnTo>
                  <a:pt x="64" y="8"/>
                </a:lnTo>
                <a:lnTo>
                  <a:pt x="63" y="9"/>
                </a:lnTo>
                <a:lnTo>
                  <a:pt x="61" y="9"/>
                </a:lnTo>
                <a:lnTo>
                  <a:pt x="61" y="8"/>
                </a:lnTo>
                <a:lnTo>
                  <a:pt x="59" y="8"/>
                </a:lnTo>
                <a:lnTo>
                  <a:pt x="57" y="8"/>
                </a:lnTo>
                <a:lnTo>
                  <a:pt x="59" y="6"/>
                </a:lnTo>
                <a:lnTo>
                  <a:pt x="60" y="5"/>
                </a:lnTo>
                <a:lnTo>
                  <a:pt x="57" y="1"/>
                </a:lnTo>
                <a:lnTo>
                  <a:pt x="53" y="1"/>
                </a:lnTo>
                <a:lnTo>
                  <a:pt x="52" y="1"/>
                </a:lnTo>
                <a:lnTo>
                  <a:pt x="52" y="0"/>
                </a:lnTo>
                <a:lnTo>
                  <a:pt x="49" y="1"/>
                </a:lnTo>
                <a:lnTo>
                  <a:pt x="43" y="0"/>
                </a:lnTo>
                <a:lnTo>
                  <a:pt x="41" y="0"/>
                </a:lnTo>
                <a:lnTo>
                  <a:pt x="40" y="1"/>
                </a:lnTo>
                <a:lnTo>
                  <a:pt x="43" y="5"/>
                </a:lnTo>
                <a:lnTo>
                  <a:pt x="44" y="6"/>
                </a:lnTo>
                <a:lnTo>
                  <a:pt x="45" y="8"/>
                </a:lnTo>
                <a:lnTo>
                  <a:pt x="41" y="9"/>
                </a:lnTo>
                <a:lnTo>
                  <a:pt x="40" y="11"/>
                </a:lnTo>
                <a:lnTo>
                  <a:pt x="43" y="11"/>
                </a:lnTo>
                <a:lnTo>
                  <a:pt x="43" y="12"/>
                </a:lnTo>
                <a:lnTo>
                  <a:pt x="44" y="14"/>
                </a:lnTo>
                <a:lnTo>
                  <a:pt x="45" y="14"/>
                </a:lnTo>
                <a:lnTo>
                  <a:pt x="44" y="16"/>
                </a:lnTo>
                <a:lnTo>
                  <a:pt x="43" y="17"/>
                </a:lnTo>
                <a:lnTo>
                  <a:pt x="47" y="19"/>
                </a:lnTo>
                <a:lnTo>
                  <a:pt x="40" y="19"/>
                </a:lnTo>
                <a:lnTo>
                  <a:pt x="40" y="20"/>
                </a:lnTo>
                <a:lnTo>
                  <a:pt x="39" y="22"/>
                </a:lnTo>
                <a:lnTo>
                  <a:pt x="39" y="25"/>
                </a:lnTo>
                <a:lnTo>
                  <a:pt x="40" y="28"/>
                </a:lnTo>
                <a:lnTo>
                  <a:pt x="39" y="27"/>
                </a:lnTo>
                <a:lnTo>
                  <a:pt x="37" y="25"/>
                </a:lnTo>
                <a:lnTo>
                  <a:pt x="35" y="23"/>
                </a:lnTo>
                <a:lnTo>
                  <a:pt x="35" y="27"/>
                </a:lnTo>
                <a:lnTo>
                  <a:pt x="33" y="27"/>
                </a:lnTo>
                <a:lnTo>
                  <a:pt x="32" y="23"/>
                </a:lnTo>
                <a:lnTo>
                  <a:pt x="31" y="22"/>
                </a:lnTo>
                <a:lnTo>
                  <a:pt x="27" y="22"/>
                </a:lnTo>
                <a:lnTo>
                  <a:pt x="20" y="22"/>
                </a:lnTo>
                <a:lnTo>
                  <a:pt x="19" y="23"/>
                </a:lnTo>
                <a:lnTo>
                  <a:pt x="17" y="25"/>
                </a:lnTo>
                <a:lnTo>
                  <a:pt x="16" y="27"/>
                </a:lnTo>
                <a:lnTo>
                  <a:pt x="17" y="27"/>
                </a:lnTo>
                <a:lnTo>
                  <a:pt x="20" y="27"/>
                </a:lnTo>
                <a:lnTo>
                  <a:pt x="21" y="28"/>
                </a:lnTo>
                <a:lnTo>
                  <a:pt x="23" y="30"/>
                </a:lnTo>
                <a:lnTo>
                  <a:pt x="23" y="31"/>
                </a:lnTo>
                <a:lnTo>
                  <a:pt x="21" y="28"/>
                </a:lnTo>
                <a:lnTo>
                  <a:pt x="17" y="30"/>
                </a:lnTo>
                <a:lnTo>
                  <a:pt x="15" y="39"/>
                </a:lnTo>
                <a:lnTo>
                  <a:pt x="11" y="41"/>
                </a:lnTo>
                <a:lnTo>
                  <a:pt x="11" y="42"/>
                </a:lnTo>
                <a:lnTo>
                  <a:pt x="16" y="44"/>
                </a:lnTo>
                <a:lnTo>
                  <a:pt x="16" y="47"/>
                </a:lnTo>
                <a:lnTo>
                  <a:pt x="13" y="49"/>
                </a:lnTo>
                <a:lnTo>
                  <a:pt x="11" y="50"/>
                </a:lnTo>
                <a:lnTo>
                  <a:pt x="11" y="52"/>
                </a:lnTo>
                <a:lnTo>
                  <a:pt x="9" y="53"/>
                </a:lnTo>
                <a:lnTo>
                  <a:pt x="7" y="55"/>
                </a:lnTo>
                <a:lnTo>
                  <a:pt x="3" y="53"/>
                </a:lnTo>
                <a:lnTo>
                  <a:pt x="0" y="53"/>
                </a:lnTo>
                <a:lnTo>
                  <a:pt x="0" y="55"/>
                </a:lnTo>
                <a:lnTo>
                  <a:pt x="1" y="58"/>
                </a:lnTo>
                <a:lnTo>
                  <a:pt x="1" y="60"/>
                </a:lnTo>
                <a:lnTo>
                  <a:pt x="1" y="63"/>
                </a:lnTo>
                <a:lnTo>
                  <a:pt x="1" y="66"/>
                </a:lnTo>
                <a:lnTo>
                  <a:pt x="0" y="67"/>
                </a:lnTo>
                <a:lnTo>
                  <a:pt x="0" y="69"/>
                </a:lnTo>
                <a:lnTo>
                  <a:pt x="1" y="72"/>
                </a:lnTo>
                <a:lnTo>
                  <a:pt x="1" y="74"/>
                </a:lnTo>
                <a:lnTo>
                  <a:pt x="3" y="75"/>
                </a:lnTo>
                <a:lnTo>
                  <a:pt x="3" y="77"/>
                </a:lnTo>
                <a:lnTo>
                  <a:pt x="4" y="80"/>
                </a:lnTo>
                <a:lnTo>
                  <a:pt x="4" y="81"/>
                </a:lnTo>
                <a:lnTo>
                  <a:pt x="1" y="85"/>
                </a:lnTo>
                <a:lnTo>
                  <a:pt x="4" y="85"/>
                </a:lnTo>
                <a:lnTo>
                  <a:pt x="3" y="86"/>
                </a:lnTo>
                <a:lnTo>
                  <a:pt x="3" y="88"/>
                </a:lnTo>
                <a:lnTo>
                  <a:pt x="4" y="89"/>
                </a:lnTo>
                <a:lnTo>
                  <a:pt x="5" y="91"/>
                </a:lnTo>
                <a:lnTo>
                  <a:pt x="5" y="94"/>
                </a:lnTo>
                <a:lnTo>
                  <a:pt x="4" y="96"/>
                </a:lnTo>
                <a:lnTo>
                  <a:pt x="8" y="97"/>
                </a:lnTo>
                <a:lnTo>
                  <a:pt x="9" y="99"/>
                </a:lnTo>
                <a:lnTo>
                  <a:pt x="11" y="102"/>
                </a:lnTo>
                <a:lnTo>
                  <a:pt x="16" y="102"/>
                </a:lnTo>
                <a:lnTo>
                  <a:pt x="28" y="103"/>
                </a:lnTo>
                <a:lnTo>
                  <a:pt x="32" y="105"/>
                </a:lnTo>
                <a:lnTo>
                  <a:pt x="31" y="108"/>
                </a:lnTo>
                <a:lnTo>
                  <a:pt x="25" y="113"/>
                </a:lnTo>
                <a:lnTo>
                  <a:pt x="25" y="116"/>
                </a:lnTo>
                <a:lnTo>
                  <a:pt x="23" y="121"/>
                </a:lnTo>
                <a:lnTo>
                  <a:pt x="23" y="127"/>
                </a:lnTo>
                <a:lnTo>
                  <a:pt x="23" y="129"/>
                </a:lnTo>
                <a:lnTo>
                  <a:pt x="24" y="130"/>
                </a:lnTo>
                <a:lnTo>
                  <a:pt x="25" y="130"/>
                </a:lnTo>
                <a:lnTo>
                  <a:pt x="35" y="130"/>
                </a:lnTo>
                <a:lnTo>
                  <a:pt x="43" y="129"/>
                </a:lnTo>
                <a:lnTo>
                  <a:pt x="48" y="130"/>
                </a:lnTo>
                <a:lnTo>
                  <a:pt x="52" y="132"/>
                </a:lnTo>
                <a:lnTo>
                  <a:pt x="56" y="130"/>
                </a:lnTo>
                <a:lnTo>
                  <a:pt x="59" y="130"/>
                </a:lnTo>
                <a:lnTo>
                  <a:pt x="60" y="132"/>
                </a:lnTo>
                <a:lnTo>
                  <a:pt x="61" y="133"/>
                </a:lnTo>
                <a:lnTo>
                  <a:pt x="64" y="135"/>
                </a:lnTo>
                <a:lnTo>
                  <a:pt x="67" y="133"/>
                </a:lnTo>
                <a:lnTo>
                  <a:pt x="67" y="132"/>
                </a:lnTo>
                <a:lnTo>
                  <a:pt x="69" y="130"/>
                </a:lnTo>
                <a:lnTo>
                  <a:pt x="72" y="130"/>
                </a:lnTo>
                <a:lnTo>
                  <a:pt x="76" y="133"/>
                </a:lnTo>
                <a:lnTo>
                  <a:pt x="78" y="133"/>
                </a:lnTo>
                <a:lnTo>
                  <a:pt x="84" y="130"/>
                </a:lnTo>
                <a:lnTo>
                  <a:pt x="93" y="129"/>
                </a:lnTo>
                <a:lnTo>
                  <a:pt x="94" y="129"/>
                </a:lnTo>
                <a:lnTo>
                  <a:pt x="98" y="129"/>
                </a:lnTo>
                <a:lnTo>
                  <a:pt x="102" y="129"/>
                </a:lnTo>
                <a:lnTo>
                  <a:pt x="102" y="130"/>
                </a:lnTo>
                <a:lnTo>
                  <a:pt x="105" y="130"/>
                </a:lnTo>
                <a:lnTo>
                  <a:pt x="105" y="129"/>
                </a:lnTo>
                <a:lnTo>
                  <a:pt x="104" y="124"/>
                </a:lnTo>
                <a:lnTo>
                  <a:pt x="102" y="121"/>
                </a:lnTo>
                <a:lnTo>
                  <a:pt x="104" y="119"/>
                </a:lnTo>
                <a:lnTo>
                  <a:pt x="110" y="116"/>
                </a:lnTo>
                <a:lnTo>
                  <a:pt x="112" y="114"/>
                </a:lnTo>
                <a:lnTo>
                  <a:pt x="112" y="113"/>
                </a:lnTo>
                <a:lnTo>
                  <a:pt x="117" y="111"/>
                </a:lnTo>
                <a:lnTo>
                  <a:pt x="117" y="110"/>
                </a:lnTo>
                <a:lnTo>
                  <a:pt x="116" y="108"/>
                </a:lnTo>
                <a:lnTo>
                  <a:pt x="109" y="103"/>
                </a:lnTo>
                <a:lnTo>
                  <a:pt x="106" y="100"/>
                </a:lnTo>
                <a:lnTo>
                  <a:pt x="98" y="96"/>
                </a:lnTo>
                <a:lnTo>
                  <a:pt x="96" y="94"/>
                </a:lnTo>
                <a:lnTo>
                  <a:pt x="96" y="89"/>
                </a:lnTo>
                <a:lnTo>
                  <a:pt x="96" y="88"/>
                </a:lnTo>
                <a:lnTo>
                  <a:pt x="92" y="86"/>
                </a:lnTo>
                <a:lnTo>
                  <a:pt x="89" y="85"/>
                </a:lnTo>
                <a:lnTo>
                  <a:pt x="89" y="81"/>
                </a:lnTo>
                <a:lnTo>
                  <a:pt x="90" y="81"/>
                </a:lnTo>
                <a:lnTo>
                  <a:pt x="94" y="85"/>
                </a:lnTo>
                <a:lnTo>
                  <a:pt x="96" y="81"/>
                </a:lnTo>
                <a:lnTo>
                  <a:pt x="101" y="80"/>
                </a:lnTo>
                <a:lnTo>
                  <a:pt x="105" y="78"/>
                </a:lnTo>
                <a:lnTo>
                  <a:pt x="110" y="77"/>
                </a:lnTo>
                <a:lnTo>
                  <a:pt x="112" y="75"/>
                </a:lnTo>
                <a:lnTo>
                  <a:pt x="122" y="72"/>
                </a:lnTo>
                <a:lnTo>
                  <a:pt x="124" y="67"/>
                </a:lnTo>
                <a:lnTo>
                  <a:pt x="126" y="67"/>
                </a:lnTo>
                <a:lnTo>
                  <a:pt x="128" y="71"/>
                </a:lnTo>
                <a:lnTo>
                  <a:pt x="130" y="72"/>
                </a:lnTo>
                <a:lnTo>
                  <a:pt x="132" y="72"/>
                </a:lnTo>
                <a:lnTo>
                  <a:pt x="133" y="71"/>
                </a:lnTo>
                <a:lnTo>
                  <a:pt x="133" y="67"/>
                </a:lnTo>
                <a:lnTo>
                  <a:pt x="134" y="63"/>
                </a:lnTo>
                <a:lnTo>
                  <a:pt x="133" y="61"/>
                </a:lnTo>
                <a:lnTo>
                  <a:pt x="129" y="58"/>
                </a:lnTo>
                <a:lnTo>
                  <a:pt x="129" y="53"/>
                </a:lnTo>
                <a:lnTo>
                  <a:pt x="129" y="52"/>
                </a:lnTo>
                <a:lnTo>
                  <a:pt x="129" y="47"/>
                </a:lnTo>
                <a:lnTo>
                  <a:pt x="128" y="45"/>
                </a:lnTo>
                <a:lnTo>
                  <a:pt x="128" y="41"/>
                </a:lnTo>
                <a:lnTo>
                  <a:pt x="126" y="39"/>
                </a:lnTo>
                <a:lnTo>
                  <a:pt x="122" y="38"/>
                </a:lnTo>
                <a:lnTo>
                  <a:pt x="122" y="36"/>
                </a:lnTo>
                <a:lnTo>
                  <a:pt x="124" y="33"/>
                </a:lnTo>
                <a:lnTo>
                  <a:pt x="125" y="31"/>
                </a:lnTo>
                <a:lnTo>
                  <a:pt x="125" y="28"/>
                </a:lnTo>
                <a:lnTo>
                  <a:pt x="125" y="25"/>
                </a:lnTo>
                <a:lnTo>
                  <a:pt x="124" y="22"/>
                </a:lnTo>
                <a:lnTo>
                  <a:pt x="122" y="20"/>
                </a:lnTo>
                <a:lnTo>
                  <a:pt x="117" y="19"/>
                </a:lnTo>
                <a:lnTo>
                  <a:pt x="116" y="17"/>
                </a:lnTo>
                <a:lnTo>
                  <a:pt x="113" y="14"/>
                </a:lnTo>
                <a:lnTo>
                  <a:pt x="110" y="14"/>
                </a:lnTo>
                <a:lnTo>
                  <a:pt x="109" y="12"/>
                </a:lnTo>
                <a:lnTo>
                  <a:pt x="108" y="11"/>
                </a:lnTo>
                <a:lnTo>
                  <a:pt x="105" y="11"/>
                </a:lnTo>
                <a:lnTo>
                  <a:pt x="104" y="9"/>
                </a:lnTo>
                <a:lnTo>
                  <a:pt x="100" y="9"/>
                </a:lnTo>
                <a:lnTo>
                  <a:pt x="97" y="11"/>
                </a:lnTo>
                <a:lnTo>
                  <a:pt x="96" y="11"/>
                </a:lnTo>
                <a:lnTo>
                  <a:pt x="97" y="11"/>
                </a:lnTo>
                <a:lnTo>
                  <a:pt x="98" y="9"/>
                </a:lnTo>
                <a:lnTo>
                  <a:pt x="101" y="8"/>
                </a:lnTo>
                <a:lnTo>
                  <a:pt x="98" y="8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11" name="Freeform 208"/>
          <p:cNvSpPr>
            <a:spLocks/>
          </p:cNvSpPr>
          <p:nvPr/>
        </p:nvSpPr>
        <p:spPr bwMode="auto">
          <a:xfrm>
            <a:off x="5982340" y="2422150"/>
            <a:ext cx="48719" cy="19329"/>
          </a:xfrm>
          <a:custGeom>
            <a:avLst/>
            <a:gdLst/>
            <a:ahLst/>
            <a:cxnLst>
              <a:cxn ang="0">
                <a:pos x="26" y="0"/>
              </a:cxn>
              <a:cxn ang="0">
                <a:pos x="25" y="0"/>
              </a:cxn>
              <a:cxn ang="0">
                <a:pos x="21" y="3"/>
              </a:cxn>
              <a:cxn ang="0">
                <a:pos x="20" y="4"/>
              </a:cxn>
              <a:cxn ang="0">
                <a:pos x="18" y="6"/>
              </a:cxn>
              <a:cxn ang="0">
                <a:pos x="18" y="4"/>
              </a:cxn>
              <a:cxn ang="0">
                <a:pos x="13" y="6"/>
              </a:cxn>
              <a:cxn ang="0">
                <a:pos x="9" y="8"/>
              </a:cxn>
              <a:cxn ang="0">
                <a:pos x="9" y="9"/>
              </a:cxn>
              <a:cxn ang="0">
                <a:pos x="8" y="9"/>
              </a:cxn>
              <a:cxn ang="0">
                <a:pos x="4" y="8"/>
              </a:cxn>
              <a:cxn ang="0">
                <a:pos x="0" y="9"/>
              </a:cxn>
            </a:cxnLst>
            <a:rect l="0" t="0" r="r" b="b"/>
            <a:pathLst>
              <a:path w="26" h="9">
                <a:moveTo>
                  <a:pt x="26" y="0"/>
                </a:moveTo>
                <a:lnTo>
                  <a:pt x="25" y="0"/>
                </a:lnTo>
                <a:lnTo>
                  <a:pt x="21" y="3"/>
                </a:lnTo>
                <a:lnTo>
                  <a:pt x="20" y="4"/>
                </a:lnTo>
                <a:lnTo>
                  <a:pt x="18" y="6"/>
                </a:lnTo>
                <a:lnTo>
                  <a:pt x="18" y="4"/>
                </a:lnTo>
                <a:lnTo>
                  <a:pt x="13" y="6"/>
                </a:lnTo>
                <a:lnTo>
                  <a:pt x="9" y="8"/>
                </a:lnTo>
                <a:lnTo>
                  <a:pt x="9" y="9"/>
                </a:lnTo>
                <a:lnTo>
                  <a:pt x="8" y="9"/>
                </a:lnTo>
                <a:lnTo>
                  <a:pt x="4" y="8"/>
                </a:lnTo>
                <a:lnTo>
                  <a:pt x="0" y="9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12" name="Freeform 209"/>
          <p:cNvSpPr>
            <a:spLocks/>
          </p:cNvSpPr>
          <p:nvPr/>
        </p:nvSpPr>
        <p:spPr bwMode="auto">
          <a:xfrm>
            <a:off x="6046649" y="2415709"/>
            <a:ext cx="15591" cy="12885"/>
          </a:xfrm>
          <a:custGeom>
            <a:avLst/>
            <a:gdLst/>
            <a:ahLst/>
            <a:cxnLst>
              <a:cxn ang="0">
                <a:pos x="8" y="3"/>
              </a:cxn>
              <a:cxn ang="0">
                <a:pos x="8" y="4"/>
              </a:cxn>
              <a:cxn ang="0">
                <a:pos x="8" y="6"/>
              </a:cxn>
              <a:cxn ang="0">
                <a:pos x="7" y="6"/>
              </a:cxn>
              <a:cxn ang="0">
                <a:pos x="6" y="6"/>
              </a:cxn>
              <a:cxn ang="0">
                <a:pos x="4" y="6"/>
              </a:cxn>
              <a:cxn ang="0">
                <a:pos x="3" y="6"/>
              </a:cxn>
              <a:cxn ang="0">
                <a:pos x="0" y="4"/>
              </a:cxn>
              <a:cxn ang="0">
                <a:pos x="2" y="4"/>
              </a:cxn>
              <a:cxn ang="0">
                <a:pos x="2" y="3"/>
              </a:cxn>
              <a:cxn ang="0">
                <a:pos x="0" y="1"/>
              </a:cxn>
              <a:cxn ang="0">
                <a:pos x="2" y="1"/>
              </a:cxn>
              <a:cxn ang="0">
                <a:pos x="6" y="3"/>
              </a:cxn>
              <a:cxn ang="0">
                <a:pos x="6" y="1"/>
              </a:cxn>
              <a:cxn ang="0">
                <a:pos x="3" y="1"/>
              </a:cxn>
              <a:cxn ang="0">
                <a:pos x="3" y="0"/>
              </a:cxn>
              <a:cxn ang="0">
                <a:pos x="4" y="0"/>
              </a:cxn>
              <a:cxn ang="0">
                <a:pos x="4" y="1"/>
              </a:cxn>
              <a:cxn ang="0">
                <a:pos x="7" y="1"/>
              </a:cxn>
              <a:cxn ang="0">
                <a:pos x="8" y="1"/>
              </a:cxn>
              <a:cxn ang="0">
                <a:pos x="8" y="3"/>
              </a:cxn>
            </a:cxnLst>
            <a:rect l="0" t="0" r="r" b="b"/>
            <a:pathLst>
              <a:path w="8" h="6">
                <a:moveTo>
                  <a:pt x="8" y="3"/>
                </a:moveTo>
                <a:lnTo>
                  <a:pt x="8" y="4"/>
                </a:lnTo>
                <a:lnTo>
                  <a:pt x="8" y="6"/>
                </a:lnTo>
                <a:lnTo>
                  <a:pt x="7" y="6"/>
                </a:lnTo>
                <a:lnTo>
                  <a:pt x="6" y="6"/>
                </a:lnTo>
                <a:lnTo>
                  <a:pt x="4" y="6"/>
                </a:lnTo>
                <a:lnTo>
                  <a:pt x="3" y="6"/>
                </a:lnTo>
                <a:lnTo>
                  <a:pt x="0" y="4"/>
                </a:lnTo>
                <a:lnTo>
                  <a:pt x="2" y="4"/>
                </a:lnTo>
                <a:lnTo>
                  <a:pt x="2" y="3"/>
                </a:lnTo>
                <a:lnTo>
                  <a:pt x="0" y="1"/>
                </a:lnTo>
                <a:lnTo>
                  <a:pt x="2" y="1"/>
                </a:lnTo>
                <a:lnTo>
                  <a:pt x="6" y="3"/>
                </a:lnTo>
                <a:lnTo>
                  <a:pt x="6" y="1"/>
                </a:lnTo>
                <a:lnTo>
                  <a:pt x="3" y="1"/>
                </a:lnTo>
                <a:lnTo>
                  <a:pt x="3" y="0"/>
                </a:lnTo>
                <a:lnTo>
                  <a:pt x="4" y="0"/>
                </a:lnTo>
                <a:lnTo>
                  <a:pt x="4" y="1"/>
                </a:lnTo>
                <a:lnTo>
                  <a:pt x="7" y="1"/>
                </a:lnTo>
                <a:lnTo>
                  <a:pt x="8" y="1"/>
                </a:lnTo>
                <a:lnTo>
                  <a:pt x="8" y="3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13" name="Freeform 210"/>
          <p:cNvSpPr>
            <a:spLocks/>
          </p:cNvSpPr>
          <p:nvPr/>
        </p:nvSpPr>
        <p:spPr bwMode="auto">
          <a:xfrm>
            <a:off x="6046649" y="2415709"/>
            <a:ext cx="15591" cy="12885"/>
          </a:xfrm>
          <a:custGeom>
            <a:avLst/>
            <a:gdLst/>
            <a:ahLst/>
            <a:cxnLst>
              <a:cxn ang="0">
                <a:pos x="8" y="3"/>
              </a:cxn>
              <a:cxn ang="0">
                <a:pos x="8" y="4"/>
              </a:cxn>
              <a:cxn ang="0">
                <a:pos x="8" y="6"/>
              </a:cxn>
              <a:cxn ang="0">
                <a:pos x="7" y="6"/>
              </a:cxn>
              <a:cxn ang="0">
                <a:pos x="6" y="6"/>
              </a:cxn>
              <a:cxn ang="0">
                <a:pos x="4" y="6"/>
              </a:cxn>
              <a:cxn ang="0">
                <a:pos x="3" y="6"/>
              </a:cxn>
              <a:cxn ang="0">
                <a:pos x="0" y="4"/>
              </a:cxn>
              <a:cxn ang="0">
                <a:pos x="2" y="4"/>
              </a:cxn>
              <a:cxn ang="0">
                <a:pos x="2" y="3"/>
              </a:cxn>
              <a:cxn ang="0">
                <a:pos x="0" y="1"/>
              </a:cxn>
              <a:cxn ang="0">
                <a:pos x="2" y="1"/>
              </a:cxn>
              <a:cxn ang="0">
                <a:pos x="6" y="3"/>
              </a:cxn>
              <a:cxn ang="0">
                <a:pos x="6" y="1"/>
              </a:cxn>
              <a:cxn ang="0">
                <a:pos x="3" y="1"/>
              </a:cxn>
              <a:cxn ang="0">
                <a:pos x="3" y="0"/>
              </a:cxn>
              <a:cxn ang="0">
                <a:pos x="4" y="0"/>
              </a:cxn>
              <a:cxn ang="0">
                <a:pos x="4" y="1"/>
              </a:cxn>
              <a:cxn ang="0">
                <a:pos x="7" y="1"/>
              </a:cxn>
              <a:cxn ang="0">
                <a:pos x="8" y="1"/>
              </a:cxn>
              <a:cxn ang="0">
                <a:pos x="8" y="3"/>
              </a:cxn>
            </a:cxnLst>
            <a:rect l="0" t="0" r="r" b="b"/>
            <a:pathLst>
              <a:path w="8" h="6">
                <a:moveTo>
                  <a:pt x="8" y="3"/>
                </a:moveTo>
                <a:lnTo>
                  <a:pt x="8" y="4"/>
                </a:lnTo>
                <a:lnTo>
                  <a:pt x="8" y="6"/>
                </a:lnTo>
                <a:lnTo>
                  <a:pt x="7" y="6"/>
                </a:lnTo>
                <a:lnTo>
                  <a:pt x="6" y="6"/>
                </a:lnTo>
                <a:lnTo>
                  <a:pt x="4" y="6"/>
                </a:lnTo>
                <a:lnTo>
                  <a:pt x="3" y="6"/>
                </a:lnTo>
                <a:lnTo>
                  <a:pt x="0" y="4"/>
                </a:lnTo>
                <a:lnTo>
                  <a:pt x="2" y="4"/>
                </a:lnTo>
                <a:lnTo>
                  <a:pt x="2" y="3"/>
                </a:lnTo>
                <a:lnTo>
                  <a:pt x="0" y="1"/>
                </a:lnTo>
                <a:lnTo>
                  <a:pt x="2" y="1"/>
                </a:lnTo>
                <a:lnTo>
                  <a:pt x="6" y="3"/>
                </a:lnTo>
                <a:lnTo>
                  <a:pt x="6" y="1"/>
                </a:lnTo>
                <a:lnTo>
                  <a:pt x="3" y="1"/>
                </a:lnTo>
                <a:lnTo>
                  <a:pt x="3" y="0"/>
                </a:lnTo>
                <a:lnTo>
                  <a:pt x="4" y="0"/>
                </a:lnTo>
                <a:lnTo>
                  <a:pt x="4" y="1"/>
                </a:lnTo>
                <a:lnTo>
                  <a:pt x="7" y="1"/>
                </a:lnTo>
                <a:lnTo>
                  <a:pt x="8" y="1"/>
                </a:lnTo>
                <a:lnTo>
                  <a:pt x="8" y="3"/>
                </a:lnTo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14" name="Freeform 211"/>
          <p:cNvSpPr>
            <a:spLocks/>
          </p:cNvSpPr>
          <p:nvPr/>
        </p:nvSpPr>
        <p:spPr bwMode="auto">
          <a:xfrm>
            <a:off x="3863977" y="3730045"/>
            <a:ext cx="5847" cy="4295"/>
          </a:xfrm>
          <a:custGeom>
            <a:avLst/>
            <a:gdLst/>
            <a:ahLst/>
            <a:cxnLst>
              <a:cxn ang="0">
                <a:pos x="3" y="0"/>
              </a:cxn>
              <a:cxn ang="0">
                <a:pos x="0" y="0"/>
              </a:cxn>
              <a:cxn ang="0">
                <a:pos x="1" y="2"/>
              </a:cxn>
              <a:cxn ang="0">
                <a:pos x="3" y="2"/>
              </a:cxn>
              <a:cxn ang="0">
                <a:pos x="3" y="0"/>
              </a:cxn>
            </a:cxnLst>
            <a:rect l="0" t="0" r="r" b="b"/>
            <a:pathLst>
              <a:path w="3" h="2">
                <a:moveTo>
                  <a:pt x="3" y="0"/>
                </a:moveTo>
                <a:lnTo>
                  <a:pt x="0" y="0"/>
                </a:lnTo>
                <a:lnTo>
                  <a:pt x="1" y="2"/>
                </a:lnTo>
                <a:lnTo>
                  <a:pt x="3" y="2"/>
                </a:lnTo>
                <a:lnTo>
                  <a:pt x="3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15" name="Freeform 212"/>
          <p:cNvSpPr>
            <a:spLocks/>
          </p:cNvSpPr>
          <p:nvPr/>
        </p:nvSpPr>
        <p:spPr bwMode="auto">
          <a:xfrm>
            <a:off x="3863977" y="3730045"/>
            <a:ext cx="5847" cy="4295"/>
          </a:xfrm>
          <a:custGeom>
            <a:avLst/>
            <a:gdLst/>
            <a:ahLst/>
            <a:cxnLst>
              <a:cxn ang="0">
                <a:pos x="3" y="0"/>
              </a:cxn>
              <a:cxn ang="0">
                <a:pos x="0" y="0"/>
              </a:cxn>
              <a:cxn ang="0">
                <a:pos x="1" y="2"/>
              </a:cxn>
              <a:cxn ang="0">
                <a:pos x="3" y="2"/>
              </a:cxn>
              <a:cxn ang="0">
                <a:pos x="3" y="0"/>
              </a:cxn>
            </a:cxnLst>
            <a:rect l="0" t="0" r="r" b="b"/>
            <a:pathLst>
              <a:path w="3" h="2">
                <a:moveTo>
                  <a:pt x="3" y="0"/>
                </a:moveTo>
                <a:lnTo>
                  <a:pt x="0" y="0"/>
                </a:lnTo>
                <a:lnTo>
                  <a:pt x="1" y="2"/>
                </a:lnTo>
                <a:lnTo>
                  <a:pt x="3" y="2"/>
                </a:lnTo>
                <a:lnTo>
                  <a:pt x="3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16" name="Freeform 213"/>
          <p:cNvSpPr>
            <a:spLocks/>
          </p:cNvSpPr>
          <p:nvPr/>
        </p:nvSpPr>
        <p:spPr bwMode="auto">
          <a:xfrm>
            <a:off x="3920493" y="3848163"/>
            <a:ext cx="3898" cy="1288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6"/>
              </a:cxn>
              <a:cxn ang="0">
                <a:pos x="2" y="6"/>
              </a:cxn>
              <a:cxn ang="0">
                <a:pos x="3" y="5"/>
              </a:cxn>
              <a:cxn ang="0">
                <a:pos x="3" y="3"/>
              </a:cxn>
              <a:cxn ang="0">
                <a:pos x="2" y="1"/>
              </a:cxn>
              <a:cxn ang="0">
                <a:pos x="2" y="0"/>
              </a:cxn>
            </a:cxnLst>
            <a:rect l="0" t="0" r="r" b="b"/>
            <a:pathLst>
              <a:path w="3" h="6">
                <a:moveTo>
                  <a:pt x="2" y="0"/>
                </a:moveTo>
                <a:lnTo>
                  <a:pt x="0" y="6"/>
                </a:lnTo>
                <a:lnTo>
                  <a:pt x="2" y="6"/>
                </a:lnTo>
                <a:lnTo>
                  <a:pt x="3" y="5"/>
                </a:lnTo>
                <a:lnTo>
                  <a:pt x="3" y="3"/>
                </a:lnTo>
                <a:lnTo>
                  <a:pt x="2" y="1"/>
                </a:lnTo>
                <a:lnTo>
                  <a:pt x="2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17" name="Freeform 214"/>
          <p:cNvSpPr>
            <a:spLocks/>
          </p:cNvSpPr>
          <p:nvPr/>
        </p:nvSpPr>
        <p:spPr bwMode="auto">
          <a:xfrm>
            <a:off x="3920493" y="3848163"/>
            <a:ext cx="3898" cy="1288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6"/>
              </a:cxn>
              <a:cxn ang="0">
                <a:pos x="2" y="6"/>
              </a:cxn>
              <a:cxn ang="0">
                <a:pos x="3" y="5"/>
              </a:cxn>
              <a:cxn ang="0">
                <a:pos x="3" y="3"/>
              </a:cxn>
              <a:cxn ang="0">
                <a:pos x="2" y="1"/>
              </a:cxn>
              <a:cxn ang="0">
                <a:pos x="2" y="0"/>
              </a:cxn>
            </a:cxnLst>
            <a:rect l="0" t="0" r="r" b="b"/>
            <a:pathLst>
              <a:path w="3" h="6">
                <a:moveTo>
                  <a:pt x="2" y="0"/>
                </a:moveTo>
                <a:lnTo>
                  <a:pt x="0" y="6"/>
                </a:lnTo>
                <a:lnTo>
                  <a:pt x="2" y="6"/>
                </a:lnTo>
                <a:lnTo>
                  <a:pt x="3" y="5"/>
                </a:lnTo>
                <a:lnTo>
                  <a:pt x="3" y="3"/>
                </a:lnTo>
                <a:lnTo>
                  <a:pt x="2" y="1"/>
                </a:lnTo>
                <a:lnTo>
                  <a:pt x="2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18" name="Freeform 215"/>
          <p:cNvSpPr>
            <a:spLocks/>
          </p:cNvSpPr>
          <p:nvPr/>
        </p:nvSpPr>
        <p:spPr bwMode="auto">
          <a:xfrm>
            <a:off x="6025212" y="4157417"/>
            <a:ext cx="549566" cy="655020"/>
          </a:xfrm>
          <a:custGeom>
            <a:avLst/>
            <a:gdLst/>
            <a:ahLst/>
            <a:cxnLst>
              <a:cxn ang="0">
                <a:pos x="264" y="219"/>
              </a:cxn>
              <a:cxn ang="0">
                <a:pos x="258" y="200"/>
              </a:cxn>
              <a:cxn ang="0">
                <a:pos x="257" y="173"/>
              </a:cxn>
              <a:cxn ang="0">
                <a:pos x="257" y="161"/>
              </a:cxn>
              <a:cxn ang="0">
                <a:pos x="256" y="142"/>
              </a:cxn>
              <a:cxn ang="0">
                <a:pos x="257" y="129"/>
              </a:cxn>
              <a:cxn ang="0">
                <a:pos x="265" y="101"/>
              </a:cxn>
              <a:cxn ang="0">
                <a:pos x="273" y="77"/>
              </a:cxn>
              <a:cxn ang="0">
                <a:pos x="282" y="65"/>
              </a:cxn>
              <a:cxn ang="0">
                <a:pos x="286" y="54"/>
              </a:cxn>
              <a:cxn ang="0">
                <a:pos x="281" y="33"/>
              </a:cxn>
              <a:cxn ang="0">
                <a:pos x="277" y="25"/>
              </a:cxn>
              <a:cxn ang="0">
                <a:pos x="257" y="16"/>
              </a:cxn>
              <a:cxn ang="0">
                <a:pos x="238" y="11"/>
              </a:cxn>
              <a:cxn ang="0">
                <a:pos x="221" y="5"/>
              </a:cxn>
              <a:cxn ang="0">
                <a:pos x="203" y="3"/>
              </a:cxn>
              <a:cxn ang="0">
                <a:pos x="188" y="5"/>
              </a:cxn>
              <a:cxn ang="0">
                <a:pos x="173" y="10"/>
              </a:cxn>
              <a:cxn ang="0">
                <a:pos x="156" y="16"/>
              </a:cxn>
              <a:cxn ang="0">
                <a:pos x="128" y="14"/>
              </a:cxn>
              <a:cxn ang="0">
                <a:pos x="113" y="2"/>
              </a:cxn>
              <a:cxn ang="0">
                <a:pos x="100" y="14"/>
              </a:cxn>
              <a:cxn ang="0">
                <a:pos x="97" y="33"/>
              </a:cxn>
              <a:cxn ang="0">
                <a:pos x="84" y="96"/>
              </a:cxn>
              <a:cxn ang="0">
                <a:pos x="68" y="120"/>
              </a:cxn>
              <a:cxn ang="0">
                <a:pos x="59" y="157"/>
              </a:cxn>
              <a:cxn ang="0">
                <a:pos x="35" y="181"/>
              </a:cxn>
              <a:cxn ang="0">
                <a:pos x="23" y="175"/>
              </a:cxn>
              <a:cxn ang="0">
                <a:pos x="8" y="181"/>
              </a:cxn>
              <a:cxn ang="0">
                <a:pos x="2" y="198"/>
              </a:cxn>
              <a:cxn ang="0">
                <a:pos x="2" y="204"/>
              </a:cxn>
              <a:cxn ang="0">
                <a:pos x="18" y="198"/>
              </a:cxn>
              <a:cxn ang="0">
                <a:pos x="40" y="198"/>
              </a:cxn>
              <a:cxn ang="0">
                <a:pos x="62" y="198"/>
              </a:cxn>
              <a:cxn ang="0">
                <a:pos x="67" y="209"/>
              </a:cxn>
              <a:cxn ang="0">
                <a:pos x="75" y="228"/>
              </a:cxn>
              <a:cxn ang="0">
                <a:pos x="96" y="236"/>
              </a:cxn>
              <a:cxn ang="0">
                <a:pos x="108" y="228"/>
              </a:cxn>
              <a:cxn ang="0">
                <a:pos x="121" y="219"/>
              </a:cxn>
              <a:cxn ang="0">
                <a:pos x="144" y="228"/>
              </a:cxn>
              <a:cxn ang="0">
                <a:pos x="145" y="255"/>
              </a:cxn>
              <a:cxn ang="0">
                <a:pos x="149" y="277"/>
              </a:cxn>
              <a:cxn ang="0">
                <a:pos x="147" y="292"/>
              </a:cxn>
              <a:cxn ang="0">
                <a:pos x="153" y="291"/>
              </a:cxn>
              <a:cxn ang="0">
                <a:pos x="177" y="288"/>
              </a:cxn>
              <a:cxn ang="0">
                <a:pos x="184" y="289"/>
              </a:cxn>
              <a:cxn ang="0">
                <a:pos x="191" y="294"/>
              </a:cxn>
              <a:cxn ang="0">
                <a:pos x="199" y="299"/>
              </a:cxn>
              <a:cxn ang="0">
                <a:pos x="217" y="305"/>
              </a:cxn>
              <a:cxn ang="0">
                <a:pos x="233" y="311"/>
              </a:cxn>
              <a:cxn ang="0">
                <a:pos x="244" y="321"/>
              </a:cxn>
              <a:cxn ang="0">
                <a:pos x="260" y="329"/>
              </a:cxn>
              <a:cxn ang="0">
                <a:pos x="265" y="330"/>
              </a:cxn>
              <a:cxn ang="0">
                <a:pos x="262" y="311"/>
              </a:cxn>
              <a:cxn ang="0">
                <a:pos x="248" y="307"/>
              </a:cxn>
              <a:cxn ang="0">
                <a:pos x="248" y="294"/>
              </a:cxn>
              <a:cxn ang="0">
                <a:pos x="249" y="261"/>
              </a:cxn>
              <a:cxn ang="0">
                <a:pos x="254" y="247"/>
              </a:cxn>
            </a:cxnLst>
            <a:rect l="0" t="0" r="r" b="b"/>
            <a:pathLst>
              <a:path w="288" h="330">
                <a:moveTo>
                  <a:pt x="276" y="241"/>
                </a:moveTo>
                <a:lnTo>
                  <a:pt x="274" y="228"/>
                </a:lnTo>
                <a:lnTo>
                  <a:pt x="272" y="225"/>
                </a:lnTo>
                <a:lnTo>
                  <a:pt x="268" y="223"/>
                </a:lnTo>
                <a:lnTo>
                  <a:pt x="264" y="219"/>
                </a:lnTo>
                <a:lnTo>
                  <a:pt x="262" y="217"/>
                </a:lnTo>
                <a:lnTo>
                  <a:pt x="261" y="211"/>
                </a:lnTo>
                <a:lnTo>
                  <a:pt x="258" y="209"/>
                </a:lnTo>
                <a:lnTo>
                  <a:pt x="258" y="203"/>
                </a:lnTo>
                <a:lnTo>
                  <a:pt x="258" y="200"/>
                </a:lnTo>
                <a:lnTo>
                  <a:pt x="258" y="195"/>
                </a:lnTo>
                <a:lnTo>
                  <a:pt x="257" y="190"/>
                </a:lnTo>
                <a:lnTo>
                  <a:pt x="256" y="186"/>
                </a:lnTo>
                <a:lnTo>
                  <a:pt x="256" y="179"/>
                </a:lnTo>
                <a:lnTo>
                  <a:pt x="257" y="173"/>
                </a:lnTo>
                <a:lnTo>
                  <a:pt x="257" y="170"/>
                </a:lnTo>
                <a:lnTo>
                  <a:pt x="256" y="170"/>
                </a:lnTo>
                <a:lnTo>
                  <a:pt x="256" y="168"/>
                </a:lnTo>
                <a:lnTo>
                  <a:pt x="256" y="165"/>
                </a:lnTo>
                <a:lnTo>
                  <a:pt x="257" y="161"/>
                </a:lnTo>
                <a:lnTo>
                  <a:pt x="257" y="156"/>
                </a:lnTo>
                <a:lnTo>
                  <a:pt x="258" y="154"/>
                </a:lnTo>
                <a:lnTo>
                  <a:pt x="257" y="146"/>
                </a:lnTo>
                <a:lnTo>
                  <a:pt x="257" y="145"/>
                </a:lnTo>
                <a:lnTo>
                  <a:pt x="256" y="142"/>
                </a:lnTo>
                <a:lnTo>
                  <a:pt x="254" y="140"/>
                </a:lnTo>
                <a:lnTo>
                  <a:pt x="253" y="139"/>
                </a:lnTo>
                <a:lnTo>
                  <a:pt x="253" y="137"/>
                </a:lnTo>
                <a:lnTo>
                  <a:pt x="257" y="132"/>
                </a:lnTo>
                <a:lnTo>
                  <a:pt x="257" y="129"/>
                </a:lnTo>
                <a:lnTo>
                  <a:pt x="260" y="124"/>
                </a:lnTo>
                <a:lnTo>
                  <a:pt x="261" y="120"/>
                </a:lnTo>
                <a:lnTo>
                  <a:pt x="264" y="118"/>
                </a:lnTo>
                <a:lnTo>
                  <a:pt x="264" y="110"/>
                </a:lnTo>
                <a:lnTo>
                  <a:pt x="265" y="101"/>
                </a:lnTo>
                <a:lnTo>
                  <a:pt x="265" y="96"/>
                </a:lnTo>
                <a:lnTo>
                  <a:pt x="268" y="87"/>
                </a:lnTo>
                <a:lnTo>
                  <a:pt x="269" y="84"/>
                </a:lnTo>
                <a:lnTo>
                  <a:pt x="270" y="82"/>
                </a:lnTo>
                <a:lnTo>
                  <a:pt x="273" y="77"/>
                </a:lnTo>
                <a:lnTo>
                  <a:pt x="276" y="73"/>
                </a:lnTo>
                <a:lnTo>
                  <a:pt x="278" y="71"/>
                </a:lnTo>
                <a:lnTo>
                  <a:pt x="278" y="69"/>
                </a:lnTo>
                <a:lnTo>
                  <a:pt x="280" y="66"/>
                </a:lnTo>
                <a:lnTo>
                  <a:pt x="282" y="65"/>
                </a:lnTo>
                <a:lnTo>
                  <a:pt x="284" y="63"/>
                </a:lnTo>
                <a:lnTo>
                  <a:pt x="286" y="60"/>
                </a:lnTo>
                <a:lnTo>
                  <a:pt x="288" y="57"/>
                </a:lnTo>
                <a:lnTo>
                  <a:pt x="288" y="55"/>
                </a:lnTo>
                <a:lnTo>
                  <a:pt x="286" y="54"/>
                </a:lnTo>
                <a:lnTo>
                  <a:pt x="285" y="52"/>
                </a:lnTo>
                <a:lnTo>
                  <a:pt x="282" y="51"/>
                </a:lnTo>
                <a:lnTo>
                  <a:pt x="281" y="47"/>
                </a:lnTo>
                <a:lnTo>
                  <a:pt x="281" y="40"/>
                </a:lnTo>
                <a:lnTo>
                  <a:pt x="281" y="33"/>
                </a:lnTo>
                <a:lnTo>
                  <a:pt x="282" y="32"/>
                </a:lnTo>
                <a:lnTo>
                  <a:pt x="282" y="30"/>
                </a:lnTo>
                <a:lnTo>
                  <a:pt x="281" y="30"/>
                </a:lnTo>
                <a:lnTo>
                  <a:pt x="278" y="29"/>
                </a:lnTo>
                <a:lnTo>
                  <a:pt x="277" y="25"/>
                </a:lnTo>
                <a:lnTo>
                  <a:pt x="273" y="22"/>
                </a:lnTo>
                <a:lnTo>
                  <a:pt x="266" y="14"/>
                </a:lnTo>
                <a:lnTo>
                  <a:pt x="264" y="11"/>
                </a:lnTo>
                <a:lnTo>
                  <a:pt x="260" y="16"/>
                </a:lnTo>
                <a:lnTo>
                  <a:pt x="257" y="16"/>
                </a:lnTo>
                <a:lnTo>
                  <a:pt x="249" y="14"/>
                </a:lnTo>
                <a:lnTo>
                  <a:pt x="248" y="16"/>
                </a:lnTo>
                <a:lnTo>
                  <a:pt x="245" y="18"/>
                </a:lnTo>
                <a:lnTo>
                  <a:pt x="240" y="14"/>
                </a:lnTo>
                <a:lnTo>
                  <a:pt x="238" y="11"/>
                </a:lnTo>
                <a:lnTo>
                  <a:pt x="236" y="8"/>
                </a:lnTo>
                <a:lnTo>
                  <a:pt x="233" y="5"/>
                </a:lnTo>
                <a:lnTo>
                  <a:pt x="232" y="2"/>
                </a:lnTo>
                <a:lnTo>
                  <a:pt x="224" y="2"/>
                </a:lnTo>
                <a:lnTo>
                  <a:pt x="221" y="5"/>
                </a:lnTo>
                <a:lnTo>
                  <a:pt x="218" y="3"/>
                </a:lnTo>
                <a:lnTo>
                  <a:pt x="216" y="5"/>
                </a:lnTo>
                <a:lnTo>
                  <a:pt x="213" y="0"/>
                </a:lnTo>
                <a:lnTo>
                  <a:pt x="208" y="2"/>
                </a:lnTo>
                <a:lnTo>
                  <a:pt x="203" y="3"/>
                </a:lnTo>
                <a:lnTo>
                  <a:pt x="196" y="2"/>
                </a:lnTo>
                <a:lnTo>
                  <a:pt x="196" y="5"/>
                </a:lnTo>
                <a:lnTo>
                  <a:pt x="192" y="5"/>
                </a:lnTo>
                <a:lnTo>
                  <a:pt x="191" y="7"/>
                </a:lnTo>
                <a:lnTo>
                  <a:pt x="188" y="5"/>
                </a:lnTo>
                <a:lnTo>
                  <a:pt x="188" y="3"/>
                </a:lnTo>
                <a:lnTo>
                  <a:pt x="187" y="3"/>
                </a:lnTo>
                <a:lnTo>
                  <a:pt x="184" y="5"/>
                </a:lnTo>
                <a:lnTo>
                  <a:pt x="176" y="7"/>
                </a:lnTo>
                <a:lnTo>
                  <a:pt x="173" y="10"/>
                </a:lnTo>
                <a:lnTo>
                  <a:pt x="168" y="11"/>
                </a:lnTo>
                <a:lnTo>
                  <a:pt x="165" y="10"/>
                </a:lnTo>
                <a:lnTo>
                  <a:pt x="161" y="8"/>
                </a:lnTo>
                <a:lnTo>
                  <a:pt x="157" y="11"/>
                </a:lnTo>
                <a:lnTo>
                  <a:pt x="156" y="16"/>
                </a:lnTo>
                <a:lnTo>
                  <a:pt x="155" y="18"/>
                </a:lnTo>
                <a:lnTo>
                  <a:pt x="140" y="18"/>
                </a:lnTo>
                <a:lnTo>
                  <a:pt x="135" y="16"/>
                </a:lnTo>
                <a:lnTo>
                  <a:pt x="131" y="13"/>
                </a:lnTo>
                <a:lnTo>
                  <a:pt x="128" y="14"/>
                </a:lnTo>
                <a:lnTo>
                  <a:pt x="127" y="14"/>
                </a:lnTo>
                <a:lnTo>
                  <a:pt x="121" y="8"/>
                </a:lnTo>
                <a:lnTo>
                  <a:pt x="120" y="5"/>
                </a:lnTo>
                <a:lnTo>
                  <a:pt x="117" y="2"/>
                </a:lnTo>
                <a:lnTo>
                  <a:pt x="113" y="2"/>
                </a:lnTo>
                <a:lnTo>
                  <a:pt x="109" y="2"/>
                </a:lnTo>
                <a:lnTo>
                  <a:pt x="105" y="5"/>
                </a:lnTo>
                <a:lnTo>
                  <a:pt x="104" y="8"/>
                </a:lnTo>
                <a:lnTo>
                  <a:pt x="103" y="13"/>
                </a:lnTo>
                <a:lnTo>
                  <a:pt x="100" y="14"/>
                </a:lnTo>
                <a:lnTo>
                  <a:pt x="100" y="19"/>
                </a:lnTo>
                <a:lnTo>
                  <a:pt x="99" y="25"/>
                </a:lnTo>
                <a:lnTo>
                  <a:pt x="100" y="27"/>
                </a:lnTo>
                <a:lnTo>
                  <a:pt x="96" y="29"/>
                </a:lnTo>
                <a:lnTo>
                  <a:pt x="97" y="33"/>
                </a:lnTo>
                <a:lnTo>
                  <a:pt x="96" y="40"/>
                </a:lnTo>
                <a:lnTo>
                  <a:pt x="91" y="52"/>
                </a:lnTo>
                <a:lnTo>
                  <a:pt x="88" y="60"/>
                </a:lnTo>
                <a:lnTo>
                  <a:pt x="86" y="74"/>
                </a:lnTo>
                <a:lnTo>
                  <a:pt x="84" y="96"/>
                </a:lnTo>
                <a:lnTo>
                  <a:pt x="83" y="106"/>
                </a:lnTo>
                <a:lnTo>
                  <a:pt x="83" y="107"/>
                </a:lnTo>
                <a:lnTo>
                  <a:pt x="79" y="112"/>
                </a:lnTo>
                <a:lnTo>
                  <a:pt x="74" y="115"/>
                </a:lnTo>
                <a:lnTo>
                  <a:pt x="68" y="120"/>
                </a:lnTo>
                <a:lnTo>
                  <a:pt x="62" y="132"/>
                </a:lnTo>
                <a:lnTo>
                  <a:pt x="60" y="139"/>
                </a:lnTo>
                <a:lnTo>
                  <a:pt x="59" y="145"/>
                </a:lnTo>
                <a:lnTo>
                  <a:pt x="59" y="151"/>
                </a:lnTo>
                <a:lnTo>
                  <a:pt x="59" y="157"/>
                </a:lnTo>
                <a:lnTo>
                  <a:pt x="55" y="164"/>
                </a:lnTo>
                <a:lnTo>
                  <a:pt x="51" y="168"/>
                </a:lnTo>
                <a:lnTo>
                  <a:pt x="47" y="172"/>
                </a:lnTo>
                <a:lnTo>
                  <a:pt x="40" y="178"/>
                </a:lnTo>
                <a:lnTo>
                  <a:pt x="35" y="181"/>
                </a:lnTo>
                <a:lnTo>
                  <a:pt x="32" y="179"/>
                </a:lnTo>
                <a:lnTo>
                  <a:pt x="31" y="173"/>
                </a:lnTo>
                <a:lnTo>
                  <a:pt x="31" y="172"/>
                </a:lnTo>
                <a:lnTo>
                  <a:pt x="27" y="173"/>
                </a:lnTo>
                <a:lnTo>
                  <a:pt x="23" y="175"/>
                </a:lnTo>
                <a:lnTo>
                  <a:pt x="22" y="176"/>
                </a:lnTo>
                <a:lnTo>
                  <a:pt x="19" y="179"/>
                </a:lnTo>
                <a:lnTo>
                  <a:pt x="16" y="181"/>
                </a:lnTo>
                <a:lnTo>
                  <a:pt x="11" y="178"/>
                </a:lnTo>
                <a:lnTo>
                  <a:pt x="8" y="181"/>
                </a:lnTo>
                <a:lnTo>
                  <a:pt x="6" y="184"/>
                </a:lnTo>
                <a:lnTo>
                  <a:pt x="4" y="189"/>
                </a:lnTo>
                <a:lnTo>
                  <a:pt x="4" y="194"/>
                </a:lnTo>
                <a:lnTo>
                  <a:pt x="4" y="197"/>
                </a:lnTo>
                <a:lnTo>
                  <a:pt x="2" y="198"/>
                </a:lnTo>
                <a:lnTo>
                  <a:pt x="2" y="200"/>
                </a:lnTo>
                <a:lnTo>
                  <a:pt x="2" y="203"/>
                </a:lnTo>
                <a:lnTo>
                  <a:pt x="0" y="204"/>
                </a:lnTo>
                <a:lnTo>
                  <a:pt x="2" y="206"/>
                </a:lnTo>
                <a:lnTo>
                  <a:pt x="2" y="204"/>
                </a:lnTo>
                <a:lnTo>
                  <a:pt x="3" y="204"/>
                </a:lnTo>
                <a:lnTo>
                  <a:pt x="8" y="203"/>
                </a:lnTo>
                <a:lnTo>
                  <a:pt x="12" y="200"/>
                </a:lnTo>
                <a:lnTo>
                  <a:pt x="16" y="198"/>
                </a:lnTo>
                <a:lnTo>
                  <a:pt x="18" y="198"/>
                </a:lnTo>
                <a:lnTo>
                  <a:pt x="20" y="198"/>
                </a:lnTo>
                <a:lnTo>
                  <a:pt x="27" y="198"/>
                </a:lnTo>
                <a:lnTo>
                  <a:pt x="32" y="198"/>
                </a:lnTo>
                <a:lnTo>
                  <a:pt x="35" y="198"/>
                </a:lnTo>
                <a:lnTo>
                  <a:pt x="40" y="198"/>
                </a:lnTo>
                <a:lnTo>
                  <a:pt x="43" y="198"/>
                </a:lnTo>
                <a:lnTo>
                  <a:pt x="47" y="198"/>
                </a:lnTo>
                <a:lnTo>
                  <a:pt x="56" y="197"/>
                </a:lnTo>
                <a:lnTo>
                  <a:pt x="60" y="198"/>
                </a:lnTo>
                <a:lnTo>
                  <a:pt x="62" y="198"/>
                </a:lnTo>
                <a:lnTo>
                  <a:pt x="63" y="201"/>
                </a:lnTo>
                <a:lnTo>
                  <a:pt x="64" y="201"/>
                </a:lnTo>
                <a:lnTo>
                  <a:pt x="64" y="200"/>
                </a:lnTo>
                <a:lnTo>
                  <a:pt x="66" y="203"/>
                </a:lnTo>
                <a:lnTo>
                  <a:pt x="67" y="209"/>
                </a:lnTo>
                <a:lnTo>
                  <a:pt x="68" y="214"/>
                </a:lnTo>
                <a:lnTo>
                  <a:pt x="68" y="215"/>
                </a:lnTo>
                <a:lnTo>
                  <a:pt x="70" y="219"/>
                </a:lnTo>
                <a:lnTo>
                  <a:pt x="71" y="225"/>
                </a:lnTo>
                <a:lnTo>
                  <a:pt x="75" y="228"/>
                </a:lnTo>
                <a:lnTo>
                  <a:pt x="80" y="237"/>
                </a:lnTo>
                <a:lnTo>
                  <a:pt x="84" y="239"/>
                </a:lnTo>
                <a:lnTo>
                  <a:pt x="87" y="239"/>
                </a:lnTo>
                <a:lnTo>
                  <a:pt x="94" y="237"/>
                </a:lnTo>
                <a:lnTo>
                  <a:pt x="96" y="236"/>
                </a:lnTo>
                <a:lnTo>
                  <a:pt x="101" y="236"/>
                </a:lnTo>
                <a:lnTo>
                  <a:pt x="107" y="236"/>
                </a:lnTo>
                <a:lnTo>
                  <a:pt x="108" y="231"/>
                </a:lnTo>
                <a:lnTo>
                  <a:pt x="108" y="230"/>
                </a:lnTo>
                <a:lnTo>
                  <a:pt x="108" y="228"/>
                </a:lnTo>
                <a:lnTo>
                  <a:pt x="109" y="226"/>
                </a:lnTo>
                <a:lnTo>
                  <a:pt x="109" y="225"/>
                </a:lnTo>
                <a:lnTo>
                  <a:pt x="109" y="222"/>
                </a:lnTo>
                <a:lnTo>
                  <a:pt x="111" y="219"/>
                </a:lnTo>
                <a:lnTo>
                  <a:pt x="121" y="219"/>
                </a:lnTo>
                <a:lnTo>
                  <a:pt x="123" y="217"/>
                </a:lnTo>
                <a:lnTo>
                  <a:pt x="129" y="217"/>
                </a:lnTo>
                <a:lnTo>
                  <a:pt x="128" y="223"/>
                </a:lnTo>
                <a:lnTo>
                  <a:pt x="143" y="225"/>
                </a:lnTo>
                <a:lnTo>
                  <a:pt x="144" y="228"/>
                </a:lnTo>
                <a:lnTo>
                  <a:pt x="144" y="239"/>
                </a:lnTo>
                <a:lnTo>
                  <a:pt x="145" y="242"/>
                </a:lnTo>
                <a:lnTo>
                  <a:pt x="145" y="247"/>
                </a:lnTo>
                <a:lnTo>
                  <a:pt x="145" y="253"/>
                </a:lnTo>
                <a:lnTo>
                  <a:pt x="145" y="255"/>
                </a:lnTo>
                <a:lnTo>
                  <a:pt x="145" y="258"/>
                </a:lnTo>
                <a:lnTo>
                  <a:pt x="144" y="263"/>
                </a:lnTo>
                <a:lnTo>
                  <a:pt x="145" y="266"/>
                </a:lnTo>
                <a:lnTo>
                  <a:pt x="148" y="270"/>
                </a:lnTo>
                <a:lnTo>
                  <a:pt x="149" y="277"/>
                </a:lnTo>
                <a:lnTo>
                  <a:pt x="151" y="283"/>
                </a:lnTo>
                <a:lnTo>
                  <a:pt x="151" y="285"/>
                </a:lnTo>
                <a:lnTo>
                  <a:pt x="149" y="286"/>
                </a:lnTo>
                <a:lnTo>
                  <a:pt x="147" y="291"/>
                </a:lnTo>
                <a:lnTo>
                  <a:pt x="147" y="292"/>
                </a:lnTo>
                <a:lnTo>
                  <a:pt x="148" y="292"/>
                </a:lnTo>
                <a:lnTo>
                  <a:pt x="149" y="296"/>
                </a:lnTo>
                <a:lnTo>
                  <a:pt x="152" y="296"/>
                </a:lnTo>
                <a:lnTo>
                  <a:pt x="153" y="294"/>
                </a:lnTo>
                <a:lnTo>
                  <a:pt x="153" y="291"/>
                </a:lnTo>
                <a:lnTo>
                  <a:pt x="155" y="289"/>
                </a:lnTo>
                <a:lnTo>
                  <a:pt x="169" y="289"/>
                </a:lnTo>
                <a:lnTo>
                  <a:pt x="172" y="289"/>
                </a:lnTo>
                <a:lnTo>
                  <a:pt x="175" y="289"/>
                </a:lnTo>
                <a:lnTo>
                  <a:pt x="177" y="288"/>
                </a:lnTo>
                <a:lnTo>
                  <a:pt x="179" y="288"/>
                </a:lnTo>
                <a:lnTo>
                  <a:pt x="180" y="286"/>
                </a:lnTo>
                <a:lnTo>
                  <a:pt x="181" y="286"/>
                </a:lnTo>
                <a:lnTo>
                  <a:pt x="183" y="286"/>
                </a:lnTo>
                <a:lnTo>
                  <a:pt x="184" y="289"/>
                </a:lnTo>
                <a:lnTo>
                  <a:pt x="184" y="294"/>
                </a:lnTo>
                <a:lnTo>
                  <a:pt x="184" y="296"/>
                </a:lnTo>
                <a:lnTo>
                  <a:pt x="185" y="296"/>
                </a:lnTo>
                <a:lnTo>
                  <a:pt x="189" y="294"/>
                </a:lnTo>
                <a:lnTo>
                  <a:pt x="191" y="294"/>
                </a:lnTo>
                <a:lnTo>
                  <a:pt x="192" y="294"/>
                </a:lnTo>
                <a:lnTo>
                  <a:pt x="196" y="292"/>
                </a:lnTo>
                <a:lnTo>
                  <a:pt x="197" y="294"/>
                </a:lnTo>
                <a:lnTo>
                  <a:pt x="199" y="297"/>
                </a:lnTo>
                <a:lnTo>
                  <a:pt x="199" y="299"/>
                </a:lnTo>
                <a:lnTo>
                  <a:pt x="203" y="300"/>
                </a:lnTo>
                <a:lnTo>
                  <a:pt x="207" y="303"/>
                </a:lnTo>
                <a:lnTo>
                  <a:pt x="212" y="305"/>
                </a:lnTo>
                <a:lnTo>
                  <a:pt x="214" y="307"/>
                </a:lnTo>
                <a:lnTo>
                  <a:pt x="217" y="305"/>
                </a:lnTo>
                <a:lnTo>
                  <a:pt x="220" y="303"/>
                </a:lnTo>
                <a:lnTo>
                  <a:pt x="222" y="303"/>
                </a:lnTo>
                <a:lnTo>
                  <a:pt x="224" y="303"/>
                </a:lnTo>
                <a:lnTo>
                  <a:pt x="229" y="310"/>
                </a:lnTo>
                <a:lnTo>
                  <a:pt x="233" y="311"/>
                </a:lnTo>
                <a:lnTo>
                  <a:pt x="236" y="313"/>
                </a:lnTo>
                <a:lnTo>
                  <a:pt x="240" y="313"/>
                </a:lnTo>
                <a:lnTo>
                  <a:pt x="241" y="314"/>
                </a:lnTo>
                <a:lnTo>
                  <a:pt x="242" y="319"/>
                </a:lnTo>
                <a:lnTo>
                  <a:pt x="244" y="321"/>
                </a:lnTo>
                <a:lnTo>
                  <a:pt x="248" y="324"/>
                </a:lnTo>
                <a:lnTo>
                  <a:pt x="252" y="327"/>
                </a:lnTo>
                <a:lnTo>
                  <a:pt x="254" y="329"/>
                </a:lnTo>
                <a:lnTo>
                  <a:pt x="257" y="329"/>
                </a:lnTo>
                <a:lnTo>
                  <a:pt x="260" y="329"/>
                </a:lnTo>
                <a:lnTo>
                  <a:pt x="260" y="327"/>
                </a:lnTo>
                <a:lnTo>
                  <a:pt x="261" y="329"/>
                </a:lnTo>
                <a:lnTo>
                  <a:pt x="262" y="330"/>
                </a:lnTo>
                <a:lnTo>
                  <a:pt x="264" y="330"/>
                </a:lnTo>
                <a:lnTo>
                  <a:pt x="265" y="330"/>
                </a:lnTo>
                <a:lnTo>
                  <a:pt x="265" y="327"/>
                </a:lnTo>
                <a:lnTo>
                  <a:pt x="264" y="325"/>
                </a:lnTo>
                <a:lnTo>
                  <a:pt x="264" y="314"/>
                </a:lnTo>
                <a:lnTo>
                  <a:pt x="264" y="311"/>
                </a:lnTo>
                <a:lnTo>
                  <a:pt x="262" y="311"/>
                </a:lnTo>
                <a:lnTo>
                  <a:pt x="260" y="313"/>
                </a:lnTo>
                <a:lnTo>
                  <a:pt x="256" y="313"/>
                </a:lnTo>
                <a:lnTo>
                  <a:pt x="253" y="311"/>
                </a:lnTo>
                <a:lnTo>
                  <a:pt x="250" y="311"/>
                </a:lnTo>
                <a:lnTo>
                  <a:pt x="248" y="307"/>
                </a:lnTo>
                <a:lnTo>
                  <a:pt x="246" y="305"/>
                </a:lnTo>
                <a:lnTo>
                  <a:pt x="246" y="303"/>
                </a:lnTo>
                <a:lnTo>
                  <a:pt x="246" y="300"/>
                </a:lnTo>
                <a:lnTo>
                  <a:pt x="246" y="299"/>
                </a:lnTo>
                <a:lnTo>
                  <a:pt x="248" y="294"/>
                </a:lnTo>
                <a:lnTo>
                  <a:pt x="252" y="281"/>
                </a:lnTo>
                <a:lnTo>
                  <a:pt x="252" y="280"/>
                </a:lnTo>
                <a:lnTo>
                  <a:pt x="252" y="272"/>
                </a:lnTo>
                <a:lnTo>
                  <a:pt x="252" y="267"/>
                </a:lnTo>
                <a:lnTo>
                  <a:pt x="249" y="261"/>
                </a:lnTo>
                <a:lnTo>
                  <a:pt x="249" y="258"/>
                </a:lnTo>
                <a:lnTo>
                  <a:pt x="250" y="256"/>
                </a:lnTo>
                <a:lnTo>
                  <a:pt x="250" y="255"/>
                </a:lnTo>
                <a:lnTo>
                  <a:pt x="252" y="252"/>
                </a:lnTo>
                <a:lnTo>
                  <a:pt x="254" y="247"/>
                </a:lnTo>
                <a:lnTo>
                  <a:pt x="256" y="245"/>
                </a:lnTo>
                <a:lnTo>
                  <a:pt x="257" y="245"/>
                </a:lnTo>
                <a:lnTo>
                  <a:pt x="260" y="244"/>
                </a:lnTo>
                <a:lnTo>
                  <a:pt x="276" y="24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19" name="Freeform 216"/>
          <p:cNvSpPr>
            <a:spLocks/>
          </p:cNvSpPr>
          <p:nvPr/>
        </p:nvSpPr>
        <p:spPr bwMode="auto">
          <a:xfrm>
            <a:off x="6025212" y="4157418"/>
            <a:ext cx="549566" cy="478918"/>
          </a:xfrm>
          <a:custGeom>
            <a:avLst/>
            <a:gdLst/>
            <a:ahLst/>
            <a:cxnLst>
              <a:cxn ang="0">
                <a:pos x="268" y="223"/>
              </a:cxn>
              <a:cxn ang="0">
                <a:pos x="258" y="209"/>
              </a:cxn>
              <a:cxn ang="0">
                <a:pos x="257" y="190"/>
              </a:cxn>
              <a:cxn ang="0">
                <a:pos x="257" y="170"/>
              </a:cxn>
              <a:cxn ang="0">
                <a:pos x="257" y="161"/>
              </a:cxn>
              <a:cxn ang="0">
                <a:pos x="257" y="145"/>
              </a:cxn>
              <a:cxn ang="0">
                <a:pos x="253" y="137"/>
              </a:cxn>
              <a:cxn ang="0">
                <a:pos x="261" y="120"/>
              </a:cxn>
              <a:cxn ang="0">
                <a:pos x="265" y="96"/>
              </a:cxn>
              <a:cxn ang="0">
                <a:pos x="273" y="77"/>
              </a:cxn>
              <a:cxn ang="0">
                <a:pos x="280" y="66"/>
              </a:cxn>
              <a:cxn ang="0">
                <a:pos x="288" y="57"/>
              </a:cxn>
              <a:cxn ang="0">
                <a:pos x="282" y="51"/>
              </a:cxn>
              <a:cxn ang="0">
                <a:pos x="282" y="32"/>
              </a:cxn>
              <a:cxn ang="0">
                <a:pos x="277" y="25"/>
              </a:cxn>
              <a:cxn ang="0">
                <a:pos x="260" y="16"/>
              </a:cxn>
              <a:cxn ang="0">
                <a:pos x="245" y="18"/>
              </a:cxn>
              <a:cxn ang="0">
                <a:pos x="233" y="5"/>
              </a:cxn>
              <a:cxn ang="0">
                <a:pos x="218" y="3"/>
              </a:cxn>
              <a:cxn ang="0">
                <a:pos x="203" y="3"/>
              </a:cxn>
              <a:cxn ang="0">
                <a:pos x="191" y="7"/>
              </a:cxn>
              <a:cxn ang="0">
                <a:pos x="184" y="5"/>
              </a:cxn>
              <a:cxn ang="0">
                <a:pos x="165" y="10"/>
              </a:cxn>
              <a:cxn ang="0">
                <a:pos x="155" y="18"/>
              </a:cxn>
              <a:cxn ang="0">
                <a:pos x="128" y="14"/>
              </a:cxn>
              <a:cxn ang="0">
                <a:pos x="117" y="2"/>
              </a:cxn>
              <a:cxn ang="0">
                <a:pos x="104" y="8"/>
              </a:cxn>
              <a:cxn ang="0">
                <a:pos x="99" y="25"/>
              </a:cxn>
              <a:cxn ang="0">
                <a:pos x="96" y="40"/>
              </a:cxn>
              <a:cxn ang="0">
                <a:pos x="84" y="96"/>
              </a:cxn>
              <a:cxn ang="0">
                <a:pos x="74" y="115"/>
              </a:cxn>
              <a:cxn ang="0">
                <a:pos x="59" y="145"/>
              </a:cxn>
              <a:cxn ang="0">
                <a:pos x="51" y="168"/>
              </a:cxn>
              <a:cxn ang="0">
                <a:pos x="32" y="179"/>
              </a:cxn>
              <a:cxn ang="0">
                <a:pos x="23" y="175"/>
              </a:cxn>
              <a:cxn ang="0">
                <a:pos x="11" y="178"/>
              </a:cxn>
              <a:cxn ang="0">
                <a:pos x="4" y="194"/>
              </a:cxn>
              <a:cxn ang="0">
                <a:pos x="2" y="203"/>
              </a:cxn>
              <a:cxn ang="0">
                <a:pos x="3" y="204"/>
              </a:cxn>
              <a:cxn ang="0">
                <a:pos x="18" y="198"/>
              </a:cxn>
              <a:cxn ang="0">
                <a:pos x="35" y="198"/>
              </a:cxn>
              <a:cxn ang="0">
                <a:pos x="56" y="197"/>
              </a:cxn>
              <a:cxn ang="0">
                <a:pos x="64" y="201"/>
              </a:cxn>
              <a:cxn ang="0">
                <a:pos x="68" y="214"/>
              </a:cxn>
              <a:cxn ang="0">
                <a:pos x="75" y="228"/>
              </a:cxn>
              <a:cxn ang="0">
                <a:pos x="94" y="237"/>
              </a:cxn>
              <a:cxn ang="0">
                <a:pos x="108" y="231"/>
              </a:cxn>
              <a:cxn ang="0">
                <a:pos x="109" y="225"/>
              </a:cxn>
              <a:cxn ang="0">
                <a:pos x="123" y="217"/>
              </a:cxn>
            </a:cxnLst>
            <a:rect l="0" t="0" r="r" b="b"/>
            <a:pathLst>
              <a:path w="288" h="241">
                <a:moveTo>
                  <a:pt x="276" y="241"/>
                </a:moveTo>
                <a:lnTo>
                  <a:pt x="274" y="228"/>
                </a:lnTo>
                <a:lnTo>
                  <a:pt x="272" y="225"/>
                </a:lnTo>
                <a:lnTo>
                  <a:pt x="268" y="223"/>
                </a:lnTo>
                <a:lnTo>
                  <a:pt x="264" y="219"/>
                </a:lnTo>
                <a:lnTo>
                  <a:pt x="262" y="217"/>
                </a:lnTo>
                <a:lnTo>
                  <a:pt x="261" y="211"/>
                </a:lnTo>
                <a:lnTo>
                  <a:pt x="258" y="209"/>
                </a:lnTo>
                <a:lnTo>
                  <a:pt x="258" y="203"/>
                </a:lnTo>
                <a:lnTo>
                  <a:pt x="258" y="200"/>
                </a:lnTo>
                <a:lnTo>
                  <a:pt x="258" y="195"/>
                </a:lnTo>
                <a:lnTo>
                  <a:pt x="257" y="190"/>
                </a:lnTo>
                <a:lnTo>
                  <a:pt x="256" y="186"/>
                </a:lnTo>
                <a:lnTo>
                  <a:pt x="256" y="179"/>
                </a:lnTo>
                <a:lnTo>
                  <a:pt x="257" y="173"/>
                </a:lnTo>
                <a:lnTo>
                  <a:pt x="257" y="170"/>
                </a:lnTo>
                <a:lnTo>
                  <a:pt x="256" y="170"/>
                </a:lnTo>
                <a:lnTo>
                  <a:pt x="256" y="168"/>
                </a:lnTo>
                <a:lnTo>
                  <a:pt x="256" y="165"/>
                </a:lnTo>
                <a:lnTo>
                  <a:pt x="257" y="161"/>
                </a:lnTo>
                <a:lnTo>
                  <a:pt x="257" y="156"/>
                </a:lnTo>
                <a:lnTo>
                  <a:pt x="258" y="154"/>
                </a:lnTo>
                <a:lnTo>
                  <a:pt x="257" y="146"/>
                </a:lnTo>
                <a:lnTo>
                  <a:pt x="257" y="145"/>
                </a:lnTo>
                <a:lnTo>
                  <a:pt x="256" y="142"/>
                </a:lnTo>
                <a:lnTo>
                  <a:pt x="254" y="140"/>
                </a:lnTo>
                <a:lnTo>
                  <a:pt x="253" y="139"/>
                </a:lnTo>
                <a:lnTo>
                  <a:pt x="253" y="137"/>
                </a:lnTo>
                <a:lnTo>
                  <a:pt x="257" y="132"/>
                </a:lnTo>
                <a:lnTo>
                  <a:pt x="257" y="129"/>
                </a:lnTo>
                <a:lnTo>
                  <a:pt x="260" y="124"/>
                </a:lnTo>
                <a:lnTo>
                  <a:pt x="261" y="120"/>
                </a:lnTo>
                <a:lnTo>
                  <a:pt x="264" y="118"/>
                </a:lnTo>
                <a:lnTo>
                  <a:pt x="264" y="110"/>
                </a:lnTo>
                <a:lnTo>
                  <a:pt x="265" y="101"/>
                </a:lnTo>
                <a:lnTo>
                  <a:pt x="265" y="96"/>
                </a:lnTo>
                <a:lnTo>
                  <a:pt x="268" y="87"/>
                </a:lnTo>
                <a:lnTo>
                  <a:pt x="269" y="84"/>
                </a:lnTo>
                <a:lnTo>
                  <a:pt x="270" y="82"/>
                </a:lnTo>
                <a:lnTo>
                  <a:pt x="273" y="77"/>
                </a:lnTo>
                <a:lnTo>
                  <a:pt x="276" y="73"/>
                </a:lnTo>
                <a:lnTo>
                  <a:pt x="278" y="71"/>
                </a:lnTo>
                <a:lnTo>
                  <a:pt x="278" y="69"/>
                </a:lnTo>
                <a:lnTo>
                  <a:pt x="280" y="66"/>
                </a:lnTo>
                <a:lnTo>
                  <a:pt x="282" y="65"/>
                </a:lnTo>
                <a:lnTo>
                  <a:pt x="284" y="63"/>
                </a:lnTo>
                <a:lnTo>
                  <a:pt x="286" y="60"/>
                </a:lnTo>
                <a:lnTo>
                  <a:pt x="288" y="57"/>
                </a:lnTo>
                <a:lnTo>
                  <a:pt x="288" y="55"/>
                </a:lnTo>
                <a:lnTo>
                  <a:pt x="286" y="54"/>
                </a:lnTo>
                <a:lnTo>
                  <a:pt x="285" y="52"/>
                </a:lnTo>
                <a:lnTo>
                  <a:pt x="282" y="51"/>
                </a:lnTo>
                <a:lnTo>
                  <a:pt x="281" y="47"/>
                </a:lnTo>
                <a:lnTo>
                  <a:pt x="281" y="40"/>
                </a:lnTo>
                <a:lnTo>
                  <a:pt x="281" y="33"/>
                </a:lnTo>
                <a:lnTo>
                  <a:pt x="282" y="32"/>
                </a:lnTo>
                <a:lnTo>
                  <a:pt x="282" y="30"/>
                </a:lnTo>
                <a:lnTo>
                  <a:pt x="281" y="30"/>
                </a:lnTo>
                <a:lnTo>
                  <a:pt x="278" y="29"/>
                </a:lnTo>
                <a:lnTo>
                  <a:pt x="277" y="25"/>
                </a:lnTo>
                <a:lnTo>
                  <a:pt x="273" y="22"/>
                </a:lnTo>
                <a:lnTo>
                  <a:pt x="266" y="14"/>
                </a:lnTo>
                <a:lnTo>
                  <a:pt x="264" y="11"/>
                </a:lnTo>
                <a:lnTo>
                  <a:pt x="260" y="16"/>
                </a:lnTo>
                <a:lnTo>
                  <a:pt x="257" y="16"/>
                </a:lnTo>
                <a:lnTo>
                  <a:pt x="249" y="14"/>
                </a:lnTo>
                <a:lnTo>
                  <a:pt x="248" y="16"/>
                </a:lnTo>
                <a:lnTo>
                  <a:pt x="245" y="18"/>
                </a:lnTo>
                <a:lnTo>
                  <a:pt x="240" y="14"/>
                </a:lnTo>
                <a:lnTo>
                  <a:pt x="238" y="11"/>
                </a:lnTo>
                <a:lnTo>
                  <a:pt x="236" y="8"/>
                </a:lnTo>
                <a:lnTo>
                  <a:pt x="233" y="5"/>
                </a:lnTo>
                <a:lnTo>
                  <a:pt x="232" y="2"/>
                </a:lnTo>
                <a:lnTo>
                  <a:pt x="224" y="2"/>
                </a:lnTo>
                <a:lnTo>
                  <a:pt x="221" y="5"/>
                </a:lnTo>
                <a:lnTo>
                  <a:pt x="218" y="3"/>
                </a:lnTo>
                <a:lnTo>
                  <a:pt x="216" y="5"/>
                </a:lnTo>
                <a:lnTo>
                  <a:pt x="213" y="0"/>
                </a:lnTo>
                <a:lnTo>
                  <a:pt x="208" y="2"/>
                </a:lnTo>
                <a:lnTo>
                  <a:pt x="203" y="3"/>
                </a:lnTo>
                <a:lnTo>
                  <a:pt x="196" y="2"/>
                </a:lnTo>
                <a:lnTo>
                  <a:pt x="196" y="5"/>
                </a:lnTo>
                <a:lnTo>
                  <a:pt x="192" y="5"/>
                </a:lnTo>
                <a:lnTo>
                  <a:pt x="191" y="7"/>
                </a:lnTo>
                <a:lnTo>
                  <a:pt x="188" y="5"/>
                </a:lnTo>
                <a:lnTo>
                  <a:pt x="188" y="3"/>
                </a:lnTo>
                <a:lnTo>
                  <a:pt x="187" y="3"/>
                </a:lnTo>
                <a:lnTo>
                  <a:pt x="184" y="5"/>
                </a:lnTo>
                <a:lnTo>
                  <a:pt x="176" y="7"/>
                </a:lnTo>
                <a:lnTo>
                  <a:pt x="173" y="10"/>
                </a:lnTo>
                <a:lnTo>
                  <a:pt x="168" y="11"/>
                </a:lnTo>
                <a:lnTo>
                  <a:pt x="165" y="10"/>
                </a:lnTo>
                <a:lnTo>
                  <a:pt x="161" y="8"/>
                </a:lnTo>
                <a:lnTo>
                  <a:pt x="157" y="11"/>
                </a:lnTo>
                <a:lnTo>
                  <a:pt x="156" y="16"/>
                </a:lnTo>
                <a:lnTo>
                  <a:pt x="155" y="18"/>
                </a:lnTo>
                <a:lnTo>
                  <a:pt x="140" y="18"/>
                </a:lnTo>
                <a:lnTo>
                  <a:pt x="135" y="16"/>
                </a:lnTo>
                <a:lnTo>
                  <a:pt x="131" y="13"/>
                </a:lnTo>
                <a:lnTo>
                  <a:pt x="128" y="14"/>
                </a:lnTo>
                <a:lnTo>
                  <a:pt x="127" y="14"/>
                </a:lnTo>
                <a:lnTo>
                  <a:pt x="121" y="8"/>
                </a:lnTo>
                <a:lnTo>
                  <a:pt x="120" y="5"/>
                </a:lnTo>
                <a:lnTo>
                  <a:pt x="117" y="2"/>
                </a:lnTo>
                <a:lnTo>
                  <a:pt x="113" y="2"/>
                </a:lnTo>
                <a:lnTo>
                  <a:pt x="109" y="2"/>
                </a:lnTo>
                <a:lnTo>
                  <a:pt x="105" y="5"/>
                </a:lnTo>
                <a:lnTo>
                  <a:pt x="104" y="8"/>
                </a:lnTo>
                <a:lnTo>
                  <a:pt x="103" y="13"/>
                </a:lnTo>
                <a:lnTo>
                  <a:pt x="100" y="14"/>
                </a:lnTo>
                <a:lnTo>
                  <a:pt x="100" y="19"/>
                </a:lnTo>
                <a:lnTo>
                  <a:pt x="99" y="25"/>
                </a:lnTo>
                <a:lnTo>
                  <a:pt x="100" y="27"/>
                </a:lnTo>
                <a:lnTo>
                  <a:pt x="96" y="29"/>
                </a:lnTo>
                <a:lnTo>
                  <a:pt x="97" y="33"/>
                </a:lnTo>
                <a:lnTo>
                  <a:pt x="96" y="40"/>
                </a:lnTo>
                <a:lnTo>
                  <a:pt x="91" y="52"/>
                </a:lnTo>
                <a:lnTo>
                  <a:pt x="88" y="60"/>
                </a:lnTo>
                <a:lnTo>
                  <a:pt x="86" y="74"/>
                </a:lnTo>
                <a:lnTo>
                  <a:pt x="84" y="96"/>
                </a:lnTo>
                <a:lnTo>
                  <a:pt x="83" y="106"/>
                </a:lnTo>
                <a:lnTo>
                  <a:pt x="83" y="107"/>
                </a:lnTo>
                <a:lnTo>
                  <a:pt x="79" y="112"/>
                </a:lnTo>
                <a:lnTo>
                  <a:pt x="74" y="115"/>
                </a:lnTo>
                <a:lnTo>
                  <a:pt x="68" y="120"/>
                </a:lnTo>
                <a:lnTo>
                  <a:pt x="62" y="132"/>
                </a:lnTo>
                <a:lnTo>
                  <a:pt x="60" y="139"/>
                </a:lnTo>
                <a:lnTo>
                  <a:pt x="59" y="145"/>
                </a:lnTo>
                <a:lnTo>
                  <a:pt x="59" y="151"/>
                </a:lnTo>
                <a:lnTo>
                  <a:pt x="59" y="157"/>
                </a:lnTo>
                <a:lnTo>
                  <a:pt x="55" y="164"/>
                </a:lnTo>
                <a:lnTo>
                  <a:pt x="51" y="168"/>
                </a:lnTo>
                <a:lnTo>
                  <a:pt x="47" y="172"/>
                </a:lnTo>
                <a:lnTo>
                  <a:pt x="40" y="178"/>
                </a:lnTo>
                <a:lnTo>
                  <a:pt x="35" y="181"/>
                </a:lnTo>
                <a:lnTo>
                  <a:pt x="32" y="179"/>
                </a:lnTo>
                <a:lnTo>
                  <a:pt x="31" y="173"/>
                </a:lnTo>
                <a:lnTo>
                  <a:pt x="31" y="172"/>
                </a:lnTo>
                <a:lnTo>
                  <a:pt x="27" y="173"/>
                </a:lnTo>
                <a:lnTo>
                  <a:pt x="23" y="175"/>
                </a:lnTo>
                <a:lnTo>
                  <a:pt x="22" y="176"/>
                </a:lnTo>
                <a:lnTo>
                  <a:pt x="19" y="179"/>
                </a:lnTo>
                <a:lnTo>
                  <a:pt x="16" y="181"/>
                </a:lnTo>
                <a:lnTo>
                  <a:pt x="11" y="178"/>
                </a:lnTo>
                <a:lnTo>
                  <a:pt x="8" y="181"/>
                </a:lnTo>
                <a:lnTo>
                  <a:pt x="6" y="184"/>
                </a:lnTo>
                <a:lnTo>
                  <a:pt x="4" y="189"/>
                </a:lnTo>
                <a:lnTo>
                  <a:pt x="4" y="194"/>
                </a:lnTo>
                <a:lnTo>
                  <a:pt x="4" y="197"/>
                </a:lnTo>
                <a:lnTo>
                  <a:pt x="2" y="198"/>
                </a:lnTo>
                <a:lnTo>
                  <a:pt x="2" y="200"/>
                </a:lnTo>
                <a:lnTo>
                  <a:pt x="2" y="203"/>
                </a:lnTo>
                <a:lnTo>
                  <a:pt x="0" y="204"/>
                </a:lnTo>
                <a:lnTo>
                  <a:pt x="2" y="206"/>
                </a:lnTo>
                <a:lnTo>
                  <a:pt x="2" y="204"/>
                </a:lnTo>
                <a:lnTo>
                  <a:pt x="3" y="204"/>
                </a:lnTo>
                <a:lnTo>
                  <a:pt x="8" y="203"/>
                </a:lnTo>
                <a:lnTo>
                  <a:pt x="12" y="200"/>
                </a:lnTo>
                <a:lnTo>
                  <a:pt x="16" y="198"/>
                </a:lnTo>
                <a:lnTo>
                  <a:pt x="18" y="198"/>
                </a:lnTo>
                <a:lnTo>
                  <a:pt x="20" y="198"/>
                </a:lnTo>
                <a:lnTo>
                  <a:pt x="27" y="198"/>
                </a:lnTo>
                <a:lnTo>
                  <a:pt x="32" y="198"/>
                </a:lnTo>
                <a:lnTo>
                  <a:pt x="35" y="198"/>
                </a:lnTo>
                <a:lnTo>
                  <a:pt x="40" y="198"/>
                </a:lnTo>
                <a:lnTo>
                  <a:pt x="43" y="198"/>
                </a:lnTo>
                <a:lnTo>
                  <a:pt x="47" y="198"/>
                </a:lnTo>
                <a:lnTo>
                  <a:pt x="56" y="197"/>
                </a:lnTo>
                <a:lnTo>
                  <a:pt x="60" y="198"/>
                </a:lnTo>
                <a:lnTo>
                  <a:pt x="62" y="198"/>
                </a:lnTo>
                <a:lnTo>
                  <a:pt x="63" y="201"/>
                </a:lnTo>
                <a:lnTo>
                  <a:pt x="64" y="201"/>
                </a:lnTo>
                <a:lnTo>
                  <a:pt x="64" y="200"/>
                </a:lnTo>
                <a:lnTo>
                  <a:pt x="66" y="203"/>
                </a:lnTo>
                <a:lnTo>
                  <a:pt x="67" y="209"/>
                </a:lnTo>
                <a:lnTo>
                  <a:pt x="68" y="214"/>
                </a:lnTo>
                <a:lnTo>
                  <a:pt x="68" y="215"/>
                </a:lnTo>
                <a:lnTo>
                  <a:pt x="70" y="219"/>
                </a:lnTo>
                <a:lnTo>
                  <a:pt x="71" y="225"/>
                </a:lnTo>
                <a:lnTo>
                  <a:pt x="75" y="228"/>
                </a:lnTo>
                <a:lnTo>
                  <a:pt x="80" y="237"/>
                </a:lnTo>
                <a:lnTo>
                  <a:pt x="84" y="239"/>
                </a:lnTo>
                <a:lnTo>
                  <a:pt x="87" y="239"/>
                </a:lnTo>
                <a:lnTo>
                  <a:pt x="94" y="237"/>
                </a:lnTo>
                <a:lnTo>
                  <a:pt x="96" y="236"/>
                </a:lnTo>
                <a:lnTo>
                  <a:pt x="101" y="236"/>
                </a:lnTo>
                <a:lnTo>
                  <a:pt x="107" y="236"/>
                </a:lnTo>
                <a:lnTo>
                  <a:pt x="108" y="231"/>
                </a:lnTo>
                <a:lnTo>
                  <a:pt x="108" y="230"/>
                </a:lnTo>
                <a:lnTo>
                  <a:pt x="108" y="228"/>
                </a:lnTo>
                <a:lnTo>
                  <a:pt x="109" y="226"/>
                </a:lnTo>
                <a:lnTo>
                  <a:pt x="109" y="225"/>
                </a:lnTo>
                <a:lnTo>
                  <a:pt x="109" y="222"/>
                </a:lnTo>
                <a:lnTo>
                  <a:pt x="111" y="219"/>
                </a:lnTo>
                <a:lnTo>
                  <a:pt x="121" y="219"/>
                </a:lnTo>
                <a:lnTo>
                  <a:pt x="123" y="217"/>
                </a:lnTo>
                <a:lnTo>
                  <a:pt x="129" y="217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20" name="Freeform 217"/>
          <p:cNvSpPr>
            <a:spLocks/>
          </p:cNvSpPr>
          <p:nvPr/>
        </p:nvSpPr>
        <p:spPr bwMode="auto">
          <a:xfrm>
            <a:off x="6268813" y="4586939"/>
            <a:ext cx="282579" cy="225499"/>
          </a:xfrm>
          <a:custGeom>
            <a:avLst/>
            <a:gdLst/>
            <a:ahLst/>
            <a:cxnLst>
              <a:cxn ang="0">
                <a:pos x="0" y="6"/>
              </a:cxn>
              <a:cxn ang="0">
                <a:pos x="16" y="11"/>
              </a:cxn>
              <a:cxn ang="0">
                <a:pos x="17" y="25"/>
              </a:cxn>
              <a:cxn ang="0">
                <a:pos x="17" y="36"/>
              </a:cxn>
              <a:cxn ang="0">
                <a:pos x="17" y="41"/>
              </a:cxn>
              <a:cxn ang="0">
                <a:pos x="17" y="49"/>
              </a:cxn>
              <a:cxn ang="0">
                <a:pos x="21" y="60"/>
              </a:cxn>
              <a:cxn ang="0">
                <a:pos x="23" y="68"/>
              </a:cxn>
              <a:cxn ang="0">
                <a:pos x="19" y="74"/>
              </a:cxn>
              <a:cxn ang="0">
                <a:pos x="20" y="75"/>
              </a:cxn>
              <a:cxn ang="0">
                <a:pos x="24" y="79"/>
              </a:cxn>
              <a:cxn ang="0">
                <a:pos x="25" y="74"/>
              </a:cxn>
              <a:cxn ang="0">
                <a:pos x="41" y="72"/>
              </a:cxn>
              <a:cxn ang="0">
                <a:pos x="47" y="72"/>
              </a:cxn>
              <a:cxn ang="0">
                <a:pos x="51" y="71"/>
              </a:cxn>
              <a:cxn ang="0">
                <a:pos x="53" y="69"/>
              </a:cxn>
              <a:cxn ang="0">
                <a:pos x="56" y="72"/>
              </a:cxn>
              <a:cxn ang="0">
                <a:pos x="56" y="79"/>
              </a:cxn>
              <a:cxn ang="0">
                <a:pos x="61" y="77"/>
              </a:cxn>
              <a:cxn ang="0">
                <a:pos x="64" y="77"/>
              </a:cxn>
              <a:cxn ang="0">
                <a:pos x="69" y="77"/>
              </a:cxn>
              <a:cxn ang="0">
                <a:pos x="71" y="82"/>
              </a:cxn>
              <a:cxn ang="0">
                <a:pos x="79" y="86"/>
              </a:cxn>
              <a:cxn ang="0">
                <a:pos x="86" y="90"/>
              </a:cxn>
              <a:cxn ang="0">
                <a:pos x="92" y="86"/>
              </a:cxn>
              <a:cxn ang="0">
                <a:pos x="96" y="86"/>
              </a:cxn>
              <a:cxn ang="0">
                <a:pos x="105" y="94"/>
              </a:cxn>
              <a:cxn ang="0">
                <a:pos x="112" y="96"/>
              </a:cxn>
              <a:cxn ang="0">
                <a:pos x="114" y="102"/>
              </a:cxn>
              <a:cxn ang="0">
                <a:pos x="120" y="107"/>
              </a:cxn>
              <a:cxn ang="0">
                <a:pos x="126" y="112"/>
              </a:cxn>
              <a:cxn ang="0">
                <a:pos x="132" y="112"/>
              </a:cxn>
              <a:cxn ang="0">
                <a:pos x="133" y="112"/>
              </a:cxn>
              <a:cxn ang="0">
                <a:pos x="136" y="113"/>
              </a:cxn>
              <a:cxn ang="0">
                <a:pos x="137" y="110"/>
              </a:cxn>
              <a:cxn ang="0">
                <a:pos x="136" y="97"/>
              </a:cxn>
              <a:cxn ang="0">
                <a:pos x="134" y="94"/>
              </a:cxn>
              <a:cxn ang="0">
                <a:pos x="128" y="96"/>
              </a:cxn>
              <a:cxn ang="0">
                <a:pos x="122" y="94"/>
              </a:cxn>
              <a:cxn ang="0">
                <a:pos x="118" y="88"/>
              </a:cxn>
              <a:cxn ang="0">
                <a:pos x="118" y="83"/>
              </a:cxn>
              <a:cxn ang="0">
                <a:pos x="120" y="77"/>
              </a:cxn>
              <a:cxn ang="0">
                <a:pos x="124" y="63"/>
              </a:cxn>
              <a:cxn ang="0">
                <a:pos x="124" y="50"/>
              </a:cxn>
              <a:cxn ang="0">
                <a:pos x="121" y="41"/>
              </a:cxn>
              <a:cxn ang="0">
                <a:pos x="122" y="38"/>
              </a:cxn>
              <a:cxn ang="0">
                <a:pos x="126" y="30"/>
              </a:cxn>
              <a:cxn ang="0">
                <a:pos x="129" y="28"/>
              </a:cxn>
              <a:cxn ang="0">
                <a:pos x="148" y="24"/>
              </a:cxn>
            </a:cxnLst>
            <a:rect l="0" t="0" r="r" b="b"/>
            <a:pathLst>
              <a:path w="148" h="113">
                <a:moveTo>
                  <a:pt x="1" y="0"/>
                </a:moveTo>
                <a:lnTo>
                  <a:pt x="0" y="6"/>
                </a:lnTo>
                <a:lnTo>
                  <a:pt x="15" y="8"/>
                </a:lnTo>
                <a:lnTo>
                  <a:pt x="16" y="11"/>
                </a:lnTo>
                <a:lnTo>
                  <a:pt x="16" y="22"/>
                </a:lnTo>
                <a:lnTo>
                  <a:pt x="17" y="25"/>
                </a:lnTo>
                <a:lnTo>
                  <a:pt x="17" y="30"/>
                </a:lnTo>
                <a:lnTo>
                  <a:pt x="17" y="36"/>
                </a:lnTo>
                <a:lnTo>
                  <a:pt x="17" y="38"/>
                </a:lnTo>
                <a:lnTo>
                  <a:pt x="17" y="41"/>
                </a:lnTo>
                <a:lnTo>
                  <a:pt x="16" y="46"/>
                </a:lnTo>
                <a:lnTo>
                  <a:pt x="17" y="49"/>
                </a:lnTo>
                <a:lnTo>
                  <a:pt x="20" y="53"/>
                </a:lnTo>
                <a:lnTo>
                  <a:pt x="21" y="60"/>
                </a:lnTo>
                <a:lnTo>
                  <a:pt x="23" y="66"/>
                </a:lnTo>
                <a:lnTo>
                  <a:pt x="23" y="68"/>
                </a:lnTo>
                <a:lnTo>
                  <a:pt x="21" y="69"/>
                </a:lnTo>
                <a:lnTo>
                  <a:pt x="19" y="74"/>
                </a:lnTo>
                <a:lnTo>
                  <a:pt x="19" y="75"/>
                </a:lnTo>
                <a:lnTo>
                  <a:pt x="20" y="75"/>
                </a:lnTo>
                <a:lnTo>
                  <a:pt x="21" y="79"/>
                </a:lnTo>
                <a:lnTo>
                  <a:pt x="24" y="79"/>
                </a:lnTo>
                <a:lnTo>
                  <a:pt x="25" y="77"/>
                </a:lnTo>
                <a:lnTo>
                  <a:pt x="25" y="74"/>
                </a:lnTo>
                <a:lnTo>
                  <a:pt x="27" y="72"/>
                </a:lnTo>
                <a:lnTo>
                  <a:pt x="41" y="72"/>
                </a:lnTo>
                <a:lnTo>
                  <a:pt x="44" y="72"/>
                </a:lnTo>
                <a:lnTo>
                  <a:pt x="47" y="72"/>
                </a:lnTo>
                <a:lnTo>
                  <a:pt x="49" y="71"/>
                </a:lnTo>
                <a:lnTo>
                  <a:pt x="51" y="71"/>
                </a:lnTo>
                <a:lnTo>
                  <a:pt x="52" y="69"/>
                </a:lnTo>
                <a:lnTo>
                  <a:pt x="53" y="69"/>
                </a:lnTo>
                <a:lnTo>
                  <a:pt x="55" y="69"/>
                </a:lnTo>
                <a:lnTo>
                  <a:pt x="56" y="72"/>
                </a:lnTo>
                <a:lnTo>
                  <a:pt x="56" y="77"/>
                </a:lnTo>
                <a:lnTo>
                  <a:pt x="56" y="79"/>
                </a:lnTo>
                <a:lnTo>
                  <a:pt x="57" y="79"/>
                </a:lnTo>
                <a:lnTo>
                  <a:pt x="61" y="77"/>
                </a:lnTo>
                <a:lnTo>
                  <a:pt x="63" y="77"/>
                </a:lnTo>
                <a:lnTo>
                  <a:pt x="64" y="77"/>
                </a:lnTo>
                <a:lnTo>
                  <a:pt x="68" y="75"/>
                </a:lnTo>
                <a:lnTo>
                  <a:pt x="69" y="77"/>
                </a:lnTo>
                <a:lnTo>
                  <a:pt x="71" y="80"/>
                </a:lnTo>
                <a:lnTo>
                  <a:pt x="71" y="82"/>
                </a:lnTo>
                <a:lnTo>
                  <a:pt x="75" y="83"/>
                </a:lnTo>
                <a:lnTo>
                  <a:pt x="79" y="86"/>
                </a:lnTo>
                <a:lnTo>
                  <a:pt x="84" y="88"/>
                </a:lnTo>
                <a:lnTo>
                  <a:pt x="86" y="90"/>
                </a:lnTo>
                <a:lnTo>
                  <a:pt x="89" y="88"/>
                </a:lnTo>
                <a:lnTo>
                  <a:pt x="92" y="86"/>
                </a:lnTo>
                <a:lnTo>
                  <a:pt x="94" y="86"/>
                </a:lnTo>
                <a:lnTo>
                  <a:pt x="96" y="86"/>
                </a:lnTo>
                <a:lnTo>
                  <a:pt x="101" y="93"/>
                </a:lnTo>
                <a:lnTo>
                  <a:pt x="105" y="94"/>
                </a:lnTo>
                <a:lnTo>
                  <a:pt x="108" y="96"/>
                </a:lnTo>
                <a:lnTo>
                  <a:pt x="112" y="96"/>
                </a:lnTo>
                <a:lnTo>
                  <a:pt x="113" y="97"/>
                </a:lnTo>
                <a:lnTo>
                  <a:pt x="114" y="102"/>
                </a:lnTo>
                <a:lnTo>
                  <a:pt x="116" y="104"/>
                </a:lnTo>
                <a:lnTo>
                  <a:pt x="120" y="107"/>
                </a:lnTo>
                <a:lnTo>
                  <a:pt x="124" y="110"/>
                </a:lnTo>
                <a:lnTo>
                  <a:pt x="126" y="112"/>
                </a:lnTo>
                <a:lnTo>
                  <a:pt x="129" y="112"/>
                </a:lnTo>
                <a:lnTo>
                  <a:pt x="132" y="112"/>
                </a:lnTo>
                <a:lnTo>
                  <a:pt x="132" y="110"/>
                </a:lnTo>
                <a:lnTo>
                  <a:pt x="133" y="112"/>
                </a:lnTo>
                <a:lnTo>
                  <a:pt x="134" y="113"/>
                </a:lnTo>
                <a:lnTo>
                  <a:pt x="136" y="113"/>
                </a:lnTo>
                <a:lnTo>
                  <a:pt x="137" y="113"/>
                </a:lnTo>
                <a:lnTo>
                  <a:pt x="137" y="110"/>
                </a:lnTo>
                <a:lnTo>
                  <a:pt x="136" y="108"/>
                </a:lnTo>
                <a:lnTo>
                  <a:pt x="136" y="97"/>
                </a:lnTo>
                <a:lnTo>
                  <a:pt x="136" y="94"/>
                </a:lnTo>
                <a:lnTo>
                  <a:pt x="134" y="94"/>
                </a:lnTo>
                <a:lnTo>
                  <a:pt x="132" y="96"/>
                </a:lnTo>
                <a:lnTo>
                  <a:pt x="128" y="96"/>
                </a:lnTo>
                <a:lnTo>
                  <a:pt x="125" y="94"/>
                </a:lnTo>
                <a:lnTo>
                  <a:pt x="122" y="94"/>
                </a:lnTo>
                <a:lnTo>
                  <a:pt x="120" y="90"/>
                </a:lnTo>
                <a:lnTo>
                  <a:pt x="118" y="88"/>
                </a:lnTo>
                <a:lnTo>
                  <a:pt x="118" y="86"/>
                </a:lnTo>
                <a:lnTo>
                  <a:pt x="118" y="83"/>
                </a:lnTo>
                <a:lnTo>
                  <a:pt x="118" y="82"/>
                </a:lnTo>
                <a:lnTo>
                  <a:pt x="120" y="77"/>
                </a:lnTo>
                <a:lnTo>
                  <a:pt x="124" y="64"/>
                </a:lnTo>
                <a:lnTo>
                  <a:pt x="124" y="63"/>
                </a:lnTo>
                <a:lnTo>
                  <a:pt x="124" y="55"/>
                </a:lnTo>
                <a:lnTo>
                  <a:pt x="124" y="50"/>
                </a:lnTo>
                <a:lnTo>
                  <a:pt x="121" y="44"/>
                </a:lnTo>
                <a:lnTo>
                  <a:pt x="121" y="41"/>
                </a:lnTo>
                <a:lnTo>
                  <a:pt x="122" y="39"/>
                </a:lnTo>
                <a:lnTo>
                  <a:pt x="122" y="38"/>
                </a:lnTo>
                <a:lnTo>
                  <a:pt x="124" y="35"/>
                </a:lnTo>
                <a:lnTo>
                  <a:pt x="126" y="30"/>
                </a:lnTo>
                <a:lnTo>
                  <a:pt x="128" y="28"/>
                </a:lnTo>
                <a:lnTo>
                  <a:pt x="129" y="28"/>
                </a:lnTo>
                <a:lnTo>
                  <a:pt x="132" y="27"/>
                </a:lnTo>
                <a:lnTo>
                  <a:pt x="148" y="24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21" name="Freeform 218"/>
          <p:cNvSpPr>
            <a:spLocks/>
          </p:cNvSpPr>
          <p:nvPr/>
        </p:nvSpPr>
        <p:spPr bwMode="auto">
          <a:xfrm>
            <a:off x="3634017" y="2879592"/>
            <a:ext cx="13642" cy="8591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3" y="0"/>
              </a:cxn>
              <a:cxn ang="0">
                <a:pos x="2" y="1"/>
              </a:cxn>
              <a:cxn ang="0">
                <a:pos x="0" y="3"/>
              </a:cxn>
              <a:cxn ang="0">
                <a:pos x="2" y="3"/>
              </a:cxn>
              <a:cxn ang="0">
                <a:pos x="3" y="3"/>
              </a:cxn>
              <a:cxn ang="0">
                <a:pos x="6" y="3"/>
              </a:cxn>
              <a:cxn ang="0">
                <a:pos x="7" y="3"/>
              </a:cxn>
              <a:cxn ang="0">
                <a:pos x="7" y="1"/>
              </a:cxn>
              <a:cxn ang="0">
                <a:pos x="6" y="1"/>
              </a:cxn>
              <a:cxn ang="0">
                <a:pos x="4" y="0"/>
              </a:cxn>
            </a:cxnLst>
            <a:rect l="0" t="0" r="r" b="b"/>
            <a:pathLst>
              <a:path w="7" h="3">
                <a:moveTo>
                  <a:pt x="4" y="0"/>
                </a:moveTo>
                <a:lnTo>
                  <a:pt x="3" y="0"/>
                </a:lnTo>
                <a:lnTo>
                  <a:pt x="2" y="1"/>
                </a:lnTo>
                <a:lnTo>
                  <a:pt x="0" y="3"/>
                </a:lnTo>
                <a:lnTo>
                  <a:pt x="2" y="3"/>
                </a:lnTo>
                <a:lnTo>
                  <a:pt x="3" y="3"/>
                </a:lnTo>
                <a:lnTo>
                  <a:pt x="6" y="3"/>
                </a:lnTo>
                <a:lnTo>
                  <a:pt x="7" y="3"/>
                </a:lnTo>
                <a:lnTo>
                  <a:pt x="7" y="1"/>
                </a:lnTo>
                <a:lnTo>
                  <a:pt x="6" y="1"/>
                </a:lnTo>
                <a:lnTo>
                  <a:pt x="4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22" name="Freeform 219"/>
          <p:cNvSpPr>
            <a:spLocks/>
          </p:cNvSpPr>
          <p:nvPr/>
        </p:nvSpPr>
        <p:spPr bwMode="auto">
          <a:xfrm>
            <a:off x="3634017" y="2879592"/>
            <a:ext cx="13642" cy="8591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3" y="0"/>
              </a:cxn>
              <a:cxn ang="0">
                <a:pos x="2" y="1"/>
              </a:cxn>
              <a:cxn ang="0">
                <a:pos x="0" y="3"/>
              </a:cxn>
              <a:cxn ang="0">
                <a:pos x="2" y="3"/>
              </a:cxn>
              <a:cxn ang="0">
                <a:pos x="3" y="3"/>
              </a:cxn>
              <a:cxn ang="0">
                <a:pos x="6" y="3"/>
              </a:cxn>
              <a:cxn ang="0">
                <a:pos x="7" y="3"/>
              </a:cxn>
              <a:cxn ang="0">
                <a:pos x="7" y="1"/>
              </a:cxn>
              <a:cxn ang="0">
                <a:pos x="6" y="1"/>
              </a:cxn>
              <a:cxn ang="0">
                <a:pos x="4" y="0"/>
              </a:cxn>
            </a:cxnLst>
            <a:rect l="0" t="0" r="r" b="b"/>
            <a:pathLst>
              <a:path w="7" h="3">
                <a:moveTo>
                  <a:pt x="4" y="0"/>
                </a:moveTo>
                <a:lnTo>
                  <a:pt x="3" y="0"/>
                </a:lnTo>
                <a:lnTo>
                  <a:pt x="2" y="1"/>
                </a:lnTo>
                <a:lnTo>
                  <a:pt x="0" y="3"/>
                </a:lnTo>
                <a:lnTo>
                  <a:pt x="2" y="3"/>
                </a:lnTo>
                <a:lnTo>
                  <a:pt x="3" y="3"/>
                </a:lnTo>
                <a:lnTo>
                  <a:pt x="6" y="3"/>
                </a:lnTo>
                <a:lnTo>
                  <a:pt x="7" y="3"/>
                </a:lnTo>
                <a:lnTo>
                  <a:pt x="7" y="1"/>
                </a:lnTo>
                <a:lnTo>
                  <a:pt x="6" y="1"/>
                </a:lnTo>
                <a:lnTo>
                  <a:pt x="4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23" name="Freeform 220"/>
          <p:cNvSpPr>
            <a:spLocks/>
          </p:cNvSpPr>
          <p:nvPr/>
        </p:nvSpPr>
        <p:spPr bwMode="auto">
          <a:xfrm>
            <a:off x="3653504" y="2883887"/>
            <a:ext cx="5847" cy="6443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0" y="2"/>
              </a:cxn>
              <a:cxn ang="0">
                <a:pos x="1" y="3"/>
              </a:cxn>
              <a:cxn ang="0">
                <a:pos x="4" y="3"/>
              </a:cxn>
              <a:cxn ang="0">
                <a:pos x="4" y="2"/>
              </a:cxn>
              <a:cxn ang="0">
                <a:pos x="2" y="0"/>
              </a:cxn>
              <a:cxn ang="0">
                <a:pos x="2" y="2"/>
              </a:cxn>
            </a:cxnLst>
            <a:rect l="0" t="0" r="r" b="b"/>
            <a:pathLst>
              <a:path w="4" h="3">
                <a:moveTo>
                  <a:pt x="2" y="2"/>
                </a:moveTo>
                <a:lnTo>
                  <a:pt x="0" y="2"/>
                </a:lnTo>
                <a:lnTo>
                  <a:pt x="1" y="3"/>
                </a:lnTo>
                <a:lnTo>
                  <a:pt x="4" y="3"/>
                </a:lnTo>
                <a:lnTo>
                  <a:pt x="4" y="2"/>
                </a:lnTo>
                <a:lnTo>
                  <a:pt x="2" y="0"/>
                </a:lnTo>
                <a:lnTo>
                  <a:pt x="2" y="2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24" name="Freeform 221"/>
          <p:cNvSpPr>
            <a:spLocks/>
          </p:cNvSpPr>
          <p:nvPr/>
        </p:nvSpPr>
        <p:spPr bwMode="auto">
          <a:xfrm>
            <a:off x="3653504" y="2883887"/>
            <a:ext cx="5847" cy="6443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0" y="2"/>
              </a:cxn>
              <a:cxn ang="0">
                <a:pos x="1" y="3"/>
              </a:cxn>
              <a:cxn ang="0">
                <a:pos x="4" y="3"/>
              </a:cxn>
              <a:cxn ang="0">
                <a:pos x="4" y="2"/>
              </a:cxn>
              <a:cxn ang="0">
                <a:pos x="2" y="0"/>
              </a:cxn>
              <a:cxn ang="0">
                <a:pos x="2" y="2"/>
              </a:cxn>
            </a:cxnLst>
            <a:rect l="0" t="0" r="r" b="b"/>
            <a:pathLst>
              <a:path w="4" h="3">
                <a:moveTo>
                  <a:pt x="2" y="2"/>
                </a:moveTo>
                <a:lnTo>
                  <a:pt x="0" y="2"/>
                </a:lnTo>
                <a:lnTo>
                  <a:pt x="1" y="3"/>
                </a:lnTo>
                <a:lnTo>
                  <a:pt x="4" y="3"/>
                </a:lnTo>
                <a:lnTo>
                  <a:pt x="4" y="2"/>
                </a:lnTo>
                <a:lnTo>
                  <a:pt x="2" y="0"/>
                </a:lnTo>
                <a:lnTo>
                  <a:pt x="2" y="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25" name="Freeform 222"/>
          <p:cNvSpPr>
            <a:spLocks/>
          </p:cNvSpPr>
          <p:nvPr/>
        </p:nvSpPr>
        <p:spPr bwMode="auto">
          <a:xfrm>
            <a:off x="2088606" y="2604699"/>
            <a:ext cx="1660391" cy="852599"/>
          </a:xfrm>
          <a:custGeom>
            <a:avLst/>
            <a:gdLst/>
            <a:ahLst/>
            <a:cxnLst>
              <a:cxn ang="0">
                <a:pos x="856" y="53"/>
              </a:cxn>
              <a:cxn ang="0">
                <a:pos x="820" y="53"/>
              </a:cxn>
              <a:cxn ang="0">
                <a:pos x="805" y="74"/>
              </a:cxn>
              <a:cxn ang="0">
                <a:pos x="722" y="96"/>
              </a:cxn>
              <a:cxn ang="0">
                <a:pos x="682" y="118"/>
              </a:cxn>
              <a:cxn ang="0">
                <a:pos x="625" y="130"/>
              </a:cxn>
              <a:cxn ang="0">
                <a:pos x="627" y="70"/>
              </a:cxn>
              <a:cxn ang="0">
                <a:pos x="558" y="26"/>
              </a:cxn>
              <a:cxn ang="0">
                <a:pos x="490" y="17"/>
              </a:cxn>
              <a:cxn ang="0">
                <a:pos x="457" y="11"/>
              </a:cxn>
              <a:cxn ang="0">
                <a:pos x="355" y="6"/>
              </a:cxn>
              <a:cxn ang="0">
                <a:pos x="129" y="6"/>
              </a:cxn>
              <a:cxn ang="0">
                <a:pos x="34" y="14"/>
              </a:cxn>
              <a:cxn ang="0">
                <a:pos x="28" y="34"/>
              </a:cxn>
              <a:cxn ang="0">
                <a:pos x="3" y="17"/>
              </a:cxn>
              <a:cxn ang="0">
                <a:pos x="10" y="45"/>
              </a:cxn>
              <a:cxn ang="0">
                <a:pos x="21" y="56"/>
              </a:cxn>
              <a:cxn ang="0">
                <a:pos x="9" y="92"/>
              </a:cxn>
              <a:cxn ang="0">
                <a:pos x="9" y="152"/>
              </a:cxn>
              <a:cxn ang="0">
                <a:pos x="26" y="198"/>
              </a:cxn>
              <a:cxn ang="0">
                <a:pos x="37" y="204"/>
              </a:cxn>
              <a:cxn ang="0">
                <a:pos x="44" y="226"/>
              </a:cxn>
              <a:cxn ang="0">
                <a:pos x="64" y="264"/>
              </a:cxn>
              <a:cxn ang="0">
                <a:pos x="93" y="273"/>
              </a:cxn>
              <a:cxn ang="0">
                <a:pos x="234" y="320"/>
              </a:cxn>
              <a:cxn ang="0">
                <a:pos x="316" y="361"/>
              </a:cxn>
              <a:cxn ang="0">
                <a:pos x="380" y="400"/>
              </a:cxn>
              <a:cxn ang="0">
                <a:pos x="411" y="399"/>
              </a:cxn>
              <a:cxn ang="0">
                <a:pos x="416" y="380"/>
              </a:cxn>
              <a:cxn ang="0">
                <a:pos x="429" y="369"/>
              </a:cxn>
              <a:cxn ang="0">
                <a:pos x="445" y="363"/>
              </a:cxn>
              <a:cxn ang="0">
                <a:pos x="480" y="352"/>
              </a:cxn>
              <a:cxn ang="0">
                <a:pos x="513" y="359"/>
              </a:cxn>
              <a:cxn ang="0">
                <a:pos x="533" y="356"/>
              </a:cxn>
              <a:cxn ang="0">
                <a:pos x="514" y="341"/>
              </a:cxn>
              <a:cxn ang="0">
                <a:pos x="552" y="336"/>
              </a:cxn>
              <a:cxn ang="0">
                <a:pos x="575" y="337"/>
              </a:cxn>
              <a:cxn ang="0">
                <a:pos x="607" y="342"/>
              </a:cxn>
              <a:cxn ang="0">
                <a:pos x="630" y="367"/>
              </a:cxn>
              <a:cxn ang="0">
                <a:pos x="641" y="403"/>
              </a:cxn>
              <a:cxn ang="0">
                <a:pos x="658" y="430"/>
              </a:cxn>
              <a:cxn ang="0">
                <a:pos x="662" y="372"/>
              </a:cxn>
              <a:cxn ang="0">
                <a:pos x="661" y="304"/>
              </a:cxn>
              <a:cxn ang="0">
                <a:pos x="685" y="286"/>
              </a:cxn>
              <a:cxn ang="0">
                <a:pos x="722" y="262"/>
              </a:cxn>
              <a:cxn ang="0">
                <a:pos x="727" y="248"/>
              </a:cxn>
              <a:cxn ang="0">
                <a:pos x="723" y="238"/>
              </a:cxn>
              <a:cxn ang="0">
                <a:pos x="735" y="232"/>
              </a:cxn>
              <a:cxn ang="0">
                <a:pos x="727" y="215"/>
              </a:cxn>
              <a:cxn ang="0">
                <a:pos x="712" y="194"/>
              </a:cxn>
              <a:cxn ang="0">
                <a:pos x="724" y="194"/>
              </a:cxn>
              <a:cxn ang="0">
                <a:pos x="732" y="177"/>
              </a:cxn>
              <a:cxn ang="0">
                <a:pos x="731" y="196"/>
              </a:cxn>
              <a:cxn ang="0">
                <a:pos x="738" y="215"/>
              </a:cxn>
              <a:cxn ang="0">
                <a:pos x="746" y="179"/>
              </a:cxn>
              <a:cxn ang="0">
                <a:pos x="763" y="166"/>
              </a:cxn>
              <a:cxn ang="0">
                <a:pos x="776" y="146"/>
              </a:cxn>
              <a:cxn ang="0">
                <a:pos x="815" y="136"/>
              </a:cxn>
              <a:cxn ang="0">
                <a:pos x="813" y="130"/>
              </a:cxn>
              <a:cxn ang="0">
                <a:pos x="819" y="105"/>
              </a:cxn>
              <a:cxn ang="0">
                <a:pos x="836" y="96"/>
              </a:cxn>
              <a:cxn ang="0">
                <a:pos x="855" y="88"/>
              </a:cxn>
            </a:cxnLst>
            <a:rect l="0" t="0" r="r" b="b"/>
            <a:pathLst>
              <a:path w="869" h="430">
                <a:moveTo>
                  <a:pt x="869" y="80"/>
                </a:moveTo>
                <a:lnTo>
                  <a:pt x="867" y="80"/>
                </a:lnTo>
                <a:lnTo>
                  <a:pt x="867" y="78"/>
                </a:lnTo>
                <a:lnTo>
                  <a:pt x="868" y="78"/>
                </a:lnTo>
                <a:lnTo>
                  <a:pt x="868" y="75"/>
                </a:lnTo>
                <a:lnTo>
                  <a:pt x="868" y="74"/>
                </a:lnTo>
                <a:lnTo>
                  <a:pt x="867" y="75"/>
                </a:lnTo>
                <a:lnTo>
                  <a:pt x="864" y="75"/>
                </a:lnTo>
                <a:lnTo>
                  <a:pt x="861" y="74"/>
                </a:lnTo>
                <a:lnTo>
                  <a:pt x="860" y="72"/>
                </a:lnTo>
                <a:lnTo>
                  <a:pt x="860" y="70"/>
                </a:lnTo>
                <a:lnTo>
                  <a:pt x="860" y="67"/>
                </a:lnTo>
                <a:lnTo>
                  <a:pt x="856" y="66"/>
                </a:lnTo>
                <a:lnTo>
                  <a:pt x="856" y="53"/>
                </a:lnTo>
                <a:lnTo>
                  <a:pt x="856" y="41"/>
                </a:lnTo>
                <a:lnTo>
                  <a:pt x="849" y="36"/>
                </a:lnTo>
                <a:lnTo>
                  <a:pt x="847" y="36"/>
                </a:lnTo>
                <a:lnTo>
                  <a:pt x="845" y="37"/>
                </a:lnTo>
                <a:lnTo>
                  <a:pt x="840" y="39"/>
                </a:lnTo>
                <a:lnTo>
                  <a:pt x="837" y="37"/>
                </a:lnTo>
                <a:lnTo>
                  <a:pt x="836" y="37"/>
                </a:lnTo>
                <a:lnTo>
                  <a:pt x="836" y="36"/>
                </a:lnTo>
                <a:lnTo>
                  <a:pt x="833" y="34"/>
                </a:lnTo>
                <a:lnTo>
                  <a:pt x="832" y="34"/>
                </a:lnTo>
                <a:lnTo>
                  <a:pt x="831" y="34"/>
                </a:lnTo>
                <a:lnTo>
                  <a:pt x="823" y="45"/>
                </a:lnTo>
                <a:lnTo>
                  <a:pt x="821" y="50"/>
                </a:lnTo>
                <a:lnTo>
                  <a:pt x="820" y="53"/>
                </a:lnTo>
                <a:lnTo>
                  <a:pt x="820" y="55"/>
                </a:lnTo>
                <a:lnTo>
                  <a:pt x="819" y="56"/>
                </a:lnTo>
                <a:lnTo>
                  <a:pt x="817" y="58"/>
                </a:lnTo>
                <a:lnTo>
                  <a:pt x="816" y="66"/>
                </a:lnTo>
                <a:lnTo>
                  <a:pt x="816" y="67"/>
                </a:lnTo>
                <a:lnTo>
                  <a:pt x="815" y="67"/>
                </a:lnTo>
                <a:lnTo>
                  <a:pt x="813" y="69"/>
                </a:lnTo>
                <a:lnTo>
                  <a:pt x="813" y="70"/>
                </a:lnTo>
                <a:lnTo>
                  <a:pt x="813" y="72"/>
                </a:lnTo>
                <a:lnTo>
                  <a:pt x="812" y="70"/>
                </a:lnTo>
                <a:lnTo>
                  <a:pt x="811" y="72"/>
                </a:lnTo>
                <a:lnTo>
                  <a:pt x="808" y="72"/>
                </a:lnTo>
                <a:lnTo>
                  <a:pt x="805" y="72"/>
                </a:lnTo>
                <a:lnTo>
                  <a:pt x="805" y="74"/>
                </a:lnTo>
                <a:lnTo>
                  <a:pt x="801" y="74"/>
                </a:lnTo>
                <a:lnTo>
                  <a:pt x="800" y="74"/>
                </a:lnTo>
                <a:lnTo>
                  <a:pt x="799" y="78"/>
                </a:lnTo>
                <a:lnTo>
                  <a:pt x="772" y="78"/>
                </a:lnTo>
                <a:lnTo>
                  <a:pt x="751" y="78"/>
                </a:lnTo>
                <a:lnTo>
                  <a:pt x="747" y="78"/>
                </a:lnTo>
                <a:lnTo>
                  <a:pt x="743" y="81"/>
                </a:lnTo>
                <a:lnTo>
                  <a:pt x="738" y="83"/>
                </a:lnTo>
                <a:lnTo>
                  <a:pt x="736" y="85"/>
                </a:lnTo>
                <a:lnTo>
                  <a:pt x="735" y="88"/>
                </a:lnTo>
                <a:lnTo>
                  <a:pt x="732" y="89"/>
                </a:lnTo>
                <a:lnTo>
                  <a:pt x="730" y="91"/>
                </a:lnTo>
                <a:lnTo>
                  <a:pt x="724" y="92"/>
                </a:lnTo>
                <a:lnTo>
                  <a:pt x="722" y="96"/>
                </a:lnTo>
                <a:lnTo>
                  <a:pt x="720" y="99"/>
                </a:lnTo>
                <a:lnTo>
                  <a:pt x="715" y="100"/>
                </a:lnTo>
                <a:lnTo>
                  <a:pt x="710" y="102"/>
                </a:lnTo>
                <a:lnTo>
                  <a:pt x="703" y="102"/>
                </a:lnTo>
                <a:lnTo>
                  <a:pt x="698" y="102"/>
                </a:lnTo>
                <a:lnTo>
                  <a:pt x="694" y="103"/>
                </a:lnTo>
                <a:lnTo>
                  <a:pt x="688" y="103"/>
                </a:lnTo>
                <a:lnTo>
                  <a:pt x="686" y="107"/>
                </a:lnTo>
                <a:lnTo>
                  <a:pt x="687" y="108"/>
                </a:lnTo>
                <a:lnTo>
                  <a:pt x="687" y="111"/>
                </a:lnTo>
                <a:lnTo>
                  <a:pt x="688" y="113"/>
                </a:lnTo>
                <a:lnTo>
                  <a:pt x="690" y="116"/>
                </a:lnTo>
                <a:lnTo>
                  <a:pt x="686" y="118"/>
                </a:lnTo>
                <a:lnTo>
                  <a:pt x="682" y="118"/>
                </a:lnTo>
                <a:lnTo>
                  <a:pt x="679" y="121"/>
                </a:lnTo>
                <a:lnTo>
                  <a:pt x="674" y="121"/>
                </a:lnTo>
                <a:lnTo>
                  <a:pt x="671" y="122"/>
                </a:lnTo>
                <a:lnTo>
                  <a:pt x="667" y="124"/>
                </a:lnTo>
                <a:lnTo>
                  <a:pt x="662" y="127"/>
                </a:lnTo>
                <a:lnTo>
                  <a:pt x="658" y="127"/>
                </a:lnTo>
                <a:lnTo>
                  <a:pt x="653" y="129"/>
                </a:lnTo>
                <a:lnTo>
                  <a:pt x="647" y="130"/>
                </a:lnTo>
                <a:lnTo>
                  <a:pt x="645" y="133"/>
                </a:lnTo>
                <a:lnTo>
                  <a:pt x="637" y="135"/>
                </a:lnTo>
                <a:lnTo>
                  <a:pt x="633" y="135"/>
                </a:lnTo>
                <a:lnTo>
                  <a:pt x="629" y="135"/>
                </a:lnTo>
                <a:lnTo>
                  <a:pt x="626" y="133"/>
                </a:lnTo>
                <a:lnTo>
                  <a:pt x="625" y="130"/>
                </a:lnTo>
                <a:lnTo>
                  <a:pt x="625" y="129"/>
                </a:lnTo>
                <a:lnTo>
                  <a:pt x="626" y="125"/>
                </a:lnTo>
                <a:lnTo>
                  <a:pt x="627" y="124"/>
                </a:lnTo>
                <a:lnTo>
                  <a:pt x="634" y="119"/>
                </a:lnTo>
                <a:lnTo>
                  <a:pt x="635" y="113"/>
                </a:lnTo>
                <a:lnTo>
                  <a:pt x="635" y="111"/>
                </a:lnTo>
                <a:lnTo>
                  <a:pt x="637" y="107"/>
                </a:lnTo>
                <a:lnTo>
                  <a:pt x="637" y="103"/>
                </a:lnTo>
                <a:lnTo>
                  <a:pt x="637" y="97"/>
                </a:lnTo>
                <a:lnTo>
                  <a:pt x="635" y="92"/>
                </a:lnTo>
                <a:lnTo>
                  <a:pt x="635" y="88"/>
                </a:lnTo>
                <a:lnTo>
                  <a:pt x="633" y="81"/>
                </a:lnTo>
                <a:lnTo>
                  <a:pt x="631" y="75"/>
                </a:lnTo>
                <a:lnTo>
                  <a:pt x="627" y="70"/>
                </a:lnTo>
                <a:lnTo>
                  <a:pt x="625" y="67"/>
                </a:lnTo>
                <a:lnTo>
                  <a:pt x="622" y="63"/>
                </a:lnTo>
                <a:lnTo>
                  <a:pt x="618" y="58"/>
                </a:lnTo>
                <a:lnTo>
                  <a:pt x="613" y="56"/>
                </a:lnTo>
                <a:lnTo>
                  <a:pt x="609" y="55"/>
                </a:lnTo>
                <a:lnTo>
                  <a:pt x="607" y="52"/>
                </a:lnTo>
                <a:lnTo>
                  <a:pt x="606" y="52"/>
                </a:lnTo>
                <a:lnTo>
                  <a:pt x="605" y="52"/>
                </a:lnTo>
                <a:lnTo>
                  <a:pt x="601" y="50"/>
                </a:lnTo>
                <a:lnTo>
                  <a:pt x="599" y="48"/>
                </a:lnTo>
                <a:lnTo>
                  <a:pt x="595" y="44"/>
                </a:lnTo>
                <a:lnTo>
                  <a:pt x="589" y="39"/>
                </a:lnTo>
                <a:lnTo>
                  <a:pt x="574" y="31"/>
                </a:lnTo>
                <a:lnTo>
                  <a:pt x="558" y="26"/>
                </a:lnTo>
                <a:lnTo>
                  <a:pt x="541" y="25"/>
                </a:lnTo>
                <a:lnTo>
                  <a:pt x="529" y="25"/>
                </a:lnTo>
                <a:lnTo>
                  <a:pt x="525" y="25"/>
                </a:lnTo>
                <a:lnTo>
                  <a:pt x="524" y="25"/>
                </a:lnTo>
                <a:lnTo>
                  <a:pt x="520" y="23"/>
                </a:lnTo>
                <a:lnTo>
                  <a:pt x="513" y="23"/>
                </a:lnTo>
                <a:lnTo>
                  <a:pt x="509" y="22"/>
                </a:lnTo>
                <a:lnTo>
                  <a:pt x="506" y="22"/>
                </a:lnTo>
                <a:lnTo>
                  <a:pt x="502" y="23"/>
                </a:lnTo>
                <a:lnTo>
                  <a:pt x="501" y="23"/>
                </a:lnTo>
                <a:lnTo>
                  <a:pt x="497" y="22"/>
                </a:lnTo>
                <a:lnTo>
                  <a:pt x="496" y="20"/>
                </a:lnTo>
                <a:lnTo>
                  <a:pt x="492" y="19"/>
                </a:lnTo>
                <a:lnTo>
                  <a:pt x="490" y="17"/>
                </a:lnTo>
                <a:lnTo>
                  <a:pt x="488" y="17"/>
                </a:lnTo>
                <a:lnTo>
                  <a:pt x="486" y="17"/>
                </a:lnTo>
                <a:lnTo>
                  <a:pt x="485" y="15"/>
                </a:lnTo>
                <a:lnTo>
                  <a:pt x="482" y="14"/>
                </a:lnTo>
                <a:lnTo>
                  <a:pt x="480" y="12"/>
                </a:lnTo>
                <a:lnTo>
                  <a:pt x="472" y="12"/>
                </a:lnTo>
                <a:lnTo>
                  <a:pt x="470" y="14"/>
                </a:lnTo>
                <a:lnTo>
                  <a:pt x="466" y="14"/>
                </a:lnTo>
                <a:lnTo>
                  <a:pt x="465" y="14"/>
                </a:lnTo>
                <a:lnTo>
                  <a:pt x="465" y="12"/>
                </a:lnTo>
                <a:lnTo>
                  <a:pt x="464" y="12"/>
                </a:lnTo>
                <a:lnTo>
                  <a:pt x="461" y="12"/>
                </a:lnTo>
                <a:lnTo>
                  <a:pt x="460" y="11"/>
                </a:lnTo>
                <a:lnTo>
                  <a:pt x="457" y="11"/>
                </a:lnTo>
                <a:lnTo>
                  <a:pt x="456" y="11"/>
                </a:lnTo>
                <a:lnTo>
                  <a:pt x="453" y="11"/>
                </a:lnTo>
                <a:lnTo>
                  <a:pt x="451" y="6"/>
                </a:lnTo>
                <a:lnTo>
                  <a:pt x="447" y="0"/>
                </a:lnTo>
                <a:lnTo>
                  <a:pt x="445" y="0"/>
                </a:lnTo>
                <a:lnTo>
                  <a:pt x="444" y="0"/>
                </a:lnTo>
                <a:lnTo>
                  <a:pt x="444" y="6"/>
                </a:lnTo>
                <a:lnTo>
                  <a:pt x="428" y="6"/>
                </a:lnTo>
                <a:lnTo>
                  <a:pt x="412" y="6"/>
                </a:lnTo>
                <a:lnTo>
                  <a:pt x="409" y="6"/>
                </a:lnTo>
                <a:lnTo>
                  <a:pt x="396" y="6"/>
                </a:lnTo>
                <a:lnTo>
                  <a:pt x="383" y="6"/>
                </a:lnTo>
                <a:lnTo>
                  <a:pt x="368" y="6"/>
                </a:lnTo>
                <a:lnTo>
                  <a:pt x="355" y="6"/>
                </a:lnTo>
                <a:lnTo>
                  <a:pt x="349" y="6"/>
                </a:lnTo>
                <a:lnTo>
                  <a:pt x="310" y="6"/>
                </a:lnTo>
                <a:lnTo>
                  <a:pt x="298" y="6"/>
                </a:lnTo>
                <a:lnTo>
                  <a:pt x="283" y="6"/>
                </a:lnTo>
                <a:lnTo>
                  <a:pt x="270" y="6"/>
                </a:lnTo>
                <a:lnTo>
                  <a:pt x="256" y="6"/>
                </a:lnTo>
                <a:lnTo>
                  <a:pt x="243" y="6"/>
                </a:lnTo>
                <a:lnTo>
                  <a:pt x="229" y="6"/>
                </a:lnTo>
                <a:lnTo>
                  <a:pt x="221" y="6"/>
                </a:lnTo>
                <a:lnTo>
                  <a:pt x="206" y="6"/>
                </a:lnTo>
                <a:lnTo>
                  <a:pt x="191" y="6"/>
                </a:lnTo>
                <a:lnTo>
                  <a:pt x="178" y="6"/>
                </a:lnTo>
                <a:lnTo>
                  <a:pt x="159" y="6"/>
                </a:lnTo>
                <a:lnTo>
                  <a:pt x="129" y="6"/>
                </a:lnTo>
                <a:lnTo>
                  <a:pt x="114" y="6"/>
                </a:lnTo>
                <a:lnTo>
                  <a:pt x="100" y="6"/>
                </a:lnTo>
                <a:lnTo>
                  <a:pt x="88" y="6"/>
                </a:lnTo>
                <a:lnTo>
                  <a:pt x="74" y="6"/>
                </a:lnTo>
                <a:lnTo>
                  <a:pt x="60" y="6"/>
                </a:lnTo>
                <a:lnTo>
                  <a:pt x="46" y="6"/>
                </a:lnTo>
                <a:lnTo>
                  <a:pt x="29" y="6"/>
                </a:lnTo>
                <a:lnTo>
                  <a:pt x="29" y="8"/>
                </a:lnTo>
                <a:lnTo>
                  <a:pt x="30" y="9"/>
                </a:lnTo>
                <a:lnTo>
                  <a:pt x="33" y="9"/>
                </a:lnTo>
                <a:lnTo>
                  <a:pt x="36" y="11"/>
                </a:lnTo>
                <a:lnTo>
                  <a:pt x="36" y="12"/>
                </a:lnTo>
                <a:lnTo>
                  <a:pt x="34" y="11"/>
                </a:lnTo>
                <a:lnTo>
                  <a:pt x="34" y="14"/>
                </a:lnTo>
                <a:lnTo>
                  <a:pt x="33" y="15"/>
                </a:lnTo>
                <a:lnTo>
                  <a:pt x="32" y="15"/>
                </a:lnTo>
                <a:lnTo>
                  <a:pt x="33" y="17"/>
                </a:lnTo>
                <a:lnTo>
                  <a:pt x="34" y="17"/>
                </a:lnTo>
                <a:lnTo>
                  <a:pt x="36" y="22"/>
                </a:lnTo>
                <a:lnTo>
                  <a:pt x="36" y="25"/>
                </a:lnTo>
                <a:lnTo>
                  <a:pt x="36" y="28"/>
                </a:lnTo>
                <a:lnTo>
                  <a:pt x="34" y="26"/>
                </a:lnTo>
                <a:lnTo>
                  <a:pt x="32" y="26"/>
                </a:lnTo>
                <a:lnTo>
                  <a:pt x="30" y="30"/>
                </a:lnTo>
                <a:lnTo>
                  <a:pt x="28" y="31"/>
                </a:lnTo>
                <a:lnTo>
                  <a:pt x="26" y="33"/>
                </a:lnTo>
                <a:lnTo>
                  <a:pt x="28" y="33"/>
                </a:lnTo>
                <a:lnTo>
                  <a:pt x="28" y="34"/>
                </a:lnTo>
                <a:lnTo>
                  <a:pt x="25" y="34"/>
                </a:lnTo>
                <a:lnTo>
                  <a:pt x="25" y="31"/>
                </a:lnTo>
                <a:lnTo>
                  <a:pt x="28" y="26"/>
                </a:lnTo>
                <a:lnTo>
                  <a:pt x="29" y="26"/>
                </a:lnTo>
                <a:lnTo>
                  <a:pt x="30" y="25"/>
                </a:lnTo>
                <a:lnTo>
                  <a:pt x="30" y="23"/>
                </a:lnTo>
                <a:lnTo>
                  <a:pt x="30" y="22"/>
                </a:lnTo>
                <a:lnTo>
                  <a:pt x="26" y="22"/>
                </a:lnTo>
                <a:lnTo>
                  <a:pt x="22" y="20"/>
                </a:lnTo>
                <a:lnTo>
                  <a:pt x="18" y="20"/>
                </a:lnTo>
                <a:lnTo>
                  <a:pt x="16" y="20"/>
                </a:lnTo>
                <a:lnTo>
                  <a:pt x="13" y="20"/>
                </a:lnTo>
                <a:lnTo>
                  <a:pt x="5" y="17"/>
                </a:lnTo>
                <a:lnTo>
                  <a:pt x="3" y="17"/>
                </a:lnTo>
                <a:lnTo>
                  <a:pt x="1" y="17"/>
                </a:lnTo>
                <a:lnTo>
                  <a:pt x="0" y="20"/>
                </a:lnTo>
                <a:lnTo>
                  <a:pt x="0" y="22"/>
                </a:lnTo>
                <a:lnTo>
                  <a:pt x="0" y="23"/>
                </a:lnTo>
                <a:lnTo>
                  <a:pt x="1" y="25"/>
                </a:lnTo>
                <a:lnTo>
                  <a:pt x="4" y="28"/>
                </a:lnTo>
                <a:lnTo>
                  <a:pt x="5" y="31"/>
                </a:lnTo>
                <a:lnTo>
                  <a:pt x="8" y="37"/>
                </a:lnTo>
                <a:lnTo>
                  <a:pt x="9" y="41"/>
                </a:lnTo>
                <a:lnTo>
                  <a:pt x="10" y="41"/>
                </a:lnTo>
                <a:lnTo>
                  <a:pt x="12" y="41"/>
                </a:lnTo>
                <a:lnTo>
                  <a:pt x="10" y="42"/>
                </a:lnTo>
                <a:lnTo>
                  <a:pt x="10" y="44"/>
                </a:lnTo>
                <a:lnTo>
                  <a:pt x="10" y="45"/>
                </a:lnTo>
                <a:lnTo>
                  <a:pt x="12" y="45"/>
                </a:lnTo>
                <a:lnTo>
                  <a:pt x="13" y="47"/>
                </a:lnTo>
                <a:lnTo>
                  <a:pt x="12" y="48"/>
                </a:lnTo>
                <a:lnTo>
                  <a:pt x="13" y="50"/>
                </a:lnTo>
                <a:lnTo>
                  <a:pt x="12" y="52"/>
                </a:lnTo>
                <a:lnTo>
                  <a:pt x="12" y="48"/>
                </a:lnTo>
                <a:lnTo>
                  <a:pt x="10" y="48"/>
                </a:lnTo>
                <a:lnTo>
                  <a:pt x="10" y="52"/>
                </a:lnTo>
                <a:lnTo>
                  <a:pt x="10" y="53"/>
                </a:lnTo>
                <a:lnTo>
                  <a:pt x="13" y="55"/>
                </a:lnTo>
                <a:lnTo>
                  <a:pt x="18" y="53"/>
                </a:lnTo>
                <a:lnTo>
                  <a:pt x="20" y="55"/>
                </a:lnTo>
                <a:lnTo>
                  <a:pt x="22" y="56"/>
                </a:lnTo>
                <a:lnTo>
                  <a:pt x="21" y="56"/>
                </a:lnTo>
                <a:lnTo>
                  <a:pt x="18" y="56"/>
                </a:lnTo>
                <a:lnTo>
                  <a:pt x="13" y="56"/>
                </a:lnTo>
                <a:lnTo>
                  <a:pt x="12" y="56"/>
                </a:lnTo>
                <a:lnTo>
                  <a:pt x="12" y="58"/>
                </a:lnTo>
                <a:lnTo>
                  <a:pt x="12" y="61"/>
                </a:lnTo>
                <a:lnTo>
                  <a:pt x="12" y="63"/>
                </a:lnTo>
                <a:lnTo>
                  <a:pt x="13" y="64"/>
                </a:lnTo>
                <a:lnTo>
                  <a:pt x="12" y="66"/>
                </a:lnTo>
                <a:lnTo>
                  <a:pt x="12" y="67"/>
                </a:lnTo>
                <a:lnTo>
                  <a:pt x="12" y="69"/>
                </a:lnTo>
                <a:lnTo>
                  <a:pt x="10" y="77"/>
                </a:lnTo>
                <a:lnTo>
                  <a:pt x="10" y="80"/>
                </a:lnTo>
                <a:lnTo>
                  <a:pt x="10" y="89"/>
                </a:lnTo>
                <a:lnTo>
                  <a:pt x="9" y="92"/>
                </a:lnTo>
                <a:lnTo>
                  <a:pt x="9" y="96"/>
                </a:lnTo>
                <a:lnTo>
                  <a:pt x="8" y="102"/>
                </a:lnTo>
                <a:lnTo>
                  <a:pt x="8" y="103"/>
                </a:lnTo>
                <a:lnTo>
                  <a:pt x="9" y="105"/>
                </a:lnTo>
                <a:lnTo>
                  <a:pt x="7" y="107"/>
                </a:lnTo>
                <a:lnTo>
                  <a:pt x="5" y="108"/>
                </a:lnTo>
                <a:lnTo>
                  <a:pt x="4" y="114"/>
                </a:lnTo>
                <a:lnTo>
                  <a:pt x="5" y="119"/>
                </a:lnTo>
                <a:lnTo>
                  <a:pt x="5" y="125"/>
                </a:lnTo>
                <a:lnTo>
                  <a:pt x="8" y="130"/>
                </a:lnTo>
                <a:lnTo>
                  <a:pt x="8" y="133"/>
                </a:lnTo>
                <a:lnTo>
                  <a:pt x="10" y="141"/>
                </a:lnTo>
                <a:lnTo>
                  <a:pt x="9" y="147"/>
                </a:lnTo>
                <a:lnTo>
                  <a:pt x="9" y="152"/>
                </a:lnTo>
                <a:lnTo>
                  <a:pt x="8" y="155"/>
                </a:lnTo>
                <a:lnTo>
                  <a:pt x="7" y="157"/>
                </a:lnTo>
                <a:lnTo>
                  <a:pt x="7" y="158"/>
                </a:lnTo>
                <a:lnTo>
                  <a:pt x="7" y="160"/>
                </a:lnTo>
                <a:lnTo>
                  <a:pt x="8" y="162"/>
                </a:lnTo>
                <a:lnTo>
                  <a:pt x="14" y="171"/>
                </a:lnTo>
                <a:lnTo>
                  <a:pt x="14" y="173"/>
                </a:lnTo>
                <a:lnTo>
                  <a:pt x="14" y="174"/>
                </a:lnTo>
                <a:lnTo>
                  <a:pt x="14" y="177"/>
                </a:lnTo>
                <a:lnTo>
                  <a:pt x="17" y="187"/>
                </a:lnTo>
                <a:lnTo>
                  <a:pt x="18" y="188"/>
                </a:lnTo>
                <a:lnTo>
                  <a:pt x="21" y="191"/>
                </a:lnTo>
                <a:lnTo>
                  <a:pt x="26" y="196"/>
                </a:lnTo>
                <a:lnTo>
                  <a:pt x="26" y="198"/>
                </a:lnTo>
                <a:lnTo>
                  <a:pt x="26" y="199"/>
                </a:lnTo>
                <a:lnTo>
                  <a:pt x="28" y="201"/>
                </a:lnTo>
                <a:lnTo>
                  <a:pt x="29" y="202"/>
                </a:lnTo>
                <a:lnTo>
                  <a:pt x="30" y="202"/>
                </a:lnTo>
                <a:lnTo>
                  <a:pt x="32" y="204"/>
                </a:lnTo>
                <a:lnTo>
                  <a:pt x="33" y="204"/>
                </a:lnTo>
                <a:lnTo>
                  <a:pt x="33" y="202"/>
                </a:lnTo>
                <a:lnTo>
                  <a:pt x="34" y="199"/>
                </a:lnTo>
                <a:lnTo>
                  <a:pt x="37" y="199"/>
                </a:lnTo>
                <a:lnTo>
                  <a:pt x="41" y="201"/>
                </a:lnTo>
                <a:lnTo>
                  <a:pt x="40" y="201"/>
                </a:lnTo>
                <a:lnTo>
                  <a:pt x="37" y="201"/>
                </a:lnTo>
                <a:lnTo>
                  <a:pt x="36" y="202"/>
                </a:lnTo>
                <a:lnTo>
                  <a:pt x="37" y="204"/>
                </a:lnTo>
                <a:lnTo>
                  <a:pt x="40" y="209"/>
                </a:lnTo>
                <a:lnTo>
                  <a:pt x="40" y="210"/>
                </a:lnTo>
                <a:lnTo>
                  <a:pt x="37" y="209"/>
                </a:lnTo>
                <a:lnTo>
                  <a:pt x="36" y="207"/>
                </a:lnTo>
                <a:lnTo>
                  <a:pt x="36" y="205"/>
                </a:lnTo>
                <a:lnTo>
                  <a:pt x="34" y="205"/>
                </a:lnTo>
                <a:lnTo>
                  <a:pt x="33" y="207"/>
                </a:lnTo>
                <a:lnTo>
                  <a:pt x="34" y="209"/>
                </a:lnTo>
                <a:lnTo>
                  <a:pt x="36" y="212"/>
                </a:lnTo>
                <a:lnTo>
                  <a:pt x="37" y="216"/>
                </a:lnTo>
                <a:lnTo>
                  <a:pt x="38" y="220"/>
                </a:lnTo>
                <a:lnTo>
                  <a:pt x="42" y="220"/>
                </a:lnTo>
                <a:lnTo>
                  <a:pt x="44" y="223"/>
                </a:lnTo>
                <a:lnTo>
                  <a:pt x="44" y="226"/>
                </a:lnTo>
                <a:lnTo>
                  <a:pt x="42" y="227"/>
                </a:lnTo>
                <a:lnTo>
                  <a:pt x="42" y="231"/>
                </a:lnTo>
                <a:lnTo>
                  <a:pt x="42" y="232"/>
                </a:lnTo>
                <a:lnTo>
                  <a:pt x="49" y="238"/>
                </a:lnTo>
                <a:lnTo>
                  <a:pt x="53" y="243"/>
                </a:lnTo>
                <a:lnTo>
                  <a:pt x="57" y="246"/>
                </a:lnTo>
                <a:lnTo>
                  <a:pt x="58" y="248"/>
                </a:lnTo>
                <a:lnTo>
                  <a:pt x="58" y="251"/>
                </a:lnTo>
                <a:lnTo>
                  <a:pt x="61" y="251"/>
                </a:lnTo>
                <a:lnTo>
                  <a:pt x="62" y="254"/>
                </a:lnTo>
                <a:lnTo>
                  <a:pt x="62" y="256"/>
                </a:lnTo>
                <a:lnTo>
                  <a:pt x="62" y="259"/>
                </a:lnTo>
                <a:lnTo>
                  <a:pt x="62" y="262"/>
                </a:lnTo>
                <a:lnTo>
                  <a:pt x="64" y="264"/>
                </a:lnTo>
                <a:lnTo>
                  <a:pt x="65" y="264"/>
                </a:lnTo>
                <a:lnTo>
                  <a:pt x="70" y="265"/>
                </a:lnTo>
                <a:lnTo>
                  <a:pt x="73" y="267"/>
                </a:lnTo>
                <a:lnTo>
                  <a:pt x="74" y="265"/>
                </a:lnTo>
                <a:lnTo>
                  <a:pt x="77" y="265"/>
                </a:lnTo>
                <a:lnTo>
                  <a:pt x="80" y="267"/>
                </a:lnTo>
                <a:lnTo>
                  <a:pt x="82" y="268"/>
                </a:lnTo>
                <a:lnTo>
                  <a:pt x="82" y="270"/>
                </a:lnTo>
                <a:lnTo>
                  <a:pt x="88" y="271"/>
                </a:lnTo>
                <a:lnTo>
                  <a:pt x="89" y="273"/>
                </a:lnTo>
                <a:lnTo>
                  <a:pt x="90" y="273"/>
                </a:lnTo>
                <a:lnTo>
                  <a:pt x="90" y="271"/>
                </a:lnTo>
                <a:lnTo>
                  <a:pt x="92" y="271"/>
                </a:lnTo>
                <a:lnTo>
                  <a:pt x="93" y="273"/>
                </a:lnTo>
                <a:lnTo>
                  <a:pt x="96" y="275"/>
                </a:lnTo>
                <a:lnTo>
                  <a:pt x="96" y="278"/>
                </a:lnTo>
                <a:lnTo>
                  <a:pt x="100" y="278"/>
                </a:lnTo>
                <a:lnTo>
                  <a:pt x="104" y="279"/>
                </a:lnTo>
                <a:lnTo>
                  <a:pt x="105" y="281"/>
                </a:lnTo>
                <a:lnTo>
                  <a:pt x="109" y="286"/>
                </a:lnTo>
                <a:lnTo>
                  <a:pt x="112" y="289"/>
                </a:lnTo>
                <a:lnTo>
                  <a:pt x="113" y="290"/>
                </a:lnTo>
                <a:lnTo>
                  <a:pt x="114" y="298"/>
                </a:lnTo>
                <a:lnTo>
                  <a:pt x="114" y="300"/>
                </a:lnTo>
                <a:lnTo>
                  <a:pt x="149" y="297"/>
                </a:lnTo>
                <a:lnTo>
                  <a:pt x="149" y="298"/>
                </a:lnTo>
                <a:lnTo>
                  <a:pt x="206" y="320"/>
                </a:lnTo>
                <a:lnTo>
                  <a:pt x="234" y="320"/>
                </a:lnTo>
                <a:lnTo>
                  <a:pt x="247" y="320"/>
                </a:lnTo>
                <a:lnTo>
                  <a:pt x="247" y="312"/>
                </a:lnTo>
                <a:lnTo>
                  <a:pt x="271" y="311"/>
                </a:lnTo>
                <a:lnTo>
                  <a:pt x="274" y="314"/>
                </a:lnTo>
                <a:lnTo>
                  <a:pt x="275" y="314"/>
                </a:lnTo>
                <a:lnTo>
                  <a:pt x="278" y="317"/>
                </a:lnTo>
                <a:lnTo>
                  <a:pt x="280" y="319"/>
                </a:lnTo>
                <a:lnTo>
                  <a:pt x="283" y="322"/>
                </a:lnTo>
                <a:lnTo>
                  <a:pt x="288" y="328"/>
                </a:lnTo>
                <a:lnTo>
                  <a:pt x="296" y="333"/>
                </a:lnTo>
                <a:lnTo>
                  <a:pt x="300" y="347"/>
                </a:lnTo>
                <a:lnTo>
                  <a:pt x="304" y="352"/>
                </a:lnTo>
                <a:lnTo>
                  <a:pt x="310" y="356"/>
                </a:lnTo>
                <a:lnTo>
                  <a:pt x="316" y="361"/>
                </a:lnTo>
                <a:lnTo>
                  <a:pt x="323" y="363"/>
                </a:lnTo>
                <a:lnTo>
                  <a:pt x="330" y="348"/>
                </a:lnTo>
                <a:lnTo>
                  <a:pt x="332" y="347"/>
                </a:lnTo>
                <a:lnTo>
                  <a:pt x="336" y="348"/>
                </a:lnTo>
                <a:lnTo>
                  <a:pt x="348" y="347"/>
                </a:lnTo>
                <a:lnTo>
                  <a:pt x="351" y="350"/>
                </a:lnTo>
                <a:lnTo>
                  <a:pt x="355" y="355"/>
                </a:lnTo>
                <a:lnTo>
                  <a:pt x="356" y="358"/>
                </a:lnTo>
                <a:lnTo>
                  <a:pt x="360" y="359"/>
                </a:lnTo>
                <a:lnTo>
                  <a:pt x="365" y="374"/>
                </a:lnTo>
                <a:lnTo>
                  <a:pt x="369" y="378"/>
                </a:lnTo>
                <a:lnTo>
                  <a:pt x="372" y="383"/>
                </a:lnTo>
                <a:lnTo>
                  <a:pt x="376" y="386"/>
                </a:lnTo>
                <a:lnTo>
                  <a:pt x="380" y="400"/>
                </a:lnTo>
                <a:lnTo>
                  <a:pt x="385" y="408"/>
                </a:lnTo>
                <a:lnTo>
                  <a:pt x="389" y="411"/>
                </a:lnTo>
                <a:lnTo>
                  <a:pt x="393" y="411"/>
                </a:lnTo>
                <a:lnTo>
                  <a:pt x="397" y="414"/>
                </a:lnTo>
                <a:lnTo>
                  <a:pt x="405" y="414"/>
                </a:lnTo>
                <a:lnTo>
                  <a:pt x="411" y="417"/>
                </a:lnTo>
                <a:lnTo>
                  <a:pt x="415" y="417"/>
                </a:lnTo>
                <a:lnTo>
                  <a:pt x="415" y="416"/>
                </a:lnTo>
                <a:lnTo>
                  <a:pt x="413" y="413"/>
                </a:lnTo>
                <a:lnTo>
                  <a:pt x="412" y="411"/>
                </a:lnTo>
                <a:lnTo>
                  <a:pt x="412" y="410"/>
                </a:lnTo>
                <a:lnTo>
                  <a:pt x="411" y="403"/>
                </a:lnTo>
                <a:lnTo>
                  <a:pt x="411" y="400"/>
                </a:lnTo>
                <a:lnTo>
                  <a:pt x="411" y="399"/>
                </a:lnTo>
                <a:lnTo>
                  <a:pt x="412" y="395"/>
                </a:lnTo>
                <a:lnTo>
                  <a:pt x="411" y="395"/>
                </a:lnTo>
                <a:lnTo>
                  <a:pt x="409" y="394"/>
                </a:lnTo>
                <a:lnTo>
                  <a:pt x="408" y="394"/>
                </a:lnTo>
                <a:lnTo>
                  <a:pt x="409" y="392"/>
                </a:lnTo>
                <a:lnTo>
                  <a:pt x="411" y="392"/>
                </a:lnTo>
                <a:lnTo>
                  <a:pt x="412" y="394"/>
                </a:lnTo>
                <a:lnTo>
                  <a:pt x="413" y="392"/>
                </a:lnTo>
                <a:lnTo>
                  <a:pt x="413" y="391"/>
                </a:lnTo>
                <a:lnTo>
                  <a:pt x="413" y="386"/>
                </a:lnTo>
                <a:lnTo>
                  <a:pt x="412" y="384"/>
                </a:lnTo>
                <a:lnTo>
                  <a:pt x="416" y="383"/>
                </a:lnTo>
                <a:lnTo>
                  <a:pt x="417" y="380"/>
                </a:lnTo>
                <a:lnTo>
                  <a:pt x="416" y="380"/>
                </a:lnTo>
                <a:lnTo>
                  <a:pt x="416" y="378"/>
                </a:lnTo>
                <a:lnTo>
                  <a:pt x="419" y="377"/>
                </a:lnTo>
                <a:lnTo>
                  <a:pt x="421" y="375"/>
                </a:lnTo>
                <a:lnTo>
                  <a:pt x="421" y="374"/>
                </a:lnTo>
                <a:lnTo>
                  <a:pt x="424" y="374"/>
                </a:lnTo>
                <a:lnTo>
                  <a:pt x="425" y="372"/>
                </a:lnTo>
                <a:lnTo>
                  <a:pt x="424" y="370"/>
                </a:lnTo>
                <a:lnTo>
                  <a:pt x="424" y="369"/>
                </a:lnTo>
                <a:lnTo>
                  <a:pt x="424" y="367"/>
                </a:lnTo>
                <a:lnTo>
                  <a:pt x="425" y="369"/>
                </a:lnTo>
                <a:lnTo>
                  <a:pt x="427" y="369"/>
                </a:lnTo>
                <a:lnTo>
                  <a:pt x="427" y="367"/>
                </a:lnTo>
                <a:lnTo>
                  <a:pt x="428" y="367"/>
                </a:lnTo>
                <a:lnTo>
                  <a:pt x="429" y="369"/>
                </a:lnTo>
                <a:lnTo>
                  <a:pt x="431" y="367"/>
                </a:lnTo>
                <a:lnTo>
                  <a:pt x="432" y="369"/>
                </a:lnTo>
                <a:lnTo>
                  <a:pt x="436" y="367"/>
                </a:lnTo>
                <a:lnTo>
                  <a:pt x="436" y="369"/>
                </a:lnTo>
                <a:lnTo>
                  <a:pt x="435" y="369"/>
                </a:lnTo>
                <a:lnTo>
                  <a:pt x="432" y="370"/>
                </a:lnTo>
                <a:lnTo>
                  <a:pt x="431" y="372"/>
                </a:lnTo>
                <a:lnTo>
                  <a:pt x="429" y="372"/>
                </a:lnTo>
                <a:lnTo>
                  <a:pt x="431" y="372"/>
                </a:lnTo>
                <a:lnTo>
                  <a:pt x="435" y="370"/>
                </a:lnTo>
                <a:lnTo>
                  <a:pt x="439" y="369"/>
                </a:lnTo>
                <a:lnTo>
                  <a:pt x="440" y="367"/>
                </a:lnTo>
                <a:lnTo>
                  <a:pt x="444" y="364"/>
                </a:lnTo>
                <a:lnTo>
                  <a:pt x="445" y="363"/>
                </a:lnTo>
                <a:lnTo>
                  <a:pt x="447" y="358"/>
                </a:lnTo>
                <a:lnTo>
                  <a:pt x="447" y="348"/>
                </a:lnTo>
                <a:lnTo>
                  <a:pt x="448" y="348"/>
                </a:lnTo>
                <a:lnTo>
                  <a:pt x="449" y="348"/>
                </a:lnTo>
                <a:lnTo>
                  <a:pt x="449" y="352"/>
                </a:lnTo>
                <a:lnTo>
                  <a:pt x="452" y="352"/>
                </a:lnTo>
                <a:lnTo>
                  <a:pt x="451" y="353"/>
                </a:lnTo>
                <a:lnTo>
                  <a:pt x="449" y="353"/>
                </a:lnTo>
                <a:lnTo>
                  <a:pt x="455" y="352"/>
                </a:lnTo>
                <a:lnTo>
                  <a:pt x="459" y="350"/>
                </a:lnTo>
                <a:lnTo>
                  <a:pt x="464" y="350"/>
                </a:lnTo>
                <a:lnTo>
                  <a:pt x="472" y="348"/>
                </a:lnTo>
                <a:lnTo>
                  <a:pt x="477" y="350"/>
                </a:lnTo>
                <a:lnTo>
                  <a:pt x="480" y="352"/>
                </a:lnTo>
                <a:lnTo>
                  <a:pt x="484" y="352"/>
                </a:lnTo>
                <a:lnTo>
                  <a:pt x="488" y="352"/>
                </a:lnTo>
                <a:lnTo>
                  <a:pt x="489" y="350"/>
                </a:lnTo>
                <a:lnTo>
                  <a:pt x="489" y="348"/>
                </a:lnTo>
                <a:lnTo>
                  <a:pt x="489" y="347"/>
                </a:lnTo>
                <a:lnTo>
                  <a:pt x="492" y="348"/>
                </a:lnTo>
                <a:lnTo>
                  <a:pt x="497" y="350"/>
                </a:lnTo>
                <a:lnTo>
                  <a:pt x="498" y="352"/>
                </a:lnTo>
                <a:lnTo>
                  <a:pt x="500" y="352"/>
                </a:lnTo>
                <a:lnTo>
                  <a:pt x="504" y="358"/>
                </a:lnTo>
                <a:lnTo>
                  <a:pt x="506" y="358"/>
                </a:lnTo>
                <a:lnTo>
                  <a:pt x="509" y="359"/>
                </a:lnTo>
                <a:lnTo>
                  <a:pt x="512" y="358"/>
                </a:lnTo>
                <a:lnTo>
                  <a:pt x="513" y="359"/>
                </a:lnTo>
                <a:lnTo>
                  <a:pt x="514" y="358"/>
                </a:lnTo>
                <a:lnTo>
                  <a:pt x="516" y="358"/>
                </a:lnTo>
                <a:lnTo>
                  <a:pt x="518" y="358"/>
                </a:lnTo>
                <a:lnTo>
                  <a:pt x="521" y="356"/>
                </a:lnTo>
                <a:lnTo>
                  <a:pt x="521" y="355"/>
                </a:lnTo>
                <a:lnTo>
                  <a:pt x="521" y="353"/>
                </a:lnTo>
                <a:lnTo>
                  <a:pt x="522" y="353"/>
                </a:lnTo>
                <a:lnTo>
                  <a:pt x="525" y="356"/>
                </a:lnTo>
                <a:lnTo>
                  <a:pt x="528" y="358"/>
                </a:lnTo>
                <a:lnTo>
                  <a:pt x="530" y="361"/>
                </a:lnTo>
                <a:lnTo>
                  <a:pt x="532" y="361"/>
                </a:lnTo>
                <a:lnTo>
                  <a:pt x="533" y="359"/>
                </a:lnTo>
                <a:lnTo>
                  <a:pt x="534" y="358"/>
                </a:lnTo>
                <a:lnTo>
                  <a:pt x="533" y="356"/>
                </a:lnTo>
                <a:lnTo>
                  <a:pt x="528" y="355"/>
                </a:lnTo>
                <a:lnTo>
                  <a:pt x="526" y="352"/>
                </a:lnTo>
                <a:lnTo>
                  <a:pt x="528" y="348"/>
                </a:lnTo>
                <a:lnTo>
                  <a:pt x="530" y="347"/>
                </a:lnTo>
                <a:lnTo>
                  <a:pt x="532" y="342"/>
                </a:lnTo>
                <a:lnTo>
                  <a:pt x="530" y="342"/>
                </a:lnTo>
                <a:lnTo>
                  <a:pt x="526" y="344"/>
                </a:lnTo>
                <a:lnTo>
                  <a:pt x="525" y="345"/>
                </a:lnTo>
                <a:lnTo>
                  <a:pt x="524" y="344"/>
                </a:lnTo>
                <a:lnTo>
                  <a:pt x="524" y="341"/>
                </a:lnTo>
                <a:lnTo>
                  <a:pt x="522" y="341"/>
                </a:lnTo>
                <a:lnTo>
                  <a:pt x="520" y="342"/>
                </a:lnTo>
                <a:lnTo>
                  <a:pt x="517" y="342"/>
                </a:lnTo>
                <a:lnTo>
                  <a:pt x="514" y="341"/>
                </a:lnTo>
                <a:lnTo>
                  <a:pt x="516" y="337"/>
                </a:lnTo>
                <a:lnTo>
                  <a:pt x="518" y="337"/>
                </a:lnTo>
                <a:lnTo>
                  <a:pt x="522" y="339"/>
                </a:lnTo>
                <a:lnTo>
                  <a:pt x="528" y="339"/>
                </a:lnTo>
                <a:lnTo>
                  <a:pt x="530" y="337"/>
                </a:lnTo>
                <a:lnTo>
                  <a:pt x="533" y="339"/>
                </a:lnTo>
                <a:lnTo>
                  <a:pt x="536" y="336"/>
                </a:lnTo>
                <a:lnTo>
                  <a:pt x="545" y="337"/>
                </a:lnTo>
                <a:lnTo>
                  <a:pt x="548" y="337"/>
                </a:lnTo>
                <a:lnTo>
                  <a:pt x="549" y="337"/>
                </a:lnTo>
                <a:lnTo>
                  <a:pt x="552" y="328"/>
                </a:lnTo>
                <a:lnTo>
                  <a:pt x="552" y="330"/>
                </a:lnTo>
                <a:lnTo>
                  <a:pt x="552" y="333"/>
                </a:lnTo>
                <a:lnTo>
                  <a:pt x="552" y="336"/>
                </a:lnTo>
                <a:lnTo>
                  <a:pt x="552" y="337"/>
                </a:lnTo>
                <a:lnTo>
                  <a:pt x="552" y="339"/>
                </a:lnTo>
                <a:lnTo>
                  <a:pt x="554" y="339"/>
                </a:lnTo>
                <a:lnTo>
                  <a:pt x="560" y="337"/>
                </a:lnTo>
                <a:lnTo>
                  <a:pt x="562" y="336"/>
                </a:lnTo>
                <a:lnTo>
                  <a:pt x="564" y="334"/>
                </a:lnTo>
                <a:lnTo>
                  <a:pt x="565" y="334"/>
                </a:lnTo>
                <a:lnTo>
                  <a:pt x="566" y="334"/>
                </a:lnTo>
                <a:lnTo>
                  <a:pt x="565" y="336"/>
                </a:lnTo>
                <a:lnTo>
                  <a:pt x="566" y="336"/>
                </a:lnTo>
                <a:lnTo>
                  <a:pt x="573" y="334"/>
                </a:lnTo>
                <a:lnTo>
                  <a:pt x="575" y="334"/>
                </a:lnTo>
                <a:lnTo>
                  <a:pt x="577" y="336"/>
                </a:lnTo>
                <a:lnTo>
                  <a:pt x="575" y="337"/>
                </a:lnTo>
                <a:lnTo>
                  <a:pt x="577" y="337"/>
                </a:lnTo>
                <a:lnTo>
                  <a:pt x="578" y="339"/>
                </a:lnTo>
                <a:lnTo>
                  <a:pt x="581" y="339"/>
                </a:lnTo>
                <a:lnTo>
                  <a:pt x="587" y="344"/>
                </a:lnTo>
                <a:lnTo>
                  <a:pt x="589" y="345"/>
                </a:lnTo>
                <a:lnTo>
                  <a:pt x="590" y="348"/>
                </a:lnTo>
                <a:lnTo>
                  <a:pt x="591" y="348"/>
                </a:lnTo>
                <a:lnTo>
                  <a:pt x="595" y="348"/>
                </a:lnTo>
                <a:lnTo>
                  <a:pt x="599" y="347"/>
                </a:lnTo>
                <a:lnTo>
                  <a:pt x="603" y="345"/>
                </a:lnTo>
                <a:lnTo>
                  <a:pt x="605" y="345"/>
                </a:lnTo>
                <a:lnTo>
                  <a:pt x="606" y="345"/>
                </a:lnTo>
                <a:lnTo>
                  <a:pt x="606" y="344"/>
                </a:lnTo>
                <a:lnTo>
                  <a:pt x="607" y="342"/>
                </a:lnTo>
                <a:lnTo>
                  <a:pt x="610" y="342"/>
                </a:lnTo>
                <a:lnTo>
                  <a:pt x="611" y="342"/>
                </a:lnTo>
                <a:lnTo>
                  <a:pt x="614" y="344"/>
                </a:lnTo>
                <a:lnTo>
                  <a:pt x="615" y="345"/>
                </a:lnTo>
                <a:lnTo>
                  <a:pt x="618" y="348"/>
                </a:lnTo>
                <a:lnTo>
                  <a:pt x="619" y="350"/>
                </a:lnTo>
                <a:lnTo>
                  <a:pt x="619" y="352"/>
                </a:lnTo>
                <a:lnTo>
                  <a:pt x="621" y="353"/>
                </a:lnTo>
                <a:lnTo>
                  <a:pt x="625" y="356"/>
                </a:lnTo>
                <a:lnTo>
                  <a:pt x="626" y="358"/>
                </a:lnTo>
                <a:lnTo>
                  <a:pt x="629" y="359"/>
                </a:lnTo>
                <a:lnTo>
                  <a:pt x="630" y="359"/>
                </a:lnTo>
                <a:lnTo>
                  <a:pt x="630" y="363"/>
                </a:lnTo>
                <a:lnTo>
                  <a:pt x="630" y="367"/>
                </a:lnTo>
                <a:lnTo>
                  <a:pt x="629" y="378"/>
                </a:lnTo>
                <a:lnTo>
                  <a:pt x="629" y="380"/>
                </a:lnTo>
                <a:lnTo>
                  <a:pt x="630" y="383"/>
                </a:lnTo>
                <a:lnTo>
                  <a:pt x="631" y="383"/>
                </a:lnTo>
                <a:lnTo>
                  <a:pt x="631" y="380"/>
                </a:lnTo>
                <a:lnTo>
                  <a:pt x="633" y="380"/>
                </a:lnTo>
                <a:lnTo>
                  <a:pt x="634" y="381"/>
                </a:lnTo>
                <a:lnTo>
                  <a:pt x="633" y="384"/>
                </a:lnTo>
                <a:lnTo>
                  <a:pt x="631" y="388"/>
                </a:lnTo>
                <a:lnTo>
                  <a:pt x="633" y="391"/>
                </a:lnTo>
                <a:lnTo>
                  <a:pt x="634" y="394"/>
                </a:lnTo>
                <a:lnTo>
                  <a:pt x="638" y="400"/>
                </a:lnTo>
                <a:lnTo>
                  <a:pt x="641" y="399"/>
                </a:lnTo>
                <a:lnTo>
                  <a:pt x="641" y="403"/>
                </a:lnTo>
                <a:lnTo>
                  <a:pt x="642" y="403"/>
                </a:lnTo>
                <a:lnTo>
                  <a:pt x="642" y="405"/>
                </a:lnTo>
                <a:lnTo>
                  <a:pt x="642" y="406"/>
                </a:lnTo>
                <a:lnTo>
                  <a:pt x="643" y="410"/>
                </a:lnTo>
                <a:lnTo>
                  <a:pt x="645" y="414"/>
                </a:lnTo>
                <a:lnTo>
                  <a:pt x="646" y="416"/>
                </a:lnTo>
                <a:lnTo>
                  <a:pt x="647" y="417"/>
                </a:lnTo>
                <a:lnTo>
                  <a:pt x="650" y="417"/>
                </a:lnTo>
                <a:lnTo>
                  <a:pt x="651" y="419"/>
                </a:lnTo>
                <a:lnTo>
                  <a:pt x="654" y="425"/>
                </a:lnTo>
                <a:lnTo>
                  <a:pt x="654" y="428"/>
                </a:lnTo>
                <a:lnTo>
                  <a:pt x="654" y="430"/>
                </a:lnTo>
                <a:lnTo>
                  <a:pt x="655" y="430"/>
                </a:lnTo>
                <a:lnTo>
                  <a:pt x="658" y="430"/>
                </a:lnTo>
                <a:lnTo>
                  <a:pt x="661" y="430"/>
                </a:lnTo>
                <a:lnTo>
                  <a:pt x="665" y="428"/>
                </a:lnTo>
                <a:lnTo>
                  <a:pt x="666" y="428"/>
                </a:lnTo>
                <a:lnTo>
                  <a:pt x="667" y="427"/>
                </a:lnTo>
                <a:lnTo>
                  <a:pt x="666" y="425"/>
                </a:lnTo>
                <a:lnTo>
                  <a:pt x="667" y="421"/>
                </a:lnTo>
                <a:lnTo>
                  <a:pt x="670" y="414"/>
                </a:lnTo>
                <a:lnTo>
                  <a:pt x="670" y="408"/>
                </a:lnTo>
                <a:lnTo>
                  <a:pt x="670" y="402"/>
                </a:lnTo>
                <a:lnTo>
                  <a:pt x="670" y="399"/>
                </a:lnTo>
                <a:lnTo>
                  <a:pt x="665" y="386"/>
                </a:lnTo>
                <a:lnTo>
                  <a:pt x="663" y="381"/>
                </a:lnTo>
                <a:lnTo>
                  <a:pt x="662" y="377"/>
                </a:lnTo>
                <a:lnTo>
                  <a:pt x="662" y="372"/>
                </a:lnTo>
                <a:lnTo>
                  <a:pt x="662" y="369"/>
                </a:lnTo>
                <a:lnTo>
                  <a:pt x="661" y="366"/>
                </a:lnTo>
                <a:lnTo>
                  <a:pt x="655" y="358"/>
                </a:lnTo>
                <a:lnTo>
                  <a:pt x="651" y="347"/>
                </a:lnTo>
                <a:lnTo>
                  <a:pt x="649" y="333"/>
                </a:lnTo>
                <a:lnTo>
                  <a:pt x="649" y="331"/>
                </a:lnTo>
                <a:lnTo>
                  <a:pt x="649" y="326"/>
                </a:lnTo>
                <a:lnTo>
                  <a:pt x="651" y="325"/>
                </a:lnTo>
                <a:lnTo>
                  <a:pt x="651" y="320"/>
                </a:lnTo>
                <a:lnTo>
                  <a:pt x="653" y="319"/>
                </a:lnTo>
                <a:lnTo>
                  <a:pt x="655" y="311"/>
                </a:lnTo>
                <a:lnTo>
                  <a:pt x="658" y="308"/>
                </a:lnTo>
                <a:lnTo>
                  <a:pt x="658" y="306"/>
                </a:lnTo>
                <a:lnTo>
                  <a:pt x="661" y="304"/>
                </a:lnTo>
                <a:lnTo>
                  <a:pt x="662" y="304"/>
                </a:lnTo>
                <a:lnTo>
                  <a:pt x="663" y="303"/>
                </a:lnTo>
                <a:lnTo>
                  <a:pt x="662" y="301"/>
                </a:lnTo>
                <a:lnTo>
                  <a:pt x="661" y="300"/>
                </a:lnTo>
                <a:lnTo>
                  <a:pt x="662" y="298"/>
                </a:lnTo>
                <a:lnTo>
                  <a:pt x="666" y="298"/>
                </a:lnTo>
                <a:lnTo>
                  <a:pt x="670" y="298"/>
                </a:lnTo>
                <a:lnTo>
                  <a:pt x="671" y="298"/>
                </a:lnTo>
                <a:lnTo>
                  <a:pt x="678" y="293"/>
                </a:lnTo>
                <a:lnTo>
                  <a:pt x="679" y="292"/>
                </a:lnTo>
                <a:lnTo>
                  <a:pt x="681" y="290"/>
                </a:lnTo>
                <a:lnTo>
                  <a:pt x="682" y="289"/>
                </a:lnTo>
                <a:lnTo>
                  <a:pt x="685" y="289"/>
                </a:lnTo>
                <a:lnTo>
                  <a:pt x="685" y="286"/>
                </a:lnTo>
                <a:lnTo>
                  <a:pt x="685" y="284"/>
                </a:lnTo>
                <a:lnTo>
                  <a:pt x="686" y="284"/>
                </a:lnTo>
                <a:lnTo>
                  <a:pt x="687" y="281"/>
                </a:lnTo>
                <a:lnTo>
                  <a:pt x="690" y="278"/>
                </a:lnTo>
                <a:lnTo>
                  <a:pt x="694" y="276"/>
                </a:lnTo>
                <a:lnTo>
                  <a:pt x="695" y="275"/>
                </a:lnTo>
                <a:lnTo>
                  <a:pt x="700" y="275"/>
                </a:lnTo>
                <a:lnTo>
                  <a:pt x="704" y="271"/>
                </a:lnTo>
                <a:lnTo>
                  <a:pt x="706" y="270"/>
                </a:lnTo>
                <a:lnTo>
                  <a:pt x="708" y="268"/>
                </a:lnTo>
                <a:lnTo>
                  <a:pt x="710" y="265"/>
                </a:lnTo>
                <a:lnTo>
                  <a:pt x="711" y="264"/>
                </a:lnTo>
                <a:lnTo>
                  <a:pt x="716" y="262"/>
                </a:lnTo>
                <a:lnTo>
                  <a:pt x="722" y="262"/>
                </a:lnTo>
                <a:lnTo>
                  <a:pt x="727" y="259"/>
                </a:lnTo>
                <a:lnTo>
                  <a:pt x="727" y="257"/>
                </a:lnTo>
                <a:lnTo>
                  <a:pt x="727" y="256"/>
                </a:lnTo>
                <a:lnTo>
                  <a:pt x="724" y="256"/>
                </a:lnTo>
                <a:lnTo>
                  <a:pt x="723" y="256"/>
                </a:lnTo>
                <a:lnTo>
                  <a:pt x="723" y="254"/>
                </a:lnTo>
                <a:lnTo>
                  <a:pt x="724" y="253"/>
                </a:lnTo>
                <a:lnTo>
                  <a:pt x="724" y="251"/>
                </a:lnTo>
                <a:lnTo>
                  <a:pt x="726" y="251"/>
                </a:lnTo>
                <a:lnTo>
                  <a:pt x="724" y="249"/>
                </a:lnTo>
                <a:lnTo>
                  <a:pt x="720" y="248"/>
                </a:lnTo>
                <a:lnTo>
                  <a:pt x="724" y="248"/>
                </a:lnTo>
                <a:lnTo>
                  <a:pt x="726" y="246"/>
                </a:lnTo>
                <a:lnTo>
                  <a:pt x="727" y="248"/>
                </a:lnTo>
                <a:lnTo>
                  <a:pt x="728" y="249"/>
                </a:lnTo>
                <a:lnTo>
                  <a:pt x="731" y="249"/>
                </a:lnTo>
                <a:lnTo>
                  <a:pt x="732" y="248"/>
                </a:lnTo>
                <a:lnTo>
                  <a:pt x="735" y="245"/>
                </a:lnTo>
                <a:lnTo>
                  <a:pt x="736" y="245"/>
                </a:lnTo>
                <a:lnTo>
                  <a:pt x="736" y="242"/>
                </a:lnTo>
                <a:lnTo>
                  <a:pt x="736" y="240"/>
                </a:lnTo>
                <a:lnTo>
                  <a:pt x="735" y="238"/>
                </a:lnTo>
                <a:lnTo>
                  <a:pt x="734" y="240"/>
                </a:lnTo>
                <a:lnTo>
                  <a:pt x="732" y="243"/>
                </a:lnTo>
                <a:lnTo>
                  <a:pt x="732" y="242"/>
                </a:lnTo>
                <a:lnTo>
                  <a:pt x="731" y="238"/>
                </a:lnTo>
                <a:lnTo>
                  <a:pt x="724" y="240"/>
                </a:lnTo>
                <a:lnTo>
                  <a:pt x="723" y="238"/>
                </a:lnTo>
                <a:lnTo>
                  <a:pt x="723" y="237"/>
                </a:lnTo>
                <a:lnTo>
                  <a:pt x="723" y="234"/>
                </a:lnTo>
                <a:lnTo>
                  <a:pt x="723" y="232"/>
                </a:lnTo>
                <a:lnTo>
                  <a:pt x="724" y="235"/>
                </a:lnTo>
                <a:lnTo>
                  <a:pt x="726" y="237"/>
                </a:lnTo>
                <a:lnTo>
                  <a:pt x="727" y="237"/>
                </a:lnTo>
                <a:lnTo>
                  <a:pt x="731" y="235"/>
                </a:lnTo>
                <a:lnTo>
                  <a:pt x="732" y="234"/>
                </a:lnTo>
                <a:lnTo>
                  <a:pt x="734" y="234"/>
                </a:lnTo>
                <a:lnTo>
                  <a:pt x="735" y="234"/>
                </a:lnTo>
                <a:lnTo>
                  <a:pt x="736" y="237"/>
                </a:lnTo>
                <a:lnTo>
                  <a:pt x="736" y="235"/>
                </a:lnTo>
                <a:lnTo>
                  <a:pt x="735" y="234"/>
                </a:lnTo>
                <a:lnTo>
                  <a:pt x="735" y="232"/>
                </a:lnTo>
                <a:lnTo>
                  <a:pt x="734" y="231"/>
                </a:lnTo>
                <a:lnTo>
                  <a:pt x="734" y="229"/>
                </a:lnTo>
                <a:lnTo>
                  <a:pt x="735" y="226"/>
                </a:lnTo>
                <a:lnTo>
                  <a:pt x="734" y="221"/>
                </a:lnTo>
                <a:lnTo>
                  <a:pt x="730" y="221"/>
                </a:lnTo>
                <a:lnTo>
                  <a:pt x="728" y="221"/>
                </a:lnTo>
                <a:lnTo>
                  <a:pt x="727" y="221"/>
                </a:lnTo>
                <a:lnTo>
                  <a:pt x="726" y="220"/>
                </a:lnTo>
                <a:lnTo>
                  <a:pt x="726" y="218"/>
                </a:lnTo>
                <a:lnTo>
                  <a:pt x="728" y="218"/>
                </a:lnTo>
                <a:lnTo>
                  <a:pt x="730" y="218"/>
                </a:lnTo>
                <a:lnTo>
                  <a:pt x="728" y="216"/>
                </a:lnTo>
                <a:lnTo>
                  <a:pt x="727" y="216"/>
                </a:lnTo>
                <a:lnTo>
                  <a:pt x="727" y="215"/>
                </a:lnTo>
                <a:lnTo>
                  <a:pt x="727" y="213"/>
                </a:lnTo>
                <a:lnTo>
                  <a:pt x="728" y="213"/>
                </a:lnTo>
                <a:lnTo>
                  <a:pt x="730" y="213"/>
                </a:lnTo>
                <a:lnTo>
                  <a:pt x="728" y="212"/>
                </a:lnTo>
                <a:lnTo>
                  <a:pt x="727" y="210"/>
                </a:lnTo>
                <a:lnTo>
                  <a:pt x="727" y="209"/>
                </a:lnTo>
                <a:lnTo>
                  <a:pt x="728" y="205"/>
                </a:lnTo>
                <a:lnTo>
                  <a:pt x="728" y="202"/>
                </a:lnTo>
                <a:lnTo>
                  <a:pt x="727" y="201"/>
                </a:lnTo>
                <a:lnTo>
                  <a:pt x="723" y="199"/>
                </a:lnTo>
                <a:lnTo>
                  <a:pt x="720" y="199"/>
                </a:lnTo>
                <a:lnTo>
                  <a:pt x="718" y="196"/>
                </a:lnTo>
                <a:lnTo>
                  <a:pt x="714" y="194"/>
                </a:lnTo>
                <a:lnTo>
                  <a:pt x="712" y="194"/>
                </a:lnTo>
                <a:lnTo>
                  <a:pt x="712" y="193"/>
                </a:lnTo>
                <a:lnTo>
                  <a:pt x="714" y="191"/>
                </a:lnTo>
                <a:lnTo>
                  <a:pt x="715" y="191"/>
                </a:lnTo>
                <a:lnTo>
                  <a:pt x="714" y="193"/>
                </a:lnTo>
                <a:lnTo>
                  <a:pt x="715" y="194"/>
                </a:lnTo>
                <a:lnTo>
                  <a:pt x="716" y="194"/>
                </a:lnTo>
                <a:lnTo>
                  <a:pt x="719" y="196"/>
                </a:lnTo>
                <a:lnTo>
                  <a:pt x="722" y="196"/>
                </a:lnTo>
                <a:lnTo>
                  <a:pt x="722" y="198"/>
                </a:lnTo>
                <a:lnTo>
                  <a:pt x="724" y="198"/>
                </a:lnTo>
                <a:lnTo>
                  <a:pt x="726" y="199"/>
                </a:lnTo>
                <a:lnTo>
                  <a:pt x="727" y="199"/>
                </a:lnTo>
                <a:lnTo>
                  <a:pt x="727" y="196"/>
                </a:lnTo>
                <a:lnTo>
                  <a:pt x="724" y="194"/>
                </a:lnTo>
                <a:lnTo>
                  <a:pt x="726" y="194"/>
                </a:lnTo>
                <a:lnTo>
                  <a:pt x="726" y="193"/>
                </a:lnTo>
                <a:lnTo>
                  <a:pt x="726" y="191"/>
                </a:lnTo>
                <a:lnTo>
                  <a:pt x="724" y="190"/>
                </a:lnTo>
                <a:lnTo>
                  <a:pt x="726" y="182"/>
                </a:lnTo>
                <a:lnTo>
                  <a:pt x="724" y="180"/>
                </a:lnTo>
                <a:lnTo>
                  <a:pt x="727" y="179"/>
                </a:lnTo>
                <a:lnTo>
                  <a:pt x="731" y="177"/>
                </a:lnTo>
                <a:lnTo>
                  <a:pt x="731" y="176"/>
                </a:lnTo>
                <a:lnTo>
                  <a:pt x="732" y="174"/>
                </a:lnTo>
                <a:lnTo>
                  <a:pt x="734" y="174"/>
                </a:lnTo>
                <a:lnTo>
                  <a:pt x="734" y="176"/>
                </a:lnTo>
                <a:lnTo>
                  <a:pt x="734" y="177"/>
                </a:lnTo>
                <a:lnTo>
                  <a:pt x="732" y="177"/>
                </a:lnTo>
                <a:lnTo>
                  <a:pt x="731" y="179"/>
                </a:lnTo>
                <a:lnTo>
                  <a:pt x="730" y="179"/>
                </a:lnTo>
                <a:lnTo>
                  <a:pt x="730" y="180"/>
                </a:lnTo>
                <a:lnTo>
                  <a:pt x="731" y="182"/>
                </a:lnTo>
                <a:lnTo>
                  <a:pt x="731" y="183"/>
                </a:lnTo>
                <a:lnTo>
                  <a:pt x="728" y="185"/>
                </a:lnTo>
                <a:lnTo>
                  <a:pt x="730" y="187"/>
                </a:lnTo>
                <a:lnTo>
                  <a:pt x="731" y="187"/>
                </a:lnTo>
                <a:lnTo>
                  <a:pt x="731" y="188"/>
                </a:lnTo>
                <a:lnTo>
                  <a:pt x="731" y="190"/>
                </a:lnTo>
                <a:lnTo>
                  <a:pt x="730" y="191"/>
                </a:lnTo>
                <a:lnTo>
                  <a:pt x="728" y="193"/>
                </a:lnTo>
                <a:lnTo>
                  <a:pt x="730" y="194"/>
                </a:lnTo>
                <a:lnTo>
                  <a:pt x="731" y="196"/>
                </a:lnTo>
                <a:lnTo>
                  <a:pt x="734" y="196"/>
                </a:lnTo>
                <a:lnTo>
                  <a:pt x="735" y="198"/>
                </a:lnTo>
                <a:lnTo>
                  <a:pt x="736" y="199"/>
                </a:lnTo>
                <a:lnTo>
                  <a:pt x="736" y="202"/>
                </a:lnTo>
                <a:lnTo>
                  <a:pt x="738" y="202"/>
                </a:lnTo>
                <a:lnTo>
                  <a:pt x="738" y="204"/>
                </a:lnTo>
                <a:lnTo>
                  <a:pt x="736" y="204"/>
                </a:lnTo>
                <a:lnTo>
                  <a:pt x="735" y="205"/>
                </a:lnTo>
                <a:lnTo>
                  <a:pt x="732" y="212"/>
                </a:lnTo>
                <a:lnTo>
                  <a:pt x="732" y="213"/>
                </a:lnTo>
                <a:lnTo>
                  <a:pt x="734" y="216"/>
                </a:lnTo>
                <a:lnTo>
                  <a:pt x="735" y="216"/>
                </a:lnTo>
                <a:lnTo>
                  <a:pt x="736" y="216"/>
                </a:lnTo>
                <a:lnTo>
                  <a:pt x="738" y="215"/>
                </a:lnTo>
                <a:lnTo>
                  <a:pt x="739" y="209"/>
                </a:lnTo>
                <a:lnTo>
                  <a:pt x="743" y="201"/>
                </a:lnTo>
                <a:lnTo>
                  <a:pt x="743" y="199"/>
                </a:lnTo>
                <a:lnTo>
                  <a:pt x="746" y="196"/>
                </a:lnTo>
                <a:lnTo>
                  <a:pt x="747" y="194"/>
                </a:lnTo>
                <a:lnTo>
                  <a:pt x="747" y="193"/>
                </a:lnTo>
                <a:lnTo>
                  <a:pt x="746" y="188"/>
                </a:lnTo>
                <a:lnTo>
                  <a:pt x="743" y="183"/>
                </a:lnTo>
                <a:lnTo>
                  <a:pt x="739" y="177"/>
                </a:lnTo>
                <a:lnTo>
                  <a:pt x="739" y="176"/>
                </a:lnTo>
                <a:lnTo>
                  <a:pt x="739" y="174"/>
                </a:lnTo>
                <a:lnTo>
                  <a:pt x="742" y="176"/>
                </a:lnTo>
                <a:lnTo>
                  <a:pt x="743" y="177"/>
                </a:lnTo>
                <a:lnTo>
                  <a:pt x="746" y="179"/>
                </a:lnTo>
                <a:lnTo>
                  <a:pt x="747" y="180"/>
                </a:lnTo>
                <a:lnTo>
                  <a:pt x="750" y="180"/>
                </a:lnTo>
                <a:lnTo>
                  <a:pt x="750" y="183"/>
                </a:lnTo>
                <a:lnTo>
                  <a:pt x="750" y="185"/>
                </a:lnTo>
                <a:lnTo>
                  <a:pt x="752" y="182"/>
                </a:lnTo>
                <a:lnTo>
                  <a:pt x="755" y="177"/>
                </a:lnTo>
                <a:lnTo>
                  <a:pt x="756" y="176"/>
                </a:lnTo>
                <a:lnTo>
                  <a:pt x="758" y="174"/>
                </a:lnTo>
                <a:lnTo>
                  <a:pt x="759" y="173"/>
                </a:lnTo>
                <a:lnTo>
                  <a:pt x="760" y="173"/>
                </a:lnTo>
                <a:lnTo>
                  <a:pt x="760" y="168"/>
                </a:lnTo>
                <a:lnTo>
                  <a:pt x="762" y="166"/>
                </a:lnTo>
                <a:lnTo>
                  <a:pt x="762" y="168"/>
                </a:lnTo>
                <a:lnTo>
                  <a:pt x="763" y="166"/>
                </a:lnTo>
                <a:lnTo>
                  <a:pt x="764" y="163"/>
                </a:lnTo>
                <a:lnTo>
                  <a:pt x="764" y="162"/>
                </a:lnTo>
                <a:lnTo>
                  <a:pt x="763" y="160"/>
                </a:lnTo>
                <a:lnTo>
                  <a:pt x="762" y="158"/>
                </a:lnTo>
                <a:lnTo>
                  <a:pt x="760" y="158"/>
                </a:lnTo>
                <a:lnTo>
                  <a:pt x="760" y="157"/>
                </a:lnTo>
                <a:lnTo>
                  <a:pt x="760" y="155"/>
                </a:lnTo>
                <a:lnTo>
                  <a:pt x="762" y="154"/>
                </a:lnTo>
                <a:lnTo>
                  <a:pt x="764" y="151"/>
                </a:lnTo>
                <a:lnTo>
                  <a:pt x="766" y="151"/>
                </a:lnTo>
                <a:lnTo>
                  <a:pt x="767" y="149"/>
                </a:lnTo>
                <a:lnTo>
                  <a:pt x="771" y="147"/>
                </a:lnTo>
                <a:lnTo>
                  <a:pt x="774" y="146"/>
                </a:lnTo>
                <a:lnTo>
                  <a:pt x="776" y="146"/>
                </a:lnTo>
                <a:lnTo>
                  <a:pt x="778" y="144"/>
                </a:lnTo>
                <a:lnTo>
                  <a:pt x="780" y="143"/>
                </a:lnTo>
                <a:lnTo>
                  <a:pt x="784" y="144"/>
                </a:lnTo>
                <a:lnTo>
                  <a:pt x="787" y="143"/>
                </a:lnTo>
                <a:lnTo>
                  <a:pt x="795" y="143"/>
                </a:lnTo>
                <a:lnTo>
                  <a:pt x="800" y="141"/>
                </a:lnTo>
                <a:lnTo>
                  <a:pt x="803" y="140"/>
                </a:lnTo>
                <a:lnTo>
                  <a:pt x="804" y="136"/>
                </a:lnTo>
                <a:lnTo>
                  <a:pt x="805" y="136"/>
                </a:lnTo>
                <a:lnTo>
                  <a:pt x="805" y="140"/>
                </a:lnTo>
                <a:lnTo>
                  <a:pt x="807" y="140"/>
                </a:lnTo>
                <a:lnTo>
                  <a:pt x="809" y="138"/>
                </a:lnTo>
                <a:lnTo>
                  <a:pt x="813" y="136"/>
                </a:lnTo>
                <a:lnTo>
                  <a:pt x="815" y="136"/>
                </a:lnTo>
                <a:lnTo>
                  <a:pt x="815" y="138"/>
                </a:lnTo>
                <a:lnTo>
                  <a:pt x="816" y="138"/>
                </a:lnTo>
                <a:lnTo>
                  <a:pt x="820" y="138"/>
                </a:lnTo>
                <a:lnTo>
                  <a:pt x="821" y="138"/>
                </a:lnTo>
                <a:lnTo>
                  <a:pt x="824" y="136"/>
                </a:lnTo>
                <a:lnTo>
                  <a:pt x="825" y="135"/>
                </a:lnTo>
                <a:lnTo>
                  <a:pt x="824" y="132"/>
                </a:lnTo>
                <a:lnTo>
                  <a:pt x="823" y="132"/>
                </a:lnTo>
                <a:lnTo>
                  <a:pt x="823" y="135"/>
                </a:lnTo>
                <a:lnTo>
                  <a:pt x="821" y="136"/>
                </a:lnTo>
                <a:lnTo>
                  <a:pt x="819" y="135"/>
                </a:lnTo>
                <a:lnTo>
                  <a:pt x="816" y="133"/>
                </a:lnTo>
                <a:lnTo>
                  <a:pt x="815" y="132"/>
                </a:lnTo>
                <a:lnTo>
                  <a:pt x="813" y="130"/>
                </a:lnTo>
                <a:lnTo>
                  <a:pt x="813" y="129"/>
                </a:lnTo>
                <a:lnTo>
                  <a:pt x="812" y="127"/>
                </a:lnTo>
                <a:lnTo>
                  <a:pt x="809" y="125"/>
                </a:lnTo>
                <a:lnTo>
                  <a:pt x="808" y="125"/>
                </a:lnTo>
                <a:lnTo>
                  <a:pt x="809" y="124"/>
                </a:lnTo>
                <a:lnTo>
                  <a:pt x="809" y="122"/>
                </a:lnTo>
                <a:lnTo>
                  <a:pt x="811" y="122"/>
                </a:lnTo>
                <a:lnTo>
                  <a:pt x="812" y="121"/>
                </a:lnTo>
                <a:lnTo>
                  <a:pt x="813" y="121"/>
                </a:lnTo>
                <a:lnTo>
                  <a:pt x="811" y="118"/>
                </a:lnTo>
                <a:lnTo>
                  <a:pt x="809" y="114"/>
                </a:lnTo>
                <a:lnTo>
                  <a:pt x="811" y="111"/>
                </a:lnTo>
                <a:lnTo>
                  <a:pt x="815" y="108"/>
                </a:lnTo>
                <a:lnTo>
                  <a:pt x="819" y="105"/>
                </a:lnTo>
                <a:lnTo>
                  <a:pt x="820" y="103"/>
                </a:lnTo>
                <a:lnTo>
                  <a:pt x="820" y="100"/>
                </a:lnTo>
                <a:lnTo>
                  <a:pt x="823" y="99"/>
                </a:lnTo>
                <a:lnTo>
                  <a:pt x="824" y="97"/>
                </a:lnTo>
                <a:lnTo>
                  <a:pt x="825" y="99"/>
                </a:lnTo>
                <a:lnTo>
                  <a:pt x="827" y="100"/>
                </a:lnTo>
                <a:lnTo>
                  <a:pt x="828" y="99"/>
                </a:lnTo>
                <a:lnTo>
                  <a:pt x="828" y="97"/>
                </a:lnTo>
                <a:lnTo>
                  <a:pt x="829" y="97"/>
                </a:lnTo>
                <a:lnTo>
                  <a:pt x="831" y="97"/>
                </a:lnTo>
                <a:lnTo>
                  <a:pt x="832" y="97"/>
                </a:lnTo>
                <a:lnTo>
                  <a:pt x="833" y="96"/>
                </a:lnTo>
                <a:lnTo>
                  <a:pt x="835" y="94"/>
                </a:lnTo>
                <a:lnTo>
                  <a:pt x="836" y="96"/>
                </a:lnTo>
                <a:lnTo>
                  <a:pt x="837" y="92"/>
                </a:lnTo>
                <a:lnTo>
                  <a:pt x="839" y="91"/>
                </a:lnTo>
                <a:lnTo>
                  <a:pt x="839" y="89"/>
                </a:lnTo>
                <a:lnTo>
                  <a:pt x="840" y="88"/>
                </a:lnTo>
                <a:lnTo>
                  <a:pt x="841" y="86"/>
                </a:lnTo>
                <a:lnTo>
                  <a:pt x="843" y="86"/>
                </a:lnTo>
                <a:lnTo>
                  <a:pt x="843" y="88"/>
                </a:lnTo>
                <a:lnTo>
                  <a:pt x="844" y="89"/>
                </a:lnTo>
                <a:lnTo>
                  <a:pt x="847" y="89"/>
                </a:lnTo>
                <a:lnTo>
                  <a:pt x="848" y="91"/>
                </a:lnTo>
                <a:lnTo>
                  <a:pt x="849" y="91"/>
                </a:lnTo>
                <a:lnTo>
                  <a:pt x="851" y="89"/>
                </a:lnTo>
                <a:lnTo>
                  <a:pt x="853" y="88"/>
                </a:lnTo>
                <a:lnTo>
                  <a:pt x="855" y="88"/>
                </a:lnTo>
                <a:lnTo>
                  <a:pt x="856" y="88"/>
                </a:lnTo>
                <a:lnTo>
                  <a:pt x="856" y="86"/>
                </a:lnTo>
                <a:lnTo>
                  <a:pt x="860" y="85"/>
                </a:lnTo>
                <a:lnTo>
                  <a:pt x="861" y="85"/>
                </a:lnTo>
                <a:lnTo>
                  <a:pt x="863" y="85"/>
                </a:lnTo>
                <a:lnTo>
                  <a:pt x="864" y="85"/>
                </a:lnTo>
                <a:lnTo>
                  <a:pt x="865" y="83"/>
                </a:lnTo>
                <a:lnTo>
                  <a:pt x="867" y="83"/>
                </a:lnTo>
                <a:lnTo>
                  <a:pt x="869" y="81"/>
                </a:lnTo>
                <a:lnTo>
                  <a:pt x="869" y="8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26" name="Freeform 223"/>
          <p:cNvSpPr>
            <a:spLocks/>
          </p:cNvSpPr>
          <p:nvPr/>
        </p:nvSpPr>
        <p:spPr bwMode="auto">
          <a:xfrm>
            <a:off x="2088606" y="2636912"/>
            <a:ext cx="793167" cy="792468"/>
          </a:xfrm>
          <a:custGeom>
            <a:avLst/>
            <a:gdLst/>
            <a:ahLst/>
            <a:cxnLst>
              <a:cxn ang="0">
                <a:pos x="29" y="9"/>
              </a:cxn>
              <a:cxn ang="0">
                <a:pos x="26" y="5"/>
              </a:cxn>
              <a:cxn ang="0">
                <a:pos x="13" y="3"/>
              </a:cxn>
              <a:cxn ang="0">
                <a:pos x="0" y="3"/>
              </a:cxn>
              <a:cxn ang="0">
                <a:pos x="4" y="11"/>
              </a:cxn>
              <a:cxn ang="0">
                <a:pos x="10" y="24"/>
              </a:cxn>
              <a:cxn ang="0">
                <a:pos x="10" y="28"/>
              </a:cxn>
              <a:cxn ang="0">
                <a:pos x="13" y="33"/>
              </a:cxn>
              <a:cxn ang="0">
                <a:pos x="10" y="35"/>
              </a:cxn>
              <a:cxn ang="0">
                <a:pos x="20" y="38"/>
              </a:cxn>
              <a:cxn ang="0">
                <a:pos x="13" y="39"/>
              </a:cxn>
              <a:cxn ang="0">
                <a:pos x="12" y="46"/>
              </a:cxn>
              <a:cxn ang="0">
                <a:pos x="12" y="52"/>
              </a:cxn>
              <a:cxn ang="0">
                <a:pos x="9" y="75"/>
              </a:cxn>
              <a:cxn ang="0">
                <a:pos x="9" y="88"/>
              </a:cxn>
              <a:cxn ang="0">
                <a:pos x="5" y="102"/>
              </a:cxn>
              <a:cxn ang="0">
                <a:pos x="10" y="124"/>
              </a:cxn>
              <a:cxn ang="0">
                <a:pos x="7" y="140"/>
              </a:cxn>
              <a:cxn ang="0">
                <a:pos x="14" y="154"/>
              </a:cxn>
              <a:cxn ang="0">
                <a:pos x="17" y="170"/>
              </a:cxn>
              <a:cxn ang="0">
                <a:pos x="26" y="181"/>
              </a:cxn>
              <a:cxn ang="0">
                <a:pos x="30" y="185"/>
              </a:cxn>
              <a:cxn ang="0">
                <a:pos x="34" y="182"/>
              </a:cxn>
              <a:cxn ang="0">
                <a:pos x="37" y="184"/>
              </a:cxn>
              <a:cxn ang="0">
                <a:pos x="40" y="193"/>
              </a:cxn>
              <a:cxn ang="0">
                <a:pos x="34" y="188"/>
              </a:cxn>
              <a:cxn ang="0">
                <a:pos x="37" y="199"/>
              </a:cxn>
              <a:cxn ang="0">
                <a:pos x="44" y="209"/>
              </a:cxn>
              <a:cxn ang="0">
                <a:pos x="49" y="221"/>
              </a:cxn>
              <a:cxn ang="0">
                <a:pos x="58" y="234"/>
              </a:cxn>
              <a:cxn ang="0">
                <a:pos x="62" y="242"/>
              </a:cxn>
              <a:cxn ang="0">
                <a:pos x="70" y="248"/>
              </a:cxn>
              <a:cxn ang="0">
                <a:pos x="80" y="250"/>
              </a:cxn>
              <a:cxn ang="0">
                <a:pos x="89" y="256"/>
              </a:cxn>
              <a:cxn ang="0">
                <a:pos x="93" y="256"/>
              </a:cxn>
              <a:cxn ang="0">
                <a:pos x="104" y="262"/>
              </a:cxn>
              <a:cxn ang="0">
                <a:pos x="113" y="273"/>
              </a:cxn>
              <a:cxn ang="0">
                <a:pos x="149" y="281"/>
              </a:cxn>
              <a:cxn ang="0">
                <a:pos x="247" y="295"/>
              </a:cxn>
              <a:cxn ang="0">
                <a:pos x="278" y="300"/>
              </a:cxn>
              <a:cxn ang="0">
                <a:pos x="296" y="316"/>
              </a:cxn>
              <a:cxn ang="0">
                <a:pos x="316" y="344"/>
              </a:cxn>
              <a:cxn ang="0">
                <a:pos x="336" y="331"/>
              </a:cxn>
              <a:cxn ang="0">
                <a:pos x="356" y="341"/>
              </a:cxn>
              <a:cxn ang="0">
                <a:pos x="372" y="366"/>
              </a:cxn>
              <a:cxn ang="0">
                <a:pos x="389" y="394"/>
              </a:cxn>
              <a:cxn ang="0">
                <a:pos x="411" y="400"/>
              </a:cxn>
              <a:cxn ang="0">
                <a:pos x="412" y="394"/>
              </a:cxn>
              <a:cxn ang="0">
                <a:pos x="411" y="382"/>
              </a:cxn>
            </a:cxnLst>
            <a:rect l="0" t="0" r="r" b="b"/>
            <a:pathLst>
              <a:path w="415" h="400">
                <a:moveTo>
                  <a:pt x="25" y="17"/>
                </a:moveTo>
                <a:lnTo>
                  <a:pt x="25" y="14"/>
                </a:lnTo>
                <a:lnTo>
                  <a:pt x="28" y="9"/>
                </a:lnTo>
                <a:lnTo>
                  <a:pt x="29" y="9"/>
                </a:lnTo>
                <a:lnTo>
                  <a:pt x="30" y="8"/>
                </a:lnTo>
                <a:lnTo>
                  <a:pt x="30" y="6"/>
                </a:lnTo>
                <a:lnTo>
                  <a:pt x="30" y="5"/>
                </a:lnTo>
                <a:lnTo>
                  <a:pt x="26" y="5"/>
                </a:lnTo>
                <a:lnTo>
                  <a:pt x="22" y="3"/>
                </a:lnTo>
                <a:lnTo>
                  <a:pt x="18" y="3"/>
                </a:lnTo>
                <a:lnTo>
                  <a:pt x="16" y="3"/>
                </a:lnTo>
                <a:lnTo>
                  <a:pt x="13" y="3"/>
                </a:lnTo>
                <a:lnTo>
                  <a:pt x="5" y="0"/>
                </a:lnTo>
                <a:lnTo>
                  <a:pt x="3" y="0"/>
                </a:lnTo>
                <a:lnTo>
                  <a:pt x="1" y="0"/>
                </a:lnTo>
                <a:lnTo>
                  <a:pt x="0" y="3"/>
                </a:lnTo>
                <a:lnTo>
                  <a:pt x="0" y="5"/>
                </a:lnTo>
                <a:lnTo>
                  <a:pt x="0" y="6"/>
                </a:lnTo>
                <a:lnTo>
                  <a:pt x="1" y="8"/>
                </a:lnTo>
                <a:lnTo>
                  <a:pt x="4" y="11"/>
                </a:lnTo>
                <a:lnTo>
                  <a:pt x="5" y="14"/>
                </a:lnTo>
                <a:lnTo>
                  <a:pt x="8" y="20"/>
                </a:lnTo>
                <a:lnTo>
                  <a:pt x="9" y="24"/>
                </a:lnTo>
                <a:lnTo>
                  <a:pt x="10" y="24"/>
                </a:lnTo>
                <a:lnTo>
                  <a:pt x="12" y="24"/>
                </a:lnTo>
                <a:lnTo>
                  <a:pt x="10" y="25"/>
                </a:lnTo>
                <a:lnTo>
                  <a:pt x="10" y="27"/>
                </a:lnTo>
                <a:lnTo>
                  <a:pt x="10" y="28"/>
                </a:lnTo>
                <a:lnTo>
                  <a:pt x="12" y="28"/>
                </a:lnTo>
                <a:lnTo>
                  <a:pt x="13" y="30"/>
                </a:lnTo>
                <a:lnTo>
                  <a:pt x="12" y="31"/>
                </a:lnTo>
                <a:lnTo>
                  <a:pt x="13" y="33"/>
                </a:lnTo>
                <a:lnTo>
                  <a:pt x="12" y="35"/>
                </a:lnTo>
                <a:lnTo>
                  <a:pt x="12" y="31"/>
                </a:lnTo>
                <a:lnTo>
                  <a:pt x="10" y="31"/>
                </a:lnTo>
                <a:lnTo>
                  <a:pt x="10" y="35"/>
                </a:lnTo>
                <a:lnTo>
                  <a:pt x="10" y="36"/>
                </a:lnTo>
                <a:lnTo>
                  <a:pt x="13" y="38"/>
                </a:lnTo>
                <a:lnTo>
                  <a:pt x="18" y="36"/>
                </a:lnTo>
                <a:lnTo>
                  <a:pt x="20" y="38"/>
                </a:lnTo>
                <a:lnTo>
                  <a:pt x="22" y="39"/>
                </a:lnTo>
                <a:lnTo>
                  <a:pt x="21" y="39"/>
                </a:lnTo>
                <a:lnTo>
                  <a:pt x="18" y="39"/>
                </a:lnTo>
                <a:lnTo>
                  <a:pt x="13" y="39"/>
                </a:lnTo>
                <a:lnTo>
                  <a:pt x="12" y="39"/>
                </a:lnTo>
                <a:lnTo>
                  <a:pt x="12" y="41"/>
                </a:lnTo>
                <a:lnTo>
                  <a:pt x="12" y="44"/>
                </a:lnTo>
                <a:lnTo>
                  <a:pt x="12" y="46"/>
                </a:lnTo>
                <a:lnTo>
                  <a:pt x="13" y="47"/>
                </a:lnTo>
                <a:lnTo>
                  <a:pt x="12" y="49"/>
                </a:lnTo>
                <a:lnTo>
                  <a:pt x="12" y="50"/>
                </a:lnTo>
                <a:lnTo>
                  <a:pt x="12" y="52"/>
                </a:lnTo>
                <a:lnTo>
                  <a:pt x="10" y="60"/>
                </a:lnTo>
                <a:lnTo>
                  <a:pt x="10" y="63"/>
                </a:lnTo>
                <a:lnTo>
                  <a:pt x="10" y="72"/>
                </a:lnTo>
                <a:lnTo>
                  <a:pt x="9" y="75"/>
                </a:lnTo>
                <a:lnTo>
                  <a:pt x="9" y="79"/>
                </a:lnTo>
                <a:lnTo>
                  <a:pt x="8" y="85"/>
                </a:lnTo>
                <a:lnTo>
                  <a:pt x="8" y="86"/>
                </a:lnTo>
                <a:lnTo>
                  <a:pt x="9" y="88"/>
                </a:lnTo>
                <a:lnTo>
                  <a:pt x="7" y="90"/>
                </a:lnTo>
                <a:lnTo>
                  <a:pt x="5" y="91"/>
                </a:lnTo>
                <a:lnTo>
                  <a:pt x="4" y="97"/>
                </a:lnTo>
                <a:lnTo>
                  <a:pt x="5" y="102"/>
                </a:lnTo>
                <a:lnTo>
                  <a:pt x="5" y="108"/>
                </a:lnTo>
                <a:lnTo>
                  <a:pt x="8" y="113"/>
                </a:lnTo>
                <a:lnTo>
                  <a:pt x="8" y="116"/>
                </a:lnTo>
                <a:lnTo>
                  <a:pt x="10" y="124"/>
                </a:lnTo>
                <a:lnTo>
                  <a:pt x="9" y="130"/>
                </a:lnTo>
                <a:lnTo>
                  <a:pt x="9" y="135"/>
                </a:lnTo>
                <a:lnTo>
                  <a:pt x="8" y="138"/>
                </a:lnTo>
                <a:lnTo>
                  <a:pt x="7" y="140"/>
                </a:lnTo>
                <a:lnTo>
                  <a:pt x="7" y="141"/>
                </a:lnTo>
                <a:lnTo>
                  <a:pt x="7" y="143"/>
                </a:lnTo>
                <a:lnTo>
                  <a:pt x="8" y="145"/>
                </a:lnTo>
                <a:lnTo>
                  <a:pt x="14" y="154"/>
                </a:lnTo>
                <a:lnTo>
                  <a:pt x="14" y="156"/>
                </a:lnTo>
                <a:lnTo>
                  <a:pt x="14" y="157"/>
                </a:lnTo>
                <a:lnTo>
                  <a:pt x="14" y="160"/>
                </a:lnTo>
                <a:lnTo>
                  <a:pt x="17" y="170"/>
                </a:lnTo>
                <a:lnTo>
                  <a:pt x="18" y="171"/>
                </a:lnTo>
                <a:lnTo>
                  <a:pt x="21" y="174"/>
                </a:lnTo>
                <a:lnTo>
                  <a:pt x="26" y="179"/>
                </a:lnTo>
                <a:lnTo>
                  <a:pt x="26" y="181"/>
                </a:lnTo>
                <a:lnTo>
                  <a:pt x="26" y="182"/>
                </a:lnTo>
                <a:lnTo>
                  <a:pt x="28" y="184"/>
                </a:lnTo>
                <a:lnTo>
                  <a:pt x="29" y="185"/>
                </a:lnTo>
                <a:lnTo>
                  <a:pt x="30" y="185"/>
                </a:lnTo>
                <a:lnTo>
                  <a:pt x="32" y="187"/>
                </a:lnTo>
                <a:lnTo>
                  <a:pt x="33" y="187"/>
                </a:lnTo>
                <a:lnTo>
                  <a:pt x="33" y="185"/>
                </a:lnTo>
                <a:lnTo>
                  <a:pt x="34" y="182"/>
                </a:lnTo>
                <a:lnTo>
                  <a:pt x="37" y="182"/>
                </a:lnTo>
                <a:lnTo>
                  <a:pt x="41" y="184"/>
                </a:lnTo>
                <a:lnTo>
                  <a:pt x="40" y="184"/>
                </a:lnTo>
                <a:lnTo>
                  <a:pt x="37" y="184"/>
                </a:lnTo>
                <a:lnTo>
                  <a:pt x="36" y="185"/>
                </a:lnTo>
                <a:lnTo>
                  <a:pt x="37" y="187"/>
                </a:lnTo>
                <a:lnTo>
                  <a:pt x="40" y="192"/>
                </a:lnTo>
                <a:lnTo>
                  <a:pt x="40" y="193"/>
                </a:lnTo>
                <a:lnTo>
                  <a:pt x="37" y="192"/>
                </a:lnTo>
                <a:lnTo>
                  <a:pt x="36" y="190"/>
                </a:lnTo>
                <a:lnTo>
                  <a:pt x="36" y="188"/>
                </a:lnTo>
                <a:lnTo>
                  <a:pt x="34" y="188"/>
                </a:lnTo>
                <a:lnTo>
                  <a:pt x="33" y="190"/>
                </a:lnTo>
                <a:lnTo>
                  <a:pt x="34" y="192"/>
                </a:lnTo>
                <a:lnTo>
                  <a:pt x="36" y="195"/>
                </a:lnTo>
                <a:lnTo>
                  <a:pt x="37" y="199"/>
                </a:lnTo>
                <a:lnTo>
                  <a:pt x="38" y="203"/>
                </a:lnTo>
                <a:lnTo>
                  <a:pt x="42" y="203"/>
                </a:lnTo>
                <a:lnTo>
                  <a:pt x="44" y="206"/>
                </a:lnTo>
                <a:lnTo>
                  <a:pt x="44" y="209"/>
                </a:lnTo>
                <a:lnTo>
                  <a:pt x="42" y="210"/>
                </a:lnTo>
                <a:lnTo>
                  <a:pt x="42" y="214"/>
                </a:lnTo>
                <a:lnTo>
                  <a:pt x="42" y="215"/>
                </a:lnTo>
                <a:lnTo>
                  <a:pt x="49" y="221"/>
                </a:lnTo>
                <a:lnTo>
                  <a:pt x="53" y="226"/>
                </a:lnTo>
                <a:lnTo>
                  <a:pt x="57" y="229"/>
                </a:lnTo>
                <a:lnTo>
                  <a:pt x="58" y="231"/>
                </a:lnTo>
                <a:lnTo>
                  <a:pt x="58" y="234"/>
                </a:lnTo>
                <a:lnTo>
                  <a:pt x="61" y="234"/>
                </a:lnTo>
                <a:lnTo>
                  <a:pt x="62" y="237"/>
                </a:lnTo>
                <a:lnTo>
                  <a:pt x="62" y="239"/>
                </a:lnTo>
                <a:lnTo>
                  <a:pt x="62" y="242"/>
                </a:lnTo>
                <a:lnTo>
                  <a:pt x="62" y="245"/>
                </a:lnTo>
                <a:lnTo>
                  <a:pt x="64" y="247"/>
                </a:lnTo>
                <a:lnTo>
                  <a:pt x="65" y="247"/>
                </a:lnTo>
                <a:lnTo>
                  <a:pt x="70" y="248"/>
                </a:lnTo>
                <a:lnTo>
                  <a:pt x="73" y="250"/>
                </a:lnTo>
                <a:lnTo>
                  <a:pt x="74" y="248"/>
                </a:lnTo>
                <a:lnTo>
                  <a:pt x="77" y="248"/>
                </a:lnTo>
                <a:lnTo>
                  <a:pt x="80" y="250"/>
                </a:lnTo>
                <a:lnTo>
                  <a:pt x="82" y="251"/>
                </a:lnTo>
                <a:lnTo>
                  <a:pt x="82" y="253"/>
                </a:lnTo>
                <a:lnTo>
                  <a:pt x="88" y="254"/>
                </a:lnTo>
                <a:lnTo>
                  <a:pt x="89" y="256"/>
                </a:lnTo>
                <a:lnTo>
                  <a:pt x="90" y="256"/>
                </a:lnTo>
                <a:lnTo>
                  <a:pt x="90" y="254"/>
                </a:lnTo>
                <a:lnTo>
                  <a:pt x="92" y="254"/>
                </a:lnTo>
                <a:lnTo>
                  <a:pt x="93" y="256"/>
                </a:lnTo>
                <a:lnTo>
                  <a:pt x="96" y="258"/>
                </a:lnTo>
                <a:lnTo>
                  <a:pt x="96" y="261"/>
                </a:lnTo>
                <a:lnTo>
                  <a:pt x="100" y="261"/>
                </a:lnTo>
                <a:lnTo>
                  <a:pt x="104" y="262"/>
                </a:lnTo>
                <a:lnTo>
                  <a:pt x="105" y="264"/>
                </a:lnTo>
                <a:lnTo>
                  <a:pt x="109" y="269"/>
                </a:lnTo>
                <a:lnTo>
                  <a:pt x="112" y="272"/>
                </a:lnTo>
                <a:lnTo>
                  <a:pt x="113" y="273"/>
                </a:lnTo>
                <a:lnTo>
                  <a:pt x="114" y="281"/>
                </a:lnTo>
                <a:lnTo>
                  <a:pt x="114" y="283"/>
                </a:lnTo>
                <a:lnTo>
                  <a:pt x="149" y="280"/>
                </a:lnTo>
                <a:lnTo>
                  <a:pt x="149" y="281"/>
                </a:lnTo>
                <a:lnTo>
                  <a:pt x="206" y="303"/>
                </a:lnTo>
                <a:lnTo>
                  <a:pt x="234" y="303"/>
                </a:lnTo>
                <a:lnTo>
                  <a:pt x="247" y="303"/>
                </a:lnTo>
                <a:lnTo>
                  <a:pt x="247" y="295"/>
                </a:lnTo>
                <a:lnTo>
                  <a:pt x="271" y="294"/>
                </a:lnTo>
                <a:lnTo>
                  <a:pt x="274" y="297"/>
                </a:lnTo>
                <a:lnTo>
                  <a:pt x="275" y="297"/>
                </a:lnTo>
                <a:lnTo>
                  <a:pt x="278" y="300"/>
                </a:lnTo>
                <a:lnTo>
                  <a:pt x="280" y="302"/>
                </a:lnTo>
                <a:lnTo>
                  <a:pt x="283" y="305"/>
                </a:lnTo>
                <a:lnTo>
                  <a:pt x="288" y="311"/>
                </a:lnTo>
                <a:lnTo>
                  <a:pt x="296" y="316"/>
                </a:lnTo>
                <a:lnTo>
                  <a:pt x="300" y="330"/>
                </a:lnTo>
                <a:lnTo>
                  <a:pt x="304" y="335"/>
                </a:lnTo>
                <a:lnTo>
                  <a:pt x="310" y="339"/>
                </a:lnTo>
                <a:lnTo>
                  <a:pt x="316" y="344"/>
                </a:lnTo>
                <a:lnTo>
                  <a:pt x="323" y="346"/>
                </a:lnTo>
                <a:lnTo>
                  <a:pt x="330" y="331"/>
                </a:lnTo>
                <a:lnTo>
                  <a:pt x="332" y="330"/>
                </a:lnTo>
                <a:lnTo>
                  <a:pt x="336" y="331"/>
                </a:lnTo>
                <a:lnTo>
                  <a:pt x="348" y="330"/>
                </a:lnTo>
                <a:lnTo>
                  <a:pt x="351" y="333"/>
                </a:lnTo>
                <a:lnTo>
                  <a:pt x="355" y="338"/>
                </a:lnTo>
                <a:lnTo>
                  <a:pt x="356" y="341"/>
                </a:lnTo>
                <a:lnTo>
                  <a:pt x="360" y="342"/>
                </a:lnTo>
                <a:lnTo>
                  <a:pt x="365" y="357"/>
                </a:lnTo>
                <a:lnTo>
                  <a:pt x="369" y="361"/>
                </a:lnTo>
                <a:lnTo>
                  <a:pt x="372" y="366"/>
                </a:lnTo>
                <a:lnTo>
                  <a:pt x="376" y="369"/>
                </a:lnTo>
                <a:lnTo>
                  <a:pt x="380" y="383"/>
                </a:lnTo>
                <a:lnTo>
                  <a:pt x="385" y="391"/>
                </a:lnTo>
                <a:lnTo>
                  <a:pt x="389" y="394"/>
                </a:lnTo>
                <a:lnTo>
                  <a:pt x="393" y="394"/>
                </a:lnTo>
                <a:lnTo>
                  <a:pt x="397" y="397"/>
                </a:lnTo>
                <a:lnTo>
                  <a:pt x="405" y="397"/>
                </a:lnTo>
                <a:lnTo>
                  <a:pt x="411" y="400"/>
                </a:lnTo>
                <a:lnTo>
                  <a:pt x="415" y="400"/>
                </a:lnTo>
                <a:lnTo>
                  <a:pt x="415" y="399"/>
                </a:lnTo>
                <a:lnTo>
                  <a:pt x="413" y="396"/>
                </a:lnTo>
                <a:lnTo>
                  <a:pt x="412" y="394"/>
                </a:lnTo>
                <a:lnTo>
                  <a:pt x="412" y="393"/>
                </a:lnTo>
                <a:lnTo>
                  <a:pt x="411" y="386"/>
                </a:lnTo>
                <a:lnTo>
                  <a:pt x="411" y="383"/>
                </a:lnTo>
                <a:lnTo>
                  <a:pt x="411" y="382"/>
                </a:lnTo>
                <a:lnTo>
                  <a:pt x="412" y="378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27" name="Line 226"/>
          <p:cNvSpPr>
            <a:spLocks noChangeShapeType="1"/>
          </p:cNvSpPr>
          <p:nvPr/>
        </p:nvSpPr>
        <p:spPr bwMode="auto">
          <a:xfrm>
            <a:off x="3456675" y="2976234"/>
            <a:ext cx="3898" cy="2148"/>
          </a:xfrm>
          <a:prstGeom prst="line">
            <a:avLst/>
          </a:prstGeom>
          <a:solidFill>
            <a:sysClr val="window" lastClr="FFFFFF">
              <a:lumMod val="75000"/>
            </a:sysClr>
          </a:solidFill>
          <a:ln w="3175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28" name="Freeform 227"/>
          <p:cNvSpPr>
            <a:spLocks/>
          </p:cNvSpPr>
          <p:nvPr/>
        </p:nvSpPr>
        <p:spPr bwMode="auto">
          <a:xfrm>
            <a:off x="3456674" y="2969792"/>
            <a:ext cx="0" cy="6443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0" y="0"/>
              </a:cxn>
              <a:cxn ang="0">
                <a:pos x="1" y="0"/>
              </a:cxn>
              <a:cxn ang="0">
                <a:pos x="1" y="2"/>
              </a:cxn>
              <a:cxn ang="0">
                <a:pos x="1" y="0"/>
              </a:cxn>
            </a:cxnLst>
            <a:rect l="0" t="0" r="r" b="b"/>
            <a:pathLst>
              <a:path w="1" h="2">
                <a:moveTo>
                  <a:pt x="1" y="0"/>
                </a:moveTo>
                <a:lnTo>
                  <a:pt x="0" y="0"/>
                </a:lnTo>
                <a:lnTo>
                  <a:pt x="1" y="0"/>
                </a:lnTo>
                <a:lnTo>
                  <a:pt x="1" y="2"/>
                </a:lnTo>
                <a:lnTo>
                  <a:pt x="1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29" name="Freeform 228"/>
          <p:cNvSpPr>
            <a:spLocks/>
          </p:cNvSpPr>
          <p:nvPr/>
        </p:nvSpPr>
        <p:spPr bwMode="auto">
          <a:xfrm>
            <a:off x="3456674" y="2969792"/>
            <a:ext cx="0" cy="6443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0" y="0"/>
              </a:cxn>
              <a:cxn ang="0">
                <a:pos x="1" y="0"/>
              </a:cxn>
              <a:cxn ang="0">
                <a:pos x="1" y="2"/>
              </a:cxn>
              <a:cxn ang="0">
                <a:pos x="1" y="0"/>
              </a:cxn>
            </a:cxnLst>
            <a:rect l="0" t="0" r="r" b="b"/>
            <a:pathLst>
              <a:path w="1" h="2">
                <a:moveTo>
                  <a:pt x="1" y="0"/>
                </a:moveTo>
                <a:lnTo>
                  <a:pt x="0" y="0"/>
                </a:lnTo>
                <a:lnTo>
                  <a:pt x="1" y="0"/>
                </a:lnTo>
                <a:lnTo>
                  <a:pt x="1" y="2"/>
                </a:lnTo>
                <a:lnTo>
                  <a:pt x="1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30" name="Freeform 229"/>
          <p:cNvSpPr>
            <a:spLocks/>
          </p:cNvSpPr>
          <p:nvPr/>
        </p:nvSpPr>
        <p:spPr bwMode="auto">
          <a:xfrm>
            <a:off x="1001168" y="1984040"/>
            <a:ext cx="13640" cy="4295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2" y="0"/>
              </a:cxn>
              <a:cxn ang="0">
                <a:pos x="4" y="0"/>
              </a:cxn>
              <a:cxn ang="0">
                <a:pos x="5" y="0"/>
              </a:cxn>
              <a:cxn ang="0">
                <a:pos x="8" y="3"/>
              </a:cxn>
              <a:cxn ang="0">
                <a:pos x="2" y="3"/>
              </a:cxn>
              <a:cxn ang="0">
                <a:pos x="1" y="2"/>
              </a:cxn>
              <a:cxn ang="0">
                <a:pos x="0" y="2"/>
              </a:cxn>
              <a:cxn ang="0">
                <a:pos x="0" y="0"/>
              </a:cxn>
              <a:cxn ang="0">
                <a:pos x="1" y="0"/>
              </a:cxn>
            </a:cxnLst>
            <a:rect l="0" t="0" r="r" b="b"/>
            <a:pathLst>
              <a:path w="8" h="3">
                <a:moveTo>
                  <a:pt x="1" y="0"/>
                </a:moveTo>
                <a:lnTo>
                  <a:pt x="2" y="0"/>
                </a:lnTo>
                <a:lnTo>
                  <a:pt x="4" y="0"/>
                </a:lnTo>
                <a:lnTo>
                  <a:pt x="5" y="0"/>
                </a:lnTo>
                <a:lnTo>
                  <a:pt x="8" y="3"/>
                </a:lnTo>
                <a:lnTo>
                  <a:pt x="2" y="3"/>
                </a:lnTo>
                <a:lnTo>
                  <a:pt x="1" y="2"/>
                </a:lnTo>
                <a:lnTo>
                  <a:pt x="0" y="2"/>
                </a:ln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31" name="Freeform 230"/>
          <p:cNvSpPr>
            <a:spLocks/>
          </p:cNvSpPr>
          <p:nvPr/>
        </p:nvSpPr>
        <p:spPr bwMode="auto">
          <a:xfrm>
            <a:off x="1001168" y="1984040"/>
            <a:ext cx="13640" cy="4295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2" y="0"/>
              </a:cxn>
              <a:cxn ang="0">
                <a:pos x="4" y="0"/>
              </a:cxn>
              <a:cxn ang="0">
                <a:pos x="5" y="0"/>
              </a:cxn>
              <a:cxn ang="0">
                <a:pos x="8" y="3"/>
              </a:cxn>
              <a:cxn ang="0">
                <a:pos x="2" y="3"/>
              </a:cxn>
              <a:cxn ang="0">
                <a:pos x="1" y="2"/>
              </a:cxn>
              <a:cxn ang="0">
                <a:pos x="0" y="2"/>
              </a:cxn>
              <a:cxn ang="0">
                <a:pos x="0" y="0"/>
              </a:cxn>
              <a:cxn ang="0">
                <a:pos x="1" y="0"/>
              </a:cxn>
            </a:cxnLst>
            <a:rect l="0" t="0" r="r" b="b"/>
            <a:pathLst>
              <a:path w="8" h="3">
                <a:moveTo>
                  <a:pt x="1" y="0"/>
                </a:moveTo>
                <a:lnTo>
                  <a:pt x="2" y="0"/>
                </a:lnTo>
                <a:lnTo>
                  <a:pt x="4" y="0"/>
                </a:lnTo>
                <a:lnTo>
                  <a:pt x="5" y="0"/>
                </a:lnTo>
                <a:lnTo>
                  <a:pt x="8" y="3"/>
                </a:lnTo>
                <a:lnTo>
                  <a:pt x="2" y="3"/>
                </a:lnTo>
                <a:lnTo>
                  <a:pt x="1" y="2"/>
                </a:lnTo>
                <a:lnTo>
                  <a:pt x="0" y="2"/>
                </a:lnTo>
                <a:lnTo>
                  <a:pt x="0" y="0"/>
                </a:lnTo>
                <a:lnTo>
                  <a:pt x="1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32" name="Freeform 231"/>
          <p:cNvSpPr>
            <a:spLocks/>
          </p:cNvSpPr>
          <p:nvPr/>
        </p:nvSpPr>
        <p:spPr bwMode="auto">
          <a:xfrm>
            <a:off x="1774846" y="2314771"/>
            <a:ext cx="23386" cy="45100"/>
          </a:xfrm>
          <a:custGeom>
            <a:avLst/>
            <a:gdLst/>
            <a:ahLst/>
            <a:cxnLst>
              <a:cxn ang="0">
                <a:pos x="11" y="4"/>
              </a:cxn>
              <a:cxn ang="0">
                <a:pos x="12" y="6"/>
              </a:cxn>
              <a:cxn ang="0">
                <a:pos x="11" y="11"/>
              </a:cxn>
              <a:cxn ang="0">
                <a:pos x="11" y="9"/>
              </a:cxn>
              <a:cxn ang="0">
                <a:pos x="12" y="9"/>
              </a:cxn>
              <a:cxn ang="0">
                <a:pos x="13" y="11"/>
              </a:cxn>
              <a:cxn ang="0">
                <a:pos x="12" y="11"/>
              </a:cxn>
              <a:cxn ang="0">
                <a:pos x="12" y="12"/>
              </a:cxn>
              <a:cxn ang="0">
                <a:pos x="12" y="14"/>
              </a:cxn>
              <a:cxn ang="0">
                <a:pos x="13" y="14"/>
              </a:cxn>
              <a:cxn ang="0">
                <a:pos x="13" y="17"/>
              </a:cxn>
              <a:cxn ang="0">
                <a:pos x="13" y="19"/>
              </a:cxn>
              <a:cxn ang="0">
                <a:pos x="13" y="23"/>
              </a:cxn>
              <a:cxn ang="0">
                <a:pos x="12" y="23"/>
              </a:cxn>
              <a:cxn ang="0">
                <a:pos x="11" y="22"/>
              </a:cxn>
              <a:cxn ang="0">
                <a:pos x="9" y="20"/>
              </a:cxn>
              <a:cxn ang="0">
                <a:pos x="8" y="17"/>
              </a:cxn>
              <a:cxn ang="0">
                <a:pos x="9" y="15"/>
              </a:cxn>
              <a:cxn ang="0">
                <a:pos x="11" y="14"/>
              </a:cxn>
              <a:cxn ang="0">
                <a:pos x="11" y="12"/>
              </a:cxn>
              <a:cxn ang="0">
                <a:pos x="9" y="14"/>
              </a:cxn>
              <a:cxn ang="0">
                <a:pos x="9" y="15"/>
              </a:cxn>
              <a:cxn ang="0">
                <a:pos x="8" y="15"/>
              </a:cxn>
              <a:cxn ang="0">
                <a:pos x="7" y="14"/>
              </a:cxn>
              <a:cxn ang="0">
                <a:pos x="7" y="12"/>
              </a:cxn>
              <a:cxn ang="0">
                <a:pos x="5" y="12"/>
              </a:cxn>
              <a:cxn ang="0">
                <a:pos x="4" y="12"/>
              </a:cxn>
              <a:cxn ang="0">
                <a:pos x="5" y="11"/>
              </a:cxn>
              <a:cxn ang="0">
                <a:pos x="4" y="11"/>
              </a:cxn>
              <a:cxn ang="0">
                <a:pos x="5" y="9"/>
              </a:cxn>
              <a:cxn ang="0">
                <a:pos x="5" y="8"/>
              </a:cxn>
              <a:cxn ang="0">
                <a:pos x="4" y="8"/>
              </a:cxn>
              <a:cxn ang="0">
                <a:pos x="3" y="6"/>
              </a:cxn>
              <a:cxn ang="0">
                <a:pos x="0" y="4"/>
              </a:cxn>
              <a:cxn ang="0">
                <a:pos x="0" y="3"/>
              </a:cxn>
              <a:cxn ang="0">
                <a:pos x="0" y="1"/>
              </a:cxn>
              <a:cxn ang="0">
                <a:pos x="1" y="0"/>
              </a:cxn>
              <a:cxn ang="0">
                <a:pos x="3" y="1"/>
              </a:cxn>
              <a:cxn ang="0">
                <a:pos x="5" y="1"/>
              </a:cxn>
              <a:cxn ang="0">
                <a:pos x="7" y="3"/>
              </a:cxn>
              <a:cxn ang="0">
                <a:pos x="8" y="4"/>
              </a:cxn>
              <a:cxn ang="0">
                <a:pos x="11" y="4"/>
              </a:cxn>
            </a:cxnLst>
            <a:rect l="0" t="0" r="r" b="b"/>
            <a:pathLst>
              <a:path w="13" h="23">
                <a:moveTo>
                  <a:pt x="11" y="4"/>
                </a:moveTo>
                <a:lnTo>
                  <a:pt x="12" y="6"/>
                </a:lnTo>
                <a:lnTo>
                  <a:pt x="11" y="11"/>
                </a:lnTo>
                <a:lnTo>
                  <a:pt x="11" y="9"/>
                </a:lnTo>
                <a:lnTo>
                  <a:pt x="12" y="9"/>
                </a:lnTo>
                <a:lnTo>
                  <a:pt x="13" y="11"/>
                </a:lnTo>
                <a:lnTo>
                  <a:pt x="12" y="11"/>
                </a:lnTo>
                <a:lnTo>
                  <a:pt x="12" y="12"/>
                </a:lnTo>
                <a:lnTo>
                  <a:pt x="12" y="14"/>
                </a:lnTo>
                <a:lnTo>
                  <a:pt x="13" y="14"/>
                </a:lnTo>
                <a:lnTo>
                  <a:pt x="13" y="17"/>
                </a:lnTo>
                <a:lnTo>
                  <a:pt x="13" y="19"/>
                </a:lnTo>
                <a:lnTo>
                  <a:pt x="13" y="23"/>
                </a:lnTo>
                <a:lnTo>
                  <a:pt x="12" y="23"/>
                </a:lnTo>
                <a:lnTo>
                  <a:pt x="11" y="22"/>
                </a:lnTo>
                <a:lnTo>
                  <a:pt x="9" y="20"/>
                </a:lnTo>
                <a:lnTo>
                  <a:pt x="8" y="17"/>
                </a:lnTo>
                <a:lnTo>
                  <a:pt x="9" y="15"/>
                </a:lnTo>
                <a:lnTo>
                  <a:pt x="11" y="14"/>
                </a:lnTo>
                <a:lnTo>
                  <a:pt x="11" y="12"/>
                </a:lnTo>
                <a:lnTo>
                  <a:pt x="9" y="14"/>
                </a:lnTo>
                <a:lnTo>
                  <a:pt x="9" y="15"/>
                </a:lnTo>
                <a:lnTo>
                  <a:pt x="8" y="15"/>
                </a:lnTo>
                <a:lnTo>
                  <a:pt x="7" y="14"/>
                </a:lnTo>
                <a:lnTo>
                  <a:pt x="7" y="12"/>
                </a:lnTo>
                <a:lnTo>
                  <a:pt x="5" y="12"/>
                </a:lnTo>
                <a:lnTo>
                  <a:pt x="4" y="12"/>
                </a:lnTo>
                <a:lnTo>
                  <a:pt x="5" y="11"/>
                </a:lnTo>
                <a:lnTo>
                  <a:pt x="4" y="11"/>
                </a:lnTo>
                <a:lnTo>
                  <a:pt x="5" y="9"/>
                </a:lnTo>
                <a:lnTo>
                  <a:pt x="5" y="8"/>
                </a:lnTo>
                <a:lnTo>
                  <a:pt x="4" y="8"/>
                </a:lnTo>
                <a:lnTo>
                  <a:pt x="3" y="6"/>
                </a:lnTo>
                <a:lnTo>
                  <a:pt x="0" y="4"/>
                </a:lnTo>
                <a:lnTo>
                  <a:pt x="0" y="3"/>
                </a:lnTo>
                <a:lnTo>
                  <a:pt x="0" y="1"/>
                </a:lnTo>
                <a:lnTo>
                  <a:pt x="1" y="0"/>
                </a:lnTo>
                <a:lnTo>
                  <a:pt x="3" y="1"/>
                </a:lnTo>
                <a:lnTo>
                  <a:pt x="5" y="1"/>
                </a:lnTo>
                <a:lnTo>
                  <a:pt x="7" y="3"/>
                </a:lnTo>
                <a:lnTo>
                  <a:pt x="8" y="4"/>
                </a:lnTo>
                <a:lnTo>
                  <a:pt x="11" y="4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33" name="Freeform 232"/>
          <p:cNvSpPr>
            <a:spLocks/>
          </p:cNvSpPr>
          <p:nvPr/>
        </p:nvSpPr>
        <p:spPr bwMode="auto">
          <a:xfrm>
            <a:off x="1774846" y="2314771"/>
            <a:ext cx="23386" cy="45100"/>
          </a:xfrm>
          <a:custGeom>
            <a:avLst/>
            <a:gdLst/>
            <a:ahLst/>
            <a:cxnLst>
              <a:cxn ang="0">
                <a:pos x="11" y="4"/>
              </a:cxn>
              <a:cxn ang="0">
                <a:pos x="12" y="6"/>
              </a:cxn>
              <a:cxn ang="0">
                <a:pos x="11" y="11"/>
              </a:cxn>
              <a:cxn ang="0">
                <a:pos x="11" y="9"/>
              </a:cxn>
              <a:cxn ang="0">
                <a:pos x="12" y="9"/>
              </a:cxn>
              <a:cxn ang="0">
                <a:pos x="13" y="11"/>
              </a:cxn>
              <a:cxn ang="0">
                <a:pos x="12" y="11"/>
              </a:cxn>
              <a:cxn ang="0">
                <a:pos x="12" y="12"/>
              </a:cxn>
              <a:cxn ang="0">
                <a:pos x="12" y="14"/>
              </a:cxn>
              <a:cxn ang="0">
                <a:pos x="13" y="14"/>
              </a:cxn>
              <a:cxn ang="0">
                <a:pos x="13" y="17"/>
              </a:cxn>
              <a:cxn ang="0">
                <a:pos x="13" y="19"/>
              </a:cxn>
              <a:cxn ang="0">
                <a:pos x="13" y="23"/>
              </a:cxn>
              <a:cxn ang="0">
                <a:pos x="12" y="23"/>
              </a:cxn>
              <a:cxn ang="0">
                <a:pos x="11" y="22"/>
              </a:cxn>
              <a:cxn ang="0">
                <a:pos x="9" y="20"/>
              </a:cxn>
              <a:cxn ang="0">
                <a:pos x="8" y="17"/>
              </a:cxn>
              <a:cxn ang="0">
                <a:pos x="9" y="15"/>
              </a:cxn>
              <a:cxn ang="0">
                <a:pos x="11" y="14"/>
              </a:cxn>
              <a:cxn ang="0">
                <a:pos x="11" y="12"/>
              </a:cxn>
              <a:cxn ang="0">
                <a:pos x="9" y="14"/>
              </a:cxn>
              <a:cxn ang="0">
                <a:pos x="9" y="15"/>
              </a:cxn>
              <a:cxn ang="0">
                <a:pos x="8" y="15"/>
              </a:cxn>
              <a:cxn ang="0">
                <a:pos x="7" y="14"/>
              </a:cxn>
              <a:cxn ang="0">
                <a:pos x="7" y="12"/>
              </a:cxn>
              <a:cxn ang="0">
                <a:pos x="5" y="12"/>
              </a:cxn>
              <a:cxn ang="0">
                <a:pos x="4" y="12"/>
              </a:cxn>
              <a:cxn ang="0">
                <a:pos x="5" y="11"/>
              </a:cxn>
              <a:cxn ang="0">
                <a:pos x="4" y="11"/>
              </a:cxn>
              <a:cxn ang="0">
                <a:pos x="5" y="9"/>
              </a:cxn>
              <a:cxn ang="0">
                <a:pos x="5" y="8"/>
              </a:cxn>
              <a:cxn ang="0">
                <a:pos x="4" y="8"/>
              </a:cxn>
              <a:cxn ang="0">
                <a:pos x="3" y="6"/>
              </a:cxn>
              <a:cxn ang="0">
                <a:pos x="0" y="4"/>
              </a:cxn>
              <a:cxn ang="0">
                <a:pos x="0" y="3"/>
              </a:cxn>
              <a:cxn ang="0">
                <a:pos x="0" y="1"/>
              </a:cxn>
              <a:cxn ang="0">
                <a:pos x="1" y="0"/>
              </a:cxn>
              <a:cxn ang="0">
                <a:pos x="3" y="1"/>
              </a:cxn>
              <a:cxn ang="0">
                <a:pos x="5" y="1"/>
              </a:cxn>
              <a:cxn ang="0">
                <a:pos x="7" y="3"/>
              </a:cxn>
              <a:cxn ang="0">
                <a:pos x="8" y="4"/>
              </a:cxn>
              <a:cxn ang="0">
                <a:pos x="11" y="4"/>
              </a:cxn>
            </a:cxnLst>
            <a:rect l="0" t="0" r="r" b="b"/>
            <a:pathLst>
              <a:path w="13" h="23">
                <a:moveTo>
                  <a:pt x="11" y="4"/>
                </a:moveTo>
                <a:lnTo>
                  <a:pt x="12" y="6"/>
                </a:lnTo>
                <a:lnTo>
                  <a:pt x="11" y="11"/>
                </a:lnTo>
                <a:lnTo>
                  <a:pt x="11" y="9"/>
                </a:lnTo>
                <a:lnTo>
                  <a:pt x="12" y="9"/>
                </a:lnTo>
                <a:lnTo>
                  <a:pt x="13" y="11"/>
                </a:lnTo>
                <a:lnTo>
                  <a:pt x="12" y="11"/>
                </a:lnTo>
                <a:lnTo>
                  <a:pt x="12" y="12"/>
                </a:lnTo>
                <a:lnTo>
                  <a:pt x="12" y="14"/>
                </a:lnTo>
                <a:lnTo>
                  <a:pt x="13" y="14"/>
                </a:lnTo>
                <a:lnTo>
                  <a:pt x="13" y="17"/>
                </a:lnTo>
                <a:lnTo>
                  <a:pt x="13" y="19"/>
                </a:lnTo>
                <a:lnTo>
                  <a:pt x="13" y="23"/>
                </a:lnTo>
                <a:lnTo>
                  <a:pt x="12" y="23"/>
                </a:lnTo>
                <a:lnTo>
                  <a:pt x="11" y="22"/>
                </a:lnTo>
                <a:lnTo>
                  <a:pt x="9" y="20"/>
                </a:lnTo>
                <a:lnTo>
                  <a:pt x="8" y="17"/>
                </a:lnTo>
                <a:lnTo>
                  <a:pt x="9" y="15"/>
                </a:lnTo>
                <a:lnTo>
                  <a:pt x="11" y="14"/>
                </a:lnTo>
                <a:lnTo>
                  <a:pt x="11" y="12"/>
                </a:lnTo>
                <a:lnTo>
                  <a:pt x="9" y="14"/>
                </a:lnTo>
                <a:lnTo>
                  <a:pt x="9" y="15"/>
                </a:lnTo>
                <a:lnTo>
                  <a:pt x="8" y="15"/>
                </a:lnTo>
                <a:lnTo>
                  <a:pt x="7" y="14"/>
                </a:lnTo>
                <a:lnTo>
                  <a:pt x="7" y="12"/>
                </a:lnTo>
                <a:lnTo>
                  <a:pt x="5" y="12"/>
                </a:lnTo>
                <a:lnTo>
                  <a:pt x="4" y="12"/>
                </a:lnTo>
                <a:lnTo>
                  <a:pt x="5" y="11"/>
                </a:lnTo>
                <a:lnTo>
                  <a:pt x="4" y="11"/>
                </a:lnTo>
                <a:lnTo>
                  <a:pt x="5" y="9"/>
                </a:lnTo>
                <a:lnTo>
                  <a:pt x="5" y="8"/>
                </a:lnTo>
                <a:lnTo>
                  <a:pt x="4" y="8"/>
                </a:lnTo>
                <a:lnTo>
                  <a:pt x="3" y="6"/>
                </a:lnTo>
                <a:lnTo>
                  <a:pt x="0" y="4"/>
                </a:lnTo>
                <a:lnTo>
                  <a:pt x="0" y="3"/>
                </a:lnTo>
                <a:lnTo>
                  <a:pt x="0" y="1"/>
                </a:lnTo>
                <a:lnTo>
                  <a:pt x="1" y="0"/>
                </a:lnTo>
                <a:lnTo>
                  <a:pt x="3" y="1"/>
                </a:lnTo>
                <a:lnTo>
                  <a:pt x="5" y="1"/>
                </a:lnTo>
                <a:lnTo>
                  <a:pt x="7" y="3"/>
                </a:lnTo>
                <a:lnTo>
                  <a:pt x="8" y="4"/>
                </a:lnTo>
                <a:lnTo>
                  <a:pt x="11" y="4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34" name="Freeform 233"/>
          <p:cNvSpPr>
            <a:spLocks/>
          </p:cNvSpPr>
          <p:nvPr/>
        </p:nvSpPr>
        <p:spPr bwMode="auto">
          <a:xfrm>
            <a:off x="1796284" y="2291147"/>
            <a:ext cx="29232" cy="40804"/>
          </a:xfrm>
          <a:custGeom>
            <a:avLst/>
            <a:gdLst/>
            <a:ahLst/>
            <a:cxnLst>
              <a:cxn ang="0">
                <a:pos x="3" y="11"/>
              </a:cxn>
              <a:cxn ang="0">
                <a:pos x="1" y="8"/>
              </a:cxn>
              <a:cxn ang="0">
                <a:pos x="0" y="6"/>
              </a:cxn>
              <a:cxn ang="0">
                <a:pos x="0" y="4"/>
              </a:cxn>
              <a:cxn ang="0">
                <a:pos x="0" y="1"/>
              </a:cxn>
              <a:cxn ang="0">
                <a:pos x="0" y="0"/>
              </a:cxn>
              <a:cxn ang="0">
                <a:pos x="1" y="0"/>
              </a:cxn>
              <a:cxn ang="0">
                <a:pos x="5" y="0"/>
              </a:cxn>
              <a:cxn ang="0">
                <a:pos x="8" y="0"/>
              </a:cxn>
              <a:cxn ang="0">
                <a:pos x="9" y="1"/>
              </a:cxn>
              <a:cxn ang="0">
                <a:pos x="12" y="4"/>
              </a:cxn>
              <a:cxn ang="0">
                <a:pos x="13" y="8"/>
              </a:cxn>
              <a:cxn ang="0">
                <a:pos x="13" y="9"/>
              </a:cxn>
              <a:cxn ang="0">
                <a:pos x="15" y="11"/>
              </a:cxn>
              <a:cxn ang="0">
                <a:pos x="11" y="4"/>
              </a:cxn>
              <a:cxn ang="0">
                <a:pos x="8" y="1"/>
              </a:cxn>
              <a:cxn ang="0">
                <a:pos x="8" y="3"/>
              </a:cxn>
              <a:cxn ang="0">
                <a:pos x="7" y="3"/>
              </a:cxn>
              <a:cxn ang="0">
                <a:pos x="7" y="4"/>
              </a:cxn>
              <a:cxn ang="0">
                <a:pos x="8" y="6"/>
              </a:cxn>
              <a:cxn ang="0">
                <a:pos x="8" y="8"/>
              </a:cxn>
              <a:cxn ang="0">
                <a:pos x="9" y="8"/>
              </a:cxn>
              <a:cxn ang="0">
                <a:pos x="11" y="9"/>
              </a:cxn>
              <a:cxn ang="0">
                <a:pos x="12" y="9"/>
              </a:cxn>
              <a:cxn ang="0">
                <a:pos x="13" y="12"/>
              </a:cxn>
              <a:cxn ang="0">
                <a:pos x="12" y="11"/>
              </a:cxn>
              <a:cxn ang="0">
                <a:pos x="11" y="12"/>
              </a:cxn>
              <a:cxn ang="0">
                <a:pos x="13" y="14"/>
              </a:cxn>
              <a:cxn ang="0">
                <a:pos x="12" y="14"/>
              </a:cxn>
              <a:cxn ang="0">
                <a:pos x="9" y="14"/>
              </a:cxn>
              <a:cxn ang="0">
                <a:pos x="9" y="17"/>
              </a:cxn>
              <a:cxn ang="0">
                <a:pos x="8" y="15"/>
              </a:cxn>
              <a:cxn ang="0">
                <a:pos x="5" y="20"/>
              </a:cxn>
              <a:cxn ang="0">
                <a:pos x="4" y="20"/>
              </a:cxn>
              <a:cxn ang="0">
                <a:pos x="3" y="19"/>
              </a:cxn>
              <a:cxn ang="0">
                <a:pos x="3" y="14"/>
              </a:cxn>
              <a:cxn ang="0">
                <a:pos x="4" y="14"/>
              </a:cxn>
              <a:cxn ang="0">
                <a:pos x="5" y="14"/>
              </a:cxn>
              <a:cxn ang="0">
                <a:pos x="7" y="14"/>
              </a:cxn>
              <a:cxn ang="0">
                <a:pos x="4" y="12"/>
              </a:cxn>
              <a:cxn ang="0">
                <a:pos x="5" y="11"/>
              </a:cxn>
              <a:cxn ang="0">
                <a:pos x="7" y="11"/>
              </a:cxn>
              <a:cxn ang="0">
                <a:pos x="5" y="11"/>
              </a:cxn>
              <a:cxn ang="0">
                <a:pos x="4" y="11"/>
              </a:cxn>
              <a:cxn ang="0">
                <a:pos x="3" y="11"/>
              </a:cxn>
            </a:cxnLst>
            <a:rect l="0" t="0" r="r" b="b"/>
            <a:pathLst>
              <a:path w="15" h="20">
                <a:moveTo>
                  <a:pt x="3" y="11"/>
                </a:moveTo>
                <a:lnTo>
                  <a:pt x="1" y="8"/>
                </a:lnTo>
                <a:lnTo>
                  <a:pt x="0" y="6"/>
                </a:lnTo>
                <a:lnTo>
                  <a:pt x="0" y="4"/>
                </a:ln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lnTo>
                  <a:pt x="5" y="0"/>
                </a:lnTo>
                <a:lnTo>
                  <a:pt x="8" y="0"/>
                </a:lnTo>
                <a:lnTo>
                  <a:pt x="9" y="1"/>
                </a:lnTo>
                <a:lnTo>
                  <a:pt x="12" y="4"/>
                </a:lnTo>
                <a:lnTo>
                  <a:pt x="13" y="8"/>
                </a:lnTo>
                <a:lnTo>
                  <a:pt x="13" y="9"/>
                </a:lnTo>
                <a:lnTo>
                  <a:pt x="15" y="11"/>
                </a:lnTo>
                <a:lnTo>
                  <a:pt x="11" y="4"/>
                </a:lnTo>
                <a:lnTo>
                  <a:pt x="8" y="1"/>
                </a:lnTo>
                <a:lnTo>
                  <a:pt x="8" y="3"/>
                </a:lnTo>
                <a:lnTo>
                  <a:pt x="7" y="3"/>
                </a:lnTo>
                <a:lnTo>
                  <a:pt x="7" y="4"/>
                </a:lnTo>
                <a:lnTo>
                  <a:pt x="8" y="6"/>
                </a:lnTo>
                <a:lnTo>
                  <a:pt x="8" y="8"/>
                </a:lnTo>
                <a:lnTo>
                  <a:pt x="9" y="8"/>
                </a:lnTo>
                <a:lnTo>
                  <a:pt x="11" y="9"/>
                </a:lnTo>
                <a:lnTo>
                  <a:pt x="12" y="9"/>
                </a:lnTo>
                <a:lnTo>
                  <a:pt x="13" y="12"/>
                </a:lnTo>
                <a:lnTo>
                  <a:pt x="12" y="11"/>
                </a:lnTo>
                <a:lnTo>
                  <a:pt x="11" y="12"/>
                </a:lnTo>
                <a:lnTo>
                  <a:pt x="13" y="14"/>
                </a:lnTo>
                <a:lnTo>
                  <a:pt x="12" y="14"/>
                </a:lnTo>
                <a:lnTo>
                  <a:pt x="9" y="14"/>
                </a:lnTo>
                <a:lnTo>
                  <a:pt x="9" y="17"/>
                </a:lnTo>
                <a:lnTo>
                  <a:pt x="8" y="15"/>
                </a:lnTo>
                <a:lnTo>
                  <a:pt x="5" y="20"/>
                </a:lnTo>
                <a:lnTo>
                  <a:pt x="4" y="20"/>
                </a:lnTo>
                <a:lnTo>
                  <a:pt x="3" y="19"/>
                </a:lnTo>
                <a:lnTo>
                  <a:pt x="3" y="14"/>
                </a:lnTo>
                <a:lnTo>
                  <a:pt x="4" y="14"/>
                </a:lnTo>
                <a:lnTo>
                  <a:pt x="5" y="14"/>
                </a:lnTo>
                <a:lnTo>
                  <a:pt x="7" y="14"/>
                </a:lnTo>
                <a:lnTo>
                  <a:pt x="4" y="12"/>
                </a:lnTo>
                <a:lnTo>
                  <a:pt x="5" y="11"/>
                </a:lnTo>
                <a:lnTo>
                  <a:pt x="7" y="11"/>
                </a:lnTo>
                <a:lnTo>
                  <a:pt x="5" y="11"/>
                </a:lnTo>
                <a:lnTo>
                  <a:pt x="4" y="11"/>
                </a:lnTo>
                <a:lnTo>
                  <a:pt x="3" y="11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35" name="Freeform 234"/>
          <p:cNvSpPr>
            <a:spLocks/>
          </p:cNvSpPr>
          <p:nvPr/>
        </p:nvSpPr>
        <p:spPr bwMode="auto">
          <a:xfrm>
            <a:off x="1796284" y="2291147"/>
            <a:ext cx="29232" cy="40804"/>
          </a:xfrm>
          <a:custGeom>
            <a:avLst/>
            <a:gdLst/>
            <a:ahLst/>
            <a:cxnLst>
              <a:cxn ang="0">
                <a:pos x="3" y="11"/>
              </a:cxn>
              <a:cxn ang="0">
                <a:pos x="1" y="8"/>
              </a:cxn>
              <a:cxn ang="0">
                <a:pos x="0" y="6"/>
              </a:cxn>
              <a:cxn ang="0">
                <a:pos x="0" y="4"/>
              </a:cxn>
              <a:cxn ang="0">
                <a:pos x="0" y="1"/>
              </a:cxn>
              <a:cxn ang="0">
                <a:pos x="0" y="0"/>
              </a:cxn>
              <a:cxn ang="0">
                <a:pos x="1" y="0"/>
              </a:cxn>
              <a:cxn ang="0">
                <a:pos x="5" y="0"/>
              </a:cxn>
              <a:cxn ang="0">
                <a:pos x="8" y="0"/>
              </a:cxn>
              <a:cxn ang="0">
                <a:pos x="9" y="1"/>
              </a:cxn>
              <a:cxn ang="0">
                <a:pos x="12" y="4"/>
              </a:cxn>
              <a:cxn ang="0">
                <a:pos x="13" y="8"/>
              </a:cxn>
              <a:cxn ang="0">
                <a:pos x="13" y="9"/>
              </a:cxn>
              <a:cxn ang="0">
                <a:pos x="15" y="11"/>
              </a:cxn>
              <a:cxn ang="0">
                <a:pos x="11" y="4"/>
              </a:cxn>
              <a:cxn ang="0">
                <a:pos x="8" y="1"/>
              </a:cxn>
              <a:cxn ang="0">
                <a:pos x="8" y="3"/>
              </a:cxn>
              <a:cxn ang="0">
                <a:pos x="7" y="3"/>
              </a:cxn>
              <a:cxn ang="0">
                <a:pos x="7" y="4"/>
              </a:cxn>
              <a:cxn ang="0">
                <a:pos x="8" y="6"/>
              </a:cxn>
              <a:cxn ang="0">
                <a:pos x="8" y="8"/>
              </a:cxn>
              <a:cxn ang="0">
                <a:pos x="9" y="8"/>
              </a:cxn>
              <a:cxn ang="0">
                <a:pos x="11" y="9"/>
              </a:cxn>
              <a:cxn ang="0">
                <a:pos x="12" y="9"/>
              </a:cxn>
              <a:cxn ang="0">
                <a:pos x="13" y="12"/>
              </a:cxn>
              <a:cxn ang="0">
                <a:pos x="12" y="11"/>
              </a:cxn>
              <a:cxn ang="0">
                <a:pos x="11" y="12"/>
              </a:cxn>
              <a:cxn ang="0">
                <a:pos x="13" y="14"/>
              </a:cxn>
              <a:cxn ang="0">
                <a:pos x="12" y="14"/>
              </a:cxn>
              <a:cxn ang="0">
                <a:pos x="9" y="14"/>
              </a:cxn>
              <a:cxn ang="0">
                <a:pos x="9" y="17"/>
              </a:cxn>
              <a:cxn ang="0">
                <a:pos x="8" y="15"/>
              </a:cxn>
              <a:cxn ang="0">
                <a:pos x="5" y="20"/>
              </a:cxn>
              <a:cxn ang="0">
                <a:pos x="4" y="20"/>
              </a:cxn>
              <a:cxn ang="0">
                <a:pos x="3" y="19"/>
              </a:cxn>
              <a:cxn ang="0">
                <a:pos x="3" y="14"/>
              </a:cxn>
              <a:cxn ang="0">
                <a:pos x="4" y="14"/>
              </a:cxn>
              <a:cxn ang="0">
                <a:pos x="5" y="14"/>
              </a:cxn>
              <a:cxn ang="0">
                <a:pos x="7" y="14"/>
              </a:cxn>
              <a:cxn ang="0">
                <a:pos x="4" y="12"/>
              </a:cxn>
              <a:cxn ang="0">
                <a:pos x="5" y="11"/>
              </a:cxn>
              <a:cxn ang="0">
                <a:pos x="7" y="11"/>
              </a:cxn>
              <a:cxn ang="0">
                <a:pos x="5" y="11"/>
              </a:cxn>
              <a:cxn ang="0">
                <a:pos x="4" y="11"/>
              </a:cxn>
              <a:cxn ang="0">
                <a:pos x="3" y="11"/>
              </a:cxn>
            </a:cxnLst>
            <a:rect l="0" t="0" r="r" b="b"/>
            <a:pathLst>
              <a:path w="15" h="20">
                <a:moveTo>
                  <a:pt x="3" y="11"/>
                </a:moveTo>
                <a:lnTo>
                  <a:pt x="1" y="8"/>
                </a:lnTo>
                <a:lnTo>
                  <a:pt x="0" y="6"/>
                </a:lnTo>
                <a:lnTo>
                  <a:pt x="0" y="4"/>
                </a:ln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lnTo>
                  <a:pt x="5" y="0"/>
                </a:lnTo>
                <a:lnTo>
                  <a:pt x="8" y="0"/>
                </a:lnTo>
                <a:lnTo>
                  <a:pt x="9" y="1"/>
                </a:lnTo>
                <a:lnTo>
                  <a:pt x="12" y="4"/>
                </a:lnTo>
                <a:lnTo>
                  <a:pt x="13" y="8"/>
                </a:lnTo>
                <a:lnTo>
                  <a:pt x="13" y="9"/>
                </a:lnTo>
                <a:lnTo>
                  <a:pt x="15" y="11"/>
                </a:lnTo>
                <a:lnTo>
                  <a:pt x="11" y="4"/>
                </a:lnTo>
                <a:lnTo>
                  <a:pt x="8" y="1"/>
                </a:lnTo>
                <a:lnTo>
                  <a:pt x="8" y="3"/>
                </a:lnTo>
                <a:lnTo>
                  <a:pt x="7" y="3"/>
                </a:lnTo>
                <a:lnTo>
                  <a:pt x="7" y="4"/>
                </a:lnTo>
                <a:lnTo>
                  <a:pt x="8" y="6"/>
                </a:lnTo>
                <a:lnTo>
                  <a:pt x="8" y="8"/>
                </a:lnTo>
                <a:lnTo>
                  <a:pt x="9" y="8"/>
                </a:lnTo>
                <a:lnTo>
                  <a:pt x="11" y="9"/>
                </a:lnTo>
                <a:lnTo>
                  <a:pt x="12" y="9"/>
                </a:lnTo>
                <a:lnTo>
                  <a:pt x="13" y="12"/>
                </a:lnTo>
                <a:lnTo>
                  <a:pt x="12" y="11"/>
                </a:lnTo>
                <a:lnTo>
                  <a:pt x="11" y="12"/>
                </a:lnTo>
                <a:lnTo>
                  <a:pt x="13" y="14"/>
                </a:lnTo>
                <a:lnTo>
                  <a:pt x="12" y="14"/>
                </a:lnTo>
                <a:lnTo>
                  <a:pt x="9" y="14"/>
                </a:lnTo>
                <a:lnTo>
                  <a:pt x="9" y="17"/>
                </a:lnTo>
                <a:lnTo>
                  <a:pt x="8" y="15"/>
                </a:lnTo>
                <a:lnTo>
                  <a:pt x="5" y="20"/>
                </a:lnTo>
                <a:lnTo>
                  <a:pt x="4" y="20"/>
                </a:lnTo>
                <a:lnTo>
                  <a:pt x="3" y="19"/>
                </a:lnTo>
                <a:lnTo>
                  <a:pt x="3" y="14"/>
                </a:lnTo>
                <a:lnTo>
                  <a:pt x="4" y="14"/>
                </a:lnTo>
                <a:lnTo>
                  <a:pt x="5" y="14"/>
                </a:lnTo>
                <a:lnTo>
                  <a:pt x="7" y="14"/>
                </a:lnTo>
                <a:lnTo>
                  <a:pt x="4" y="12"/>
                </a:lnTo>
                <a:lnTo>
                  <a:pt x="5" y="11"/>
                </a:lnTo>
                <a:lnTo>
                  <a:pt x="7" y="11"/>
                </a:lnTo>
                <a:lnTo>
                  <a:pt x="5" y="11"/>
                </a:lnTo>
                <a:lnTo>
                  <a:pt x="4" y="11"/>
                </a:lnTo>
                <a:lnTo>
                  <a:pt x="3" y="11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36" name="Freeform 235"/>
          <p:cNvSpPr>
            <a:spLocks/>
          </p:cNvSpPr>
          <p:nvPr/>
        </p:nvSpPr>
        <p:spPr bwMode="auto">
          <a:xfrm>
            <a:off x="1806028" y="2336245"/>
            <a:ext cx="19488" cy="27920"/>
          </a:xfrm>
          <a:custGeom>
            <a:avLst/>
            <a:gdLst/>
            <a:ahLst/>
            <a:cxnLst>
              <a:cxn ang="0">
                <a:pos x="4" y="6"/>
              </a:cxn>
              <a:cxn ang="0">
                <a:pos x="4" y="4"/>
              </a:cxn>
              <a:cxn ang="0">
                <a:pos x="3" y="4"/>
              </a:cxn>
              <a:cxn ang="0">
                <a:pos x="2" y="4"/>
              </a:cxn>
              <a:cxn ang="0">
                <a:pos x="0" y="3"/>
              </a:cxn>
              <a:cxn ang="0">
                <a:pos x="0" y="1"/>
              </a:cxn>
              <a:cxn ang="0">
                <a:pos x="3" y="1"/>
              </a:cxn>
              <a:cxn ang="0">
                <a:pos x="4" y="0"/>
              </a:cxn>
              <a:cxn ang="0">
                <a:pos x="6" y="1"/>
              </a:cxn>
              <a:cxn ang="0">
                <a:pos x="7" y="3"/>
              </a:cxn>
              <a:cxn ang="0">
                <a:pos x="10" y="3"/>
              </a:cxn>
              <a:cxn ang="0">
                <a:pos x="10" y="6"/>
              </a:cxn>
              <a:cxn ang="0">
                <a:pos x="7" y="4"/>
              </a:cxn>
              <a:cxn ang="0">
                <a:pos x="8" y="8"/>
              </a:cxn>
              <a:cxn ang="0">
                <a:pos x="8" y="11"/>
              </a:cxn>
              <a:cxn ang="0">
                <a:pos x="7" y="14"/>
              </a:cxn>
              <a:cxn ang="0">
                <a:pos x="7" y="12"/>
              </a:cxn>
              <a:cxn ang="0">
                <a:pos x="6" y="11"/>
              </a:cxn>
              <a:cxn ang="0">
                <a:pos x="6" y="12"/>
              </a:cxn>
              <a:cxn ang="0">
                <a:pos x="4" y="12"/>
              </a:cxn>
              <a:cxn ang="0">
                <a:pos x="3" y="9"/>
              </a:cxn>
              <a:cxn ang="0">
                <a:pos x="4" y="9"/>
              </a:cxn>
              <a:cxn ang="0">
                <a:pos x="6" y="8"/>
              </a:cxn>
              <a:cxn ang="0">
                <a:pos x="6" y="6"/>
              </a:cxn>
              <a:cxn ang="0">
                <a:pos x="6" y="8"/>
              </a:cxn>
              <a:cxn ang="0">
                <a:pos x="4" y="8"/>
              </a:cxn>
              <a:cxn ang="0">
                <a:pos x="3" y="6"/>
              </a:cxn>
              <a:cxn ang="0">
                <a:pos x="4" y="6"/>
              </a:cxn>
            </a:cxnLst>
            <a:rect l="0" t="0" r="r" b="b"/>
            <a:pathLst>
              <a:path w="10" h="14">
                <a:moveTo>
                  <a:pt x="4" y="6"/>
                </a:moveTo>
                <a:lnTo>
                  <a:pt x="4" y="4"/>
                </a:lnTo>
                <a:lnTo>
                  <a:pt x="3" y="4"/>
                </a:lnTo>
                <a:lnTo>
                  <a:pt x="2" y="4"/>
                </a:lnTo>
                <a:lnTo>
                  <a:pt x="0" y="3"/>
                </a:lnTo>
                <a:lnTo>
                  <a:pt x="0" y="1"/>
                </a:lnTo>
                <a:lnTo>
                  <a:pt x="3" y="1"/>
                </a:lnTo>
                <a:lnTo>
                  <a:pt x="4" y="0"/>
                </a:lnTo>
                <a:lnTo>
                  <a:pt x="6" y="1"/>
                </a:lnTo>
                <a:lnTo>
                  <a:pt x="7" y="3"/>
                </a:lnTo>
                <a:lnTo>
                  <a:pt x="10" y="3"/>
                </a:lnTo>
                <a:lnTo>
                  <a:pt x="10" y="6"/>
                </a:lnTo>
                <a:lnTo>
                  <a:pt x="7" y="4"/>
                </a:lnTo>
                <a:lnTo>
                  <a:pt x="8" y="8"/>
                </a:lnTo>
                <a:lnTo>
                  <a:pt x="8" y="11"/>
                </a:lnTo>
                <a:lnTo>
                  <a:pt x="7" y="14"/>
                </a:lnTo>
                <a:lnTo>
                  <a:pt x="7" y="12"/>
                </a:lnTo>
                <a:lnTo>
                  <a:pt x="6" y="11"/>
                </a:lnTo>
                <a:lnTo>
                  <a:pt x="6" y="12"/>
                </a:lnTo>
                <a:lnTo>
                  <a:pt x="4" y="12"/>
                </a:lnTo>
                <a:lnTo>
                  <a:pt x="3" y="9"/>
                </a:lnTo>
                <a:lnTo>
                  <a:pt x="4" y="9"/>
                </a:lnTo>
                <a:lnTo>
                  <a:pt x="6" y="8"/>
                </a:lnTo>
                <a:lnTo>
                  <a:pt x="6" y="6"/>
                </a:lnTo>
                <a:lnTo>
                  <a:pt x="6" y="8"/>
                </a:lnTo>
                <a:lnTo>
                  <a:pt x="4" y="8"/>
                </a:lnTo>
                <a:lnTo>
                  <a:pt x="3" y="6"/>
                </a:lnTo>
                <a:lnTo>
                  <a:pt x="4" y="6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37" name="Freeform 236"/>
          <p:cNvSpPr>
            <a:spLocks/>
          </p:cNvSpPr>
          <p:nvPr/>
        </p:nvSpPr>
        <p:spPr bwMode="auto">
          <a:xfrm>
            <a:off x="1806028" y="2336245"/>
            <a:ext cx="19488" cy="27920"/>
          </a:xfrm>
          <a:custGeom>
            <a:avLst/>
            <a:gdLst/>
            <a:ahLst/>
            <a:cxnLst>
              <a:cxn ang="0">
                <a:pos x="4" y="6"/>
              </a:cxn>
              <a:cxn ang="0">
                <a:pos x="4" y="4"/>
              </a:cxn>
              <a:cxn ang="0">
                <a:pos x="3" y="4"/>
              </a:cxn>
              <a:cxn ang="0">
                <a:pos x="2" y="4"/>
              </a:cxn>
              <a:cxn ang="0">
                <a:pos x="0" y="3"/>
              </a:cxn>
              <a:cxn ang="0">
                <a:pos x="0" y="1"/>
              </a:cxn>
              <a:cxn ang="0">
                <a:pos x="3" y="1"/>
              </a:cxn>
              <a:cxn ang="0">
                <a:pos x="4" y="0"/>
              </a:cxn>
              <a:cxn ang="0">
                <a:pos x="6" y="1"/>
              </a:cxn>
              <a:cxn ang="0">
                <a:pos x="7" y="3"/>
              </a:cxn>
              <a:cxn ang="0">
                <a:pos x="10" y="3"/>
              </a:cxn>
              <a:cxn ang="0">
                <a:pos x="10" y="6"/>
              </a:cxn>
              <a:cxn ang="0">
                <a:pos x="7" y="4"/>
              </a:cxn>
              <a:cxn ang="0">
                <a:pos x="8" y="8"/>
              </a:cxn>
              <a:cxn ang="0">
                <a:pos x="8" y="11"/>
              </a:cxn>
              <a:cxn ang="0">
                <a:pos x="7" y="14"/>
              </a:cxn>
              <a:cxn ang="0">
                <a:pos x="7" y="12"/>
              </a:cxn>
              <a:cxn ang="0">
                <a:pos x="6" y="11"/>
              </a:cxn>
              <a:cxn ang="0">
                <a:pos x="6" y="12"/>
              </a:cxn>
              <a:cxn ang="0">
                <a:pos x="4" y="12"/>
              </a:cxn>
              <a:cxn ang="0">
                <a:pos x="3" y="9"/>
              </a:cxn>
              <a:cxn ang="0">
                <a:pos x="4" y="9"/>
              </a:cxn>
              <a:cxn ang="0">
                <a:pos x="6" y="8"/>
              </a:cxn>
              <a:cxn ang="0">
                <a:pos x="6" y="6"/>
              </a:cxn>
              <a:cxn ang="0">
                <a:pos x="6" y="8"/>
              </a:cxn>
              <a:cxn ang="0">
                <a:pos x="4" y="8"/>
              </a:cxn>
              <a:cxn ang="0">
                <a:pos x="3" y="6"/>
              </a:cxn>
              <a:cxn ang="0">
                <a:pos x="4" y="6"/>
              </a:cxn>
            </a:cxnLst>
            <a:rect l="0" t="0" r="r" b="b"/>
            <a:pathLst>
              <a:path w="10" h="14">
                <a:moveTo>
                  <a:pt x="4" y="6"/>
                </a:moveTo>
                <a:lnTo>
                  <a:pt x="4" y="4"/>
                </a:lnTo>
                <a:lnTo>
                  <a:pt x="3" y="4"/>
                </a:lnTo>
                <a:lnTo>
                  <a:pt x="2" y="4"/>
                </a:lnTo>
                <a:lnTo>
                  <a:pt x="0" y="3"/>
                </a:lnTo>
                <a:lnTo>
                  <a:pt x="0" y="1"/>
                </a:lnTo>
                <a:lnTo>
                  <a:pt x="3" y="1"/>
                </a:lnTo>
                <a:lnTo>
                  <a:pt x="4" y="0"/>
                </a:lnTo>
                <a:lnTo>
                  <a:pt x="6" y="1"/>
                </a:lnTo>
                <a:lnTo>
                  <a:pt x="7" y="3"/>
                </a:lnTo>
                <a:lnTo>
                  <a:pt x="10" y="3"/>
                </a:lnTo>
                <a:lnTo>
                  <a:pt x="10" y="6"/>
                </a:lnTo>
                <a:lnTo>
                  <a:pt x="7" y="4"/>
                </a:lnTo>
                <a:lnTo>
                  <a:pt x="8" y="8"/>
                </a:lnTo>
                <a:lnTo>
                  <a:pt x="8" y="11"/>
                </a:lnTo>
                <a:lnTo>
                  <a:pt x="7" y="14"/>
                </a:lnTo>
                <a:lnTo>
                  <a:pt x="7" y="12"/>
                </a:lnTo>
                <a:lnTo>
                  <a:pt x="6" y="11"/>
                </a:lnTo>
                <a:lnTo>
                  <a:pt x="6" y="12"/>
                </a:lnTo>
                <a:lnTo>
                  <a:pt x="4" y="12"/>
                </a:lnTo>
                <a:lnTo>
                  <a:pt x="3" y="9"/>
                </a:lnTo>
                <a:lnTo>
                  <a:pt x="4" y="9"/>
                </a:lnTo>
                <a:lnTo>
                  <a:pt x="6" y="8"/>
                </a:lnTo>
                <a:lnTo>
                  <a:pt x="6" y="6"/>
                </a:lnTo>
                <a:lnTo>
                  <a:pt x="6" y="8"/>
                </a:lnTo>
                <a:lnTo>
                  <a:pt x="4" y="8"/>
                </a:lnTo>
                <a:lnTo>
                  <a:pt x="3" y="6"/>
                </a:lnTo>
                <a:lnTo>
                  <a:pt x="4" y="6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38" name="Freeform 237"/>
          <p:cNvSpPr>
            <a:spLocks/>
          </p:cNvSpPr>
          <p:nvPr/>
        </p:nvSpPr>
        <p:spPr bwMode="auto">
          <a:xfrm>
            <a:off x="1819670" y="2327656"/>
            <a:ext cx="29232" cy="21476"/>
          </a:xfrm>
          <a:custGeom>
            <a:avLst/>
            <a:gdLst/>
            <a:ahLst/>
            <a:cxnLst>
              <a:cxn ang="0">
                <a:pos x="4" y="3"/>
              </a:cxn>
              <a:cxn ang="0">
                <a:pos x="3" y="3"/>
              </a:cxn>
              <a:cxn ang="0">
                <a:pos x="1" y="1"/>
              </a:cxn>
              <a:cxn ang="0">
                <a:pos x="0" y="1"/>
              </a:cxn>
              <a:cxn ang="0">
                <a:pos x="0" y="0"/>
              </a:cxn>
              <a:cxn ang="0">
                <a:pos x="1" y="0"/>
              </a:cxn>
              <a:cxn ang="0">
                <a:pos x="8" y="1"/>
              </a:cxn>
              <a:cxn ang="0">
                <a:pos x="11" y="1"/>
              </a:cxn>
              <a:cxn ang="0">
                <a:pos x="13" y="1"/>
              </a:cxn>
              <a:cxn ang="0">
                <a:pos x="15" y="3"/>
              </a:cxn>
              <a:cxn ang="0">
                <a:pos x="15" y="4"/>
              </a:cxn>
              <a:cxn ang="0">
                <a:pos x="15" y="7"/>
              </a:cxn>
              <a:cxn ang="0">
                <a:pos x="12" y="6"/>
              </a:cxn>
              <a:cxn ang="0">
                <a:pos x="11" y="4"/>
              </a:cxn>
              <a:cxn ang="0">
                <a:pos x="9" y="4"/>
              </a:cxn>
              <a:cxn ang="0">
                <a:pos x="9" y="6"/>
              </a:cxn>
              <a:cxn ang="0">
                <a:pos x="11" y="7"/>
              </a:cxn>
              <a:cxn ang="0">
                <a:pos x="12" y="9"/>
              </a:cxn>
              <a:cxn ang="0">
                <a:pos x="13" y="11"/>
              </a:cxn>
              <a:cxn ang="0">
                <a:pos x="12" y="11"/>
              </a:cxn>
              <a:cxn ang="0">
                <a:pos x="9" y="11"/>
              </a:cxn>
              <a:cxn ang="0">
                <a:pos x="8" y="11"/>
              </a:cxn>
              <a:cxn ang="0">
                <a:pos x="7" y="11"/>
              </a:cxn>
              <a:cxn ang="0">
                <a:pos x="5" y="7"/>
              </a:cxn>
              <a:cxn ang="0">
                <a:pos x="5" y="4"/>
              </a:cxn>
              <a:cxn ang="0">
                <a:pos x="4" y="4"/>
              </a:cxn>
              <a:cxn ang="0">
                <a:pos x="3" y="4"/>
              </a:cxn>
              <a:cxn ang="0">
                <a:pos x="3" y="3"/>
              </a:cxn>
              <a:cxn ang="0">
                <a:pos x="4" y="3"/>
              </a:cxn>
            </a:cxnLst>
            <a:rect l="0" t="0" r="r" b="b"/>
            <a:pathLst>
              <a:path w="15" h="11">
                <a:moveTo>
                  <a:pt x="4" y="3"/>
                </a:moveTo>
                <a:lnTo>
                  <a:pt x="3" y="3"/>
                </a:lnTo>
                <a:lnTo>
                  <a:pt x="1" y="1"/>
                </a:ln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lnTo>
                  <a:pt x="8" y="1"/>
                </a:lnTo>
                <a:lnTo>
                  <a:pt x="11" y="1"/>
                </a:lnTo>
                <a:lnTo>
                  <a:pt x="13" y="1"/>
                </a:lnTo>
                <a:lnTo>
                  <a:pt x="15" y="3"/>
                </a:lnTo>
                <a:lnTo>
                  <a:pt x="15" y="4"/>
                </a:lnTo>
                <a:lnTo>
                  <a:pt x="15" y="7"/>
                </a:lnTo>
                <a:lnTo>
                  <a:pt x="12" y="6"/>
                </a:lnTo>
                <a:lnTo>
                  <a:pt x="11" y="4"/>
                </a:lnTo>
                <a:lnTo>
                  <a:pt x="9" y="4"/>
                </a:lnTo>
                <a:lnTo>
                  <a:pt x="9" y="6"/>
                </a:lnTo>
                <a:lnTo>
                  <a:pt x="11" y="7"/>
                </a:lnTo>
                <a:lnTo>
                  <a:pt x="12" y="9"/>
                </a:lnTo>
                <a:lnTo>
                  <a:pt x="13" y="11"/>
                </a:lnTo>
                <a:lnTo>
                  <a:pt x="12" y="11"/>
                </a:lnTo>
                <a:lnTo>
                  <a:pt x="9" y="11"/>
                </a:lnTo>
                <a:lnTo>
                  <a:pt x="8" y="11"/>
                </a:lnTo>
                <a:lnTo>
                  <a:pt x="7" y="11"/>
                </a:lnTo>
                <a:lnTo>
                  <a:pt x="5" y="7"/>
                </a:lnTo>
                <a:lnTo>
                  <a:pt x="5" y="4"/>
                </a:lnTo>
                <a:lnTo>
                  <a:pt x="4" y="4"/>
                </a:lnTo>
                <a:lnTo>
                  <a:pt x="3" y="4"/>
                </a:lnTo>
                <a:lnTo>
                  <a:pt x="3" y="3"/>
                </a:lnTo>
                <a:lnTo>
                  <a:pt x="4" y="3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39" name="Freeform 238"/>
          <p:cNvSpPr>
            <a:spLocks/>
          </p:cNvSpPr>
          <p:nvPr/>
        </p:nvSpPr>
        <p:spPr bwMode="auto">
          <a:xfrm>
            <a:off x="1819670" y="2327656"/>
            <a:ext cx="29232" cy="21476"/>
          </a:xfrm>
          <a:custGeom>
            <a:avLst/>
            <a:gdLst/>
            <a:ahLst/>
            <a:cxnLst>
              <a:cxn ang="0">
                <a:pos x="4" y="3"/>
              </a:cxn>
              <a:cxn ang="0">
                <a:pos x="3" y="3"/>
              </a:cxn>
              <a:cxn ang="0">
                <a:pos x="1" y="1"/>
              </a:cxn>
              <a:cxn ang="0">
                <a:pos x="0" y="1"/>
              </a:cxn>
              <a:cxn ang="0">
                <a:pos x="0" y="0"/>
              </a:cxn>
              <a:cxn ang="0">
                <a:pos x="1" y="0"/>
              </a:cxn>
              <a:cxn ang="0">
                <a:pos x="8" y="1"/>
              </a:cxn>
              <a:cxn ang="0">
                <a:pos x="11" y="1"/>
              </a:cxn>
              <a:cxn ang="0">
                <a:pos x="13" y="1"/>
              </a:cxn>
              <a:cxn ang="0">
                <a:pos x="15" y="3"/>
              </a:cxn>
              <a:cxn ang="0">
                <a:pos x="15" y="4"/>
              </a:cxn>
              <a:cxn ang="0">
                <a:pos x="15" y="7"/>
              </a:cxn>
              <a:cxn ang="0">
                <a:pos x="12" y="6"/>
              </a:cxn>
              <a:cxn ang="0">
                <a:pos x="11" y="4"/>
              </a:cxn>
              <a:cxn ang="0">
                <a:pos x="9" y="4"/>
              </a:cxn>
              <a:cxn ang="0">
                <a:pos x="9" y="6"/>
              </a:cxn>
              <a:cxn ang="0">
                <a:pos x="11" y="7"/>
              </a:cxn>
              <a:cxn ang="0">
                <a:pos x="12" y="9"/>
              </a:cxn>
              <a:cxn ang="0">
                <a:pos x="13" y="11"/>
              </a:cxn>
              <a:cxn ang="0">
                <a:pos x="12" y="11"/>
              </a:cxn>
              <a:cxn ang="0">
                <a:pos x="9" y="11"/>
              </a:cxn>
              <a:cxn ang="0">
                <a:pos x="8" y="11"/>
              </a:cxn>
              <a:cxn ang="0">
                <a:pos x="7" y="11"/>
              </a:cxn>
              <a:cxn ang="0">
                <a:pos x="5" y="7"/>
              </a:cxn>
              <a:cxn ang="0">
                <a:pos x="5" y="4"/>
              </a:cxn>
              <a:cxn ang="0">
                <a:pos x="4" y="4"/>
              </a:cxn>
              <a:cxn ang="0">
                <a:pos x="3" y="4"/>
              </a:cxn>
              <a:cxn ang="0">
                <a:pos x="3" y="3"/>
              </a:cxn>
              <a:cxn ang="0">
                <a:pos x="4" y="3"/>
              </a:cxn>
            </a:cxnLst>
            <a:rect l="0" t="0" r="r" b="b"/>
            <a:pathLst>
              <a:path w="15" h="11">
                <a:moveTo>
                  <a:pt x="4" y="3"/>
                </a:moveTo>
                <a:lnTo>
                  <a:pt x="3" y="3"/>
                </a:lnTo>
                <a:lnTo>
                  <a:pt x="1" y="1"/>
                </a:ln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lnTo>
                  <a:pt x="8" y="1"/>
                </a:lnTo>
                <a:lnTo>
                  <a:pt x="11" y="1"/>
                </a:lnTo>
                <a:lnTo>
                  <a:pt x="13" y="1"/>
                </a:lnTo>
                <a:lnTo>
                  <a:pt x="15" y="3"/>
                </a:lnTo>
                <a:lnTo>
                  <a:pt x="15" y="4"/>
                </a:lnTo>
                <a:lnTo>
                  <a:pt x="15" y="7"/>
                </a:lnTo>
                <a:lnTo>
                  <a:pt x="12" y="6"/>
                </a:lnTo>
                <a:lnTo>
                  <a:pt x="11" y="4"/>
                </a:lnTo>
                <a:lnTo>
                  <a:pt x="9" y="4"/>
                </a:lnTo>
                <a:lnTo>
                  <a:pt x="9" y="6"/>
                </a:lnTo>
                <a:lnTo>
                  <a:pt x="11" y="7"/>
                </a:lnTo>
                <a:lnTo>
                  <a:pt x="12" y="9"/>
                </a:lnTo>
                <a:lnTo>
                  <a:pt x="13" y="11"/>
                </a:lnTo>
                <a:lnTo>
                  <a:pt x="12" y="11"/>
                </a:lnTo>
                <a:lnTo>
                  <a:pt x="9" y="11"/>
                </a:lnTo>
                <a:lnTo>
                  <a:pt x="8" y="11"/>
                </a:lnTo>
                <a:lnTo>
                  <a:pt x="7" y="11"/>
                </a:lnTo>
                <a:lnTo>
                  <a:pt x="5" y="7"/>
                </a:lnTo>
                <a:lnTo>
                  <a:pt x="5" y="4"/>
                </a:lnTo>
                <a:lnTo>
                  <a:pt x="4" y="4"/>
                </a:lnTo>
                <a:lnTo>
                  <a:pt x="3" y="4"/>
                </a:lnTo>
                <a:lnTo>
                  <a:pt x="3" y="3"/>
                </a:lnTo>
                <a:lnTo>
                  <a:pt x="4" y="3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40" name="Freeform 239"/>
          <p:cNvSpPr>
            <a:spLocks/>
          </p:cNvSpPr>
          <p:nvPr/>
        </p:nvSpPr>
        <p:spPr bwMode="auto">
          <a:xfrm>
            <a:off x="1850851" y="2336247"/>
            <a:ext cx="7795" cy="12885"/>
          </a:xfrm>
          <a:custGeom>
            <a:avLst/>
            <a:gdLst/>
            <a:ahLst/>
            <a:cxnLst>
              <a:cxn ang="0">
                <a:pos x="1" y="2"/>
              </a:cxn>
              <a:cxn ang="0">
                <a:pos x="5" y="5"/>
              </a:cxn>
              <a:cxn ang="0">
                <a:pos x="4" y="5"/>
              </a:cxn>
              <a:cxn ang="0">
                <a:pos x="3" y="5"/>
              </a:cxn>
              <a:cxn ang="0">
                <a:pos x="3" y="7"/>
              </a:cxn>
              <a:cxn ang="0">
                <a:pos x="1" y="7"/>
              </a:cxn>
              <a:cxn ang="0">
                <a:pos x="1" y="5"/>
              </a:cxn>
              <a:cxn ang="0">
                <a:pos x="0" y="3"/>
              </a:cxn>
              <a:cxn ang="0">
                <a:pos x="0" y="0"/>
              </a:cxn>
              <a:cxn ang="0">
                <a:pos x="1" y="2"/>
              </a:cxn>
            </a:cxnLst>
            <a:rect l="0" t="0" r="r" b="b"/>
            <a:pathLst>
              <a:path w="5" h="7">
                <a:moveTo>
                  <a:pt x="1" y="2"/>
                </a:moveTo>
                <a:lnTo>
                  <a:pt x="5" y="5"/>
                </a:lnTo>
                <a:lnTo>
                  <a:pt x="4" y="5"/>
                </a:lnTo>
                <a:lnTo>
                  <a:pt x="3" y="5"/>
                </a:lnTo>
                <a:lnTo>
                  <a:pt x="3" y="7"/>
                </a:lnTo>
                <a:lnTo>
                  <a:pt x="1" y="7"/>
                </a:lnTo>
                <a:lnTo>
                  <a:pt x="1" y="5"/>
                </a:lnTo>
                <a:lnTo>
                  <a:pt x="0" y="3"/>
                </a:lnTo>
                <a:lnTo>
                  <a:pt x="0" y="0"/>
                </a:lnTo>
                <a:lnTo>
                  <a:pt x="1" y="2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41" name="Freeform 240"/>
          <p:cNvSpPr>
            <a:spLocks/>
          </p:cNvSpPr>
          <p:nvPr/>
        </p:nvSpPr>
        <p:spPr bwMode="auto">
          <a:xfrm>
            <a:off x="1850851" y="2336247"/>
            <a:ext cx="7795" cy="12885"/>
          </a:xfrm>
          <a:custGeom>
            <a:avLst/>
            <a:gdLst/>
            <a:ahLst/>
            <a:cxnLst>
              <a:cxn ang="0">
                <a:pos x="1" y="2"/>
              </a:cxn>
              <a:cxn ang="0">
                <a:pos x="5" y="5"/>
              </a:cxn>
              <a:cxn ang="0">
                <a:pos x="4" y="5"/>
              </a:cxn>
              <a:cxn ang="0">
                <a:pos x="3" y="5"/>
              </a:cxn>
              <a:cxn ang="0">
                <a:pos x="3" y="7"/>
              </a:cxn>
              <a:cxn ang="0">
                <a:pos x="1" y="7"/>
              </a:cxn>
              <a:cxn ang="0">
                <a:pos x="1" y="5"/>
              </a:cxn>
              <a:cxn ang="0">
                <a:pos x="0" y="3"/>
              </a:cxn>
              <a:cxn ang="0">
                <a:pos x="0" y="0"/>
              </a:cxn>
              <a:cxn ang="0">
                <a:pos x="1" y="2"/>
              </a:cxn>
            </a:cxnLst>
            <a:rect l="0" t="0" r="r" b="b"/>
            <a:pathLst>
              <a:path w="5" h="7">
                <a:moveTo>
                  <a:pt x="1" y="2"/>
                </a:moveTo>
                <a:lnTo>
                  <a:pt x="5" y="5"/>
                </a:lnTo>
                <a:lnTo>
                  <a:pt x="4" y="5"/>
                </a:lnTo>
                <a:lnTo>
                  <a:pt x="3" y="5"/>
                </a:lnTo>
                <a:lnTo>
                  <a:pt x="3" y="7"/>
                </a:lnTo>
                <a:lnTo>
                  <a:pt x="1" y="7"/>
                </a:lnTo>
                <a:lnTo>
                  <a:pt x="1" y="5"/>
                </a:lnTo>
                <a:lnTo>
                  <a:pt x="0" y="3"/>
                </a:lnTo>
                <a:lnTo>
                  <a:pt x="0" y="0"/>
                </a:lnTo>
                <a:lnTo>
                  <a:pt x="1" y="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42" name="Freeform 241"/>
          <p:cNvSpPr>
            <a:spLocks/>
          </p:cNvSpPr>
          <p:nvPr/>
        </p:nvSpPr>
        <p:spPr bwMode="auto">
          <a:xfrm>
            <a:off x="1848902" y="2349132"/>
            <a:ext cx="7795" cy="10739"/>
          </a:xfrm>
          <a:custGeom>
            <a:avLst/>
            <a:gdLst/>
            <a:ahLst/>
            <a:cxnLst>
              <a:cxn ang="0">
                <a:pos x="4" y="1"/>
              </a:cxn>
              <a:cxn ang="0">
                <a:pos x="5" y="1"/>
              </a:cxn>
              <a:cxn ang="0">
                <a:pos x="5" y="3"/>
              </a:cxn>
              <a:cxn ang="0">
                <a:pos x="4" y="4"/>
              </a:cxn>
              <a:cxn ang="0">
                <a:pos x="2" y="3"/>
              </a:cxn>
              <a:cxn ang="0">
                <a:pos x="0" y="3"/>
              </a:cxn>
              <a:cxn ang="0">
                <a:pos x="0" y="1"/>
              </a:cxn>
              <a:cxn ang="0">
                <a:pos x="1" y="1"/>
              </a:cxn>
              <a:cxn ang="0">
                <a:pos x="2" y="0"/>
              </a:cxn>
              <a:cxn ang="0">
                <a:pos x="4" y="1"/>
              </a:cxn>
            </a:cxnLst>
            <a:rect l="0" t="0" r="r" b="b"/>
            <a:pathLst>
              <a:path w="5" h="4">
                <a:moveTo>
                  <a:pt x="4" y="1"/>
                </a:moveTo>
                <a:lnTo>
                  <a:pt x="5" y="1"/>
                </a:lnTo>
                <a:lnTo>
                  <a:pt x="5" y="3"/>
                </a:lnTo>
                <a:lnTo>
                  <a:pt x="4" y="4"/>
                </a:lnTo>
                <a:lnTo>
                  <a:pt x="2" y="3"/>
                </a:lnTo>
                <a:lnTo>
                  <a:pt x="0" y="3"/>
                </a:lnTo>
                <a:lnTo>
                  <a:pt x="0" y="1"/>
                </a:lnTo>
                <a:lnTo>
                  <a:pt x="1" y="1"/>
                </a:lnTo>
                <a:lnTo>
                  <a:pt x="2" y="0"/>
                </a:lnTo>
                <a:lnTo>
                  <a:pt x="4" y="1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43" name="Freeform 242"/>
          <p:cNvSpPr>
            <a:spLocks/>
          </p:cNvSpPr>
          <p:nvPr/>
        </p:nvSpPr>
        <p:spPr bwMode="auto">
          <a:xfrm>
            <a:off x="1848902" y="2349132"/>
            <a:ext cx="7795" cy="10739"/>
          </a:xfrm>
          <a:custGeom>
            <a:avLst/>
            <a:gdLst/>
            <a:ahLst/>
            <a:cxnLst>
              <a:cxn ang="0">
                <a:pos x="4" y="1"/>
              </a:cxn>
              <a:cxn ang="0">
                <a:pos x="5" y="1"/>
              </a:cxn>
              <a:cxn ang="0">
                <a:pos x="5" y="3"/>
              </a:cxn>
              <a:cxn ang="0">
                <a:pos x="4" y="4"/>
              </a:cxn>
              <a:cxn ang="0">
                <a:pos x="2" y="3"/>
              </a:cxn>
              <a:cxn ang="0">
                <a:pos x="0" y="3"/>
              </a:cxn>
              <a:cxn ang="0">
                <a:pos x="0" y="1"/>
              </a:cxn>
              <a:cxn ang="0">
                <a:pos x="1" y="1"/>
              </a:cxn>
              <a:cxn ang="0">
                <a:pos x="2" y="0"/>
              </a:cxn>
              <a:cxn ang="0">
                <a:pos x="4" y="1"/>
              </a:cxn>
            </a:cxnLst>
            <a:rect l="0" t="0" r="r" b="b"/>
            <a:pathLst>
              <a:path w="5" h="4">
                <a:moveTo>
                  <a:pt x="4" y="1"/>
                </a:moveTo>
                <a:lnTo>
                  <a:pt x="5" y="1"/>
                </a:lnTo>
                <a:lnTo>
                  <a:pt x="5" y="3"/>
                </a:lnTo>
                <a:lnTo>
                  <a:pt x="4" y="4"/>
                </a:lnTo>
                <a:lnTo>
                  <a:pt x="2" y="3"/>
                </a:lnTo>
                <a:lnTo>
                  <a:pt x="0" y="3"/>
                </a:lnTo>
                <a:lnTo>
                  <a:pt x="0" y="1"/>
                </a:lnTo>
                <a:lnTo>
                  <a:pt x="1" y="1"/>
                </a:lnTo>
                <a:lnTo>
                  <a:pt x="2" y="0"/>
                </a:lnTo>
                <a:lnTo>
                  <a:pt x="4" y="1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44" name="Freeform 243"/>
          <p:cNvSpPr>
            <a:spLocks/>
          </p:cNvSpPr>
          <p:nvPr/>
        </p:nvSpPr>
        <p:spPr bwMode="auto">
          <a:xfrm>
            <a:off x="1866442" y="2353428"/>
            <a:ext cx="11693" cy="6444"/>
          </a:xfrm>
          <a:custGeom>
            <a:avLst/>
            <a:gdLst/>
            <a:ahLst/>
            <a:cxnLst>
              <a:cxn ang="0">
                <a:pos x="4" y="2"/>
              </a:cxn>
              <a:cxn ang="0">
                <a:pos x="6" y="3"/>
              </a:cxn>
              <a:cxn ang="0">
                <a:pos x="4" y="3"/>
              </a:cxn>
              <a:cxn ang="0">
                <a:pos x="2" y="3"/>
              </a:cxn>
              <a:cxn ang="0">
                <a:pos x="0" y="2"/>
              </a:cxn>
              <a:cxn ang="0">
                <a:pos x="0" y="0"/>
              </a:cxn>
              <a:cxn ang="0">
                <a:pos x="2" y="0"/>
              </a:cxn>
              <a:cxn ang="0">
                <a:pos x="3" y="2"/>
              </a:cxn>
              <a:cxn ang="0">
                <a:pos x="4" y="2"/>
              </a:cxn>
            </a:cxnLst>
            <a:rect l="0" t="0" r="r" b="b"/>
            <a:pathLst>
              <a:path w="6" h="3">
                <a:moveTo>
                  <a:pt x="4" y="2"/>
                </a:moveTo>
                <a:lnTo>
                  <a:pt x="6" y="3"/>
                </a:lnTo>
                <a:lnTo>
                  <a:pt x="4" y="3"/>
                </a:lnTo>
                <a:lnTo>
                  <a:pt x="2" y="3"/>
                </a:lnTo>
                <a:lnTo>
                  <a:pt x="0" y="2"/>
                </a:lnTo>
                <a:lnTo>
                  <a:pt x="0" y="0"/>
                </a:lnTo>
                <a:lnTo>
                  <a:pt x="2" y="0"/>
                </a:lnTo>
                <a:lnTo>
                  <a:pt x="3" y="2"/>
                </a:lnTo>
                <a:lnTo>
                  <a:pt x="4" y="2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45" name="Freeform 244"/>
          <p:cNvSpPr>
            <a:spLocks/>
          </p:cNvSpPr>
          <p:nvPr/>
        </p:nvSpPr>
        <p:spPr bwMode="auto">
          <a:xfrm>
            <a:off x="1866442" y="2353428"/>
            <a:ext cx="11693" cy="6444"/>
          </a:xfrm>
          <a:custGeom>
            <a:avLst/>
            <a:gdLst/>
            <a:ahLst/>
            <a:cxnLst>
              <a:cxn ang="0">
                <a:pos x="4" y="2"/>
              </a:cxn>
              <a:cxn ang="0">
                <a:pos x="6" y="3"/>
              </a:cxn>
              <a:cxn ang="0">
                <a:pos x="4" y="3"/>
              </a:cxn>
              <a:cxn ang="0">
                <a:pos x="2" y="3"/>
              </a:cxn>
              <a:cxn ang="0">
                <a:pos x="0" y="2"/>
              </a:cxn>
              <a:cxn ang="0">
                <a:pos x="0" y="0"/>
              </a:cxn>
              <a:cxn ang="0">
                <a:pos x="2" y="0"/>
              </a:cxn>
              <a:cxn ang="0">
                <a:pos x="3" y="2"/>
              </a:cxn>
              <a:cxn ang="0">
                <a:pos x="4" y="2"/>
              </a:cxn>
            </a:cxnLst>
            <a:rect l="0" t="0" r="r" b="b"/>
            <a:pathLst>
              <a:path w="6" h="3">
                <a:moveTo>
                  <a:pt x="4" y="2"/>
                </a:moveTo>
                <a:lnTo>
                  <a:pt x="6" y="3"/>
                </a:lnTo>
                <a:lnTo>
                  <a:pt x="4" y="3"/>
                </a:lnTo>
                <a:lnTo>
                  <a:pt x="2" y="3"/>
                </a:lnTo>
                <a:lnTo>
                  <a:pt x="0" y="2"/>
                </a:lnTo>
                <a:lnTo>
                  <a:pt x="0" y="0"/>
                </a:lnTo>
                <a:lnTo>
                  <a:pt x="2" y="0"/>
                </a:lnTo>
                <a:lnTo>
                  <a:pt x="3" y="2"/>
                </a:lnTo>
                <a:lnTo>
                  <a:pt x="4" y="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46" name="Freeform 245"/>
          <p:cNvSpPr>
            <a:spLocks/>
          </p:cNvSpPr>
          <p:nvPr/>
        </p:nvSpPr>
        <p:spPr bwMode="auto">
          <a:xfrm>
            <a:off x="1751460" y="2288999"/>
            <a:ext cx="38977" cy="32215"/>
          </a:xfrm>
          <a:custGeom>
            <a:avLst/>
            <a:gdLst/>
            <a:ahLst/>
            <a:cxnLst>
              <a:cxn ang="0">
                <a:pos x="20" y="3"/>
              </a:cxn>
              <a:cxn ang="0">
                <a:pos x="21" y="5"/>
              </a:cxn>
              <a:cxn ang="0">
                <a:pos x="21" y="6"/>
              </a:cxn>
              <a:cxn ang="0">
                <a:pos x="17" y="6"/>
              </a:cxn>
              <a:cxn ang="0">
                <a:pos x="20" y="6"/>
              </a:cxn>
              <a:cxn ang="0">
                <a:pos x="20" y="8"/>
              </a:cxn>
              <a:cxn ang="0">
                <a:pos x="19" y="8"/>
              </a:cxn>
              <a:cxn ang="0">
                <a:pos x="13" y="6"/>
              </a:cxn>
              <a:cxn ang="0">
                <a:pos x="12" y="6"/>
              </a:cxn>
              <a:cxn ang="0">
                <a:pos x="11" y="8"/>
              </a:cxn>
              <a:cxn ang="0">
                <a:pos x="15" y="10"/>
              </a:cxn>
              <a:cxn ang="0">
                <a:pos x="17" y="10"/>
              </a:cxn>
              <a:cxn ang="0">
                <a:pos x="19" y="10"/>
              </a:cxn>
              <a:cxn ang="0">
                <a:pos x="21" y="10"/>
              </a:cxn>
              <a:cxn ang="0">
                <a:pos x="21" y="13"/>
              </a:cxn>
              <a:cxn ang="0">
                <a:pos x="21" y="14"/>
              </a:cxn>
              <a:cxn ang="0">
                <a:pos x="17" y="13"/>
              </a:cxn>
              <a:cxn ang="0">
                <a:pos x="12" y="11"/>
              </a:cxn>
              <a:cxn ang="0">
                <a:pos x="11" y="10"/>
              </a:cxn>
              <a:cxn ang="0">
                <a:pos x="9" y="10"/>
              </a:cxn>
              <a:cxn ang="0">
                <a:pos x="9" y="11"/>
              </a:cxn>
              <a:cxn ang="0">
                <a:pos x="11" y="13"/>
              </a:cxn>
              <a:cxn ang="0">
                <a:pos x="11" y="14"/>
              </a:cxn>
              <a:cxn ang="0">
                <a:pos x="11" y="16"/>
              </a:cxn>
              <a:cxn ang="0">
                <a:pos x="9" y="16"/>
              </a:cxn>
              <a:cxn ang="0">
                <a:pos x="7" y="16"/>
              </a:cxn>
              <a:cxn ang="0">
                <a:pos x="5" y="14"/>
              </a:cxn>
              <a:cxn ang="0">
                <a:pos x="7" y="13"/>
              </a:cxn>
              <a:cxn ang="0">
                <a:pos x="5" y="13"/>
              </a:cxn>
              <a:cxn ang="0">
                <a:pos x="4" y="11"/>
              </a:cxn>
              <a:cxn ang="0">
                <a:pos x="4" y="10"/>
              </a:cxn>
              <a:cxn ang="0">
                <a:pos x="3" y="10"/>
              </a:cxn>
              <a:cxn ang="0">
                <a:pos x="1" y="8"/>
              </a:cxn>
              <a:cxn ang="0">
                <a:pos x="0" y="6"/>
              </a:cxn>
              <a:cxn ang="0">
                <a:pos x="0" y="5"/>
              </a:cxn>
              <a:cxn ang="0">
                <a:pos x="3" y="6"/>
              </a:cxn>
              <a:cxn ang="0">
                <a:pos x="0" y="3"/>
              </a:cxn>
              <a:cxn ang="0">
                <a:pos x="0" y="2"/>
              </a:cxn>
              <a:cxn ang="0">
                <a:pos x="1" y="3"/>
              </a:cxn>
              <a:cxn ang="0">
                <a:pos x="3" y="2"/>
              </a:cxn>
              <a:cxn ang="0">
                <a:pos x="5" y="0"/>
              </a:cxn>
              <a:cxn ang="0">
                <a:pos x="7" y="0"/>
              </a:cxn>
              <a:cxn ang="0">
                <a:pos x="12" y="2"/>
              </a:cxn>
              <a:cxn ang="0">
                <a:pos x="12" y="3"/>
              </a:cxn>
              <a:cxn ang="0">
                <a:pos x="13" y="3"/>
              </a:cxn>
              <a:cxn ang="0">
                <a:pos x="15" y="3"/>
              </a:cxn>
              <a:cxn ang="0">
                <a:pos x="17" y="3"/>
              </a:cxn>
              <a:cxn ang="0">
                <a:pos x="20" y="3"/>
              </a:cxn>
            </a:cxnLst>
            <a:rect l="0" t="0" r="r" b="b"/>
            <a:pathLst>
              <a:path w="21" h="16">
                <a:moveTo>
                  <a:pt x="20" y="3"/>
                </a:moveTo>
                <a:lnTo>
                  <a:pt x="21" y="5"/>
                </a:lnTo>
                <a:lnTo>
                  <a:pt x="21" y="6"/>
                </a:lnTo>
                <a:lnTo>
                  <a:pt x="17" y="6"/>
                </a:lnTo>
                <a:lnTo>
                  <a:pt x="20" y="6"/>
                </a:lnTo>
                <a:lnTo>
                  <a:pt x="20" y="8"/>
                </a:lnTo>
                <a:lnTo>
                  <a:pt x="19" y="8"/>
                </a:lnTo>
                <a:lnTo>
                  <a:pt x="13" y="6"/>
                </a:lnTo>
                <a:lnTo>
                  <a:pt x="12" y="6"/>
                </a:lnTo>
                <a:lnTo>
                  <a:pt x="11" y="8"/>
                </a:lnTo>
                <a:lnTo>
                  <a:pt x="15" y="10"/>
                </a:lnTo>
                <a:lnTo>
                  <a:pt x="17" y="10"/>
                </a:lnTo>
                <a:lnTo>
                  <a:pt x="19" y="10"/>
                </a:lnTo>
                <a:lnTo>
                  <a:pt x="21" y="10"/>
                </a:lnTo>
                <a:lnTo>
                  <a:pt x="21" y="13"/>
                </a:lnTo>
                <a:lnTo>
                  <a:pt x="21" y="14"/>
                </a:lnTo>
                <a:lnTo>
                  <a:pt x="17" y="13"/>
                </a:lnTo>
                <a:lnTo>
                  <a:pt x="12" y="11"/>
                </a:lnTo>
                <a:lnTo>
                  <a:pt x="11" y="10"/>
                </a:lnTo>
                <a:lnTo>
                  <a:pt x="9" y="10"/>
                </a:lnTo>
                <a:lnTo>
                  <a:pt x="9" y="11"/>
                </a:lnTo>
                <a:lnTo>
                  <a:pt x="11" y="13"/>
                </a:lnTo>
                <a:lnTo>
                  <a:pt x="11" y="14"/>
                </a:lnTo>
                <a:lnTo>
                  <a:pt x="11" y="16"/>
                </a:lnTo>
                <a:lnTo>
                  <a:pt x="9" y="16"/>
                </a:lnTo>
                <a:lnTo>
                  <a:pt x="7" y="16"/>
                </a:lnTo>
                <a:lnTo>
                  <a:pt x="5" y="14"/>
                </a:lnTo>
                <a:lnTo>
                  <a:pt x="7" y="13"/>
                </a:lnTo>
                <a:lnTo>
                  <a:pt x="5" y="13"/>
                </a:lnTo>
                <a:lnTo>
                  <a:pt x="4" y="11"/>
                </a:lnTo>
                <a:lnTo>
                  <a:pt x="4" y="10"/>
                </a:lnTo>
                <a:lnTo>
                  <a:pt x="3" y="10"/>
                </a:lnTo>
                <a:lnTo>
                  <a:pt x="1" y="8"/>
                </a:lnTo>
                <a:lnTo>
                  <a:pt x="0" y="6"/>
                </a:lnTo>
                <a:lnTo>
                  <a:pt x="0" y="5"/>
                </a:lnTo>
                <a:lnTo>
                  <a:pt x="3" y="6"/>
                </a:lnTo>
                <a:lnTo>
                  <a:pt x="0" y="3"/>
                </a:lnTo>
                <a:lnTo>
                  <a:pt x="0" y="2"/>
                </a:lnTo>
                <a:lnTo>
                  <a:pt x="1" y="3"/>
                </a:lnTo>
                <a:lnTo>
                  <a:pt x="3" y="2"/>
                </a:lnTo>
                <a:lnTo>
                  <a:pt x="5" y="0"/>
                </a:lnTo>
                <a:lnTo>
                  <a:pt x="7" y="0"/>
                </a:lnTo>
                <a:lnTo>
                  <a:pt x="12" y="2"/>
                </a:lnTo>
                <a:lnTo>
                  <a:pt x="12" y="3"/>
                </a:lnTo>
                <a:lnTo>
                  <a:pt x="13" y="3"/>
                </a:lnTo>
                <a:lnTo>
                  <a:pt x="15" y="3"/>
                </a:lnTo>
                <a:lnTo>
                  <a:pt x="17" y="3"/>
                </a:lnTo>
                <a:lnTo>
                  <a:pt x="20" y="3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47" name="Freeform 246"/>
          <p:cNvSpPr>
            <a:spLocks/>
          </p:cNvSpPr>
          <p:nvPr/>
        </p:nvSpPr>
        <p:spPr bwMode="auto">
          <a:xfrm>
            <a:off x="1751460" y="2288999"/>
            <a:ext cx="38977" cy="32215"/>
          </a:xfrm>
          <a:custGeom>
            <a:avLst/>
            <a:gdLst/>
            <a:ahLst/>
            <a:cxnLst>
              <a:cxn ang="0">
                <a:pos x="20" y="3"/>
              </a:cxn>
              <a:cxn ang="0">
                <a:pos x="21" y="5"/>
              </a:cxn>
              <a:cxn ang="0">
                <a:pos x="21" y="6"/>
              </a:cxn>
              <a:cxn ang="0">
                <a:pos x="17" y="6"/>
              </a:cxn>
              <a:cxn ang="0">
                <a:pos x="20" y="6"/>
              </a:cxn>
              <a:cxn ang="0">
                <a:pos x="20" y="8"/>
              </a:cxn>
              <a:cxn ang="0">
                <a:pos x="19" y="8"/>
              </a:cxn>
              <a:cxn ang="0">
                <a:pos x="13" y="6"/>
              </a:cxn>
              <a:cxn ang="0">
                <a:pos x="12" y="6"/>
              </a:cxn>
              <a:cxn ang="0">
                <a:pos x="11" y="8"/>
              </a:cxn>
              <a:cxn ang="0">
                <a:pos x="15" y="10"/>
              </a:cxn>
              <a:cxn ang="0">
                <a:pos x="17" y="10"/>
              </a:cxn>
              <a:cxn ang="0">
                <a:pos x="19" y="10"/>
              </a:cxn>
              <a:cxn ang="0">
                <a:pos x="21" y="10"/>
              </a:cxn>
              <a:cxn ang="0">
                <a:pos x="21" y="13"/>
              </a:cxn>
              <a:cxn ang="0">
                <a:pos x="21" y="14"/>
              </a:cxn>
              <a:cxn ang="0">
                <a:pos x="17" y="13"/>
              </a:cxn>
              <a:cxn ang="0">
                <a:pos x="12" y="11"/>
              </a:cxn>
              <a:cxn ang="0">
                <a:pos x="11" y="10"/>
              </a:cxn>
              <a:cxn ang="0">
                <a:pos x="9" y="10"/>
              </a:cxn>
              <a:cxn ang="0">
                <a:pos x="9" y="11"/>
              </a:cxn>
              <a:cxn ang="0">
                <a:pos x="11" y="13"/>
              </a:cxn>
              <a:cxn ang="0">
                <a:pos x="11" y="14"/>
              </a:cxn>
              <a:cxn ang="0">
                <a:pos x="11" y="16"/>
              </a:cxn>
              <a:cxn ang="0">
                <a:pos x="9" y="16"/>
              </a:cxn>
              <a:cxn ang="0">
                <a:pos x="7" y="16"/>
              </a:cxn>
              <a:cxn ang="0">
                <a:pos x="5" y="14"/>
              </a:cxn>
              <a:cxn ang="0">
                <a:pos x="7" y="13"/>
              </a:cxn>
              <a:cxn ang="0">
                <a:pos x="5" y="13"/>
              </a:cxn>
              <a:cxn ang="0">
                <a:pos x="4" y="11"/>
              </a:cxn>
              <a:cxn ang="0">
                <a:pos x="4" y="10"/>
              </a:cxn>
              <a:cxn ang="0">
                <a:pos x="3" y="10"/>
              </a:cxn>
              <a:cxn ang="0">
                <a:pos x="1" y="8"/>
              </a:cxn>
              <a:cxn ang="0">
                <a:pos x="0" y="6"/>
              </a:cxn>
              <a:cxn ang="0">
                <a:pos x="0" y="5"/>
              </a:cxn>
              <a:cxn ang="0">
                <a:pos x="3" y="6"/>
              </a:cxn>
              <a:cxn ang="0">
                <a:pos x="0" y="3"/>
              </a:cxn>
              <a:cxn ang="0">
                <a:pos x="0" y="2"/>
              </a:cxn>
              <a:cxn ang="0">
                <a:pos x="1" y="3"/>
              </a:cxn>
              <a:cxn ang="0">
                <a:pos x="3" y="2"/>
              </a:cxn>
              <a:cxn ang="0">
                <a:pos x="5" y="0"/>
              </a:cxn>
              <a:cxn ang="0">
                <a:pos x="7" y="0"/>
              </a:cxn>
              <a:cxn ang="0">
                <a:pos x="12" y="2"/>
              </a:cxn>
              <a:cxn ang="0">
                <a:pos x="12" y="3"/>
              </a:cxn>
              <a:cxn ang="0">
                <a:pos x="13" y="3"/>
              </a:cxn>
              <a:cxn ang="0">
                <a:pos x="15" y="3"/>
              </a:cxn>
              <a:cxn ang="0">
                <a:pos x="17" y="3"/>
              </a:cxn>
              <a:cxn ang="0">
                <a:pos x="20" y="3"/>
              </a:cxn>
            </a:cxnLst>
            <a:rect l="0" t="0" r="r" b="b"/>
            <a:pathLst>
              <a:path w="21" h="16">
                <a:moveTo>
                  <a:pt x="20" y="3"/>
                </a:moveTo>
                <a:lnTo>
                  <a:pt x="21" y="5"/>
                </a:lnTo>
                <a:lnTo>
                  <a:pt x="21" y="6"/>
                </a:lnTo>
                <a:lnTo>
                  <a:pt x="17" y="6"/>
                </a:lnTo>
                <a:lnTo>
                  <a:pt x="20" y="6"/>
                </a:lnTo>
                <a:lnTo>
                  <a:pt x="20" y="8"/>
                </a:lnTo>
                <a:lnTo>
                  <a:pt x="19" y="8"/>
                </a:lnTo>
                <a:lnTo>
                  <a:pt x="13" y="6"/>
                </a:lnTo>
                <a:lnTo>
                  <a:pt x="12" y="6"/>
                </a:lnTo>
                <a:lnTo>
                  <a:pt x="11" y="8"/>
                </a:lnTo>
                <a:lnTo>
                  <a:pt x="15" y="10"/>
                </a:lnTo>
                <a:lnTo>
                  <a:pt x="17" y="10"/>
                </a:lnTo>
                <a:lnTo>
                  <a:pt x="19" y="10"/>
                </a:lnTo>
                <a:lnTo>
                  <a:pt x="21" y="10"/>
                </a:lnTo>
                <a:lnTo>
                  <a:pt x="21" y="13"/>
                </a:lnTo>
                <a:lnTo>
                  <a:pt x="21" y="14"/>
                </a:lnTo>
                <a:lnTo>
                  <a:pt x="17" y="13"/>
                </a:lnTo>
                <a:lnTo>
                  <a:pt x="12" y="11"/>
                </a:lnTo>
                <a:lnTo>
                  <a:pt x="11" y="10"/>
                </a:lnTo>
                <a:lnTo>
                  <a:pt x="9" y="10"/>
                </a:lnTo>
                <a:lnTo>
                  <a:pt x="9" y="11"/>
                </a:lnTo>
                <a:lnTo>
                  <a:pt x="11" y="13"/>
                </a:lnTo>
                <a:lnTo>
                  <a:pt x="11" y="14"/>
                </a:lnTo>
                <a:lnTo>
                  <a:pt x="11" y="16"/>
                </a:lnTo>
                <a:lnTo>
                  <a:pt x="9" y="16"/>
                </a:lnTo>
                <a:lnTo>
                  <a:pt x="7" y="16"/>
                </a:lnTo>
                <a:lnTo>
                  <a:pt x="5" y="14"/>
                </a:lnTo>
                <a:lnTo>
                  <a:pt x="7" y="13"/>
                </a:lnTo>
                <a:lnTo>
                  <a:pt x="5" y="13"/>
                </a:lnTo>
                <a:lnTo>
                  <a:pt x="4" y="11"/>
                </a:lnTo>
                <a:lnTo>
                  <a:pt x="4" y="10"/>
                </a:lnTo>
                <a:lnTo>
                  <a:pt x="3" y="10"/>
                </a:lnTo>
                <a:lnTo>
                  <a:pt x="1" y="8"/>
                </a:lnTo>
                <a:lnTo>
                  <a:pt x="0" y="6"/>
                </a:lnTo>
                <a:lnTo>
                  <a:pt x="0" y="5"/>
                </a:lnTo>
                <a:lnTo>
                  <a:pt x="3" y="6"/>
                </a:lnTo>
                <a:lnTo>
                  <a:pt x="0" y="3"/>
                </a:lnTo>
                <a:lnTo>
                  <a:pt x="0" y="2"/>
                </a:lnTo>
                <a:lnTo>
                  <a:pt x="1" y="3"/>
                </a:lnTo>
                <a:lnTo>
                  <a:pt x="3" y="2"/>
                </a:lnTo>
                <a:lnTo>
                  <a:pt x="5" y="0"/>
                </a:lnTo>
                <a:lnTo>
                  <a:pt x="7" y="0"/>
                </a:lnTo>
                <a:lnTo>
                  <a:pt x="12" y="2"/>
                </a:lnTo>
                <a:lnTo>
                  <a:pt x="12" y="3"/>
                </a:lnTo>
                <a:lnTo>
                  <a:pt x="13" y="3"/>
                </a:lnTo>
                <a:lnTo>
                  <a:pt x="15" y="3"/>
                </a:lnTo>
                <a:lnTo>
                  <a:pt x="17" y="3"/>
                </a:lnTo>
                <a:lnTo>
                  <a:pt x="20" y="3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48" name="Freeform 247"/>
          <p:cNvSpPr>
            <a:spLocks/>
          </p:cNvSpPr>
          <p:nvPr/>
        </p:nvSpPr>
        <p:spPr bwMode="auto">
          <a:xfrm>
            <a:off x="1827465" y="2357723"/>
            <a:ext cx="50670" cy="53690"/>
          </a:xfrm>
          <a:custGeom>
            <a:avLst/>
            <a:gdLst/>
            <a:ahLst/>
            <a:cxnLst>
              <a:cxn ang="0">
                <a:pos x="16" y="6"/>
              </a:cxn>
              <a:cxn ang="0">
                <a:pos x="19" y="11"/>
              </a:cxn>
              <a:cxn ang="0">
                <a:pos x="19" y="11"/>
              </a:cxn>
              <a:cxn ang="0">
                <a:pos x="23" y="14"/>
              </a:cxn>
              <a:cxn ang="0">
                <a:pos x="19" y="12"/>
              </a:cxn>
              <a:cxn ang="0">
                <a:pos x="20" y="15"/>
              </a:cxn>
              <a:cxn ang="0">
                <a:pos x="24" y="17"/>
              </a:cxn>
              <a:cxn ang="0">
                <a:pos x="23" y="19"/>
              </a:cxn>
              <a:cxn ang="0">
                <a:pos x="25" y="19"/>
              </a:cxn>
              <a:cxn ang="0">
                <a:pos x="27" y="22"/>
              </a:cxn>
              <a:cxn ang="0">
                <a:pos x="24" y="23"/>
              </a:cxn>
              <a:cxn ang="0">
                <a:pos x="27" y="23"/>
              </a:cxn>
              <a:cxn ang="0">
                <a:pos x="25" y="25"/>
              </a:cxn>
              <a:cxn ang="0">
                <a:pos x="25" y="28"/>
              </a:cxn>
              <a:cxn ang="0">
                <a:pos x="21" y="25"/>
              </a:cxn>
              <a:cxn ang="0">
                <a:pos x="20" y="25"/>
              </a:cxn>
              <a:cxn ang="0">
                <a:pos x="19" y="22"/>
              </a:cxn>
              <a:cxn ang="0">
                <a:pos x="13" y="19"/>
              </a:cxn>
              <a:cxn ang="0">
                <a:pos x="8" y="17"/>
              </a:cxn>
              <a:cxn ang="0">
                <a:pos x="11" y="14"/>
              </a:cxn>
              <a:cxn ang="0">
                <a:pos x="11" y="12"/>
              </a:cxn>
              <a:cxn ang="0">
                <a:pos x="7" y="12"/>
              </a:cxn>
              <a:cxn ang="0">
                <a:pos x="7" y="11"/>
              </a:cxn>
              <a:cxn ang="0">
                <a:pos x="8" y="8"/>
              </a:cxn>
              <a:cxn ang="0">
                <a:pos x="8" y="3"/>
              </a:cxn>
              <a:cxn ang="0">
                <a:pos x="7" y="4"/>
              </a:cxn>
              <a:cxn ang="0">
                <a:pos x="1" y="6"/>
              </a:cxn>
              <a:cxn ang="0">
                <a:pos x="0" y="4"/>
              </a:cxn>
              <a:cxn ang="0">
                <a:pos x="3" y="1"/>
              </a:cxn>
              <a:cxn ang="0">
                <a:pos x="1" y="0"/>
              </a:cxn>
              <a:cxn ang="0">
                <a:pos x="5" y="0"/>
              </a:cxn>
              <a:cxn ang="0">
                <a:pos x="8" y="0"/>
              </a:cxn>
              <a:cxn ang="0">
                <a:pos x="9" y="3"/>
              </a:cxn>
              <a:cxn ang="0">
                <a:pos x="12" y="4"/>
              </a:cxn>
            </a:cxnLst>
            <a:rect l="0" t="0" r="r" b="b"/>
            <a:pathLst>
              <a:path w="27" h="28">
                <a:moveTo>
                  <a:pt x="15" y="4"/>
                </a:moveTo>
                <a:lnTo>
                  <a:pt x="16" y="6"/>
                </a:lnTo>
                <a:lnTo>
                  <a:pt x="19" y="9"/>
                </a:lnTo>
                <a:lnTo>
                  <a:pt x="19" y="11"/>
                </a:lnTo>
                <a:lnTo>
                  <a:pt x="17" y="11"/>
                </a:lnTo>
                <a:lnTo>
                  <a:pt x="19" y="11"/>
                </a:lnTo>
                <a:lnTo>
                  <a:pt x="20" y="11"/>
                </a:lnTo>
                <a:lnTo>
                  <a:pt x="23" y="14"/>
                </a:lnTo>
                <a:lnTo>
                  <a:pt x="23" y="15"/>
                </a:lnTo>
                <a:lnTo>
                  <a:pt x="19" y="12"/>
                </a:lnTo>
                <a:lnTo>
                  <a:pt x="19" y="14"/>
                </a:lnTo>
                <a:lnTo>
                  <a:pt x="20" y="15"/>
                </a:lnTo>
                <a:lnTo>
                  <a:pt x="21" y="17"/>
                </a:lnTo>
                <a:lnTo>
                  <a:pt x="24" y="17"/>
                </a:lnTo>
                <a:lnTo>
                  <a:pt x="24" y="19"/>
                </a:lnTo>
                <a:lnTo>
                  <a:pt x="23" y="19"/>
                </a:lnTo>
                <a:lnTo>
                  <a:pt x="24" y="20"/>
                </a:lnTo>
                <a:lnTo>
                  <a:pt x="25" y="19"/>
                </a:lnTo>
                <a:lnTo>
                  <a:pt x="27" y="20"/>
                </a:lnTo>
                <a:lnTo>
                  <a:pt x="27" y="22"/>
                </a:lnTo>
                <a:lnTo>
                  <a:pt x="25" y="22"/>
                </a:lnTo>
                <a:lnTo>
                  <a:pt x="24" y="23"/>
                </a:lnTo>
                <a:lnTo>
                  <a:pt x="25" y="23"/>
                </a:lnTo>
                <a:lnTo>
                  <a:pt x="27" y="23"/>
                </a:lnTo>
                <a:lnTo>
                  <a:pt x="27" y="25"/>
                </a:lnTo>
                <a:lnTo>
                  <a:pt x="25" y="25"/>
                </a:lnTo>
                <a:lnTo>
                  <a:pt x="27" y="26"/>
                </a:lnTo>
                <a:lnTo>
                  <a:pt x="25" y="28"/>
                </a:lnTo>
                <a:lnTo>
                  <a:pt x="23" y="28"/>
                </a:lnTo>
                <a:lnTo>
                  <a:pt x="21" y="25"/>
                </a:lnTo>
                <a:lnTo>
                  <a:pt x="21" y="23"/>
                </a:lnTo>
                <a:lnTo>
                  <a:pt x="20" y="25"/>
                </a:lnTo>
                <a:lnTo>
                  <a:pt x="19" y="23"/>
                </a:lnTo>
                <a:lnTo>
                  <a:pt x="19" y="22"/>
                </a:lnTo>
                <a:lnTo>
                  <a:pt x="16" y="20"/>
                </a:lnTo>
                <a:lnTo>
                  <a:pt x="13" y="19"/>
                </a:lnTo>
                <a:lnTo>
                  <a:pt x="12" y="19"/>
                </a:lnTo>
                <a:lnTo>
                  <a:pt x="8" y="17"/>
                </a:lnTo>
                <a:lnTo>
                  <a:pt x="12" y="17"/>
                </a:lnTo>
                <a:lnTo>
                  <a:pt x="11" y="14"/>
                </a:lnTo>
                <a:lnTo>
                  <a:pt x="12" y="12"/>
                </a:lnTo>
                <a:lnTo>
                  <a:pt x="11" y="12"/>
                </a:lnTo>
                <a:lnTo>
                  <a:pt x="9" y="12"/>
                </a:lnTo>
                <a:lnTo>
                  <a:pt x="7" y="12"/>
                </a:lnTo>
                <a:lnTo>
                  <a:pt x="5" y="12"/>
                </a:lnTo>
                <a:lnTo>
                  <a:pt x="7" y="11"/>
                </a:lnTo>
                <a:lnTo>
                  <a:pt x="8" y="9"/>
                </a:lnTo>
                <a:lnTo>
                  <a:pt x="8" y="8"/>
                </a:lnTo>
                <a:lnTo>
                  <a:pt x="7" y="4"/>
                </a:lnTo>
                <a:lnTo>
                  <a:pt x="8" y="3"/>
                </a:lnTo>
                <a:lnTo>
                  <a:pt x="7" y="3"/>
                </a:lnTo>
                <a:lnTo>
                  <a:pt x="7" y="4"/>
                </a:lnTo>
                <a:lnTo>
                  <a:pt x="4" y="4"/>
                </a:lnTo>
                <a:lnTo>
                  <a:pt x="1" y="6"/>
                </a:lnTo>
                <a:lnTo>
                  <a:pt x="0" y="6"/>
                </a:lnTo>
                <a:lnTo>
                  <a:pt x="0" y="4"/>
                </a:lnTo>
                <a:lnTo>
                  <a:pt x="1" y="4"/>
                </a:lnTo>
                <a:lnTo>
                  <a:pt x="3" y="1"/>
                </a:lnTo>
                <a:lnTo>
                  <a:pt x="1" y="1"/>
                </a:lnTo>
                <a:lnTo>
                  <a:pt x="1" y="0"/>
                </a:lnTo>
                <a:lnTo>
                  <a:pt x="4" y="0"/>
                </a:lnTo>
                <a:lnTo>
                  <a:pt x="5" y="0"/>
                </a:lnTo>
                <a:lnTo>
                  <a:pt x="7" y="0"/>
                </a:lnTo>
                <a:lnTo>
                  <a:pt x="8" y="0"/>
                </a:lnTo>
                <a:lnTo>
                  <a:pt x="9" y="1"/>
                </a:lnTo>
                <a:lnTo>
                  <a:pt x="9" y="3"/>
                </a:lnTo>
                <a:lnTo>
                  <a:pt x="9" y="4"/>
                </a:lnTo>
                <a:lnTo>
                  <a:pt x="12" y="4"/>
                </a:lnTo>
                <a:lnTo>
                  <a:pt x="15" y="4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49" name="Freeform 248"/>
          <p:cNvSpPr>
            <a:spLocks/>
          </p:cNvSpPr>
          <p:nvPr/>
        </p:nvSpPr>
        <p:spPr bwMode="auto">
          <a:xfrm>
            <a:off x="1827465" y="2357723"/>
            <a:ext cx="50670" cy="53690"/>
          </a:xfrm>
          <a:custGeom>
            <a:avLst/>
            <a:gdLst/>
            <a:ahLst/>
            <a:cxnLst>
              <a:cxn ang="0">
                <a:pos x="16" y="6"/>
              </a:cxn>
              <a:cxn ang="0">
                <a:pos x="19" y="11"/>
              </a:cxn>
              <a:cxn ang="0">
                <a:pos x="19" y="11"/>
              </a:cxn>
              <a:cxn ang="0">
                <a:pos x="23" y="14"/>
              </a:cxn>
              <a:cxn ang="0">
                <a:pos x="19" y="12"/>
              </a:cxn>
              <a:cxn ang="0">
                <a:pos x="20" y="15"/>
              </a:cxn>
              <a:cxn ang="0">
                <a:pos x="24" y="17"/>
              </a:cxn>
              <a:cxn ang="0">
                <a:pos x="23" y="19"/>
              </a:cxn>
              <a:cxn ang="0">
                <a:pos x="25" y="19"/>
              </a:cxn>
              <a:cxn ang="0">
                <a:pos x="27" y="22"/>
              </a:cxn>
              <a:cxn ang="0">
                <a:pos x="24" y="23"/>
              </a:cxn>
              <a:cxn ang="0">
                <a:pos x="27" y="23"/>
              </a:cxn>
              <a:cxn ang="0">
                <a:pos x="25" y="25"/>
              </a:cxn>
              <a:cxn ang="0">
                <a:pos x="25" y="28"/>
              </a:cxn>
              <a:cxn ang="0">
                <a:pos x="21" y="25"/>
              </a:cxn>
              <a:cxn ang="0">
                <a:pos x="20" y="25"/>
              </a:cxn>
              <a:cxn ang="0">
                <a:pos x="19" y="22"/>
              </a:cxn>
              <a:cxn ang="0">
                <a:pos x="13" y="19"/>
              </a:cxn>
              <a:cxn ang="0">
                <a:pos x="8" y="17"/>
              </a:cxn>
              <a:cxn ang="0">
                <a:pos x="11" y="14"/>
              </a:cxn>
              <a:cxn ang="0">
                <a:pos x="11" y="12"/>
              </a:cxn>
              <a:cxn ang="0">
                <a:pos x="7" y="12"/>
              </a:cxn>
              <a:cxn ang="0">
                <a:pos x="7" y="11"/>
              </a:cxn>
              <a:cxn ang="0">
                <a:pos x="8" y="8"/>
              </a:cxn>
              <a:cxn ang="0">
                <a:pos x="8" y="3"/>
              </a:cxn>
              <a:cxn ang="0">
                <a:pos x="7" y="4"/>
              </a:cxn>
              <a:cxn ang="0">
                <a:pos x="1" y="6"/>
              </a:cxn>
              <a:cxn ang="0">
                <a:pos x="0" y="4"/>
              </a:cxn>
              <a:cxn ang="0">
                <a:pos x="3" y="1"/>
              </a:cxn>
              <a:cxn ang="0">
                <a:pos x="1" y="0"/>
              </a:cxn>
              <a:cxn ang="0">
                <a:pos x="5" y="0"/>
              </a:cxn>
              <a:cxn ang="0">
                <a:pos x="8" y="0"/>
              </a:cxn>
              <a:cxn ang="0">
                <a:pos x="9" y="3"/>
              </a:cxn>
              <a:cxn ang="0">
                <a:pos x="12" y="4"/>
              </a:cxn>
            </a:cxnLst>
            <a:rect l="0" t="0" r="r" b="b"/>
            <a:pathLst>
              <a:path w="27" h="28">
                <a:moveTo>
                  <a:pt x="15" y="4"/>
                </a:moveTo>
                <a:lnTo>
                  <a:pt x="16" y="6"/>
                </a:lnTo>
                <a:lnTo>
                  <a:pt x="19" y="9"/>
                </a:lnTo>
                <a:lnTo>
                  <a:pt x="19" y="11"/>
                </a:lnTo>
                <a:lnTo>
                  <a:pt x="17" y="11"/>
                </a:lnTo>
                <a:lnTo>
                  <a:pt x="19" y="11"/>
                </a:lnTo>
                <a:lnTo>
                  <a:pt x="20" y="11"/>
                </a:lnTo>
                <a:lnTo>
                  <a:pt x="23" y="14"/>
                </a:lnTo>
                <a:lnTo>
                  <a:pt x="23" y="15"/>
                </a:lnTo>
                <a:lnTo>
                  <a:pt x="19" y="12"/>
                </a:lnTo>
                <a:lnTo>
                  <a:pt x="19" y="14"/>
                </a:lnTo>
                <a:lnTo>
                  <a:pt x="20" y="15"/>
                </a:lnTo>
                <a:lnTo>
                  <a:pt x="21" y="17"/>
                </a:lnTo>
                <a:lnTo>
                  <a:pt x="24" y="17"/>
                </a:lnTo>
                <a:lnTo>
                  <a:pt x="24" y="19"/>
                </a:lnTo>
                <a:lnTo>
                  <a:pt x="23" y="19"/>
                </a:lnTo>
                <a:lnTo>
                  <a:pt x="24" y="20"/>
                </a:lnTo>
                <a:lnTo>
                  <a:pt x="25" y="19"/>
                </a:lnTo>
                <a:lnTo>
                  <a:pt x="27" y="20"/>
                </a:lnTo>
                <a:lnTo>
                  <a:pt x="27" y="22"/>
                </a:lnTo>
                <a:lnTo>
                  <a:pt x="25" y="22"/>
                </a:lnTo>
                <a:lnTo>
                  <a:pt x="24" y="23"/>
                </a:lnTo>
                <a:lnTo>
                  <a:pt x="25" y="23"/>
                </a:lnTo>
                <a:lnTo>
                  <a:pt x="27" y="23"/>
                </a:lnTo>
                <a:lnTo>
                  <a:pt x="27" y="25"/>
                </a:lnTo>
                <a:lnTo>
                  <a:pt x="25" y="25"/>
                </a:lnTo>
                <a:lnTo>
                  <a:pt x="27" y="26"/>
                </a:lnTo>
                <a:lnTo>
                  <a:pt x="25" y="28"/>
                </a:lnTo>
                <a:lnTo>
                  <a:pt x="23" y="28"/>
                </a:lnTo>
                <a:lnTo>
                  <a:pt x="21" y="25"/>
                </a:lnTo>
                <a:lnTo>
                  <a:pt x="21" y="23"/>
                </a:lnTo>
                <a:lnTo>
                  <a:pt x="20" y="25"/>
                </a:lnTo>
                <a:lnTo>
                  <a:pt x="19" y="23"/>
                </a:lnTo>
                <a:lnTo>
                  <a:pt x="19" y="22"/>
                </a:lnTo>
                <a:lnTo>
                  <a:pt x="16" y="20"/>
                </a:lnTo>
                <a:lnTo>
                  <a:pt x="13" y="19"/>
                </a:lnTo>
                <a:lnTo>
                  <a:pt x="12" y="19"/>
                </a:lnTo>
                <a:lnTo>
                  <a:pt x="8" y="17"/>
                </a:lnTo>
                <a:lnTo>
                  <a:pt x="12" y="17"/>
                </a:lnTo>
                <a:lnTo>
                  <a:pt x="11" y="14"/>
                </a:lnTo>
                <a:lnTo>
                  <a:pt x="12" y="12"/>
                </a:lnTo>
                <a:lnTo>
                  <a:pt x="11" y="12"/>
                </a:lnTo>
                <a:lnTo>
                  <a:pt x="9" y="12"/>
                </a:lnTo>
                <a:lnTo>
                  <a:pt x="7" y="12"/>
                </a:lnTo>
                <a:lnTo>
                  <a:pt x="5" y="12"/>
                </a:lnTo>
                <a:lnTo>
                  <a:pt x="7" y="11"/>
                </a:lnTo>
                <a:lnTo>
                  <a:pt x="8" y="9"/>
                </a:lnTo>
                <a:lnTo>
                  <a:pt x="8" y="8"/>
                </a:lnTo>
                <a:lnTo>
                  <a:pt x="7" y="4"/>
                </a:lnTo>
                <a:lnTo>
                  <a:pt x="8" y="3"/>
                </a:lnTo>
                <a:lnTo>
                  <a:pt x="7" y="3"/>
                </a:lnTo>
                <a:lnTo>
                  <a:pt x="7" y="4"/>
                </a:lnTo>
                <a:lnTo>
                  <a:pt x="4" y="4"/>
                </a:lnTo>
                <a:lnTo>
                  <a:pt x="1" y="6"/>
                </a:lnTo>
                <a:lnTo>
                  <a:pt x="0" y="6"/>
                </a:lnTo>
                <a:lnTo>
                  <a:pt x="0" y="4"/>
                </a:lnTo>
                <a:lnTo>
                  <a:pt x="1" y="4"/>
                </a:lnTo>
                <a:lnTo>
                  <a:pt x="3" y="1"/>
                </a:lnTo>
                <a:lnTo>
                  <a:pt x="1" y="1"/>
                </a:lnTo>
                <a:lnTo>
                  <a:pt x="1" y="0"/>
                </a:lnTo>
                <a:lnTo>
                  <a:pt x="4" y="0"/>
                </a:lnTo>
                <a:lnTo>
                  <a:pt x="5" y="0"/>
                </a:lnTo>
                <a:lnTo>
                  <a:pt x="7" y="0"/>
                </a:lnTo>
                <a:lnTo>
                  <a:pt x="8" y="0"/>
                </a:lnTo>
                <a:lnTo>
                  <a:pt x="9" y="1"/>
                </a:lnTo>
                <a:lnTo>
                  <a:pt x="9" y="3"/>
                </a:lnTo>
                <a:lnTo>
                  <a:pt x="9" y="4"/>
                </a:lnTo>
                <a:lnTo>
                  <a:pt x="12" y="4"/>
                </a:lnTo>
                <a:lnTo>
                  <a:pt x="15" y="4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50" name="Freeform 249"/>
          <p:cNvSpPr>
            <a:spLocks/>
          </p:cNvSpPr>
          <p:nvPr/>
        </p:nvSpPr>
        <p:spPr bwMode="auto">
          <a:xfrm>
            <a:off x="1882033" y="2368462"/>
            <a:ext cx="25333" cy="30067"/>
          </a:xfrm>
          <a:custGeom>
            <a:avLst/>
            <a:gdLst/>
            <a:ahLst/>
            <a:cxnLst>
              <a:cxn ang="0">
                <a:pos x="7" y="13"/>
              </a:cxn>
              <a:cxn ang="0">
                <a:pos x="8" y="11"/>
              </a:cxn>
              <a:cxn ang="0">
                <a:pos x="9" y="11"/>
              </a:cxn>
              <a:cxn ang="0">
                <a:pos x="9" y="13"/>
              </a:cxn>
              <a:cxn ang="0">
                <a:pos x="9" y="14"/>
              </a:cxn>
              <a:cxn ang="0">
                <a:pos x="11" y="14"/>
              </a:cxn>
              <a:cxn ang="0">
                <a:pos x="12" y="14"/>
              </a:cxn>
              <a:cxn ang="0">
                <a:pos x="13" y="14"/>
              </a:cxn>
              <a:cxn ang="0">
                <a:pos x="13" y="13"/>
              </a:cxn>
              <a:cxn ang="0">
                <a:pos x="12" y="13"/>
              </a:cxn>
              <a:cxn ang="0">
                <a:pos x="12" y="11"/>
              </a:cxn>
              <a:cxn ang="0">
                <a:pos x="12" y="6"/>
              </a:cxn>
              <a:cxn ang="0">
                <a:pos x="11" y="3"/>
              </a:cxn>
              <a:cxn ang="0">
                <a:pos x="9" y="2"/>
              </a:cxn>
              <a:cxn ang="0">
                <a:pos x="8" y="0"/>
              </a:cxn>
              <a:cxn ang="0">
                <a:pos x="7" y="2"/>
              </a:cxn>
              <a:cxn ang="0">
                <a:pos x="5" y="2"/>
              </a:cxn>
              <a:cxn ang="0">
                <a:pos x="4" y="2"/>
              </a:cxn>
              <a:cxn ang="0">
                <a:pos x="3" y="3"/>
              </a:cxn>
              <a:cxn ang="0">
                <a:pos x="4" y="3"/>
              </a:cxn>
              <a:cxn ang="0">
                <a:pos x="3" y="5"/>
              </a:cxn>
              <a:cxn ang="0">
                <a:pos x="2" y="6"/>
              </a:cxn>
              <a:cxn ang="0">
                <a:pos x="2" y="8"/>
              </a:cxn>
              <a:cxn ang="0">
                <a:pos x="0" y="9"/>
              </a:cxn>
              <a:cxn ang="0">
                <a:pos x="2" y="11"/>
              </a:cxn>
              <a:cxn ang="0">
                <a:pos x="3" y="11"/>
              </a:cxn>
              <a:cxn ang="0">
                <a:pos x="4" y="11"/>
              </a:cxn>
              <a:cxn ang="0">
                <a:pos x="4" y="8"/>
              </a:cxn>
              <a:cxn ang="0">
                <a:pos x="5" y="9"/>
              </a:cxn>
              <a:cxn ang="0">
                <a:pos x="7" y="9"/>
              </a:cxn>
              <a:cxn ang="0">
                <a:pos x="7" y="8"/>
              </a:cxn>
              <a:cxn ang="0">
                <a:pos x="7" y="6"/>
              </a:cxn>
              <a:cxn ang="0">
                <a:pos x="8" y="8"/>
              </a:cxn>
              <a:cxn ang="0">
                <a:pos x="8" y="9"/>
              </a:cxn>
              <a:cxn ang="0">
                <a:pos x="8" y="11"/>
              </a:cxn>
              <a:cxn ang="0">
                <a:pos x="7" y="13"/>
              </a:cxn>
            </a:cxnLst>
            <a:rect l="0" t="0" r="r" b="b"/>
            <a:pathLst>
              <a:path w="13" h="14">
                <a:moveTo>
                  <a:pt x="7" y="13"/>
                </a:moveTo>
                <a:lnTo>
                  <a:pt x="8" y="11"/>
                </a:lnTo>
                <a:lnTo>
                  <a:pt x="9" y="11"/>
                </a:lnTo>
                <a:lnTo>
                  <a:pt x="9" y="13"/>
                </a:lnTo>
                <a:lnTo>
                  <a:pt x="9" y="14"/>
                </a:lnTo>
                <a:lnTo>
                  <a:pt x="11" y="14"/>
                </a:lnTo>
                <a:lnTo>
                  <a:pt x="12" y="14"/>
                </a:lnTo>
                <a:lnTo>
                  <a:pt x="13" y="14"/>
                </a:lnTo>
                <a:lnTo>
                  <a:pt x="13" y="13"/>
                </a:lnTo>
                <a:lnTo>
                  <a:pt x="12" y="13"/>
                </a:lnTo>
                <a:lnTo>
                  <a:pt x="12" y="11"/>
                </a:lnTo>
                <a:lnTo>
                  <a:pt x="12" y="6"/>
                </a:lnTo>
                <a:lnTo>
                  <a:pt x="11" y="3"/>
                </a:lnTo>
                <a:lnTo>
                  <a:pt x="9" y="2"/>
                </a:lnTo>
                <a:lnTo>
                  <a:pt x="8" y="0"/>
                </a:lnTo>
                <a:lnTo>
                  <a:pt x="7" y="2"/>
                </a:lnTo>
                <a:lnTo>
                  <a:pt x="5" y="2"/>
                </a:lnTo>
                <a:lnTo>
                  <a:pt x="4" y="2"/>
                </a:lnTo>
                <a:lnTo>
                  <a:pt x="3" y="3"/>
                </a:lnTo>
                <a:lnTo>
                  <a:pt x="4" y="3"/>
                </a:lnTo>
                <a:lnTo>
                  <a:pt x="3" y="5"/>
                </a:lnTo>
                <a:lnTo>
                  <a:pt x="2" y="6"/>
                </a:lnTo>
                <a:lnTo>
                  <a:pt x="2" y="8"/>
                </a:lnTo>
                <a:lnTo>
                  <a:pt x="0" y="9"/>
                </a:lnTo>
                <a:lnTo>
                  <a:pt x="2" y="11"/>
                </a:lnTo>
                <a:lnTo>
                  <a:pt x="3" y="11"/>
                </a:lnTo>
                <a:lnTo>
                  <a:pt x="4" y="11"/>
                </a:lnTo>
                <a:lnTo>
                  <a:pt x="4" y="8"/>
                </a:lnTo>
                <a:lnTo>
                  <a:pt x="5" y="9"/>
                </a:lnTo>
                <a:lnTo>
                  <a:pt x="7" y="9"/>
                </a:lnTo>
                <a:lnTo>
                  <a:pt x="7" y="8"/>
                </a:lnTo>
                <a:lnTo>
                  <a:pt x="7" y="6"/>
                </a:lnTo>
                <a:lnTo>
                  <a:pt x="8" y="8"/>
                </a:lnTo>
                <a:lnTo>
                  <a:pt x="8" y="9"/>
                </a:lnTo>
                <a:lnTo>
                  <a:pt x="8" y="11"/>
                </a:lnTo>
                <a:lnTo>
                  <a:pt x="7" y="13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51" name="Freeform 250"/>
          <p:cNvSpPr>
            <a:spLocks/>
          </p:cNvSpPr>
          <p:nvPr/>
        </p:nvSpPr>
        <p:spPr bwMode="auto">
          <a:xfrm>
            <a:off x="1882033" y="2368462"/>
            <a:ext cx="25333" cy="30067"/>
          </a:xfrm>
          <a:custGeom>
            <a:avLst/>
            <a:gdLst/>
            <a:ahLst/>
            <a:cxnLst>
              <a:cxn ang="0">
                <a:pos x="7" y="13"/>
              </a:cxn>
              <a:cxn ang="0">
                <a:pos x="8" y="11"/>
              </a:cxn>
              <a:cxn ang="0">
                <a:pos x="9" y="11"/>
              </a:cxn>
              <a:cxn ang="0">
                <a:pos x="9" y="13"/>
              </a:cxn>
              <a:cxn ang="0">
                <a:pos x="9" y="14"/>
              </a:cxn>
              <a:cxn ang="0">
                <a:pos x="11" y="14"/>
              </a:cxn>
              <a:cxn ang="0">
                <a:pos x="12" y="14"/>
              </a:cxn>
              <a:cxn ang="0">
                <a:pos x="13" y="14"/>
              </a:cxn>
              <a:cxn ang="0">
                <a:pos x="13" y="13"/>
              </a:cxn>
              <a:cxn ang="0">
                <a:pos x="12" y="13"/>
              </a:cxn>
              <a:cxn ang="0">
                <a:pos x="12" y="11"/>
              </a:cxn>
              <a:cxn ang="0">
                <a:pos x="12" y="6"/>
              </a:cxn>
              <a:cxn ang="0">
                <a:pos x="11" y="3"/>
              </a:cxn>
              <a:cxn ang="0">
                <a:pos x="9" y="2"/>
              </a:cxn>
              <a:cxn ang="0">
                <a:pos x="8" y="0"/>
              </a:cxn>
              <a:cxn ang="0">
                <a:pos x="7" y="2"/>
              </a:cxn>
              <a:cxn ang="0">
                <a:pos x="5" y="2"/>
              </a:cxn>
              <a:cxn ang="0">
                <a:pos x="4" y="2"/>
              </a:cxn>
              <a:cxn ang="0">
                <a:pos x="3" y="3"/>
              </a:cxn>
              <a:cxn ang="0">
                <a:pos x="4" y="3"/>
              </a:cxn>
              <a:cxn ang="0">
                <a:pos x="3" y="5"/>
              </a:cxn>
              <a:cxn ang="0">
                <a:pos x="2" y="6"/>
              </a:cxn>
              <a:cxn ang="0">
                <a:pos x="2" y="8"/>
              </a:cxn>
              <a:cxn ang="0">
                <a:pos x="0" y="9"/>
              </a:cxn>
              <a:cxn ang="0">
                <a:pos x="2" y="11"/>
              </a:cxn>
              <a:cxn ang="0">
                <a:pos x="3" y="11"/>
              </a:cxn>
              <a:cxn ang="0">
                <a:pos x="4" y="11"/>
              </a:cxn>
              <a:cxn ang="0">
                <a:pos x="4" y="8"/>
              </a:cxn>
              <a:cxn ang="0">
                <a:pos x="5" y="9"/>
              </a:cxn>
              <a:cxn ang="0">
                <a:pos x="7" y="9"/>
              </a:cxn>
              <a:cxn ang="0">
                <a:pos x="7" y="8"/>
              </a:cxn>
              <a:cxn ang="0">
                <a:pos x="7" y="6"/>
              </a:cxn>
              <a:cxn ang="0">
                <a:pos x="8" y="8"/>
              </a:cxn>
              <a:cxn ang="0">
                <a:pos x="8" y="9"/>
              </a:cxn>
              <a:cxn ang="0">
                <a:pos x="8" y="11"/>
              </a:cxn>
              <a:cxn ang="0">
                <a:pos x="7" y="13"/>
              </a:cxn>
            </a:cxnLst>
            <a:rect l="0" t="0" r="r" b="b"/>
            <a:pathLst>
              <a:path w="13" h="14">
                <a:moveTo>
                  <a:pt x="7" y="13"/>
                </a:moveTo>
                <a:lnTo>
                  <a:pt x="8" y="11"/>
                </a:lnTo>
                <a:lnTo>
                  <a:pt x="9" y="11"/>
                </a:lnTo>
                <a:lnTo>
                  <a:pt x="9" y="13"/>
                </a:lnTo>
                <a:lnTo>
                  <a:pt x="9" y="14"/>
                </a:lnTo>
                <a:lnTo>
                  <a:pt x="11" y="14"/>
                </a:lnTo>
                <a:lnTo>
                  <a:pt x="12" y="14"/>
                </a:lnTo>
                <a:lnTo>
                  <a:pt x="13" y="14"/>
                </a:lnTo>
                <a:lnTo>
                  <a:pt x="13" y="13"/>
                </a:lnTo>
                <a:lnTo>
                  <a:pt x="12" y="13"/>
                </a:lnTo>
                <a:lnTo>
                  <a:pt x="12" y="11"/>
                </a:lnTo>
                <a:lnTo>
                  <a:pt x="12" y="6"/>
                </a:lnTo>
                <a:lnTo>
                  <a:pt x="11" y="3"/>
                </a:lnTo>
                <a:lnTo>
                  <a:pt x="9" y="2"/>
                </a:lnTo>
                <a:lnTo>
                  <a:pt x="8" y="0"/>
                </a:lnTo>
                <a:lnTo>
                  <a:pt x="7" y="2"/>
                </a:lnTo>
                <a:lnTo>
                  <a:pt x="5" y="2"/>
                </a:lnTo>
                <a:lnTo>
                  <a:pt x="4" y="2"/>
                </a:lnTo>
                <a:lnTo>
                  <a:pt x="3" y="3"/>
                </a:lnTo>
                <a:lnTo>
                  <a:pt x="4" y="3"/>
                </a:lnTo>
                <a:lnTo>
                  <a:pt x="3" y="5"/>
                </a:lnTo>
                <a:lnTo>
                  <a:pt x="2" y="6"/>
                </a:lnTo>
                <a:lnTo>
                  <a:pt x="2" y="8"/>
                </a:lnTo>
                <a:lnTo>
                  <a:pt x="0" y="9"/>
                </a:lnTo>
                <a:lnTo>
                  <a:pt x="2" y="11"/>
                </a:lnTo>
                <a:lnTo>
                  <a:pt x="3" y="11"/>
                </a:lnTo>
                <a:lnTo>
                  <a:pt x="4" y="11"/>
                </a:lnTo>
                <a:lnTo>
                  <a:pt x="4" y="8"/>
                </a:lnTo>
                <a:lnTo>
                  <a:pt x="5" y="9"/>
                </a:lnTo>
                <a:lnTo>
                  <a:pt x="7" y="9"/>
                </a:lnTo>
                <a:lnTo>
                  <a:pt x="7" y="8"/>
                </a:lnTo>
                <a:lnTo>
                  <a:pt x="7" y="6"/>
                </a:lnTo>
                <a:lnTo>
                  <a:pt x="8" y="8"/>
                </a:lnTo>
                <a:lnTo>
                  <a:pt x="8" y="9"/>
                </a:lnTo>
                <a:lnTo>
                  <a:pt x="8" y="11"/>
                </a:lnTo>
                <a:lnTo>
                  <a:pt x="7" y="13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52" name="Freeform 251"/>
          <p:cNvSpPr>
            <a:spLocks/>
          </p:cNvSpPr>
          <p:nvPr/>
        </p:nvSpPr>
        <p:spPr bwMode="auto">
          <a:xfrm>
            <a:off x="1841106" y="2394232"/>
            <a:ext cx="15591" cy="17181"/>
          </a:xfrm>
          <a:custGeom>
            <a:avLst/>
            <a:gdLst/>
            <a:ahLst/>
            <a:cxnLst>
              <a:cxn ang="0">
                <a:pos x="3" y="4"/>
              </a:cxn>
              <a:cxn ang="0">
                <a:pos x="4" y="4"/>
              </a:cxn>
              <a:cxn ang="0">
                <a:pos x="7" y="9"/>
              </a:cxn>
              <a:cxn ang="0">
                <a:pos x="5" y="9"/>
              </a:cxn>
              <a:cxn ang="0">
                <a:pos x="4" y="7"/>
              </a:cxn>
              <a:cxn ang="0">
                <a:pos x="3" y="6"/>
              </a:cxn>
              <a:cxn ang="0">
                <a:pos x="0" y="4"/>
              </a:cxn>
              <a:cxn ang="0">
                <a:pos x="0" y="3"/>
              </a:cxn>
              <a:cxn ang="0">
                <a:pos x="0" y="1"/>
              </a:cxn>
              <a:cxn ang="0">
                <a:pos x="0" y="0"/>
              </a:cxn>
              <a:cxn ang="0">
                <a:pos x="1" y="1"/>
              </a:cxn>
              <a:cxn ang="0">
                <a:pos x="3" y="3"/>
              </a:cxn>
              <a:cxn ang="0">
                <a:pos x="3" y="4"/>
              </a:cxn>
            </a:cxnLst>
            <a:rect l="0" t="0" r="r" b="b"/>
            <a:pathLst>
              <a:path w="7" h="9">
                <a:moveTo>
                  <a:pt x="3" y="4"/>
                </a:moveTo>
                <a:lnTo>
                  <a:pt x="4" y="4"/>
                </a:lnTo>
                <a:lnTo>
                  <a:pt x="7" y="9"/>
                </a:lnTo>
                <a:lnTo>
                  <a:pt x="5" y="9"/>
                </a:lnTo>
                <a:lnTo>
                  <a:pt x="4" y="7"/>
                </a:lnTo>
                <a:lnTo>
                  <a:pt x="3" y="6"/>
                </a:lnTo>
                <a:lnTo>
                  <a:pt x="0" y="4"/>
                </a:lnTo>
                <a:lnTo>
                  <a:pt x="0" y="3"/>
                </a:lnTo>
                <a:lnTo>
                  <a:pt x="0" y="1"/>
                </a:lnTo>
                <a:lnTo>
                  <a:pt x="0" y="0"/>
                </a:lnTo>
                <a:lnTo>
                  <a:pt x="1" y="1"/>
                </a:lnTo>
                <a:lnTo>
                  <a:pt x="3" y="3"/>
                </a:lnTo>
                <a:lnTo>
                  <a:pt x="3" y="4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53" name="Freeform 252"/>
          <p:cNvSpPr>
            <a:spLocks/>
          </p:cNvSpPr>
          <p:nvPr/>
        </p:nvSpPr>
        <p:spPr bwMode="auto">
          <a:xfrm>
            <a:off x="1841106" y="2394232"/>
            <a:ext cx="15591" cy="17181"/>
          </a:xfrm>
          <a:custGeom>
            <a:avLst/>
            <a:gdLst/>
            <a:ahLst/>
            <a:cxnLst>
              <a:cxn ang="0">
                <a:pos x="3" y="4"/>
              </a:cxn>
              <a:cxn ang="0">
                <a:pos x="4" y="4"/>
              </a:cxn>
              <a:cxn ang="0">
                <a:pos x="7" y="9"/>
              </a:cxn>
              <a:cxn ang="0">
                <a:pos x="5" y="9"/>
              </a:cxn>
              <a:cxn ang="0">
                <a:pos x="4" y="7"/>
              </a:cxn>
              <a:cxn ang="0">
                <a:pos x="3" y="6"/>
              </a:cxn>
              <a:cxn ang="0">
                <a:pos x="0" y="4"/>
              </a:cxn>
              <a:cxn ang="0">
                <a:pos x="0" y="3"/>
              </a:cxn>
              <a:cxn ang="0">
                <a:pos x="0" y="1"/>
              </a:cxn>
              <a:cxn ang="0">
                <a:pos x="0" y="0"/>
              </a:cxn>
              <a:cxn ang="0">
                <a:pos x="1" y="1"/>
              </a:cxn>
              <a:cxn ang="0">
                <a:pos x="3" y="3"/>
              </a:cxn>
              <a:cxn ang="0">
                <a:pos x="3" y="4"/>
              </a:cxn>
            </a:cxnLst>
            <a:rect l="0" t="0" r="r" b="b"/>
            <a:pathLst>
              <a:path w="7" h="9">
                <a:moveTo>
                  <a:pt x="3" y="4"/>
                </a:moveTo>
                <a:lnTo>
                  <a:pt x="4" y="4"/>
                </a:lnTo>
                <a:lnTo>
                  <a:pt x="7" y="9"/>
                </a:lnTo>
                <a:lnTo>
                  <a:pt x="5" y="9"/>
                </a:lnTo>
                <a:lnTo>
                  <a:pt x="4" y="7"/>
                </a:lnTo>
                <a:lnTo>
                  <a:pt x="3" y="6"/>
                </a:lnTo>
                <a:lnTo>
                  <a:pt x="0" y="4"/>
                </a:lnTo>
                <a:lnTo>
                  <a:pt x="0" y="3"/>
                </a:lnTo>
                <a:lnTo>
                  <a:pt x="0" y="1"/>
                </a:lnTo>
                <a:lnTo>
                  <a:pt x="0" y="0"/>
                </a:lnTo>
                <a:lnTo>
                  <a:pt x="1" y="1"/>
                </a:lnTo>
                <a:lnTo>
                  <a:pt x="3" y="3"/>
                </a:lnTo>
                <a:lnTo>
                  <a:pt x="3" y="4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54" name="Freeform 253"/>
          <p:cNvSpPr>
            <a:spLocks/>
          </p:cNvSpPr>
          <p:nvPr/>
        </p:nvSpPr>
        <p:spPr bwMode="auto">
          <a:xfrm>
            <a:off x="1887877" y="2394232"/>
            <a:ext cx="7795" cy="85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1"/>
              </a:cxn>
              <a:cxn ang="0">
                <a:pos x="4" y="4"/>
              </a:cxn>
              <a:cxn ang="0">
                <a:pos x="2" y="4"/>
              </a:cxn>
              <a:cxn ang="0">
                <a:pos x="1" y="1"/>
              </a:cxn>
              <a:cxn ang="0">
                <a:pos x="1" y="0"/>
              </a:cxn>
              <a:cxn ang="0">
                <a:pos x="0" y="0"/>
              </a:cxn>
            </a:cxnLst>
            <a:rect l="0" t="0" r="r" b="b"/>
            <a:pathLst>
              <a:path w="4" h="4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2" y="4"/>
                </a:lnTo>
                <a:lnTo>
                  <a:pt x="1" y="1"/>
                </a:lnTo>
                <a:lnTo>
                  <a:pt x="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55" name="Freeform 254"/>
          <p:cNvSpPr>
            <a:spLocks/>
          </p:cNvSpPr>
          <p:nvPr/>
        </p:nvSpPr>
        <p:spPr bwMode="auto">
          <a:xfrm>
            <a:off x="1887877" y="2394232"/>
            <a:ext cx="7795" cy="85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1"/>
              </a:cxn>
              <a:cxn ang="0">
                <a:pos x="4" y="4"/>
              </a:cxn>
              <a:cxn ang="0">
                <a:pos x="2" y="4"/>
              </a:cxn>
              <a:cxn ang="0">
                <a:pos x="1" y="1"/>
              </a:cxn>
              <a:cxn ang="0">
                <a:pos x="1" y="0"/>
              </a:cxn>
              <a:cxn ang="0">
                <a:pos x="0" y="0"/>
              </a:cxn>
            </a:cxnLst>
            <a:rect l="0" t="0" r="r" b="b"/>
            <a:pathLst>
              <a:path w="4" h="4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2" y="4"/>
                </a:lnTo>
                <a:lnTo>
                  <a:pt x="1" y="1"/>
                </a:lnTo>
                <a:lnTo>
                  <a:pt x="1" y="0"/>
                </a:lnTo>
                <a:lnTo>
                  <a:pt x="0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56" name="Freeform 255"/>
          <p:cNvSpPr>
            <a:spLocks/>
          </p:cNvSpPr>
          <p:nvPr/>
        </p:nvSpPr>
        <p:spPr bwMode="auto">
          <a:xfrm>
            <a:off x="927112" y="2400676"/>
            <a:ext cx="52617" cy="23624"/>
          </a:xfrm>
          <a:custGeom>
            <a:avLst/>
            <a:gdLst/>
            <a:ahLst/>
            <a:cxnLst>
              <a:cxn ang="0">
                <a:pos x="0" y="8"/>
              </a:cxn>
              <a:cxn ang="0">
                <a:pos x="2" y="6"/>
              </a:cxn>
              <a:cxn ang="0">
                <a:pos x="6" y="4"/>
              </a:cxn>
              <a:cxn ang="0">
                <a:pos x="7" y="1"/>
              </a:cxn>
              <a:cxn ang="0">
                <a:pos x="11" y="1"/>
              </a:cxn>
              <a:cxn ang="0">
                <a:pos x="14" y="1"/>
              </a:cxn>
              <a:cxn ang="0">
                <a:pos x="19" y="0"/>
              </a:cxn>
              <a:cxn ang="0">
                <a:pos x="20" y="0"/>
              </a:cxn>
              <a:cxn ang="0">
                <a:pos x="23" y="4"/>
              </a:cxn>
              <a:cxn ang="0">
                <a:pos x="24" y="4"/>
              </a:cxn>
              <a:cxn ang="0">
                <a:pos x="26" y="4"/>
              </a:cxn>
              <a:cxn ang="0">
                <a:pos x="27" y="6"/>
              </a:cxn>
              <a:cxn ang="0">
                <a:pos x="26" y="6"/>
              </a:cxn>
              <a:cxn ang="0">
                <a:pos x="24" y="6"/>
              </a:cxn>
              <a:cxn ang="0">
                <a:pos x="22" y="8"/>
              </a:cxn>
              <a:cxn ang="0">
                <a:pos x="19" y="8"/>
              </a:cxn>
              <a:cxn ang="0">
                <a:pos x="12" y="8"/>
              </a:cxn>
              <a:cxn ang="0">
                <a:pos x="6" y="12"/>
              </a:cxn>
              <a:cxn ang="0">
                <a:pos x="2" y="11"/>
              </a:cxn>
              <a:cxn ang="0">
                <a:pos x="0" y="8"/>
              </a:cxn>
            </a:cxnLst>
            <a:rect l="0" t="0" r="r" b="b"/>
            <a:pathLst>
              <a:path w="27" h="12">
                <a:moveTo>
                  <a:pt x="0" y="8"/>
                </a:moveTo>
                <a:lnTo>
                  <a:pt x="2" y="6"/>
                </a:lnTo>
                <a:lnTo>
                  <a:pt x="6" y="4"/>
                </a:lnTo>
                <a:lnTo>
                  <a:pt x="7" y="1"/>
                </a:lnTo>
                <a:lnTo>
                  <a:pt x="11" y="1"/>
                </a:lnTo>
                <a:lnTo>
                  <a:pt x="14" y="1"/>
                </a:lnTo>
                <a:lnTo>
                  <a:pt x="19" y="0"/>
                </a:lnTo>
                <a:lnTo>
                  <a:pt x="20" y="0"/>
                </a:lnTo>
                <a:lnTo>
                  <a:pt x="23" y="4"/>
                </a:lnTo>
                <a:lnTo>
                  <a:pt x="24" y="4"/>
                </a:lnTo>
                <a:lnTo>
                  <a:pt x="26" y="4"/>
                </a:lnTo>
                <a:lnTo>
                  <a:pt x="27" y="6"/>
                </a:lnTo>
                <a:lnTo>
                  <a:pt x="26" y="6"/>
                </a:lnTo>
                <a:lnTo>
                  <a:pt x="24" y="6"/>
                </a:lnTo>
                <a:lnTo>
                  <a:pt x="22" y="8"/>
                </a:lnTo>
                <a:lnTo>
                  <a:pt x="19" y="8"/>
                </a:lnTo>
                <a:lnTo>
                  <a:pt x="12" y="8"/>
                </a:lnTo>
                <a:lnTo>
                  <a:pt x="6" y="12"/>
                </a:lnTo>
                <a:lnTo>
                  <a:pt x="2" y="11"/>
                </a:lnTo>
                <a:lnTo>
                  <a:pt x="0" y="8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57" name="Freeform 256"/>
          <p:cNvSpPr>
            <a:spLocks/>
          </p:cNvSpPr>
          <p:nvPr/>
        </p:nvSpPr>
        <p:spPr bwMode="auto">
          <a:xfrm>
            <a:off x="927112" y="2400676"/>
            <a:ext cx="52617" cy="23624"/>
          </a:xfrm>
          <a:custGeom>
            <a:avLst/>
            <a:gdLst/>
            <a:ahLst/>
            <a:cxnLst>
              <a:cxn ang="0">
                <a:pos x="0" y="8"/>
              </a:cxn>
              <a:cxn ang="0">
                <a:pos x="2" y="6"/>
              </a:cxn>
              <a:cxn ang="0">
                <a:pos x="6" y="4"/>
              </a:cxn>
              <a:cxn ang="0">
                <a:pos x="7" y="1"/>
              </a:cxn>
              <a:cxn ang="0">
                <a:pos x="11" y="1"/>
              </a:cxn>
              <a:cxn ang="0">
                <a:pos x="14" y="1"/>
              </a:cxn>
              <a:cxn ang="0">
                <a:pos x="19" y="0"/>
              </a:cxn>
              <a:cxn ang="0">
                <a:pos x="20" y="0"/>
              </a:cxn>
              <a:cxn ang="0">
                <a:pos x="23" y="4"/>
              </a:cxn>
              <a:cxn ang="0">
                <a:pos x="24" y="4"/>
              </a:cxn>
              <a:cxn ang="0">
                <a:pos x="26" y="4"/>
              </a:cxn>
              <a:cxn ang="0">
                <a:pos x="27" y="6"/>
              </a:cxn>
              <a:cxn ang="0">
                <a:pos x="26" y="6"/>
              </a:cxn>
              <a:cxn ang="0">
                <a:pos x="24" y="6"/>
              </a:cxn>
              <a:cxn ang="0">
                <a:pos x="22" y="8"/>
              </a:cxn>
              <a:cxn ang="0">
                <a:pos x="19" y="8"/>
              </a:cxn>
              <a:cxn ang="0">
                <a:pos x="12" y="8"/>
              </a:cxn>
              <a:cxn ang="0">
                <a:pos x="6" y="12"/>
              </a:cxn>
              <a:cxn ang="0">
                <a:pos x="2" y="11"/>
              </a:cxn>
              <a:cxn ang="0">
                <a:pos x="0" y="8"/>
              </a:cxn>
            </a:cxnLst>
            <a:rect l="0" t="0" r="r" b="b"/>
            <a:pathLst>
              <a:path w="27" h="12">
                <a:moveTo>
                  <a:pt x="0" y="8"/>
                </a:moveTo>
                <a:lnTo>
                  <a:pt x="2" y="6"/>
                </a:lnTo>
                <a:lnTo>
                  <a:pt x="6" y="4"/>
                </a:lnTo>
                <a:lnTo>
                  <a:pt x="7" y="1"/>
                </a:lnTo>
                <a:lnTo>
                  <a:pt x="11" y="1"/>
                </a:lnTo>
                <a:lnTo>
                  <a:pt x="14" y="1"/>
                </a:lnTo>
                <a:lnTo>
                  <a:pt x="19" y="0"/>
                </a:lnTo>
                <a:lnTo>
                  <a:pt x="20" y="0"/>
                </a:lnTo>
                <a:lnTo>
                  <a:pt x="23" y="4"/>
                </a:lnTo>
                <a:lnTo>
                  <a:pt x="24" y="4"/>
                </a:lnTo>
                <a:lnTo>
                  <a:pt x="26" y="4"/>
                </a:lnTo>
                <a:lnTo>
                  <a:pt x="27" y="6"/>
                </a:lnTo>
                <a:lnTo>
                  <a:pt x="26" y="6"/>
                </a:lnTo>
                <a:lnTo>
                  <a:pt x="24" y="6"/>
                </a:lnTo>
                <a:lnTo>
                  <a:pt x="22" y="8"/>
                </a:lnTo>
                <a:lnTo>
                  <a:pt x="19" y="8"/>
                </a:lnTo>
                <a:lnTo>
                  <a:pt x="12" y="8"/>
                </a:lnTo>
                <a:lnTo>
                  <a:pt x="6" y="12"/>
                </a:lnTo>
                <a:lnTo>
                  <a:pt x="2" y="11"/>
                </a:lnTo>
                <a:lnTo>
                  <a:pt x="0" y="8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58" name="Freeform 257"/>
          <p:cNvSpPr>
            <a:spLocks/>
          </p:cNvSpPr>
          <p:nvPr/>
        </p:nvSpPr>
        <p:spPr bwMode="auto">
          <a:xfrm>
            <a:off x="987526" y="2422150"/>
            <a:ext cx="5847" cy="214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3" y="0"/>
              </a:cxn>
              <a:cxn ang="0">
                <a:pos x="3" y="1"/>
              </a:cxn>
              <a:cxn ang="0">
                <a:pos x="2" y="1"/>
              </a:cxn>
              <a:cxn ang="0">
                <a:pos x="0" y="0"/>
              </a:cxn>
            </a:cxnLst>
            <a:rect l="0" t="0" r="r" b="b"/>
            <a:pathLst>
              <a:path w="3" h="1">
                <a:moveTo>
                  <a:pt x="0" y="0"/>
                </a:moveTo>
                <a:lnTo>
                  <a:pt x="2" y="0"/>
                </a:lnTo>
                <a:lnTo>
                  <a:pt x="3" y="0"/>
                </a:lnTo>
                <a:lnTo>
                  <a:pt x="3" y="1"/>
                </a:lnTo>
                <a:lnTo>
                  <a:pt x="2" y="1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59" name="Freeform 258"/>
          <p:cNvSpPr>
            <a:spLocks/>
          </p:cNvSpPr>
          <p:nvPr/>
        </p:nvSpPr>
        <p:spPr bwMode="auto">
          <a:xfrm>
            <a:off x="987526" y="2422150"/>
            <a:ext cx="5847" cy="214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3" y="0"/>
              </a:cxn>
              <a:cxn ang="0">
                <a:pos x="3" y="1"/>
              </a:cxn>
              <a:cxn ang="0">
                <a:pos x="2" y="1"/>
              </a:cxn>
              <a:cxn ang="0">
                <a:pos x="0" y="0"/>
              </a:cxn>
            </a:cxnLst>
            <a:rect l="0" t="0" r="r" b="b"/>
            <a:pathLst>
              <a:path w="3" h="1">
                <a:moveTo>
                  <a:pt x="0" y="0"/>
                </a:moveTo>
                <a:lnTo>
                  <a:pt x="2" y="0"/>
                </a:lnTo>
                <a:lnTo>
                  <a:pt x="3" y="0"/>
                </a:lnTo>
                <a:lnTo>
                  <a:pt x="3" y="1"/>
                </a:lnTo>
                <a:lnTo>
                  <a:pt x="2" y="1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60" name="Freeform 259"/>
          <p:cNvSpPr>
            <a:spLocks/>
          </p:cNvSpPr>
          <p:nvPr/>
        </p:nvSpPr>
        <p:spPr bwMode="auto">
          <a:xfrm>
            <a:off x="1047940" y="2387789"/>
            <a:ext cx="5846" cy="10739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1" y="0"/>
              </a:cxn>
              <a:cxn ang="0">
                <a:pos x="1" y="2"/>
              </a:cxn>
              <a:cxn ang="0">
                <a:pos x="2" y="2"/>
              </a:cxn>
              <a:cxn ang="0">
                <a:pos x="2" y="0"/>
              </a:cxn>
              <a:cxn ang="0">
                <a:pos x="4" y="2"/>
              </a:cxn>
              <a:cxn ang="0">
                <a:pos x="4" y="4"/>
              </a:cxn>
              <a:cxn ang="0">
                <a:pos x="4" y="5"/>
              </a:cxn>
              <a:cxn ang="0">
                <a:pos x="2" y="4"/>
              </a:cxn>
              <a:cxn ang="0">
                <a:pos x="0" y="5"/>
              </a:cxn>
              <a:cxn ang="0">
                <a:pos x="0" y="0"/>
              </a:cxn>
              <a:cxn ang="0">
                <a:pos x="0" y="2"/>
              </a:cxn>
              <a:cxn ang="0">
                <a:pos x="1" y="2"/>
              </a:cxn>
              <a:cxn ang="0">
                <a:pos x="2" y="2"/>
              </a:cxn>
            </a:cxnLst>
            <a:rect l="0" t="0" r="r" b="b"/>
            <a:pathLst>
              <a:path w="4" h="5">
                <a:moveTo>
                  <a:pt x="2" y="2"/>
                </a:moveTo>
                <a:lnTo>
                  <a:pt x="1" y="0"/>
                </a:lnTo>
                <a:lnTo>
                  <a:pt x="1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4"/>
                </a:lnTo>
                <a:lnTo>
                  <a:pt x="4" y="5"/>
                </a:lnTo>
                <a:lnTo>
                  <a:pt x="2" y="4"/>
                </a:lnTo>
                <a:lnTo>
                  <a:pt x="0" y="5"/>
                </a:lnTo>
                <a:lnTo>
                  <a:pt x="0" y="0"/>
                </a:lnTo>
                <a:lnTo>
                  <a:pt x="0" y="2"/>
                </a:lnTo>
                <a:lnTo>
                  <a:pt x="1" y="2"/>
                </a:lnTo>
                <a:lnTo>
                  <a:pt x="2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61" name="Freeform 260"/>
          <p:cNvSpPr>
            <a:spLocks/>
          </p:cNvSpPr>
          <p:nvPr/>
        </p:nvSpPr>
        <p:spPr bwMode="auto">
          <a:xfrm>
            <a:off x="1047940" y="2387789"/>
            <a:ext cx="5846" cy="10739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1" y="0"/>
              </a:cxn>
              <a:cxn ang="0">
                <a:pos x="1" y="2"/>
              </a:cxn>
              <a:cxn ang="0">
                <a:pos x="2" y="2"/>
              </a:cxn>
              <a:cxn ang="0">
                <a:pos x="2" y="0"/>
              </a:cxn>
              <a:cxn ang="0">
                <a:pos x="4" y="2"/>
              </a:cxn>
              <a:cxn ang="0">
                <a:pos x="4" y="4"/>
              </a:cxn>
              <a:cxn ang="0">
                <a:pos x="4" y="5"/>
              </a:cxn>
              <a:cxn ang="0">
                <a:pos x="2" y="4"/>
              </a:cxn>
              <a:cxn ang="0">
                <a:pos x="0" y="5"/>
              </a:cxn>
              <a:cxn ang="0">
                <a:pos x="0" y="0"/>
              </a:cxn>
              <a:cxn ang="0">
                <a:pos x="0" y="2"/>
              </a:cxn>
              <a:cxn ang="0">
                <a:pos x="1" y="2"/>
              </a:cxn>
              <a:cxn ang="0">
                <a:pos x="2" y="2"/>
              </a:cxn>
            </a:cxnLst>
            <a:rect l="0" t="0" r="r" b="b"/>
            <a:pathLst>
              <a:path w="4" h="5">
                <a:moveTo>
                  <a:pt x="2" y="2"/>
                </a:moveTo>
                <a:lnTo>
                  <a:pt x="1" y="0"/>
                </a:lnTo>
                <a:lnTo>
                  <a:pt x="1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4"/>
                </a:lnTo>
                <a:lnTo>
                  <a:pt x="4" y="5"/>
                </a:lnTo>
                <a:lnTo>
                  <a:pt x="2" y="4"/>
                </a:lnTo>
                <a:lnTo>
                  <a:pt x="0" y="5"/>
                </a:lnTo>
                <a:lnTo>
                  <a:pt x="0" y="0"/>
                </a:lnTo>
                <a:lnTo>
                  <a:pt x="0" y="2"/>
                </a:lnTo>
                <a:lnTo>
                  <a:pt x="1" y="2"/>
                </a:lnTo>
                <a:lnTo>
                  <a:pt x="2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62" name="Freeform 261"/>
          <p:cNvSpPr>
            <a:spLocks/>
          </p:cNvSpPr>
          <p:nvPr/>
        </p:nvSpPr>
        <p:spPr bwMode="auto">
          <a:xfrm>
            <a:off x="1112250" y="2357723"/>
            <a:ext cx="5847" cy="85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3" y="0"/>
              </a:cxn>
              <a:cxn ang="0">
                <a:pos x="3" y="1"/>
              </a:cxn>
              <a:cxn ang="0">
                <a:pos x="2" y="4"/>
              </a:cxn>
              <a:cxn ang="0">
                <a:pos x="0" y="4"/>
              </a:cxn>
              <a:cxn ang="0">
                <a:pos x="0" y="1"/>
              </a:cxn>
              <a:cxn ang="0">
                <a:pos x="0" y="0"/>
              </a:cxn>
            </a:cxnLst>
            <a:rect l="0" t="0" r="r" b="b"/>
            <a:pathLst>
              <a:path w="3" h="4">
                <a:moveTo>
                  <a:pt x="0" y="0"/>
                </a:moveTo>
                <a:lnTo>
                  <a:pt x="2" y="0"/>
                </a:lnTo>
                <a:lnTo>
                  <a:pt x="3" y="0"/>
                </a:lnTo>
                <a:lnTo>
                  <a:pt x="3" y="1"/>
                </a:lnTo>
                <a:lnTo>
                  <a:pt x="2" y="4"/>
                </a:lnTo>
                <a:lnTo>
                  <a:pt x="0" y="4"/>
                </a:ln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63" name="Freeform 262"/>
          <p:cNvSpPr>
            <a:spLocks/>
          </p:cNvSpPr>
          <p:nvPr/>
        </p:nvSpPr>
        <p:spPr bwMode="auto">
          <a:xfrm>
            <a:off x="1112250" y="2357723"/>
            <a:ext cx="5847" cy="85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3" y="0"/>
              </a:cxn>
              <a:cxn ang="0">
                <a:pos x="3" y="1"/>
              </a:cxn>
              <a:cxn ang="0">
                <a:pos x="2" y="4"/>
              </a:cxn>
              <a:cxn ang="0">
                <a:pos x="0" y="4"/>
              </a:cxn>
              <a:cxn ang="0">
                <a:pos x="0" y="1"/>
              </a:cxn>
              <a:cxn ang="0">
                <a:pos x="0" y="0"/>
              </a:cxn>
            </a:cxnLst>
            <a:rect l="0" t="0" r="r" b="b"/>
            <a:pathLst>
              <a:path w="3" h="4">
                <a:moveTo>
                  <a:pt x="0" y="0"/>
                </a:moveTo>
                <a:lnTo>
                  <a:pt x="2" y="0"/>
                </a:lnTo>
                <a:lnTo>
                  <a:pt x="3" y="0"/>
                </a:lnTo>
                <a:lnTo>
                  <a:pt x="3" y="1"/>
                </a:lnTo>
                <a:lnTo>
                  <a:pt x="2" y="4"/>
                </a:lnTo>
                <a:lnTo>
                  <a:pt x="0" y="4"/>
                </a:lnTo>
                <a:lnTo>
                  <a:pt x="0" y="1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64" name="Freeform 263"/>
          <p:cNvSpPr>
            <a:spLocks/>
          </p:cNvSpPr>
          <p:nvPr/>
        </p:nvSpPr>
        <p:spPr bwMode="auto">
          <a:xfrm>
            <a:off x="1260359" y="2325508"/>
            <a:ext cx="15591" cy="6443"/>
          </a:xfrm>
          <a:custGeom>
            <a:avLst/>
            <a:gdLst/>
            <a:ahLst/>
            <a:cxnLst>
              <a:cxn ang="0">
                <a:pos x="4" y="2"/>
              </a:cxn>
              <a:cxn ang="0">
                <a:pos x="2" y="3"/>
              </a:cxn>
              <a:cxn ang="0">
                <a:pos x="0" y="2"/>
              </a:cxn>
              <a:cxn ang="0">
                <a:pos x="2" y="0"/>
              </a:cxn>
              <a:cxn ang="0">
                <a:pos x="3" y="0"/>
              </a:cxn>
              <a:cxn ang="0">
                <a:pos x="4" y="0"/>
              </a:cxn>
              <a:cxn ang="0">
                <a:pos x="8" y="0"/>
              </a:cxn>
              <a:cxn ang="0">
                <a:pos x="4" y="2"/>
              </a:cxn>
            </a:cxnLst>
            <a:rect l="0" t="0" r="r" b="b"/>
            <a:pathLst>
              <a:path w="8" h="3">
                <a:moveTo>
                  <a:pt x="4" y="2"/>
                </a:moveTo>
                <a:lnTo>
                  <a:pt x="2" y="3"/>
                </a:lnTo>
                <a:lnTo>
                  <a:pt x="0" y="2"/>
                </a:lnTo>
                <a:lnTo>
                  <a:pt x="2" y="0"/>
                </a:lnTo>
                <a:lnTo>
                  <a:pt x="3" y="0"/>
                </a:lnTo>
                <a:lnTo>
                  <a:pt x="4" y="0"/>
                </a:lnTo>
                <a:lnTo>
                  <a:pt x="8" y="0"/>
                </a:lnTo>
                <a:lnTo>
                  <a:pt x="4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65" name="Freeform 264"/>
          <p:cNvSpPr>
            <a:spLocks/>
          </p:cNvSpPr>
          <p:nvPr/>
        </p:nvSpPr>
        <p:spPr bwMode="auto">
          <a:xfrm>
            <a:off x="1260359" y="2325508"/>
            <a:ext cx="15591" cy="6443"/>
          </a:xfrm>
          <a:custGeom>
            <a:avLst/>
            <a:gdLst/>
            <a:ahLst/>
            <a:cxnLst>
              <a:cxn ang="0">
                <a:pos x="4" y="2"/>
              </a:cxn>
              <a:cxn ang="0">
                <a:pos x="2" y="3"/>
              </a:cxn>
              <a:cxn ang="0">
                <a:pos x="0" y="2"/>
              </a:cxn>
              <a:cxn ang="0">
                <a:pos x="2" y="0"/>
              </a:cxn>
              <a:cxn ang="0">
                <a:pos x="3" y="0"/>
              </a:cxn>
              <a:cxn ang="0">
                <a:pos x="4" y="0"/>
              </a:cxn>
              <a:cxn ang="0">
                <a:pos x="8" y="0"/>
              </a:cxn>
              <a:cxn ang="0">
                <a:pos x="4" y="2"/>
              </a:cxn>
            </a:cxnLst>
            <a:rect l="0" t="0" r="r" b="b"/>
            <a:pathLst>
              <a:path w="8" h="3">
                <a:moveTo>
                  <a:pt x="4" y="2"/>
                </a:moveTo>
                <a:lnTo>
                  <a:pt x="2" y="3"/>
                </a:lnTo>
                <a:lnTo>
                  <a:pt x="0" y="2"/>
                </a:lnTo>
                <a:lnTo>
                  <a:pt x="2" y="0"/>
                </a:lnTo>
                <a:lnTo>
                  <a:pt x="3" y="0"/>
                </a:lnTo>
                <a:lnTo>
                  <a:pt x="4" y="0"/>
                </a:lnTo>
                <a:lnTo>
                  <a:pt x="8" y="0"/>
                </a:lnTo>
                <a:lnTo>
                  <a:pt x="4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66" name="Freeform 265"/>
          <p:cNvSpPr>
            <a:spLocks/>
          </p:cNvSpPr>
          <p:nvPr/>
        </p:nvSpPr>
        <p:spPr bwMode="auto">
          <a:xfrm>
            <a:off x="1219436" y="2299738"/>
            <a:ext cx="77952" cy="42952"/>
          </a:xfrm>
          <a:custGeom>
            <a:avLst/>
            <a:gdLst/>
            <a:ahLst/>
            <a:cxnLst>
              <a:cxn ang="0">
                <a:pos x="3" y="10"/>
              </a:cxn>
              <a:cxn ang="0">
                <a:pos x="6" y="5"/>
              </a:cxn>
              <a:cxn ang="0">
                <a:pos x="8" y="5"/>
              </a:cxn>
              <a:cxn ang="0">
                <a:pos x="12" y="5"/>
              </a:cxn>
              <a:cxn ang="0">
                <a:pos x="12" y="7"/>
              </a:cxn>
              <a:cxn ang="0">
                <a:pos x="13" y="8"/>
              </a:cxn>
              <a:cxn ang="0">
                <a:pos x="16" y="7"/>
              </a:cxn>
              <a:cxn ang="0">
                <a:pos x="17" y="5"/>
              </a:cxn>
              <a:cxn ang="0">
                <a:pos x="15" y="0"/>
              </a:cxn>
              <a:cxn ang="0">
                <a:pos x="19" y="2"/>
              </a:cxn>
              <a:cxn ang="0">
                <a:pos x="19" y="5"/>
              </a:cxn>
              <a:cxn ang="0">
                <a:pos x="21" y="2"/>
              </a:cxn>
              <a:cxn ang="0">
                <a:pos x="25" y="2"/>
              </a:cxn>
              <a:cxn ang="0">
                <a:pos x="24" y="0"/>
              </a:cxn>
              <a:cxn ang="0">
                <a:pos x="29" y="0"/>
              </a:cxn>
              <a:cxn ang="0">
                <a:pos x="29" y="4"/>
              </a:cxn>
              <a:cxn ang="0">
                <a:pos x="35" y="0"/>
              </a:cxn>
              <a:cxn ang="0">
                <a:pos x="35" y="4"/>
              </a:cxn>
              <a:cxn ang="0">
                <a:pos x="35" y="7"/>
              </a:cxn>
              <a:cxn ang="0">
                <a:pos x="37" y="8"/>
              </a:cxn>
              <a:cxn ang="0">
                <a:pos x="31" y="7"/>
              </a:cxn>
              <a:cxn ang="0">
                <a:pos x="28" y="8"/>
              </a:cxn>
              <a:cxn ang="0">
                <a:pos x="33" y="10"/>
              </a:cxn>
              <a:cxn ang="0">
                <a:pos x="31" y="11"/>
              </a:cxn>
              <a:cxn ang="0">
                <a:pos x="29" y="10"/>
              </a:cxn>
              <a:cxn ang="0">
                <a:pos x="25" y="11"/>
              </a:cxn>
              <a:cxn ang="0">
                <a:pos x="25" y="11"/>
              </a:cxn>
              <a:cxn ang="0">
                <a:pos x="20" y="15"/>
              </a:cxn>
              <a:cxn ang="0">
                <a:pos x="17" y="16"/>
              </a:cxn>
              <a:cxn ang="0">
                <a:pos x="19" y="18"/>
              </a:cxn>
              <a:cxn ang="0">
                <a:pos x="12" y="21"/>
              </a:cxn>
              <a:cxn ang="0">
                <a:pos x="15" y="18"/>
              </a:cxn>
              <a:cxn ang="0">
                <a:pos x="12" y="16"/>
              </a:cxn>
              <a:cxn ang="0">
                <a:pos x="11" y="15"/>
              </a:cxn>
              <a:cxn ang="0">
                <a:pos x="7" y="15"/>
              </a:cxn>
              <a:cxn ang="0">
                <a:pos x="10" y="15"/>
              </a:cxn>
              <a:cxn ang="0">
                <a:pos x="8" y="19"/>
              </a:cxn>
              <a:cxn ang="0">
                <a:pos x="6" y="16"/>
              </a:cxn>
              <a:cxn ang="0">
                <a:pos x="4" y="11"/>
              </a:cxn>
              <a:cxn ang="0">
                <a:pos x="0" y="10"/>
              </a:cxn>
            </a:cxnLst>
            <a:rect l="0" t="0" r="r" b="b"/>
            <a:pathLst>
              <a:path w="40" h="21">
                <a:moveTo>
                  <a:pt x="0" y="10"/>
                </a:moveTo>
                <a:lnTo>
                  <a:pt x="3" y="10"/>
                </a:lnTo>
                <a:lnTo>
                  <a:pt x="3" y="8"/>
                </a:lnTo>
                <a:lnTo>
                  <a:pt x="6" y="5"/>
                </a:lnTo>
                <a:lnTo>
                  <a:pt x="7" y="5"/>
                </a:lnTo>
                <a:lnTo>
                  <a:pt x="8" y="5"/>
                </a:lnTo>
                <a:lnTo>
                  <a:pt x="11" y="5"/>
                </a:lnTo>
                <a:lnTo>
                  <a:pt x="12" y="5"/>
                </a:lnTo>
                <a:lnTo>
                  <a:pt x="11" y="7"/>
                </a:lnTo>
                <a:lnTo>
                  <a:pt x="12" y="7"/>
                </a:lnTo>
                <a:lnTo>
                  <a:pt x="12" y="8"/>
                </a:lnTo>
                <a:lnTo>
                  <a:pt x="13" y="8"/>
                </a:lnTo>
                <a:lnTo>
                  <a:pt x="15" y="10"/>
                </a:lnTo>
                <a:lnTo>
                  <a:pt x="16" y="7"/>
                </a:lnTo>
                <a:lnTo>
                  <a:pt x="16" y="5"/>
                </a:lnTo>
                <a:lnTo>
                  <a:pt x="17" y="5"/>
                </a:lnTo>
                <a:lnTo>
                  <a:pt x="13" y="2"/>
                </a:lnTo>
                <a:lnTo>
                  <a:pt x="15" y="0"/>
                </a:lnTo>
                <a:lnTo>
                  <a:pt x="16" y="0"/>
                </a:lnTo>
                <a:lnTo>
                  <a:pt x="19" y="2"/>
                </a:lnTo>
                <a:lnTo>
                  <a:pt x="19" y="4"/>
                </a:lnTo>
                <a:lnTo>
                  <a:pt x="19" y="5"/>
                </a:lnTo>
                <a:lnTo>
                  <a:pt x="20" y="4"/>
                </a:lnTo>
                <a:lnTo>
                  <a:pt x="21" y="2"/>
                </a:lnTo>
                <a:lnTo>
                  <a:pt x="24" y="2"/>
                </a:lnTo>
                <a:lnTo>
                  <a:pt x="25" y="2"/>
                </a:lnTo>
                <a:lnTo>
                  <a:pt x="25" y="0"/>
                </a:lnTo>
                <a:lnTo>
                  <a:pt x="24" y="0"/>
                </a:lnTo>
                <a:lnTo>
                  <a:pt x="27" y="0"/>
                </a:lnTo>
                <a:lnTo>
                  <a:pt x="29" y="0"/>
                </a:lnTo>
                <a:lnTo>
                  <a:pt x="29" y="2"/>
                </a:lnTo>
                <a:lnTo>
                  <a:pt x="29" y="4"/>
                </a:lnTo>
                <a:lnTo>
                  <a:pt x="32" y="0"/>
                </a:lnTo>
                <a:lnTo>
                  <a:pt x="35" y="0"/>
                </a:lnTo>
                <a:lnTo>
                  <a:pt x="35" y="2"/>
                </a:lnTo>
                <a:lnTo>
                  <a:pt x="35" y="4"/>
                </a:lnTo>
                <a:lnTo>
                  <a:pt x="35" y="5"/>
                </a:lnTo>
                <a:lnTo>
                  <a:pt x="35" y="7"/>
                </a:lnTo>
                <a:lnTo>
                  <a:pt x="40" y="7"/>
                </a:lnTo>
                <a:lnTo>
                  <a:pt x="37" y="8"/>
                </a:lnTo>
                <a:lnTo>
                  <a:pt x="36" y="8"/>
                </a:lnTo>
                <a:lnTo>
                  <a:pt x="31" y="7"/>
                </a:lnTo>
                <a:lnTo>
                  <a:pt x="28" y="7"/>
                </a:lnTo>
                <a:lnTo>
                  <a:pt x="28" y="8"/>
                </a:lnTo>
                <a:lnTo>
                  <a:pt x="32" y="10"/>
                </a:lnTo>
                <a:lnTo>
                  <a:pt x="33" y="10"/>
                </a:lnTo>
                <a:lnTo>
                  <a:pt x="33" y="11"/>
                </a:lnTo>
                <a:lnTo>
                  <a:pt x="31" y="11"/>
                </a:lnTo>
                <a:lnTo>
                  <a:pt x="31" y="10"/>
                </a:lnTo>
                <a:lnTo>
                  <a:pt x="29" y="10"/>
                </a:lnTo>
                <a:lnTo>
                  <a:pt x="28" y="11"/>
                </a:lnTo>
                <a:lnTo>
                  <a:pt x="25" y="11"/>
                </a:lnTo>
                <a:lnTo>
                  <a:pt x="27" y="11"/>
                </a:lnTo>
                <a:lnTo>
                  <a:pt x="25" y="11"/>
                </a:lnTo>
                <a:lnTo>
                  <a:pt x="23" y="13"/>
                </a:lnTo>
                <a:lnTo>
                  <a:pt x="20" y="15"/>
                </a:lnTo>
                <a:lnTo>
                  <a:pt x="19" y="15"/>
                </a:lnTo>
                <a:lnTo>
                  <a:pt x="17" y="16"/>
                </a:lnTo>
                <a:lnTo>
                  <a:pt x="19" y="16"/>
                </a:lnTo>
                <a:lnTo>
                  <a:pt x="19" y="18"/>
                </a:lnTo>
                <a:lnTo>
                  <a:pt x="17" y="19"/>
                </a:lnTo>
                <a:lnTo>
                  <a:pt x="12" y="21"/>
                </a:lnTo>
                <a:lnTo>
                  <a:pt x="13" y="19"/>
                </a:lnTo>
                <a:lnTo>
                  <a:pt x="15" y="18"/>
                </a:lnTo>
                <a:lnTo>
                  <a:pt x="15" y="16"/>
                </a:lnTo>
                <a:lnTo>
                  <a:pt x="12" y="16"/>
                </a:lnTo>
                <a:lnTo>
                  <a:pt x="12" y="15"/>
                </a:lnTo>
                <a:lnTo>
                  <a:pt x="11" y="15"/>
                </a:lnTo>
                <a:lnTo>
                  <a:pt x="8" y="13"/>
                </a:lnTo>
                <a:lnTo>
                  <a:pt x="7" y="15"/>
                </a:lnTo>
                <a:lnTo>
                  <a:pt x="8" y="15"/>
                </a:lnTo>
                <a:lnTo>
                  <a:pt x="10" y="15"/>
                </a:lnTo>
                <a:lnTo>
                  <a:pt x="10" y="18"/>
                </a:lnTo>
                <a:lnTo>
                  <a:pt x="8" y="19"/>
                </a:lnTo>
                <a:lnTo>
                  <a:pt x="6" y="18"/>
                </a:lnTo>
                <a:lnTo>
                  <a:pt x="6" y="16"/>
                </a:lnTo>
                <a:lnTo>
                  <a:pt x="4" y="13"/>
                </a:lnTo>
                <a:lnTo>
                  <a:pt x="4" y="11"/>
                </a:lnTo>
                <a:lnTo>
                  <a:pt x="2" y="11"/>
                </a:lnTo>
                <a:lnTo>
                  <a:pt x="0" y="1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67" name="Freeform 266"/>
          <p:cNvSpPr>
            <a:spLocks/>
          </p:cNvSpPr>
          <p:nvPr/>
        </p:nvSpPr>
        <p:spPr bwMode="auto">
          <a:xfrm>
            <a:off x="1219436" y="2299738"/>
            <a:ext cx="77952" cy="42952"/>
          </a:xfrm>
          <a:custGeom>
            <a:avLst/>
            <a:gdLst/>
            <a:ahLst/>
            <a:cxnLst>
              <a:cxn ang="0">
                <a:pos x="3" y="10"/>
              </a:cxn>
              <a:cxn ang="0">
                <a:pos x="6" y="5"/>
              </a:cxn>
              <a:cxn ang="0">
                <a:pos x="8" y="5"/>
              </a:cxn>
              <a:cxn ang="0">
                <a:pos x="12" y="5"/>
              </a:cxn>
              <a:cxn ang="0">
                <a:pos x="12" y="7"/>
              </a:cxn>
              <a:cxn ang="0">
                <a:pos x="13" y="8"/>
              </a:cxn>
              <a:cxn ang="0">
                <a:pos x="16" y="7"/>
              </a:cxn>
              <a:cxn ang="0">
                <a:pos x="17" y="5"/>
              </a:cxn>
              <a:cxn ang="0">
                <a:pos x="15" y="0"/>
              </a:cxn>
              <a:cxn ang="0">
                <a:pos x="19" y="2"/>
              </a:cxn>
              <a:cxn ang="0">
                <a:pos x="19" y="5"/>
              </a:cxn>
              <a:cxn ang="0">
                <a:pos x="21" y="2"/>
              </a:cxn>
              <a:cxn ang="0">
                <a:pos x="25" y="2"/>
              </a:cxn>
              <a:cxn ang="0">
                <a:pos x="24" y="0"/>
              </a:cxn>
              <a:cxn ang="0">
                <a:pos x="29" y="0"/>
              </a:cxn>
              <a:cxn ang="0">
                <a:pos x="29" y="4"/>
              </a:cxn>
              <a:cxn ang="0">
                <a:pos x="35" y="0"/>
              </a:cxn>
              <a:cxn ang="0">
                <a:pos x="35" y="4"/>
              </a:cxn>
              <a:cxn ang="0">
                <a:pos x="35" y="7"/>
              </a:cxn>
              <a:cxn ang="0">
                <a:pos x="37" y="8"/>
              </a:cxn>
              <a:cxn ang="0">
                <a:pos x="31" y="7"/>
              </a:cxn>
              <a:cxn ang="0">
                <a:pos x="28" y="8"/>
              </a:cxn>
              <a:cxn ang="0">
                <a:pos x="33" y="10"/>
              </a:cxn>
              <a:cxn ang="0">
                <a:pos x="31" y="11"/>
              </a:cxn>
              <a:cxn ang="0">
                <a:pos x="29" y="10"/>
              </a:cxn>
              <a:cxn ang="0">
                <a:pos x="25" y="11"/>
              </a:cxn>
              <a:cxn ang="0">
                <a:pos x="25" y="11"/>
              </a:cxn>
              <a:cxn ang="0">
                <a:pos x="20" y="15"/>
              </a:cxn>
              <a:cxn ang="0">
                <a:pos x="17" y="16"/>
              </a:cxn>
              <a:cxn ang="0">
                <a:pos x="19" y="18"/>
              </a:cxn>
              <a:cxn ang="0">
                <a:pos x="12" y="21"/>
              </a:cxn>
              <a:cxn ang="0">
                <a:pos x="15" y="18"/>
              </a:cxn>
              <a:cxn ang="0">
                <a:pos x="12" y="16"/>
              </a:cxn>
              <a:cxn ang="0">
                <a:pos x="11" y="15"/>
              </a:cxn>
              <a:cxn ang="0">
                <a:pos x="7" y="15"/>
              </a:cxn>
              <a:cxn ang="0">
                <a:pos x="10" y="15"/>
              </a:cxn>
              <a:cxn ang="0">
                <a:pos x="8" y="19"/>
              </a:cxn>
              <a:cxn ang="0">
                <a:pos x="6" y="16"/>
              </a:cxn>
              <a:cxn ang="0">
                <a:pos x="4" y="11"/>
              </a:cxn>
              <a:cxn ang="0">
                <a:pos x="0" y="10"/>
              </a:cxn>
            </a:cxnLst>
            <a:rect l="0" t="0" r="r" b="b"/>
            <a:pathLst>
              <a:path w="40" h="21">
                <a:moveTo>
                  <a:pt x="0" y="10"/>
                </a:moveTo>
                <a:lnTo>
                  <a:pt x="3" y="10"/>
                </a:lnTo>
                <a:lnTo>
                  <a:pt x="3" y="8"/>
                </a:lnTo>
                <a:lnTo>
                  <a:pt x="6" y="5"/>
                </a:lnTo>
                <a:lnTo>
                  <a:pt x="7" y="5"/>
                </a:lnTo>
                <a:lnTo>
                  <a:pt x="8" y="5"/>
                </a:lnTo>
                <a:lnTo>
                  <a:pt x="11" y="5"/>
                </a:lnTo>
                <a:lnTo>
                  <a:pt x="12" y="5"/>
                </a:lnTo>
                <a:lnTo>
                  <a:pt x="11" y="7"/>
                </a:lnTo>
                <a:lnTo>
                  <a:pt x="12" y="7"/>
                </a:lnTo>
                <a:lnTo>
                  <a:pt x="12" y="8"/>
                </a:lnTo>
                <a:lnTo>
                  <a:pt x="13" y="8"/>
                </a:lnTo>
                <a:lnTo>
                  <a:pt x="15" y="10"/>
                </a:lnTo>
                <a:lnTo>
                  <a:pt x="16" y="7"/>
                </a:lnTo>
                <a:lnTo>
                  <a:pt x="16" y="5"/>
                </a:lnTo>
                <a:lnTo>
                  <a:pt x="17" y="5"/>
                </a:lnTo>
                <a:lnTo>
                  <a:pt x="13" y="2"/>
                </a:lnTo>
                <a:lnTo>
                  <a:pt x="15" y="0"/>
                </a:lnTo>
                <a:lnTo>
                  <a:pt x="16" y="0"/>
                </a:lnTo>
                <a:lnTo>
                  <a:pt x="19" y="2"/>
                </a:lnTo>
                <a:lnTo>
                  <a:pt x="19" y="4"/>
                </a:lnTo>
                <a:lnTo>
                  <a:pt x="19" y="5"/>
                </a:lnTo>
                <a:lnTo>
                  <a:pt x="20" y="4"/>
                </a:lnTo>
                <a:lnTo>
                  <a:pt x="21" y="2"/>
                </a:lnTo>
                <a:lnTo>
                  <a:pt x="24" y="2"/>
                </a:lnTo>
                <a:lnTo>
                  <a:pt x="25" y="2"/>
                </a:lnTo>
                <a:lnTo>
                  <a:pt x="25" y="0"/>
                </a:lnTo>
                <a:lnTo>
                  <a:pt x="24" y="0"/>
                </a:lnTo>
                <a:lnTo>
                  <a:pt x="27" y="0"/>
                </a:lnTo>
                <a:lnTo>
                  <a:pt x="29" y="0"/>
                </a:lnTo>
                <a:lnTo>
                  <a:pt x="29" y="2"/>
                </a:lnTo>
                <a:lnTo>
                  <a:pt x="29" y="4"/>
                </a:lnTo>
                <a:lnTo>
                  <a:pt x="32" y="0"/>
                </a:lnTo>
                <a:lnTo>
                  <a:pt x="35" y="0"/>
                </a:lnTo>
                <a:lnTo>
                  <a:pt x="35" y="2"/>
                </a:lnTo>
                <a:lnTo>
                  <a:pt x="35" y="4"/>
                </a:lnTo>
                <a:lnTo>
                  <a:pt x="35" y="5"/>
                </a:lnTo>
                <a:lnTo>
                  <a:pt x="35" y="7"/>
                </a:lnTo>
                <a:lnTo>
                  <a:pt x="40" y="7"/>
                </a:lnTo>
                <a:lnTo>
                  <a:pt x="37" y="8"/>
                </a:lnTo>
                <a:lnTo>
                  <a:pt x="36" y="8"/>
                </a:lnTo>
                <a:lnTo>
                  <a:pt x="31" y="7"/>
                </a:lnTo>
                <a:lnTo>
                  <a:pt x="28" y="7"/>
                </a:lnTo>
                <a:lnTo>
                  <a:pt x="28" y="8"/>
                </a:lnTo>
                <a:lnTo>
                  <a:pt x="32" y="10"/>
                </a:lnTo>
                <a:lnTo>
                  <a:pt x="33" y="10"/>
                </a:lnTo>
                <a:lnTo>
                  <a:pt x="33" y="11"/>
                </a:lnTo>
                <a:lnTo>
                  <a:pt x="31" y="11"/>
                </a:lnTo>
                <a:lnTo>
                  <a:pt x="31" y="10"/>
                </a:lnTo>
                <a:lnTo>
                  <a:pt x="29" y="10"/>
                </a:lnTo>
                <a:lnTo>
                  <a:pt x="28" y="11"/>
                </a:lnTo>
                <a:lnTo>
                  <a:pt x="25" y="11"/>
                </a:lnTo>
                <a:lnTo>
                  <a:pt x="27" y="11"/>
                </a:lnTo>
                <a:lnTo>
                  <a:pt x="25" y="11"/>
                </a:lnTo>
                <a:lnTo>
                  <a:pt x="23" y="13"/>
                </a:lnTo>
                <a:lnTo>
                  <a:pt x="20" y="15"/>
                </a:lnTo>
                <a:lnTo>
                  <a:pt x="19" y="15"/>
                </a:lnTo>
                <a:lnTo>
                  <a:pt x="17" y="16"/>
                </a:lnTo>
                <a:lnTo>
                  <a:pt x="19" y="16"/>
                </a:lnTo>
                <a:lnTo>
                  <a:pt x="19" y="18"/>
                </a:lnTo>
                <a:lnTo>
                  <a:pt x="17" y="19"/>
                </a:lnTo>
                <a:lnTo>
                  <a:pt x="12" y="21"/>
                </a:lnTo>
                <a:lnTo>
                  <a:pt x="13" y="19"/>
                </a:lnTo>
                <a:lnTo>
                  <a:pt x="15" y="18"/>
                </a:lnTo>
                <a:lnTo>
                  <a:pt x="15" y="16"/>
                </a:lnTo>
                <a:lnTo>
                  <a:pt x="12" y="16"/>
                </a:lnTo>
                <a:lnTo>
                  <a:pt x="12" y="15"/>
                </a:lnTo>
                <a:lnTo>
                  <a:pt x="11" y="15"/>
                </a:lnTo>
                <a:lnTo>
                  <a:pt x="8" y="13"/>
                </a:lnTo>
                <a:lnTo>
                  <a:pt x="7" y="15"/>
                </a:lnTo>
                <a:lnTo>
                  <a:pt x="8" y="15"/>
                </a:lnTo>
                <a:lnTo>
                  <a:pt x="10" y="15"/>
                </a:lnTo>
                <a:lnTo>
                  <a:pt x="10" y="18"/>
                </a:lnTo>
                <a:lnTo>
                  <a:pt x="8" y="19"/>
                </a:lnTo>
                <a:lnTo>
                  <a:pt x="6" y="18"/>
                </a:lnTo>
                <a:lnTo>
                  <a:pt x="6" y="16"/>
                </a:lnTo>
                <a:lnTo>
                  <a:pt x="4" y="13"/>
                </a:lnTo>
                <a:lnTo>
                  <a:pt x="4" y="11"/>
                </a:lnTo>
                <a:lnTo>
                  <a:pt x="2" y="11"/>
                </a:lnTo>
                <a:lnTo>
                  <a:pt x="0" y="1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68" name="Freeform 267"/>
          <p:cNvSpPr>
            <a:spLocks/>
          </p:cNvSpPr>
          <p:nvPr/>
        </p:nvSpPr>
        <p:spPr bwMode="auto">
          <a:xfrm>
            <a:off x="1260359" y="2291147"/>
            <a:ext cx="9745" cy="6443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2" y="0"/>
              </a:cxn>
              <a:cxn ang="0">
                <a:pos x="3" y="1"/>
              </a:cxn>
              <a:cxn ang="0">
                <a:pos x="4" y="1"/>
              </a:cxn>
              <a:cxn ang="0">
                <a:pos x="6" y="3"/>
              </a:cxn>
              <a:cxn ang="0">
                <a:pos x="3" y="1"/>
              </a:cxn>
              <a:cxn ang="0">
                <a:pos x="0" y="1"/>
              </a:cxn>
            </a:cxnLst>
            <a:rect l="0" t="0" r="r" b="b"/>
            <a:pathLst>
              <a:path w="6" h="3">
                <a:moveTo>
                  <a:pt x="0" y="1"/>
                </a:moveTo>
                <a:lnTo>
                  <a:pt x="2" y="0"/>
                </a:lnTo>
                <a:lnTo>
                  <a:pt x="3" y="1"/>
                </a:lnTo>
                <a:lnTo>
                  <a:pt x="4" y="1"/>
                </a:lnTo>
                <a:lnTo>
                  <a:pt x="6" y="3"/>
                </a:lnTo>
                <a:lnTo>
                  <a:pt x="3" y="1"/>
                </a:lnTo>
                <a:lnTo>
                  <a:pt x="0" y="1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69" name="Freeform 268"/>
          <p:cNvSpPr>
            <a:spLocks/>
          </p:cNvSpPr>
          <p:nvPr/>
        </p:nvSpPr>
        <p:spPr bwMode="auto">
          <a:xfrm>
            <a:off x="1260359" y="2291147"/>
            <a:ext cx="9745" cy="6443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2" y="0"/>
              </a:cxn>
              <a:cxn ang="0">
                <a:pos x="3" y="1"/>
              </a:cxn>
              <a:cxn ang="0">
                <a:pos x="4" y="1"/>
              </a:cxn>
              <a:cxn ang="0">
                <a:pos x="6" y="3"/>
              </a:cxn>
              <a:cxn ang="0">
                <a:pos x="3" y="1"/>
              </a:cxn>
              <a:cxn ang="0">
                <a:pos x="0" y="1"/>
              </a:cxn>
            </a:cxnLst>
            <a:rect l="0" t="0" r="r" b="b"/>
            <a:pathLst>
              <a:path w="6" h="3">
                <a:moveTo>
                  <a:pt x="0" y="1"/>
                </a:moveTo>
                <a:lnTo>
                  <a:pt x="2" y="0"/>
                </a:lnTo>
                <a:lnTo>
                  <a:pt x="3" y="1"/>
                </a:lnTo>
                <a:lnTo>
                  <a:pt x="4" y="1"/>
                </a:lnTo>
                <a:lnTo>
                  <a:pt x="6" y="3"/>
                </a:lnTo>
                <a:lnTo>
                  <a:pt x="3" y="1"/>
                </a:lnTo>
                <a:lnTo>
                  <a:pt x="0" y="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70" name="Freeform 269"/>
          <p:cNvSpPr>
            <a:spLocks/>
          </p:cNvSpPr>
          <p:nvPr/>
        </p:nvSpPr>
        <p:spPr bwMode="auto">
          <a:xfrm>
            <a:off x="1266207" y="2280410"/>
            <a:ext cx="31181" cy="12885"/>
          </a:xfrm>
          <a:custGeom>
            <a:avLst/>
            <a:gdLst/>
            <a:ahLst/>
            <a:cxnLst>
              <a:cxn ang="0">
                <a:pos x="7" y="3"/>
              </a:cxn>
              <a:cxn ang="0">
                <a:pos x="4" y="3"/>
              </a:cxn>
              <a:cxn ang="0">
                <a:pos x="4" y="2"/>
              </a:cxn>
              <a:cxn ang="0">
                <a:pos x="6" y="2"/>
              </a:cxn>
              <a:cxn ang="0">
                <a:pos x="6" y="0"/>
              </a:cxn>
              <a:cxn ang="0">
                <a:pos x="8" y="0"/>
              </a:cxn>
              <a:cxn ang="0">
                <a:pos x="12" y="0"/>
              </a:cxn>
              <a:cxn ang="0">
                <a:pos x="11" y="2"/>
              </a:cxn>
              <a:cxn ang="0">
                <a:pos x="14" y="2"/>
              </a:cxn>
              <a:cxn ang="0">
                <a:pos x="15" y="2"/>
              </a:cxn>
              <a:cxn ang="0">
                <a:pos x="15" y="3"/>
              </a:cxn>
              <a:cxn ang="0">
                <a:pos x="16" y="3"/>
              </a:cxn>
              <a:cxn ang="0">
                <a:pos x="16" y="5"/>
              </a:cxn>
              <a:cxn ang="0">
                <a:pos x="14" y="5"/>
              </a:cxn>
              <a:cxn ang="0">
                <a:pos x="12" y="5"/>
              </a:cxn>
              <a:cxn ang="0">
                <a:pos x="10" y="6"/>
              </a:cxn>
              <a:cxn ang="0">
                <a:pos x="8" y="5"/>
              </a:cxn>
              <a:cxn ang="0">
                <a:pos x="7" y="6"/>
              </a:cxn>
              <a:cxn ang="0">
                <a:pos x="6" y="6"/>
              </a:cxn>
              <a:cxn ang="0">
                <a:pos x="4" y="6"/>
              </a:cxn>
              <a:cxn ang="0">
                <a:pos x="2" y="5"/>
              </a:cxn>
              <a:cxn ang="0">
                <a:pos x="0" y="5"/>
              </a:cxn>
              <a:cxn ang="0">
                <a:pos x="2" y="5"/>
              </a:cxn>
              <a:cxn ang="0">
                <a:pos x="2" y="3"/>
              </a:cxn>
              <a:cxn ang="0">
                <a:pos x="4" y="3"/>
              </a:cxn>
              <a:cxn ang="0">
                <a:pos x="7" y="3"/>
              </a:cxn>
            </a:cxnLst>
            <a:rect l="0" t="0" r="r" b="b"/>
            <a:pathLst>
              <a:path w="16" h="6">
                <a:moveTo>
                  <a:pt x="7" y="3"/>
                </a:moveTo>
                <a:lnTo>
                  <a:pt x="4" y="3"/>
                </a:lnTo>
                <a:lnTo>
                  <a:pt x="4" y="2"/>
                </a:lnTo>
                <a:lnTo>
                  <a:pt x="6" y="2"/>
                </a:lnTo>
                <a:lnTo>
                  <a:pt x="6" y="0"/>
                </a:lnTo>
                <a:lnTo>
                  <a:pt x="8" y="0"/>
                </a:lnTo>
                <a:lnTo>
                  <a:pt x="12" y="0"/>
                </a:lnTo>
                <a:lnTo>
                  <a:pt x="11" y="2"/>
                </a:lnTo>
                <a:lnTo>
                  <a:pt x="14" y="2"/>
                </a:lnTo>
                <a:lnTo>
                  <a:pt x="15" y="2"/>
                </a:lnTo>
                <a:lnTo>
                  <a:pt x="15" y="3"/>
                </a:lnTo>
                <a:lnTo>
                  <a:pt x="16" y="3"/>
                </a:lnTo>
                <a:lnTo>
                  <a:pt x="16" y="5"/>
                </a:lnTo>
                <a:lnTo>
                  <a:pt x="14" y="5"/>
                </a:lnTo>
                <a:lnTo>
                  <a:pt x="12" y="5"/>
                </a:lnTo>
                <a:lnTo>
                  <a:pt x="10" y="6"/>
                </a:lnTo>
                <a:lnTo>
                  <a:pt x="8" y="5"/>
                </a:lnTo>
                <a:lnTo>
                  <a:pt x="7" y="6"/>
                </a:lnTo>
                <a:lnTo>
                  <a:pt x="6" y="6"/>
                </a:lnTo>
                <a:lnTo>
                  <a:pt x="4" y="6"/>
                </a:lnTo>
                <a:lnTo>
                  <a:pt x="2" y="5"/>
                </a:lnTo>
                <a:lnTo>
                  <a:pt x="0" y="5"/>
                </a:lnTo>
                <a:lnTo>
                  <a:pt x="2" y="5"/>
                </a:lnTo>
                <a:lnTo>
                  <a:pt x="2" y="3"/>
                </a:lnTo>
                <a:lnTo>
                  <a:pt x="4" y="3"/>
                </a:lnTo>
                <a:lnTo>
                  <a:pt x="7" y="3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71" name="Freeform 270"/>
          <p:cNvSpPr>
            <a:spLocks/>
          </p:cNvSpPr>
          <p:nvPr/>
        </p:nvSpPr>
        <p:spPr bwMode="auto">
          <a:xfrm>
            <a:off x="1266207" y="2280410"/>
            <a:ext cx="31181" cy="12885"/>
          </a:xfrm>
          <a:custGeom>
            <a:avLst/>
            <a:gdLst/>
            <a:ahLst/>
            <a:cxnLst>
              <a:cxn ang="0">
                <a:pos x="7" y="3"/>
              </a:cxn>
              <a:cxn ang="0">
                <a:pos x="4" y="3"/>
              </a:cxn>
              <a:cxn ang="0">
                <a:pos x="4" y="2"/>
              </a:cxn>
              <a:cxn ang="0">
                <a:pos x="6" y="2"/>
              </a:cxn>
              <a:cxn ang="0">
                <a:pos x="6" y="0"/>
              </a:cxn>
              <a:cxn ang="0">
                <a:pos x="8" y="0"/>
              </a:cxn>
              <a:cxn ang="0">
                <a:pos x="12" y="0"/>
              </a:cxn>
              <a:cxn ang="0">
                <a:pos x="11" y="2"/>
              </a:cxn>
              <a:cxn ang="0">
                <a:pos x="14" y="2"/>
              </a:cxn>
              <a:cxn ang="0">
                <a:pos x="15" y="2"/>
              </a:cxn>
              <a:cxn ang="0">
                <a:pos x="15" y="3"/>
              </a:cxn>
              <a:cxn ang="0">
                <a:pos x="16" y="3"/>
              </a:cxn>
              <a:cxn ang="0">
                <a:pos x="16" y="5"/>
              </a:cxn>
              <a:cxn ang="0">
                <a:pos x="14" y="5"/>
              </a:cxn>
              <a:cxn ang="0">
                <a:pos x="12" y="5"/>
              </a:cxn>
              <a:cxn ang="0">
                <a:pos x="10" y="6"/>
              </a:cxn>
              <a:cxn ang="0">
                <a:pos x="8" y="5"/>
              </a:cxn>
              <a:cxn ang="0">
                <a:pos x="7" y="6"/>
              </a:cxn>
              <a:cxn ang="0">
                <a:pos x="6" y="6"/>
              </a:cxn>
              <a:cxn ang="0">
                <a:pos x="4" y="6"/>
              </a:cxn>
              <a:cxn ang="0">
                <a:pos x="2" y="5"/>
              </a:cxn>
              <a:cxn ang="0">
                <a:pos x="0" y="5"/>
              </a:cxn>
              <a:cxn ang="0">
                <a:pos x="2" y="5"/>
              </a:cxn>
              <a:cxn ang="0">
                <a:pos x="2" y="3"/>
              </a:cxn>
              <a:cxn ang="0">
                <a:pos x="4" y="3"/>
              </a:cxn>
              <a:cxn ang="0">
                <a:pos x="7" y="3"/>
              </a:cxn>
            </a:cxnLst>
            <a:rect l="0" t="0" r="r" b="b"/>
            <a:pathLst>
              <a:path w="16" h="6">
                <a:moveTo>
                  <a:pt x="7" y="3"/>
                </a:moveTo>
                <a:lnTo>
                  <a:pt x="4" y="3"/>
                </a:lnTo>
                <a:lnTo>
                  <a:pt x="4" y="2"/>
                </a:lnTo>
                <a:lnTo>
                  <a:pt x="6" y="2"/>
                </a:lnTo>
                <a:lnTo>
                  <a:pt x="6" y="0"/>
                </a:lnTo>
                <a:lnTo>
                  <a:pt x="8" y="0"/>
                </a:lnTo>
                <a:lnTo>
                  <a:pt x="12" y="0"/>
                </a:lnTo>
                <a:lnTo>
                  <a:pt x="11" y="2"/>
                </a:lnTo>
                <a:lnTo>
                  <a:pt x="14" y="2"/>
                </a:lnTo>
                <a:lnTo>
                  <a:pt x="15" y="2"/>
                </a:lnTo>
                <a:lnTo>
                  <a:pt x="15" y="3"/>
                </a:lnTo>
                <a:lnTo>
                  <a:pt x="16" y="3"/>
                </a:lnTo>
                <a:lnTo>
                  <a:pt x="16" y="5"/>
                </a:lnTo>
                <a:lnTo>
                  <a:pt x="14" y="5"/>
                </a:lnTo>
                <a:lnTo>
                  <a:pt x="12" y="5"/>
                </a:lnTo>
                <a:lnTo>
                  <a:pt x="10" y="6"/>
                </a:lnTo>
                <a:lnTo>
                  <a:pt x="8" y="5"/>
                </a:lnTo>
                <a:lnTo>
                  <a:pt x="7" y="6"/>
                </a:lnTo>
                <a:lnTo>
                  <a:pt x="6" y="6"/>
                </a:lnTo>
                <a:lnTo>
                  <a:pt x="4" y="6"/>
                </a:lnTo>
                <a:lnTo>
                  <a:pt x="2" y="5"/>
                </a:lnTo>
                <a:lnTo>
                  <a:pt x="0" y="5"/>
                </a:lnTo>
                <a:lnTo>
                  <a:pt x="2" y="5"/>
                </a:lnTo>
                <a:lnTo>
                  <a:pt x="2" y="3"/>
                </a:lnTo>
                <a:lnTo>
                  <a:pt x="4" y="3"/>
                </a:lnTo>
                <a:lnTo>
                  <a:pt x="7" y="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72" name="Freeform 271"/>
          <p:cNvSpPr>
            <a:spLocks/>
          </p:cNvSpPr>
          <p:nvPr/>
        </p:nvSpPr>
        <p:spPr bwMode="auto">
          <a:xfrm>
            <a:off x="1281797" y="2276114"/>
            <a:ext cx="7795" cy="214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4" y="0"/>
              </a:cxn>
              <a:cxn ang="0">
                <a:pos x="3" y="1"/>
              </a:cxn>
              <a:cxn ang="0">
                <a:pos x="2" y="1"/>
              </a:cxn>
              <a:cxn ang="0">
                <a:pos x="0" y="1"/>
              </a:cxn>
              <a:cxn ang="0">
                <a:pos x="0" y="0"/>
              </a:cxn>
            </a:cxnLst>
            <a:rect l="0" t="0" r="r" b="b"/>
            <a:pathLst>
              <a:path w="4" h="1">
                <a:moveTo>
                  <a:pt x="0" y="0"/>
                </a:moveTo>
                <a:lnTo>
                  <a:pt x="2" y="0"/>
                </a:lnTo>
                <a:lnTo>
                  <a:pt x="4" y="0"/>
                </a:lnTo>
                <a:lnTo>
                  <a:pt x="3" y="1"/>
                </a:lnTo>
                <a:lnTo>
                  <a:pt x="2" y="1"/>
                </a:ln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73" name="Freeform 272"/>
          <p:cNvSpPr>
            <a:spLocks/>
          </p:cNvSpPr>
          <p:nvPr/>
        </p:nvSpPr>
        <p:spPr bwMode="auto">
          <a:xfrm>
            <a:off x="1281797" y="2276114"/>
            <a:ext cx="7795" cy="214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4" y="0"/>
              </a:cxn>
              <a:cxn ang="0">
                <a:pos x="3" y="1"/>
              </a:cxn>
              <a:cxn ang="0">
                <a:pos x="2" y="1"/>
              </a:cxn>
              <a:cxn ang="0">
                <a:pos x="0" y="1"/>
              </a:cxn>
              <a:cxn ang="0">
                <a:pos x="0" y="0"/>
              </a:cxn>
            </a:cxnLst>
            <a:rect l="0" t="0" r="r" b="b"/>
            <a:pathLst>
              <a:path w="4" h="1">
                <a:moveTo>
                  <a:pt x="0" y="0"/>
                </a:moveTo>
                <a:lnTo>
                  <a:pt x="2" y="0"/>
                </a:lnTo>
                <a:lnTo>
                  <a:pt x="4" y="0"/>
                </a:lnTo>
                <a:lnTo>
                  <a:pt x="3" y="1"/>
                </a:lnTo>
                <a:lnTo>
                  <a:pt x="2" y="1"/>
                </a:lnTo>
                <a:lnTo>
                  <a:pt x="0" y="1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74" name="Freeform 273"/>
          <p:cNvSpPr>
            <a:spLocks/>
          </p:cNvSpPr>
          <p:nvPr/>
        </p:nvSpPr>
        <p:spPr bwMode="auto">
          <a:xfrm>
            <a:off x="1451344" y="2211686"/>
            <a:ext cx="17540" cy="4295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0" y="0"/>
              </a:cxn>
              <a:cxn ang="0">
                <a:pos x="2" y="0"/>
              </a:cxn>
              <a:cxn ang="0">
                <a:pos x="3" y="0"/>
              </a:cxn>
              <a:cxn ang="0">
                <a:pos x="4" y="0"/>
              </a:cxn>
              <a:cxn ang="0">
                <a:pos x="5" y="1"/>
              </a:cxn>
              <a:cxn ang="0">
                <a:pos x="8" y="0"/>
              </a:cxn>
              <a:cxn ang="0">
                <a:pos x="9" y="1"/>
              </a:cxn>
              <a:cxn ang="0">
                <a:pos x="8" y="1"/>
              </a:cxn>
              <a:cxn ang="0">
                <a:pos x="3" y="3"/>
              </a:cxn>
              <a:cxn ang="0">
                <a:pos x="2" y="1"/>
              </a:cxn>
              <a:cxn ang="0">
                <a:pos x="0" y="1"/>
              </a:cxn>
            </a:cxnLst>
            <a:rect l="0" t="0" r="r" b="b"/>
            <a:pathLst>
              <a:path w="9" h="3">
                <a:moveTo>
                  <a:pt x="0" y="1"/>
                </a:moveTo>
                <a:lnTo>
                  <a:pt x="0" y="0"/>
                </a:lnTo>
                <a:lnTo>
                  <a:pt x="2" y="0"/>
                </a:lnTo>
                <a:lnTo>
                  <a:pt x="3" y="0"/>
                </a:lnTo>
                <a:lnTo>
                  <a:pt x="4" y="0"/>
                </a:lnTo>
                <a:lnTo>
                  <a:pt x="5" y="1"/>
                </a:lnTo>
                <a:lnTo>
                  <a:pt x="8" y="0"/>
                </a:lnTo>
                <a:lnTo>
                  <a:pt x="9" y="1"/>
                </a:lnTo>
                <a:lnTo>
                  <a:pt x="8" y="1"/>
                </a:lnTo>
                <a:lnTo>
                  <a:pt x="3" y="3"/>
                </a:lnTo>
                <a:lnTo>
                  <a:pt x="2" y="1"/>
                </a:lnTo>
                <a:lnTo>
                  <a:pt x="0" y="1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75" name="Freeform 274"/>
          <p:cNvSpPr>
            <a:spLocks/>
          </p:cNvSpPr>
          <p:nvPr/>
        </p:nvSpPr>
        <p:spPr bwMode="auto">
          <a:xfrm>
            <a:off x="1451344" y="2211686"/>
            <a:ext cx="17540" cy="4295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0" y="0"/>
              </a:cxn>
              <a:cxn ang="0">
                <a:pos x="2" y="0"/>
              </a:cxn>
              <a:cxn ang="0">
                <a:pos x="3" y="0"/>
              </a:cxn>
              <a:cxn ang="0">
                <a:pos x="4" y="0"/>
              </a:cxn>
              <a:cxn ang="0">
                <a:pos x="5" y="1"/>
              </a:cxn>
              <a:cxn ang="0">
                <a:pos x="8" y="0"/>
              </a:cxn>
              <a:cxn ang="0">
                <a:pos x="9" y="1"/>
              </a:cxn>
              <a:cxn ang="0">
                <a:pos x="8" y="1"/>
              </a:cxn>
              <a:cxn ang="0">
                <a:pos x="3" y="3"/>
              </a:cxn>
              <a:cxn ang="0">
                <a:pos x="2" y="1"/>
              </a:cxn>
              <a:cxn ang="0">
                <a:pos x="0" y="1"/>
              </a:cxn>
            </a:cxnLst>
            <a:rect l="0" t="0" r="r" b="b"/>
            <a:pathLst>
              <a:path w="9" h="3">
                <a:moveTo>
                  <a:pt x="0" y="1"/>
                </a:moveTo>
                <a:lnTo>
                  <a:pt x="0" y="0"/>
                </a:lnTo>
                <a:lnTo>
                  <a:pt x="2" y="0"/>
                </a:lnTo>
                <a:lnTo>
                  <a:pt x="3" y="0"/>
                </a:lnTo>
                <a:lnTo>
                  <a:pt x="4" y="0"/>
                </a:lnTo>
                <a:lnTo>
                  <a:pt x="5" y="1"/>
                </a:lnTo>
                <a:lnTo>
                  <a:pt x="8" y="0"/>
                </a:lnTo>
                <a:lnTo>
                  <a:pt x="9" y="1"/>
                </a:lnTo>
                <a:lnTo>
                  <a:pt x="8" y="1"/>
                </a:lnTo>
                <a:lnTo>
                  <a:pt x="3" y="3"/>
                </a:lnTo>
                <a:lnTo>
                  <a:pt x="2" y="1"/>
                </a:lnTo>
                <a:lnTo>
                  <a:pt x="0" y="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76" name="Freeform 275"/>
          <p:cNvSpPr>
            <a:spLocks/>
          </p:cNvSpPr>
          <p:nvPr/>
        </p:nvSpPr>
        <p:spPr bwMode="auto">
          <a:xfrm>
            <a:off x="1038196" y="2267523"/>
            <a:ext cx="11693" cy="8591"/>
          </a:xfrm>
          <a:custGeom>
            <a:avLst/>
            <a:gdLst/>
            <a:ahLst/>
            <a:cxnLst>
              <a:cxn ang="0">
                <a:pos x="4" y="2"/>
              </a:cxn>
              <a:cxn ang="0">
                <a:pos x="5" y="0"/>
              </a:cxn>
              <a:cxn ang="0">
                <a:pos x="4" y="2"/>
              </a:cxn>
              <a:cxn ang="0">
                <a:pos x="2" y="5"/>
              </a:cxn>
              <a:cxn ang="0">
                <a:pos x="1" y="5"/>
              </a:cxn>
              <a:cxn ang="0">
                <a:pos x="0" y="5"/>
              </a:cxn>
              <a:cxn ang="0">
                <a:pos x="0" y="3"/>
              </a:cxn>
              <a:cxn ang="0">
                <a:pos x="1" y="3"/>
              </a:cxn>
              <a:cxn ang="0">
                <a:pos x="4" y="2"/>
              </a:cxn>
            </a:cxnLst>
            <a:rect l="0" t="0" r="r" b="b"/>
            <a:pathLst>
              <a:path w="5" h="5">
                <a:moveTo>
                  <a:pt x="4" y="2"/>
                </a:moveTo>
                <a:lnTo>
                  <a:pt x="5" y="0"/>
                </a:lnTo>
                <a:lnTo>
                  <a:pt x="4" y="2"/>
                </a:lnTo>
                <a:lnTo>
                  <a:pt x="2" y="5"/>
                </a:lnTo>
                <a:lnTo>
                  <a:pt x="1" y="5"/>
                </a:lnTo>
                <a:lnTo>
                  <a:pt x="0" y="5"/>
                </a:lnTo>
                <a:lnTo>
                  <a:pt x="0" y="3"/>
                </a:lnTo>
                <a:lnTo>
                  <a:pt x="1" y="3"/>
                </a:lnTo>
                <a:lnTo>
                  <a:pt x="4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77" name="Freeform 276"/>
          <p:cNvSpPr>
            <a:spLocks/>
          </p:cNvSpPr>
          <p:nvPr/>
        </p:nvSpPr>
        <p:spPr bwMode="auto">
          <a:xfrm>
            <a:off x="1038196" y="2267523"/>
            <a:ext cx="11693" cy="8591"/>
          </a:xfrm>
          <a:custGeom>
            <a:avLst/>
            <a:gdLst/>
            <a:ahLst/>
            <a:cxnLst>
              <a:cxn ang="0">
                <a:pos x="4" y="2"/>
              </a:cxn>
              <a:cxn ang="0">
                <a:pos x="5" y="0"/>
              </a:cxn>
              <a:cxn ang="0">
                <a:pos x="4" y="2"/>
              </a:cxn>
              <a:cxn ang="0">
                <a:pos x="2" y="5"/>
              </a:cxn>
              <a:cxn ang="0">
                <a:pos x="1" y="5"/>
              </a:cxn>
              <a:cxn ang="0">
                <a:pos x="0" y="5"/>
              </a:cxn>
              <a:cxn ang="0">
                <a:pos x="0" y="3"/>
              </a:cxn>
              <a:cxn ang="0">
                <a:pos x="1" y="3"/>
              </a:cxn>
              <a:cxn ang="0">
                <a:pos x="4" y="2"/>
              </a:cxn>
            </a:cxnLst>
            <a:rect l="0" t="0" r="r" b="b"/>
            <a:pathLst>
              <a:path w="5" h="5">
                <a:moveTo>
                  <a:pt x="4" y="2"/>
                </a:moveTo>
                <a:lnTo>
                  <a:pt x="5" y="0"/>
                </a:lnTo>
                <a:lnTo>
                  <a:pt x="4" y="2"/>
                </a:lnTo>
                <a:lnTo>
                  <a:pt x="2" y="5"/>
                </a:lnTo>
                <a:lnTo>
                  <a:pt x="1" y="5"/>
                </a:lnTo>
                <a:lnTo>
                  <a:pt x="0" y="5"/>
                </a:lnTo>
                <a:lnTo>
                  <a:pt x="0" y="3"/>
                </a:lnTo>
                <a:lnTo>
                  <a:pt x="1" y="3"/>
                </a:lnTo>
                <a:lnTo>
                  <a:pt x="4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78" name="Freeform 277"/>
          <p:cNvSpPr>
            <a:spLocks/>
          </p:cNvSpPr>
          <p:nvPr/>
        </p:nvSpPr>
        <p:spPr bwMode="auto">
          <a:xfrm>
            <a:off x="919317" y="2200948"/>
            <a:ext cx="29232" cy="10737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5" y="0"/>
              </a:cxn>
              <a:cxn ang="0">
                <a:pos x="15" y="1"/>
              </a:cxn>
              <a:cxn ang="0">
                <a:pos x="16" y="3"/>
              </a:cxn>
              <a:cxn ang="0">
                <a:pos x="16" y="4"/>
              </a:cxn>
              <a:cxn ang="0">
                <a:pos x="9" y="7"/>
              </a:cxn>
              <a:cxn ang="0">
                <a:pos x="8" y="6"/>
              </a:cxn>
              <a:cxn ang="0">
                <a:pos x="7" y="4"/>
              </a:cxn>
              <a:cxn ang="0">
                <a:pos x="3" y="3"/>
              </a:cxn>
              <a:cxn ang="0">
                <a:pos x="0" y="3"/>
              </a:cxn>
            </a:cxnLst>
            <a:rect l="0" t="0" r="r" b="b"/>
            <a:pathLst>
              <a:path w="16" h="7">
                <a:moveTo>
                  <a:pt x="0" y="3"/>
                </a:moveTo>
                <a:lnTo>
                  <a:pt x="5" y="0"/>
                </a:lnTo>
                <a:lnTo>
                  <a:pt x="15" y="1"/>
                </a:lnTo>
                <a:lnTo>
                  <a:pt x="16" y="3"/>
                </a:lnTo>
                <a:lnTo>
                  <a:pt x="16" y="4"/>
                </a:lnTo>
                <a:lnTo>
                  <a:pt x="9" y="7"/>
                </a:lnTo>
                <a:lnTo>
                  <a:pt x="8" y="6"/>
                </a:lnTo>
                <a:lnTo>
                  <a:pt x="7" y="4"/>
                </a:lnTo>
                <a:lnTo>
                  <a:pt x="3" y="3"/>
                </a:lnTo>
                <a:lnTo>
                  <a:pt x="0" y="3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79" name="Freeform 278"/>
          <p:cNvSpPr>
            <a:spLocks/>
          </p:cNvSpPr>
          <p:nvPr/>
        </p:nvSpPr>
        <p:spPr bwMode="auto">
          <a:xfrm>
            <a:off x="919317" y="2200948"/>
            <a:ext cx="29232" cy="10737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5" y="0"/>
              </a:cxn>
              <a:cxn ang="0">
                <a:pos x="15" y="1"/>
              </a:cxn>
              <a:cxn ang="0">
                <a:pos x="16" y="3"/>
              </a:cxn>
              <a:cxn ang="0">
                <a:pos x="16" y="4"/>
              </a:cxn>
              <a:cxn ang="0">
                <a:pos x="9" y="7"/>
              </a:cxn>
              <a:cxn ang="0">
                <a:pos x="8" y="6"/>
              </a:cxn>
              <a:cxn ang="0">
                <a:pos x="7" y="4"/>
              </a:cxn>
              <a:cxn ang="0">
                <a:pos x="3" y="3"/>
              </a:cxn>
              <a:cxn ang="0">
                <a:pos x="0" y="3"/>
              </a:cxn>
            </a:cxnLst>
            <a:rect l="0" t="0" r="r" b="b"/>
            <a:pathLst>
              <a:path w="16" h="7">
                <a:moveTo>
                  <a:pt x="0" y="3"/>
                </a:moveTo>
                <a:lnTo>
                  <a:pt x="5" y="0"/>
                </a:lnTo>
                <a:lnTo>
                  <a:pt x="15" y="1"/>
                </a:lnTo>
                <a:lnTo>
                  <a:pt x="16" y="3"/>
                </a:lnTo>
                <a:lnTo>
                  <a:pt x="16" y="4"/>
                </a:lnTo>
                <a:lnTo>
                  <a:pt x="9" y="7"/>
                </a:lnTo>
                <a:lnTo>
                  <a:pt x="8" y="6"/>
                </a:lnTo>
                <a:lnTo>
                  <a:pt x="7" y="4"/>
                </a:lnTo>
                <a:lnTo>
                  <a:pt x="3" y="3"/>
                </a:lnTo>
                <a:lnTo>
                  <a:pt x="0" y="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80" name="Freeform 279"/>
          <p:cNvSpPr>
            <a:spLocks/>
          </p:cNvSpPr>
          <p:nvPr/>
        </p:nvSpPr>
        <p:spPr bwMode="auto">
          <a:xfrm>
            <a:off x="929061" y="2119339"/>
            <a:ext cx="21438" cy="15033"/>
          </a:xfrm>
          <a:custGeom>
            <a:avLst/>
            <a:gdLst/>
            <a:ahLst/>
            <a:cxnLst>
              <a:cxn ang="0">
                <a:pos x="9" y="2"/>
              </a:cxn>
              <a:cxn ang="0">
                <a:pos x="10" y="2"/>
              </a:cxn>
              <a:cxn ang="0">
                <a:pos x="9" y="4"/>
              </a:cxn>
              <a:cxn ang="0">
                <a:pos x="9" y="5"/>
              </a:cxn>
              <a:cxn ang="0">
                <a:pos x="2" y="5"/>
              </a:cxn>
              <a:cxn ang="0">
                <a:pos x="0" y="7"/>
              </a:cxn>
              <a:cxn ang="0">
                <a:pos x="0" y="4"/>
              </a:cxn>
              <a:cxn ang="0">
                <a:pos x="6" y="0"/>
              </a:cxn>
              <a:cxn ang="0">
                <a:pos x="9" y="2"/>
              </a:cxn>
            </a:cxnLst>
            <a:rect l="0" t="0" r="r" b="b"/>
            <a:pathLst>
              <a:path w="10" h="7">
                <a:moveTo>
                  <a:pt x="9" y="2"/>
                </a:moveTo>
                <a:lnTo>
                  <a:pt x="10" y="2"/>
                </a:lnTo>
                <a:lnTo>
                  <a:pt x="9" y="4"/>
                </a:lnTo>
                <a:lnTo>
                  <a:pt x="9" y="5"/>
                </a:lnTo>
                <a:lnTo>
                  <a:pt x="2" y="5"/>
                </a:lnTo>
                <a:lnTo>
                  <a:pt x="0" y="7"/>
                </a:lnTo>
                <a:lnTo>
                  <a:pt x="0" y="4"/>
                </a:lnTo>
                <a:lnTo>
                  <a:pt x="6" y="0"/>
                </a:lnTo>
                <a:lnTo>
                  <a:pt x="9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81" name="Freeform 280"/>
          <p:cNvSpPr>
            <a:spLocks/>
          </p:cNvSpPr>
          <p:nvPr/>
        </p:nvSpPr>
        <p:spPr bwMode="auto">
          <a:xfrm>
            <a:off x="929061" y="2119339"/>
            <a:ext cx="21438" cy="15033"/>
          </a:xfrm>
          <a:custGeom>
            <a:avLst/>
            <a:gdLst/>
            <a:ahLst/>
            <a:cxnLst>
              <a:cxn ang="0">
                <a:pos x="9" y="2"/>
              </a:cxn>
              <a:cxn ang="0">
                <a:pos x="10" y="2"/>
              </a:cxn>
              <a:cxn ang="0">
                <a:pos x="9" y="4"/>
              </a:cxn>
              <a:cxn ang="0">
                <a:pos x="9" y="5"/>
              </a:cxn>
              <a:cxn ang="0">
                <a:pos x="2" y="5"/>
              </a:cxn>
              <a:cxn ang="0">
                <a:pos x="0" y="7"/>
              </a:cxn>
              <a:cxn ang="0">
                <a:pos x="0" y="4"/>
              </a:cxn>
              <a:cxn ang="0">
                <a:pos x="6" y="0"/>
              </a:cxn>
              <a:cxn ang="0">
                <a:pos x="9" y="2"/>
              </a:cxn>
            </a:cxnLst>
            <a:rect l="0" t="0" r="r" b="b"/>
            <a:pathLst>
              <a:path w="10" h="7">
                <a:moveTo>
                  <a:pt x="9" y="2"/>
                </a:moveTo>
                <a:lnTo>
                  <a:pt x="10" y="2"/>
                </a:lnTo>
                <a:lnTo>
                  <a:pt x="9" y="4"/>
                </a:lnTo>
                <a:lnTo>
                  <a:pt x="9" y="5"/>
                </a:lnTo>
                <a:lnTo>
                  <a:pt x="2" y="5"/>
                </a:lnTo>
                <a:lnTo>
                  <a:pt x="0" y="7"/>
                </a:lnTo>
                <a:lnTo>
                  <a:pt x="0" y="4"/>
                </a:lnTo>
                <a:lnTo>
                  <a:pt x="6" y="0"/>
                </a:lnTo>
                <a:lnTo>
                  <a:pt x="9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82" name="Freeform 281"/>
          <p:cNvSpPr>
            <a:spLocks/>
          </p:cNvSpPr>
          <p:nvPr/>
        </p:nvSpPr>
        <p:spPr bwMode="auto">
          <a:xfrm>
            <a:off x="839416" y="1829411"/>
            <a:ext cx="857478" cy="577708"/>
          </a:xfrm>
          <a:custGeom>
            <a:avLst/>
            <a:gdLst/>
            <a:ahLst/>
            <a:cxnLst>
              <a:cxn ang="0">
                <a:pos x="400" y="28"/>
              </a:cxn>
              <a:cxn ang="0">
                <a:pos x="348" y="23"/>
              </a:cxn>
              <a:cxn ang="0">
                <a:pos x="275" y="15"/>
              </a:cxn>
              <a:cxn ang="0">
                <a:pos x="235" y="8"/>
              </a:cxn>
              <a:cxn ang="0">
                <a:pos x="197" y="4"/>
              </a:cxn>
              <a:cxn ang="0">
                <a:pos x="179" y="8"/>
              </a:cxn>
              <a:cxn ang="0">
                <a:pos x="165" y="3"/>
              </a:cxn>
              <a:cxn ang="0">
                <a:pos x="131" y="9"/>
              </a:cxn>
              <a:cxn ang="0">
                <a:pos x="121" y="17"/>
              </a:cxn>
              <a:cxn ang="0">
                <a:pos x="89" y="23"/>
              </a:cxn>
              <a:cxn ang="0">
                <a:pos x="77" y="30"/>
              </a:cxn>
              <a:cxn ang="0">
                <a:pos x="28" y="50"/>
              </a:cxn>
              <a:cxn ang="0">
                <a:pos x="56" y="64"/>
              </a:cxn>
              <a:cxn ang="0">
                <a:pos x="86" y="74"/>
              </a:cxn>
              <a:cxn ang="0">
                <a:pos x="109" y="83"/>
              </a:cxn>
              <a:cxn ang="0">
                <a:pos x="118" y="88"/>
              </a:cxn>
              <a:cxn ang="0">
                <a:pos x="96" y="88"/>
              </a:cxn>
              <a:cxn ang="0">
                <a:pos x="86" y="94"/>
              </a:cxn>
              <a:cxn ang="0">
                <a:pos x="68" y="85"/>
              </a:cxn>
              <a:cxn ang="0">
                <a:pos x="20" y="96"/>
              </a:cxn>
              <a:cxn ang="0">
                <a:pos x="29" y="108"/>
              </a:cxn>
              <a:cxn ang="0">
                <a:pos x="57" y="121"/>
              </a:cxn>
              <a:cxn ang="0">
                <a:pos x="90" y="118"/>
              </a:cxn>
              <a:cxn ang="0">
                <a:pos x="102" y="124"/>
              </a:cxn>
              <a:cxn ang="0">
                <a:pos x="89" y="141"/>
              </a:cxn>
              <a:cxn ang="0">
                <a:pos x="56" y="152"/>
              </a:cxn>
              <a:cxn ang="0">
                <a:pos x="29" y="171"/>
              </a:cxn>
              <a:cxn ang="0">
                <a:pos x="41" y="177"/>
              </a:cxn>
              <a:cxn ang="0">
                <a:pos x="65" y="187"/>
              </a:cxn>
              <a:cxn ang="0">
                <a:pos x="61" y="202"/>
              </a:cxn>
              <a:cxn ang="0">
                <a:pos x="82" y="196"/>
              </a:cxn>
              <a:cxn ang="0">
                <a:pos x="92" y="213"/>
              </a:cxn>
              <a:cxn ang="0">
                <a:pos x="99" y="223"/>
              </a:cxn>
              <a:cxn ang="0">
                <a:pos x="129" y="223"/>
              </a:cxn>
              <a:cxn ang="0">
                <a:pos x="170" y="216"/>
              </a:cxn>
              <a:cxn ang="0">
                <a:pos x="143" y="253"/>
              </a:cxn>
              <a:cxn ang="0">
                <a:pos x="113" y="275"/>
              </a:cxn>
              <a:cxn ang="0">
                <a:pos x="78" y="284"/>
              </a:cxn>
              <a:cxn ang="0">
                <a:pos x="76" y="290"/>
              </a:cxn>
              <a:cxn ang="0">
                <a:pos x="99" y="279"/>
              </a:cxn>
              <a:cxn ang="0">
                <a:pos x="125" y="275"/>
              </a:cxn>
              <a:cxn ang="0">
                <a:pos x="135" y="264"/>
              </a:cxn>
              <a:cxn ang="0">
                <a:pos x="163" y="257"/>
              </a:cxn>
              <a:cxn ang="0">
                <a:pos x="186" y="242"/>
              </a:cxn>
              <a:cxn ang="0">
                <a:pos x="210" y="227"/>
              </a:cxn>
              <a:cxn ang="0">
                <a:pos x="216" y="207"/>
              </a:cxn>
              <a:cxn ang="0">
                <a:pos x="236" y="194"/>
              </a:cxn>
              <a:cxn ang="0">
                <a:pos x="268" y="169"/>
              </a:cxn>
              <a:cxn ang="0">
                <a:pos x="280" y="183"/>
              </a:cxn>
              <a:cxn ang="0">
                <a:pos x="246" y="202"/>
              </a:cxn>
              <a:cxn ang="0">
                <a:pos x="243" y="212"/>
              </a:cxn>
              <a:cxn ang="0">
                <a:pos x="266" y="213"/>
              </a:cxn>
              <a:cxn ang="0">
                <a:pos x="284" y="202"/>
              </a:cxn>
              <a:cxn ang="0">
                <a:pos x="292" y="193"/>
              </a:cxn>
              <a:cxn ang="0">
                <a:pos x="302" y="180"/>
              </a:cxn>
              <a:cxn ang="0">
                <a:pos x="327" y="182"/>
              </a:cxn>
              <a:cxn ang="0">
                <a:pos x="332" y="190"/>
              </a:cxn>
              <a:cxn ang="0">
                <a:pos x="353" y="198"/>
              </a:cxn>
              <a:cxn ang="0">
                <a:pos x="400" y="201"/>
              </a:cxn>
              <a:cxn ang="0">
                <a:pos x="433" y="207"/>
              </a:cxn>
              <a:cxn ang="0">
                <a:pos x="433" y="212"/>
              </a:cxn>
              <a:cxn ang="0">
                <a:pos x="436" y="199"/>
              </a:cxn>
            </a:cxnLst>
            <a:rect l="0" t="0" r="r" b="b"/>
            <a:pathLst>
              <a:path w="449" h="292">
                <a:moveTo>
                  <a:pt x="408" y="190"/>
                </a:moveTo>
                <a:lnTo>
                  <a:pt x="408" y="172"/>
                </a:lnTo>
                <a:lnTo>
                  <a:pt x="408" y="157"/>
                </a:lnTo>
                <a:lnTo>
                  <a:pt x="408" y="143"/>
                </a:lnTo>
                <a:lnTo>
                  <a:pt x="408" y="127"/>
                </a:lnTo>
                <a:lnTo>
                  <a:pt x="408" y="110"/>
                </a:lnTo>
                <a:lnTo>
                  <a:pt x="408" y="92"/>
                </a:lnTo>
                <a:lnTo>
                  <a:pt x="408" y="78"/>
                </a:lnTo>
                <a:lnTo>
                  <a:pt x="408" y="63"/>
                </a:lnTo>
                <a:lnTo>
                  <a:pt x="408" y="45"/>
                </a:lnTo>
                <a:lnTo>
                  <a:pt x="408" y="28"/>
                </a:lnTo>
                <a:lnTo>
                  <a:pt x="407" y="28"/>
                </a:lnTo>
                <a:lnTo>
                  <a:pt x="405" y="28"/>
                </a:lnTo>
                <a:lnTo>
                  <a:pt x="405" y="30"/>
                </a:lnTo>
                <a:lnTo>
                  <a:pt x="404" y="30"/>
                </a:lnTo>
                <a:lnTo>
                  <a:pt x="403" y="30"/>
                </a:lnTo>
                <a:lnTo>
                  <a:pt x="400" y="28"/>
                </a:lnTo>
                <a:lnTo>
                  <a:pt x="392" y="26"/>
                </a:lnTo>
                <a:lnTo>
                  <a:pt x="387" y="25"/>
                </a:lnTo>
                <a:lnTo>
                  <a:pt x="384" y="23"/>
                </a:lnTo>
                <a:lnTo>
                  <a:pt x="375" y="22"/>
                </a:lnTo>
                <a:lnTo>
                  <a:pt x="373" y="22"/>
                </a:lnTo>
                <a:lnTo>
                  <a:pt x="372" y="22"/>
                </a:lnTo>
                <a:lnTo>
                  <a:pt x="371" y="22"/>
                </a:lnTo>
                <a:lnTo>
                  <a:pt x="371" y="23"/>
                </a:lnTo>
                <a:lnTo>
                  <a:pt x="369" y="23"/>
                </a:lnTo>
                <a:lnTo>
                  <a:pt x="368" y="22"/>
                </a:lnTo>
                <a:lnTo>
                  <a:pt x="367" y="22"/>
                </a:lnTo>
                <a:lnTo>
                  <a:pt x="365" y="22"/>
                </a:lnTo>
                <a:lnTo>
                  <a:pt x="357" y="23"/>
                </a:lnTo>
                <a:lnTo>
                  <a:pt x="353" y="23"/>
                </a:lnTo>
                <a:lnTo>
                  <a:pt x="351" y="23"/>
                </a:lnTo>
                <a:lnTo>
                  <a:pt x="349" y="23"/>
                </a:lnTo>
                <a:lnTo>
                  <a:pt x="348" y="23"/>
                </a:lnTo>
                <a:lnTo>
                  <a:pt x="343" y="23"/>
                </a:lnTo>
                <a:lnTo>
                  <a:pt x="344" y="23"/>
                </a:lnTo>
                <a:lnTo>
                  <a:pt x="337" y="23"/>
                </a:lnTo>
                <a:lnTo>
                  <a:pt x="335" y="22"/>
                </a:lnTo>
                <a:lnTo>
                  <a:pt x="332" y="20"/>
                </a:lnTo>
                <a:lnTo>
                  <a:pt x="323" y="20"/>
                </a:lnTo>
                <a:lnTo>
                  <a:pt x="318" y="22"/>
                </a:lnTo>
                <a:lnTo>
                  <a:pt x="310" y="20"/>
                </a:lnTo>
                <a:lnTo>
                  <a:pt x="306" y="19"/>
                </a:lnTo>
                <a:lnTo>
                  <a:pt x="303" y="19"/>
                </a:lnTo>
                <a:lnTo>
                  <a:pt x="299" y="17"/>
                </a:lnTo>
                <a:lnTo>
                  <a:pt x="295" y="17"/>
                </a:lnTo>
                <a:lnTo>
                  <a:pt x="294" y="17"/>
                </a:lnTo>
                <a:lnTo>
                  <a:pt x="288" y="15"/>
                </a:lnTo>
                <a:lnTo>
                  <a:pt x="283" y="15"/>
                </a:lnTo>
                <a:lnTo>
                  <a:pt x="276" y="15"/>
                </a:lnTo>
                <a:lnTo>
                  <a:pt x="275" y="15"/>
                </a:lnTo>
                <a:lnTo>
                  <a:pt x="267" y="17"/>
                </a:lnTo>
                <a:lnTo>
                  <a:pt x="268" y="15"/>
                </a:lnTo>
                <a:lnTo>
                  <a:pt x="270" y="15"/>
                </a:lnTo>
                <a:lnTo>
                  <a:pt x="267" y="15"/>
                </a:lnTo>
                <a:lnTo>
                  <a:pt x="264" y="15"/>
                </a:lnTo>
                <a:lnTo>
                  <a:pt x="255" y="15"/>
                </a:lnTo>
                <a:lnTo>
                  <a:pt x="247" y="15"/>
                </a:lnTo>
                <a:lnTo>
                  <a:pt x="248" y="15"/>
                </a:lnTo>
                <a:lnTo>
                  <a:pt x="250" y="14"/>
                </a:lnTo>
                <a:lnTo>
                  <a:pt x="239" y="14"/>
                </a:lnTo>
                <a:lnTo>
                  <a:pt x="238" y="14"/>
                </a:lnTo>
                <a:lnTo>
                  <a:pt x="243" y="14"/>
                </a:lnTo>
                <a:lnTo>
                  <a:pt x="242" y="12"/>
                </a:lnTo>
                <a:lnTo>
                  <a:pt x="239" y="12"/>
                </a:lnTo>
                <a:lnTo>
                  <a:pt x="240" y="11"/>
                </a:lnTo>
                <a:lnTo>
                  <a:pt x="240" y="9"/>
                </a:lnTo>
                <a:lnTo>
                  <a:pt x="235" y="8"/>
                </a:lnTo>
                <a:lnTo>
                  <a:pt x="231" y="8"/>
                </a:lnTo>
                <a:lnTo>
                  <a:pt x="231" y="9"/>
                </a:lnTo>
                <a:lnTo>
                  <a:pt x="228" y="9"/>
                </a:lnTo>
                <a:lnTo>
                  <a:pt x="227" y="8"/>
                </a:lnTo>
                <a:lnTo>
                  <a:pt x="224" y="8"/>
                </a:lnTo>
                <a:lnTo>
                  <a:pt x="222" y="8"/>
                </a:lnTo>
                <a:lnTo>
                  <a:pt x="216" y="9"/>
                </a:lnTo>
                <a:lnTo>
                  <a:pt x="215" y="8"/>
                </a:lnTo>
                <a:lnTo>
                  <a:pt x="214" y="8"/>
                </a:lnTo>
                <a:lnTo>
                  <a:pt x="211" y="9"/>
                </a:lnTo>
                <a:lnTo>
                  <a:pt x="210" y="9"/>
                </a:lnTo>
                <a:lnTo>
                  <a:pt x="207" y="9"/>
                </a:lnTo>
                <a:lnTo>
                  <a:pt x="205" y="9"/>
                </a:lnTo>
                <a:lnTo>
                  <a:pt x="203" y="8"/>
                </a:lnTo>
                <a:lnTo>
                  <a:pt x="205" y="8"/>
                </a:lnTo>
                <a:lnTo>
                  <a:pt x="201" y="4"/>
                </a:lnTo>
                <a:lnTo>
                  <a:pt x="197" y="4"/>
                </a:lnTo>
                <a:lnTo>
                  <a:pt x="194" y="4"/>
                </a:lnTo>
                <a:lnTo>
                  <a:pt x="195" y="6"/>
                </a:lnTo>
                <a:lnTo>
                  <a:pt x="193" y="6"/>
                </a:lnTo>
                <a:lnTo>
                  <a:pt x="191" y="6"/>
                </a:lnTo>
                <a:lnTo>
                  <a:pt x="190" y="8"/>
                </a:lnTo>
                <a:lnTo>
                  <a:pt x="193" y="9"/>
                </a:lnTo>
                <a:lnTo>
                  <a:pt x="194" y="11"/>
                </a:lnTo>
                <a:lnTo>
                  <a:pt x="191" y="11"/>
                </a:lnTo>
                <a:lnTo>
                  <a:pt x="190" y="9"/>
                </a:lnTo>
                <a:lnTo>
                  <a:pt x="189" y="9"/>
                </a:lnTo>
                <a:lnTo>
                  <a:pt x="187" y="9"/>
                </a:lnTo>
                <a:lnTo>
                  <a:pt x="186" y="9"/>
                </a:lnTo>
                <a:lnTo>
                  <a:pt x="185" y="11"/>
                </a:lnTo>
                <a:lnTo>
                  <a:pt x="181" y="9"/>
                </a:lnTo>
                <a:lnTo>
                  <a:pt x="178" y="9"/>
                </a:lnTo>
                <a:lnTo>
                  <a:pt x="177" y="9"/>
                </a:lnTo>
                <a:lnTo>
                  <a:pt x="179" y="8"/>
                </a:lnTo>
                <a:lnTo>
                  <a:pt x="181" y="8"/>
                </a:lnTo>
                <a:lnTo>
                  <a:pt x="185" y="6"/>
                </a:lnTo>
                <a:lnTo>
                  <a:pt x="189" y="4"/>
                </a:lnTo>
                <a:lnTo>
                  <a:pt x="189" y="3"/>
                </a:lnTo>
                <a:lnTo>
                  <a:pt x="186" y="3"/>
                </a:lnTo>
                <a:lnTo>
                  <a:pt x="181" y="3"/>
                </a:lnTo>
                <a:lnTo>
                  <a:pt x="181" y="1"/>
                </a:lnTo>
                <a:lnTo>
                  <a:pt x="178" y="1"/>
                </a:lnTo>
                <a:lnTo>
                  <a:pt x="177" y="1"/>
                </a:lnTo>
                <a:lnTo>
                  <a:pt x="174" y="1"/>
                </a:lnTo>
                <a:lnTo>
                  <a:pt x="171" y="0"/>
                </a:lnTo>
                <a:lnTo>
                  <a:pt x="170" y="0"/>
                </a:lnTo>
                <a:lnTo>
                  <a:pt x="170" y="1"/>
                </a:lnTo>
                <a:lnTo>
                  <a:pt x="169" y="1"/>
                </a:lnTo>
                <a:lnTo>
                  <a:pt x="167" y="3"/>
                </a:lnTo>
                <a:lnTo>
                  <a:pt x="166" y="4"/>
                </a:lnTo>
                <a:lnTo>
                  <a:pt x="165" y="3"/>
                </a:lnTo>
                <a:lnTo>
                  <a:pt x="163" y="4"/>
                </a:lnTo>
                <a:lnTo>
                  <a:pt x="162" y="4"/>
                </a:lnTo>
                <a:lnTo>
                  <a:pt x="161" y="6"/>
                </a:lnTo>
                <a:lnTo>
                  <a:pt x="153" y="9"/>
                </a:lnTo>
                <a:lnTo>
                  <a:pt x="146" y="9"/>
                </a:lnTo>
                <a:lnTo>
                  <a:pt x="147" y="9"/>
                </a:lnTo>
                <a:lnTo>
                  <a:pt x="139" y="11"/>
                </a:lnTo>
                <a:lnTo>
                  <a:pt x="134" y="9"/>
                </a:lnTo>
                <a:lnTo>
                  <a:pt x="135" y="11"/>
                </a:lnTo>
                <a:lnTo>
                  <a:pt x="133" y="11"/>
                </a:lnTo>
                <a:lnTo>
                  <a:pt x="134" y="12"/>
                </a:lnTo>
                <a:lnTo>
                  <a:pt x="129" y="11"/>
                </a:lnTo>
                <a:lnTo>
                  <a:pt x="131" y="9"/>
                </a:lnTo>
                <a:lnTo>
                  <a:pt x="133" y="9"/>
                </a:lnTo>
                <a:lnTo>
                  <a:pt x="135" y="8"/>
                </a:lnTo>
                <a:lnTo>
                  <a:pt x="137" y="8"/>
                </a:lnTo>
                <a:lnTo>
                  <a:pt x="131" y="9"/>
                </a:lnTo>
                <a:lnTo>
                  <a:pt x="127" y="9"/>
                </a:lnTo>
                <a:lnTo>
                  <a:pt x="123" y="11"/>
                </a:lnTo>
                <a:lnTo>
                  <a:pt x="122" y="11"/>
                </a:lnTo>
                <a:lnTo>
                  <a:pt x="122" y="12"/>
                </a:lnTo>
                <a:lnTo>
                  <a:pt x="121" y="12"/>
                </a:lnTo>
                <a:lnTo>
                  <a:pt x="122" y="12"/>
                </a:lnTo>
                <a:lnTo>
                  <a:pt x="123" y="12"/>
                </a:lnTo>
                <a:lnTo>
                  <a:pt x="125" y="14"/>
                </a:lnTo>
                <a:lnTo>
                  <a:pt x="127" y="15"/>
                </a:lnTo>
                <a:lnTo>
                  <a:pt x="130" y="15"/>
                </a:lnTo>
                <a:lnTo>
                  <a:pt x="126" y="15"/>
                </a:lnTo>
                <a:lnTo>
                  <a:pt x="123" y="15"/>
                </a:lnTo>
                <a:lnTo>
                  <a:pt x="123" y="17"/>
                </a:lnTo>
                <a:lnTo>
                  <a:pt x="123" y="19"/>
                </a:lnTo>
                <a:lnTo>
                  <a:pt x="122" y="19"/>
                </a:lnTo>
                <a:lnTo>
                  <a:pt x="121" y="19"/>
                </a:lnTo>
                <a:lnTo>
                  <a:pt x="121" y="17"/>
                </a:lnTo>
                <a:lnTo>
                  <a:pt x="118" y="19"/>
                </a:lnTo>
                <a:lnTo>
                  <a:pt x="121" y="17"/>
                </a:lnTo>
                <a:lnTo>
                  <a:pt x="119" y="15"/>
                </a:lnTo>
                <a:lnTo>
                  <a:pt x="122" y="15"/>
                </a:lnTo>
                <a:lnTo>
                  <a:pt x="121" y="14"/>
                </a:lnTo>
                <a:lnTo>
                  <a:pt x="118" y="14"/>
                </a:lnTo>
                <a:lnTo>
                  <a:pt x="111" y="15"/>
                </a:lnTo>
                <a:lnTo>
                  <a:pt x="114" y="15"/>
                </a:lnTo>
                <a:lnTo>
                  <a:pt x="111" y="17"/>
                </a:lnTo>
                <a:lnTo>
                  <a:pt x="99" y="20"/>
                </a:lnTo>
                <a:lnTo>
                  <a:pt x="96" y="20"/>
                </a:lnTo>
                <a:lnTo>
                  <a:pt x="93" y="22"/>
                </a:lnTo>
                <a:lnTo>
                  <a:pt x="93" y="20"/>
                </a:lnTo>
                <a:lnTo>
                  <a:pt x="96" y="19"/>
                </a:lnTo>
                <a:lnTo>
                  <a:pt x="92" y="19"/>
                </a:lnTo>
                <a:lnTo>
                  <a:pt x="89" y="22"/>
                </a:lnTo>
                <a:lnTo>
                  <a:pt x="89" y="23"/>
                </a:lnTo>
                <a:lnTo>
                  <a:pt x="93" y="25"/>
                </a:lnTo>
                <a:lnTo>
                  <a:pt x="97" y="25"/>
                </a:lnTo>
                <a:lnTo>
                  <a:pt x="97" y="26"/>
                </a:lnTo>
                <a:lnTo>
                  <a:pt x="89" y="23"/>
                </a:lnTo>
                <a:lnTo>
                  <a:pt x="88" y="23"/>
                </a:lnTo>
                <a:lnTo>
                  <a:pt x="85" y="23"/>
                </a:lnTo>
                <a:lnTo>
                  <a:pt x="84" y="25"/>
                </a:lnTo>
                <a:lnTo>
                  <a:pt x="78" y="28"/>
                </a:lnTo>
                <a:lnTo>
                  <a:pt x="81" y="28"/>
                </a:lnTo>
                <a:lnTo>
                  <a:pt x="88" y="28"/>
                </a:lnTo>
                <a:lnTo>
                  <a:pt x="86" y="28"/>
                </a:lnTo>
                <a:lnTo>
                  <a:pt x="78" y="28"/>
                </a:lnTo>
                <a:lnTo>
                  <a:pt x="77" y="28"/>
                </a:lnTo>
                <a:lnTo>
                  <a:pt x="77" y="30"/>
                </a:lnTo>
                <a:lnTo>
                  <a:pt x="80" y="31"/>
                </a:lnTo>
                <a:lnTo>
                  <a:pt x="82" y="31"/>
                </a:lnTo>
                <a:lnTo>
                  <a:pt x="77" y="30"/>
                </a:lnTo>
                <a:lnTo>
                  <a:pt x="77" y="31"/>
                </a:lnTo>
                <a:lnTo>
                  <a:pt x="74" y="34"/>
                </a:lnTo>
                <a:lnTo>
                  <a:pt x="74" y="36"/>
                </a:lnTo>
                <a:lnTo>
                  <a:pt x="73" y="33"/>
                </a:lnTo>
                <a:lnTo>
                  <a:pt x="72" y="36"/>
                </a:lnTo>
                <a:lnTo>
                  <a:pt x="69" y="39"/>
                </a:lnTo>
                <a:lnTo>
                  <a:pt x="62" y="42"/>
                </a:lnTo>
                <a:lnTo>
                  <a:pt x="52" y="42"/>
                </a:lnTo>
                <a:lnTo>
                  <a:pt x="42" y="44"/>
                </a:lnTo>
                <a:lnTo>
                  <a:pt x="34" y="44"/>
                </a:lnTo>
                <a:lnTo>
                  <a:pt x="32" y="44"/>
                </a:lnTo>
                <a:lnTo>
                  <a:pt x="34" y="44"/>
                </a:lnTo>
                <a:lnTo>
                  <a:pt x="28" y="44"/>
                </a:lnTo>
                <a:lnTo>
                  <a:pt x="28" y="47"/>
                </a:lnTo>
                <a:lnTo>
                  <a:pt x="28" y="48"/>
                </a:lnTo>
                <a:lnTo>
                  <a:pt x="26" y="50"/>
                </a:lnTo>
                <a:lnTo>
                  <a:pt x="28" y="50"/>
                </a:lnTo>
                <a:lnTo>
                  <a:pt x="29" y="50"/>
                </a:lnTo>
                <a:lnTo>
                  <a:pt x="28" y="52"/>
                </a:lnTo>
                <a:lnTo>
                  <a:pt x="24" y="52"/>
                </a:lnTo>
                <a:lnTo>
                  <a:pt x="22" y="53"/>
                </a:lnTo>
                <a:lnTo>
                  <a:pt x="21" y="53"/>
                </a:lnTo>
                <a:lnTo>
                  <a:pt x="24" y="52"/>
                </a:lnTo>
                <a:lnTo>
                  <a:pt x="24" y="50"/>
                </a:lnTo>
                <a:lnTo>
                  <a:pt x="24" y="52"/>
                </a:lnTo>
                <a:lnTo>
                  <a:pt x="20" y="52"/>
                </a:lnTo>
                <a:lnTo>
                  <a:pt x="18" y="53"/>
                </a:lnTo>
                <a:lnTo>
                  <a:pt x="28" y="55"/>
                </a:lnTo>
                <a:lnTo>
                  <a:pt x="30" y="56"/>
                </a:lnTo>
                <a:lnTo>
                  <a:pt x="32" y="58"/>
                </a:lnTo>
                <a:lnTo>
                  <a:pt x="38" y="59"/>
                </a:lnTo>
                <a:lnTo>
                  <a:pt x="41" y="59"/>
                </a:lnTo>
                <a:lnTo>
                  <a:pt x="50" y="63"/>
                </a:lnTo>
                <a:lnTo>
                  <a:pt x="56" y="64"/>
                </a:lnTo>
                <a:lnTo>
                  <a:pt x="60" y="67"/>
                </a:lnTo>
                <a:lnTo>
                  <a:pt x="62" y="69"/>
                </a:lnTo>
                <a:lnTo>
                  <a:pt x="64" y="69"/>
                </a:lnTo>
                <a:lnTo>
                  <a:pt x="65" y="70"/>
                </a:lnTo>
                <a:lnTo>
                  <a:pt x="66" y="72"/>
                </a:lnTo>
                <a:lnTo>
                  <a:pt x="65" y="72"/>
                </a:lnTo>
                <a:lnTo>
                  <a:pt x="65" y="74"/>
                </a:lnTo>
                <a:lnTo>
                  <a:pt x="66" y="75"/>
                </a:lnTo>
                <a:lnTo>
                  <a:pt x="70" y="75"/>
                </a:lnTo>
                <a:lnTo>
                  <a:pt x="73" y="77"/>
                </a:lnTo>
                <a:lnTo>
                  <a:pt x="80" y="78"/>
                </a:lnTo>
                <a:lnTo>
                  <a:pt x="78" y="77"/>
                </a:lnTo>
                <a:lnTo>
                  <a:pt x="80" y="77"/>
                </a:lnTo>
                <a:lnTo>
                  <a:pt x="81" y="75"/>
                </a:lnTo>
                <a:lnTo>
                  <a:pt x="85" y="75"/>
                </a:lnTo>
                <a:lnTo>
                  <a:pt x="84" y="75"/>
                </a:lnTo>
                <a:lnTo>
                  <a:pt x="86" y="74"/>
                </a:lnTo>
                <a:lnTo>
                  <a:pt x="84" y="77"/>
                </a:lnTo>
                <a:lnTo>
                  <a:pt x="85" y="78"/>
                </a:lnTo>
                <a:lnTo>
                  <a:pt x="88" y="77"/>
                </a:lnTo>
                <a:lnTo>
                  <a:pt x="92" y="77"/>
                </a:lnTo>
                <a:lnTo>
                  <a:pt x="96" y="77"/>
                </a:lnTo>
                <a:lnTo>
                  <a:pt x="97" y="77"/>
                </a:lnTo>
                <a:lnTo>
                  <a:pt x="99" y="78"/>
                </a:lnTo>
                <a:lnTo>
                  <a:pt x="98" y="78"/>
                </a:lnTo>
                <a:lnTo>
                  <a:pt x="96" y="78"/>
                </a:lnTo>
                <a:lnTo>
                  <a:pt x="94" y="81"/>
                </a:lnTo>
                <a:lnTo>
                  <a:pt x="97" y="85"/>
                </a:lnTo>
                <a:lnTo>
                  <a:pt x="102" y="85"/>
                </a:lnTo>
                <a:lnTo>
                  <a:pt x="102" y="83"/>
                </a:lnTo>
                <a:lnTo>
                  <a:pt x="103" y="83"/>
                </a:lnTo>
                <a:lnTo>
                  <a:pt x="103" y="85"/>
                </a:lnTo>
                <a:lnTo>
                  <a:pt x="105" y="83"/>
                </a:lnTo>
                <a:lnTo>
                  <a:pt x="109" y="83"/>
                </a:lnTo>
                <a:lnTo>
                  <a:pt x="114" y="85"/>
                </a:lnTo>
                <a:lnTo>
                  <a:pt x="117" y="85"/>
                </a:lnTo>
                <a:lnTo>
                  <a:pt x="119" y="83"/>
                </a:lnTo>
                <a:lnTo>
                  <a:pt x="122" y="83"/>
                </a:lnTo>
                <a:lnTo>
                  <a:pt x="123" y="83"/>
                </a:lnTo>
                <a:lnTo>
                  <a:pt x="129" y="83"/>
                </a:lnTo>
                <a:lnTo>
                  <a:pt x="127" y="83"/>
                </a:lnTo>
                <a:lnTo>
                  <a:pt x="121" y="85"/>
                </a:lnTo>
                <a:lnTo>
                  <a:pt x="119" y="86"/>
                </a:lnTo>
                <a:lnTo>
                  <a:pt x="121" y="86"/>
                </a:lnTo>
                <a:lnTo>
                  <a:pt x="127" y="85"/>
                </a:lnTo>
                <a:lnTo>
                  <a:pt x="129" y="85"/>
                </a:lnTo>
                <a:lnTo>
                  <a:pt x="129" y="86"/>
                </a:lnTo>
                <a:lnTo>
                  <a:pt x="127" y="86"/>
                </a:lnTo>
                <a:lnTo>
                  <a:pt x="121" y="86"/>
                </a:lnTo>
                <a:lnTo>
                  <a:pt x="119" y="88"/>
                </a:lnTo>
                <a:lnTo>
                  <a:pt x="118" y="88"/>
                </a:lnTo>
                <a:lnTo>
                  <a:pt x="113" y="88"/>
                </a:lnTo>
                <a:lnTo>
                  <a:pt x="110" y="88"/>
                </a:lnTo>
                <a:lnTo>
                  <a:pt x="109" y="88"/>
                </a:lnTo>
                <a:lnTo>
                  <a:pt x="107" y="88"/>
                </a:lnTo>
                <a:lnTo>
                  <a:pt x="106" y="86"/>
                </a:lnTo>
                <a:lnTo>
                  <a:pt x="105" y="86"/>
                </a:lnTo>
                <a:lnTo>
                  <a:pt x="103" y="86"/>
                </a:lnTo>
                <a:lnTo>
                  <a:pt x="101" y="86"/>
                </a:lnTo>
                <a:lnTo>
                  <a:pt x="96" y="86"/>
                </a:lnTo>
                <a:lnTo>
                  <a:pt x="93" y="85"/>
                </a:lnTo>
                <a:lnTo>
                  <a:pt x="90" y="83"/>
                </a:lnTo>
                <a:lnTo>
                  <a:pt x="93" y="85"/>
                </a:lnTo>
                <a:lnTo>
                  <a:pt x="94" y="86"/>
                </a:lnTo>
                <a:lnTo>
                  <a:pt x="93" y="88"/>
                </a:lnTo>
                <a:lnTo>
                  <a:pt x="93" y="89"/>
                </a:lnTo>
                <a:lnTo>
                  <a:pt x="94" y="89"/>
                </a:lnTo>
                <a:lnTo>
                  <a:pt x="96" y="88"/>
                </a:lnTo>
                <a:lnTo>
                  <a:pt x="98" y="88"/>
                </a:lnTo>
                <a:lnTo>
                  <a:pt x="106" y="89"/>
                </a:lnTo>
                <a:lnTo>
                  <a:pt x="107" y="89"/>
                </a:lnTo>
                <a:lnTo>
                  <a:pt x="107" y="91"/>
                </a:lnTo>
                <a:lnTo>
                  <a:pt x="105" y="92"/>
                </a:lnTo>
                <a:lnTo>
                  <a:pt x="106" y="92"/>
                </a:lnTo>
                <a:lnTo>
                  <a:pt x="105" y="91"/>
                </a:lnTo>
                <a:lnTo>
                  <a:pt x="99" y="89"/>
                </a:lnTo>
                <a:lnTo>
                  <a:pt x="97" y="92"/>
                </a:lnTo>
                <a:lnTo>
                  <a:pt x="96" y="94"/>
                </a:lnTo>
                <a:lnTo>
                  <a:pt x="96" y="96"/>
                </a:lnTo>
                <a:lnTo>
                  <a:pt x="94" y="96"/>
                </a:lnTo>
                <a:lnTo>
                  <a:pt x="93" y="96"/>
                </a:lnTo>
                <a:lnTo>
                  <a:pt x="92" y="94"/>
                </a:lnTo>
                <a:lnTo>
                  <a:pt x="90" y="94"/>
                </a:lnTo>
                <a:lnTo>
                  <a:pt x="88" y="94"/>
                </a:lnTo>
                <a:lnTo>
                  <a:pt x="86" y="94"/>
                </a:lnTo>
                <a:lnTo>
                  <a:pt x="82" y="94"/>
                </a:lnTo>
                <a:lnTo>
                  <a:pt x="81" y="94"/>
                </a:lnTo>
                <a:lnTo>
                  <a:pt x="81" y="92"/>
                </a:lnTo>
                <a:lnTo>
                  <a:pt x="80" y="94"/>
                </a:lnTo>
                <a:lnTo>
                  <a:pt x="78" y="94"/>
                </a:lnTo>
                <a:lnTo>
                  <a:pt x="77" y="94"/>
                </a:lnTo>
                <a:lnTo>
                  <a:pt x="73" y="94"/>
                </a:lnTo>
                <a:lnTo>
                  <a:pt x="68" y="94"/>
                </a:lnTo>
                <a:lnTo>
                  <a:pt x="65" y="92"/>
                </a:lnTo>
                <a:lnTo>
                  <a:pt x="65" y="91"/>
                </a:lnTo>
                <a:lnTo>
                  <a:pt x="61" y="91"/>
                </a:lnTo>
                <a:lnTo>
                  <a:pt x="65" y="89"/>
                </a:lnTo>
                <a:lnTo>
                  <a:pt x="65" y="88"/>
                </a:lnTo>
                <a:lnTo>
                  <a:pt x="65" y="86"/>
                </a:lnTo>
                <a:lnTo>
                  <a:pt x="65" y="85"/>
                </a:lnTo>
                <a:lnTo>
                  <a:pt x="62" y="85"/>
                </a:lnTo>
                <a:lnTo>
                  <a:pt x="68" y="85"/>
                </a:lnTo>
                <a:lnTo>
                  <a:pt x="62" y="85"/>
                </a:lnTo>
                <a:lnTo>
                  <a:pt x="58" y="85"/>
                </a:lnTo>
                <a:lnTo>
                  <a:pt x="52" y="85"/>
                </a:lnTo>
                <a:lnTo>
                  <a:pt x="48" y="86"/>
                </a:lnTo>
                <a:lnTo>
                  <a:pt x="44" y="88"/>
                </a:lnTo>
                <a:lnTo>
                  <a:pt x="42" y="88"/>
                </a:lnTo>
                <a:lnTo>
                  <a:pt x="41" y="88"/>
                </a:lnTo>
                <a:lnTo>
                  <a:pt x="37" y="89"/>
                </a:lnTo>
                <a:lnTo>
                  <a:pt x="34" y="91"/>
                </a:lnTo>
                <a:lnTo>
                  <a:pt x="37" y="91"/>
                </a:lnTo>
                <a:lnTo>
                  <a:pt x="38" y="92"/>
                </a:lnTo>
                <a:lnTo>
                  <a:pt x="37" y="92"/>
                </a:lnTo>
                <a:lnTo>
                  <a:pt x="32" y="92"/>
                </a:lnTo>
                <a:lnTo>
                  <a:pt x="30" y="92"/>
                </a:lnTo>
                <a:lnTo>
                  <a:pt x="28" y="92"/>
                </a:lnTo>
                <a:lnTo>
                  <a:pt x="21" y="94"/>
                </a:lnTo>
                <a:lnTo>
                  <a:pt x="20" y="96"/>
                </a:lnTo>
                <a:lnTo>
                  <a:pt x="18" y="96"/>
                </a:lnTo>
                <a:lnTo>
                  <a:pt x="17" y="96"/>
                </a:lnTo>
                <a:lnTo>
                  <a:pt x="17" y="97"/>
                </a:lnTo>
                <a:lnTo>
                  <a:pt x="13" y="97"/>
                </a:lnTo>
                <a:lnTo>
                  <a:pt x="12" y="97"/>
                </a:lnTo>
                <a:lnTo>
                  <a:pt x="9" y="97"/>
                </a:lnTo>
                <a:lnTo>
                  <a:pt x="9" y="99"/>
                </a:lnTo>
                <a:lnTo>
                  <a:pt x="2" y="102"/>
                </a:lnTo>
                <a:lnTo>
                  <a:pt x="1" y="102"/>
                </a:lnTo>
                <a:lnTo>
                  <a:pt x="2" y="99"/>
                </a:lnTo>
                <a:lnTo>
                  <a:pt x="0" y="100"/>
                </a:lnTo>
                <a:lnTo>
                  <a:pt x="0" y="102"/>
                </a:lnTo>
                <a:lnTo>
                  <a:pt x="1" y="102"/>
                </a:lnTo>
                <a:lnTo>
                  <a:pt x="12" y="105"/>
                </a:lnTo>
                <a:lnTo>
                  <a:pt x="20" y="107"/>
                </a:lnTo>
                <a:lnTo>
                  <a:pt x="18" y="107"/>
                </a:lnTo>
                <a:lnTo>
                  <a:pt x="29" y="108"/>
                </a:lnTo>
                <a:lnTo>
                  <a:pt x="24" y="108"/>
                </a:lnTo>
                <a:lnTo>
                  <a:pt x="22" y="110"/>
                </a:lnTo>
                <a:lnTo>
                  <a:pt x="20" y="110"/>
                </a:lnTo>
                <a:lnTo>
                  <a:pt x="20" y="108"/>
                </a:lnTo>
                <a:lnTo>
                  <a:pt x="18" y="108"/>
                </a:lnTo>
                <a:lnTo>
                  <a:pt x="18" y="110"/>
                </a:lnTo>
                <a:lnTo>
                  <a:pt x="21" y="113"/>
                </a:lnTo>
                <a:lnTo>
                  <a:pt x="25" y="114"/>
                </a:lnTo>
                <a:lnTo>
                  <a:pt x="25" y="116"/>
                </a:lnTo>
                <a:lnTo>
                  <a:pt x="24" y="118"/>
                </a:lnTo>
                <a:lnTo>
                  <a:pt x="26" y="119"/>
                </a:lnTo>
                <a:lnTo>
                  <a:pt x="28" y="119"/>
                </a:lnTo>
                <a:lnTo>
                  <a:pt x="29" y="121"/>
                </a:lnTo>
                <a:lnTo>
                  <a:pt x="41" y="122"/>
                </a:lnTo>
                <a:lnTo>
                  <a:pt x="44" y="121"/>
                </a:lnTo>
                <a:lnTo>
                  <a:pt x="49" y="122"/>
                </a:lnTo>
                <a:lnTo>
                  <a:pt x="57" y="121"/>
                </a:lnTo>
                <a:lnTo>
                  <a:pt x="64" y="121"/>
                </a:lnTo>
                <a:lnTo>
                  <a:pt x="68" y="121"/>
                </a:lnTo>
                <a:lnTo>
                  <a:pt x="72" y="121"/>
                </a:lnTo>
                <a:lnTo>
                  <a:pt x="76" y="124"/>
                </a:lnTo>
                <a:lnTo>
                  <a:pt x="76" y="122"/>
                </a:lnTo>
                <a:lnTo>
                  <a:pt x="76" y="121"/>
                </a:lnTo>
                <a:lnTo>
                  <a:pt x="74" y="121"/>
                </a:lnTo>
                <a:lnTo>
                  <a:pt x="72" y="121"/>
                </a:lnTo>
                <a:lnTo>
                  <a:pt x="72" y="119"/>
                </a:lnTo>
                <a:lnTo>
                  <a:pt x="76" y="119"/>
                </a:lnTo>
                <a:lnTo>
                  <a:pt x="77" y="121"/>
                </a:lnTo>
                <a:lnTo>
                  <a:pt x="80" y="122"/>
                </a:lnTo>
                <a:lnTo>
                  <a:pt x="81" y="125"/>
                </a:lnTo>
                <a:lnTo>
                  <a:pt x="84" y="124"/>
                </a:lnTo>
                <a:lnTo>
                  <a:pt x="85" y="121"/>
                </a:lnTo>
                <a:lnTo>
                  <a:pt x="89" y="119"/>
                </a:lnTo>
                <a:lnTo>
                  <a:pt x="90" y="118"/>
                </a:lnTo>
                <a:lnTo>
                  <a:pt x="96" y="118"/>
                </a:lnTo>
                <a:lnTo>
                  <a:pt x="96" y="116"/>
                </a:lnTo>
                <a:lnTo>
                  <a:pt x="99" y="118"/>
                </a:lnTo>
                <a:lnTo>
                  <a:pt x="101" y="116"/>
                </a:lnTo>
                <a:lnTo>
                  <a:pt x="103" y="116"/>
                </a:lnTo>
                <a:lnTo>
                  <a:pt x="106" y="114"/>
                </a:lnTo>
                <a:lnTo>
                  <a:pt x="110" y="116"/>
                </a:lnTo>
                <a:lnTo>
                  <a:pt x="111" y="118"/>
                </a:lnTo>
                <a:lnTo>
                  <a:pt x="111" y="119"/>
                </a:lnTo>
                <a:lnTo>
                  <a:pt x="110" y="121"/>
                </a:lnTo>
                <a:lnTo>
                  <a:pt x="107" y="121"/>
                </a:lnTo>
                <a:lnTo>
                  <a:pt x="105" y="122"/>
                </a:lnTo>
                <a:lnTo>
                  <a:pt x="102" y="121"/>
                </a:lnTo>
                <a:lnTo>
                  <a:pt x="99" y="121"/>
                </a:lnTo>
                <a:lnTo>
                  <a:pt x="99" y="122"/>
                </a:lnTo>
                <a:lnTo>
                  <a:pt x="101" y="124"/>
                </a:lnTo>
                <a:lnTo>
                  <a:pt x="102" y="124"/>
                </a:lnTo>
                <a:lnTo>
                  <a:pt x="105" y="124"/>
                </a:lnTo>
                <a:lnTo>
                  <a:pt x="106" y="125"/>
                </a:lnTo>
                <a:lnTo>
                  <a:pt x="109" y="129"/>
                </a:lnTo>
                <a:lnTo>
                  <a:pt x="109" y="130"/>
                </a:lnTo>
                <a:lnTo>
                  <a:pt x="107" y="130"/>
                </a:lnTo>
                <a:lnTo>
                  <a:pt x="110" y="130"/>
                </a:lnTo>
                <a:lnTo>
                  <a:pt x="110" y="132"/>
                </a:lnTo>
                <a:lnTo>
                  <a:pt x="110" y="133"/>
                </a:lnTo>
                <a:lnTo>
                  <a:pt x="110" y="135"/>
                </a:lnTo>
                <a:lnTo>
                  <a:pt x="107" y="138"/>
                </a:lnTo>
                <a:lnTo>
                  <a:pt x="106" y="138"/>
                </a:lnTo>
                <a:lnTo>
                  <a:pt x="103" y="140"/>
                </a:lnTo>
                <a:lnTo>
                  <a:pt x="102" y="140"/>
                </a:lnTo>
                <a:lnTo>
                  <a:pt x="98" y="140"/>
                </a:lnTo>
                <a:lnTo>
                  <a:pt x="97" y="141"/>
                </a:lnTo>
                <a:lnTo>
                  <a:pt x="94" y="141"/>
                </a:lnTo>
                <a:lnTo>
                  <a:pt x="89" y="141"/>
                </a:lnTo>
                <a:lnTo>
                  <a:pt x="88" y="141"/>
                </a:lnTo>
                <a:lnTo>
                  <a:pt x="90" y="140"/>
                </a:lnTo>
                <a:lnTo>
                  <a:pt x="88" y="140"/>
                </a:lnTo>
                <a:lnTo>
                  <a:pt x="86" y="140"/>
                </a:lnTo>
                <a:lnTo>
                  <a:pt x="85" y="141"/>
                </a:lnTo>
                <a:lnTo>
                  <a:pt x="82" y="144"/>
                </a:lnTo>
                <a:lnTo>
                  <a:pt x="78" y="146"/>
                </a:lnTo>
                <a:lnTo>
                  <a:pt x="77" y="147"/>
                </a:lnTo>
                <a:lnTo>
                  <a:pt x="74" y="147"/>
                </a:lnTo>
                <a:lnTo>
                  <a:pt x="72" y="147"/>
                </a:lnTo>
                <a:lnTo>
                  <a:pt x="70" y="146"/>
                </a:lnTo>
                <a:lnTo>
                  <a:pt x="65" y="149"/>
                </a:lnTo>
                <a:lnTo>
                  <a:pt x="61" y="149"/>
                </a:lnTo>
                <a:lnTo>
                  <a:pt x="60" y="151"/>
                </a:lnTo>
                <a:lnTo>
                  <a:pt x="61" y="152"/>
                </a:lnTo>
                <a:lnTo>
                  <a:pt x="60" y="154"/>
                </a:lnTo>
                <a:lnTo>
                  <a:pt x="56" y="152"/>
                </a:lnTo>
                <a:lnTo>
                  <a:pt x="52" y="154"/>
                </a:lnTo>
                <a:lnTo>
                  <a:pt x="49" y="155"/>
                </a:lnTo>
                <a:lnTo>
                  <a:pt x="48" y="157"/>
                </a:lnTo>
                <a:lnTo>
                  <a:pt x="46" y="155"/>
                </a:lnTo>
                <a:lnTo>
                  <a:pt x="44" y="157"/>
                </a:lnTo>
                <a:lnTo>
                  <a:pt x="40" y="160"/>
                </a:lnTo>
                <a:lnTo>
                  <a:pt x="38" y="160"/>
                </a:lnTo>
                <a:lnTo>
                  <a:pt x="37" y="160"/>
                </a:lnTo>
                <a:lnTo>
                  <a:pt x="37" y="162"/>
                </a:lnTo>
                <a:lnTo>
                  <a:pt x="34" y="165"/>
                </a:lnTo>
                <a:lnTo>
                  <a:pt x="34" y="166"/>
                </a:lnTo>
                <a:lnTo>
                  <a:pt x="34" y="168"/>
                </a:lnTo>
                <a:lnTo>
                  <a:pt x="34" y="169"/>
                </a:lnTo>
                <a:lnTo>
                  <a:pt x="32" y="169"/>
                </a:lnTo>
                <a:lnTo>
                  <a:pt x="30" y="169"/>
                </a:lnTo>
                <a:lnTo>
                  <a:pt x="29" y="169"/>
                </a:lnTo>
                <a:lnTo>
                  <a:pt x="29" y="171"/>
                </a:lnTo>
                <a:lnTo>
                  <a:pt x="32" y="171"/>
                </a:lnTo>
                <a:lnTo>
                  <a:pt x="32" y="172"/>
                </a:lnTo>
                <a:lnTo>
                  <a:pt x="28" y="172"/>
                </a:lnTo>
                <a:lnTo>
                  <a:pt x="28" y="174"/>
                </a:lnTo>
                <a:lnTo>
                  <a:pt x="34" y="174"/>
                </a:lnTo>
                <a:lnTo>
                  <a:pt x="36" y="174"/>
                </a:lnTo>
                <a:lnTo>
                  <a:pt x="37" y="172"/>
                </a:lnTo>
                <a:lnTo>
                  <a:pt x="42" y="172"/>
                </a:lnTo>
                <a:lnTo>
                  <a:pt x="41" y="172"/>
                </a:lnTo>
                <a:lnTo>
                  <a:pt x="42" y="174"/>
                </a:lnTo>
                <a:lnTo>
                  <a:pt x="37" y="174"/>
                </a:lnTo>
                <a:lnTo>
                  <a:pt x="34" y="174"/>
                </a:lnTo>
                <a:lnTo>
                  <a:pt x="32" y="176"/>
                </a:lnTo>
                <a:lnTo>
                  <a:pt x="32" y="177"/>
                </a:lnTo>
                <a:lnTo>
                  <a:pt x="36" y="179"/>
                </a:lnTo>
                <a:lnTo>
                  <a:pt x="40" y="177"/>
                </a:lnTo>
                <a:lnTo>
                  <a:pt x="41" y="177"/>
                </a:lnTo>
                <a:lnTo>
                  <a:pt x="40" y="177"/>
                </a:lnTo>
                <a:lnTo>
                  <a:pt x="40" y="179"/>
                </a:lnTo>
                <a:lnTo>
                  <a:pt x="40" y="180"/>
                </a:lnTo>
                <a:lnTo>
                  <a:pt x="41" y="182"/>
                </a:lnTo>
                <a:lnTo>
                  <a:pt x="41" y="183"/>
                </a:lnTo>
                <a:lnTo>
                  <a:pt x="42" y="183"/>
                </a:lnTo>
                <a:lnTo>
                  <a:pt x="44" y="183"/>
                </a:lnTo>
                <a:lnTo>
                  <a:pt x="45" y="183"/>
                </a:lnTo>
                <a:lnTo>
                  <a:pt x="48" y="182"/>
                </a:lnTo>
                <a:lnTo>
                  <a:pt x="48" y="183"/>
                </a:lnTo>
                <a:lnTo>
                  <a:pt x="49" y="183"/>
                </a:lnTo>
                <a:lnTo>
                  <a:pt x="53" y="183"/>
                </a:lnTo>
                <a:lnTo>
                  <a:pt x="50" y="185"/>
                </a:lnTo>
                <a:lnTo>
                  <a:pt x="54" y="187"/>
                </a:lnTo>
                <a:lnTo>
                  <a:pt x="60" y="187"/>
                </a:lnTo>
                <a:lnTo>
                  <a:pt x="62" y="187"/>
                </a:lnTo>
                <a:lnTo>
                  <a:pt x="65" y="187"/>
                </a:lnTo>
                <a:lnTo>
                  <a:pt x="66" y="188"/>
                </a:lnTo>
                <a:lnTo>
                  <a:pt x="65" y="190"/>
                </a:lnTo>
                <a:lnTo>
                  <a:pt x="60" y="190"/>
                </a:lnTo>
                <a:lnTo>
                  <a:pt x="58" y="191"/>
                </a:lnTo>
                <a:lnTo>
                  <a:pt x="56" y="194"/>
                </a:lnTo>
                <a:lnTo>
                  <a:pt x="54" y="196"/>
                </a:lnTo>
                <a:lnTo>
                  <a:pt x="53" y="196"/>
                </a:lnTo>
                <a:lnTo>
                  <a:pt x="53" y="198"/>
                </a:lnTo>
                <a:lnTo>
                  <a:pt x="56" y="201"/>
                </a:lnTo>
                <a:lnTo>
                  <a:pt x="57" y="201"/>
                </a:lnTo>
                <a:lnTo>
                  <a:pt x="58" y="201"/>
                </a:lnTo>
                <a:lnTo>
                  <a:pt x="61" y="201"/>
                </a:lnTo>
                <a:lnTo>
                  <a:pt x="62" y="201"/>
                </a:lnTo>
                <a:lnTo>
                  <a:pt x="61" y="202"/>
                </a:lnTo>
                <a:lnTo>
                  <a:pt x="65" y="202"/>
                </a:lnTo>
                <a:lnTo>
                  <a:pt x="64" y="202"/>
                </a:lnTo>
                <a:lnTo>
                  <a:pt x="61" y="202"/>
                </a:lnTo>
                <a:lnTo>
                  <a:pt x="58" y="204"/>
                </a:lnTo>
                <a:lnTo>
                  <a:pt x="60" y="204"/>
                </a:lnTo>
                <a:lnTo>
                  <a:pt x="64" y="205"/>
                </a:lnTo>
                <a:lnTo>
                  <a:pt x="65" y="205"/>
                </a:lnTo>
                <a:lnTo>
                  <a:pt x="66" y="207"/>
                </a:lnTo>
                <a:lnTo>
                  <a:pt x="68" y="207"/>
                </a:lnTo>
                <a:lnTo>
                  <a:pt x="69" y="207"/>
                </a:lnTo>
                <a:lnTo>
                  <a:pt x="72" y="207"/>
                </a:lnTo>
                <a:lnTo>
                  <a:pt x="73" y="207"/>
                </a:lnTo>
                <a:lnTo>
                  <a:pt x="76" y="207"/>
                </a:lnTo>
                <a:lnTo>
                  <a:pt x="78" y="205"/>
                </a:lnTo>
                <a:lnTo>
                  <a:pt x="82" y="202"/>
                </a:lnTo>
                <a:lnTo>
                  <a:pt x="84" y="199"/>
                </a:lnTo>
                <a:lnTo>
                  <a:pt x="85" y="199"/>
                </a:lnTo>
                <a:lnTo>
                  <a:pt x="85" y="198"/>
                </a:lnTo>
                <a:lnTo>
                  <a:pt x="84" y="198"/>
                </a:lnTo>
                <a:lnTo>
                  <a:pt x="82" y="196"/>
                </a:lnTo>
                <a:lnTo>
                  <a:pt x="88" y="191"/>
                </a:lnTo>
                <a:lnTo>
                  <a:pt x="92" y="188"/>
                </a:lnTo>
                <a:lnTo>
                  <a:pt x="93" y="187"/>
                </a:lnTo>
                <a:lnTo>
                  <a:pt x="96" y="187"/>
                </a:lnTo>
                <a:lnTo>
                  <a:pt x="98" y="187"/>
                </a:lnTo>
                <a:lnTo>
                  <a:pt x="90" y="191"/>
                </a:lnTo>
                <a:lnTo>
                  <a:pt x="85" y="194"/>
                </a:lnTo>
                <a:lnTo>
                  <a:pt x="85" y="196"/>
                </a:lnTo>
                <a:lnTo>
                  <a:pt x="88" y="198"/>
                </a:lnTo>
                <a:lnTo>
                  <a:pt x="88" y="199"/>
                </a:lnTo>
                <a:lnTo>
                  <a:pt x="88" y="201"/>
                </a:lnTo>
                <a:lnTo>
                  <a:pt x="89" y="202"/>
                </a:lnTo>
                <a:lnTo>
                  <a:pt x="92" y="204"/>
                </a:lnTo>
                <a:lnTo>
                  <a:pt x="94" y="209"/>
                </a:lnTo>
                <a:lnTo>
                  <a:pt x="96" y="210"/>
                </a:lnTo>
                <a:lnTo>
                  <a:pt x="93" y="213"/>
                </a:lnTo>
                <a:lnTo>
                  <a:pt x="92" y="213"/>
                </a:lnTo>
                <a:lnTo>
                  <a:pt x="90" y="215"/>
                </a:lnTo>
                <a:lnTo>
                  <a:pt x="93" y="218"/>
                </a:lnTo>
                <a:lnTo>
                  <a:pt x="94" y="216"/>
                </a:lnTo>
                <a:lnTo>
                  <a:pt x="96" y="216"/>
                </a:lnTo>
                <a:lnTo>
                  <a:pt x="97" y="218"/>
                </a:lnTo>
                <a:lnTo>
                  <a:pt x="96" y="218"/>
                </a:lnTo>
                <a:lnTo>
                  <a:pt x="94" y="220"/>
                </a:lnTo>
                <a:lnTo>
                  <a:pt x="96" y="221"/>
                </a:lnTo>
                <a:lnTo>
                  <a:pt x="97" y="221"/>
                </a:lnTo>
                <a:lnTo>
                  <a:pt x="97" y="223"/>
                </a:lnTo>
                <a:lnTo>
                  <a:pt x="96" y="223"/>
                </a:lnTo>
                <a:lnTo>
                  <a:pt x="93" y="224"/>
                </a:lnTo>
                <a:lnTo>
                  <a:pt x="92" y="224"/>
                </a:lnTo>
                <a:lnTo>
                  <a:pt x="89" y="226"/>
                </a:lnTo>
                <a:lnTo>
                  <a:pt x="94" y="226"/>
                </a:lnTo>
                <a:lnTo>
                  <a:pt x="98" y="224"/>
                </a:lnTo>
                <a:lnTo>
                  <a:pt x="99" y="223"/>
                </a:lnTo>
                <a:lnTo>
                  <a:pt x="102" y="223"/>
                </a:lnTo>
                <a:lnTo>
                  <a:pt x="106" y="221"/>
                </a:lnTo>
                <a:lnTo>
                  <a:pt x="109" y="221"/>
                </a:lnTo>
                <a:lnTo>
                  <a:pt x="113" y="218"/>
                </a:lnTo>
                <a:lnTo>
                  <a:pt x="117" y="213"/>
                </a:lnTo>
                <a:lnTo>
                  <a:pt x="117" y="215"/>
                </a:lnTo>
                <a:lnTo>
                  <a:pt x="117" y="218"/>
                </a:lnTo>
                <a:lnTo>
                  <a:pt x="117" y="220"/>
                </a:lnTo>
                <a:lnTo>
                  <a:pt x="118" y="221"/>
                </a:lnTo>
                <a:lnTo>
                  <a:pt x="119" y="221"/>
                </a:lnTo>
                <a:lnTo>
                  <a:pt x="121" y="223"/>
                </a:lnTo>
                <a:lnTo>
                  <a:pt x="122" y="223"/>
                </a:lnTo>
                <a:lnTo>
                  <a:pt x="125" y="221"/>
                </a:lnTo>
                <a:lnTo>
                  <a:pt x="125" y="220"/>
                </a:lnTo>
                <a:lnTo>
                  <a:pt x="126" y="221"/>
                </a:lnTo>
                <a:lnTo>
                  <a:pt x="127" y="221"/>
                </a:lnTo>
                <a:lnTo>
                  <a:pt x="129" y="223"/>
                </a:lnTo>
                <a:lnTo>
                  <a:pt x="130" y="224"/>
                </a:lnTo>
                <a:lnTo>
                  <a:pt x="134" y="229"/>
                </a:lnTo>
                <a:lnTo>
                  <a:pt x="137" y="229"/>
                </a:lnTo>
                <a:lnTo>
                  <a:pt x="139" y="227"/>
                </a:lnTo>
                <a:lnTo>
                  <a:pt x="139" y="226"/>
                </a:lnTo>
                <a:lnTo>
                  <a:pt x="138" y="223"/>
                </a:lnTo>
                <a:lnTo>
                  <a:pt x="139" y="221"/>
                </a:lnTo>
                <a:lnTo>
                  <a:pt x="142" y="220"/>
                </a:lnTo>
                <a:lnTo>
                  <a:pt x="143" y="220"/>
                </a:lnTo>
                <a:lnTo>
                  <a:pt x="145" y="220"/>
                </a:lnTo>
                <a:lnTo>
                  <a:pt x="143" y="223"/>
                </a:lnTo>
                <a:lnTo>
                  <a:pt x="147" y="224"/>
                </a:lnTo>
                <a:lnTo>
                  <a:pt x="150" y="226"/>
                </a:lnTo>
                <a:lnTo>
                  <a:pt x="157" y="223"/>
                </a:lnTo>
                <a:lnTo>
                  <a:pt x="162" y="221"/>
                </a:lnTo>
                <a:lnTo>
                  <a:pt x="166" y="218"/>
                </a:lnTo>
                <a:lnTo>
                  <a:pt x="170" y="216"/>
                </a:lnTo>
                <a:lnTo>
                  <a:pt x="170" y="218"/>
                </a:lnTo>
                <a:lnTo>
                  <a:pt x="166" y="221"/>
                </a:lnTo>
                <a:lnTo>
                  <a:pt x="165" y="223"/>
                </a:lnTo>
                <a:lnTo>
                  <a:pt x="163" y="226"/>
                </a:lnTo>
                <a:lnTo>
                  <a:pt x="161" y="226"/>
                </a:lnTo>
                <a:lnTo>
                  <a:pt x="158" y="231"/>
                </a:lnTo>
                <a:lnTo>
                  <a:pt x="162" y="232"/>
                </a:lnTo>
                <a:lnTo>
                  <a:pt x="158" y="234"/>
                </a:lnTo>
                <a:lnTo>
                  <a:pt x="157" y="240"/>
                </a:lnTo>
                <a:lnTo>
                  <a:pt x="155" y="242"/>
                </a:lnTo>
                <a:lnTo>
                  <a:pt x="155" y="243"/>
                </a:lnTo>
                <a:lnTo>
                  <a:pt x="154" y="245"/>
                </a:lnTo>
                <a:lnTo>
                  <a:pt x="150" y="249"/>
                </a:lnTo>
                <a:lnTo>
                  <a:pt x="149" y="248"/>
                </a:lnTo>
                <a:lnTo>
                  <a:pt x="147" y="248"/>
                </a:lnTo>
                <a:lnTo>
                  <a:pt x="147" y="249"/>
                </a:lnTo>
                <a:lnTo>
                  <a:pt x="143" y="253"/>
                </a:lnTo>
                <a:lnTo>
                  <a:pt x="142" y="254"/>
                </a:lnTo>
                <a:lnTo>
                  <a:pt x="141" y="257"/>
                </a:lnTo>
                <a:lnTo>
                  <a:pt x="138" y="257"/>
                </a:lnTo>
                <a:lnTo>
                  <a:pt x="137" y="257"/>
                </a:lnTo>
                <a:lnTo>
                  <a:pt x="133" y="260"/>
                </a:lnTo>
                <a:lnTo>
                  <a:pt x="129" y="260"/>
                </a:lnTo>
                <a:lnTo>
                  <a:pt x="125" y="262"/>
                </a:lnTo>
                <a:lnTo>
                  <a:pt x="123" y="262"/>
                </a:lnTo>
                <a:lnTo>
                  <a:pt x="118" y="265"/>
                </a:lnTo>
                <a:lnTo>
                  <a:pt x="115" y="268"/>
                </a:lnTo>
                <a:lnTo>
                  <a:pt x="114" y="270"/>
                </a:lnTo>
                <a:lnTo>
                  <a:pt x="113" y="271"/>
                </a:lnTo>
                <a:lnTo>
                  <a:pt x="113" y="273"/>
                </a:lnTo>
                <a:lnTo>
                  <a:pt x="115" y="275"/>
                </a:lnTo>
                <a:lnTo>
                  <a:pt x="117" y="276"/>
                </a:lnTo>
                <a:lnTo>
                  <a:pt x="114" y="275"/>
                </a:lnTo>
                <a:lnTo>
                  <a:pt x="113" y="275"/>
                </a:lnTo>
                <a:lnTo>
                  <a:pt x="110" y="275"/>
                </a:lnTo>
                <a:lnTo>
                  <a:pt x="109" y="275"/>
                </a:lnTo>
                <a:lnTo>
                  <a:pt x="107" y="275"/>
                </a:lnTo>
                <a:lnTo>
                  <a:pt x="106" y="273"/>
                </a:lnTo>
                <a:lnTo>
                  <a:pt x="107" y="273"/>
                </a:lnTo>
                <a:lnTo>
                  <a:pt x="107" y="271"/>
                </a:lnTo>
                <a:lnTo>
                  <a:pt x="105" y="271"/>
                </a:lnTo>
                <a:lnTo>
                  <a:pt x="102" y="271"/>
                </a:lnTo>
                <a:lnTo>
                  <a:pt x="101" y="271"/>
                </a:lnTo>
                <a:lnTo>
                  <a:pt x="99" y="273"/>
                </a:lnTo>
                <a:lnTo>
                  <a:pt x="96" y="273"/>
                </a:lnTo>
                <a:lnTo>
                  <a:pt x="89" y="276"/>
                </a:lnTo>
                <a:lnTo>
                  <a:pt x="85" y="279"/>
                </a:lnTo>
                <a:lnTo>
                  <a:pt x="84" y="281"/>
                </a:lnTo>
                <a:lnTo>
                  <a:pt x="82" y="281"/>
                </a:lnTo>
                <a:lnTo>
                  <a:pt x="82" y="282"/>
                </a:lnTo>
                <a:lnTo>
                  <a:pt x="78" y="284"/>
                </a:lnTo>
                <a:lnTo>
                  <a:pt x="78" y="286"/>
                </a:lnTo>
                <a:lnTo>
                  <a:pt x="77" y="286"/>
                </a:lnTo>
                <a:lnTo>
                  <a:pt x="76" y="286"/>
                </a:lnTo>
                <a:lnTo>
                  <a:pt x="74" y="286"/>
                </a:lnTo>
                <a:lnTo>
                  <a:pt x="72" y="287"/>
                </a:lnTo>
                <a:lnTo>
                  <a:pt x="70" y="287"/>
                </a:lnTo>
                <a:lnTo>
                  <a:pt x="69" y="287"/>
                </a:lnTo>
                <a:lnTo>
                  <a:pt x="69" y="289"/>
                </a:lnTo>
                <a:lnTo>
                  <a:pt x="70" y="289"/>
                </a:lnTo>
                <a:lnTo>
                  <a:pt x="72" y="290"/>
                </a:lnTo>
                <a:lnTo>
                  <a:pt x="70" y="292"/>
                </a:lnTo>
                <a:lnTo>
                  <a:pt x="72" y="292"/>
                </a:lnTo>
                <a:lnTo>
                  <a:pt x="73" y="292"/>
                </a:lnTo>
                <a:lnTo>
                  <a:pt x="74" y="290"/>
                </a:lnTo>
                <a:lnTo>
                  <a:pt x="73" y="287"/>
                </a:lnTo>
                <a:lnTo>
                  <a:pt x="74" y="289"/>
                </a:lnTo>
                <a:lnTo>
                  <a:pt x="76" y="290"/>
                </a:lnTo>
                <a:lnTo>
                  <a:pt x="77" y="290"/>
                </a:lnTo>
                <a:lnTo>
                  <a:pt x="82" y="289"/>
                </a:lnTo>
                <a:lnTo>
                  <a:pt x="81" y="286"/>
                </a:lnTo>
                <a:lnTo>
                  <a:pt x="84" y="286"/>
                </a:lnTo>
                <a:lnTo>
                  <a:pt x="84" y="287"/>
                </a:lnTo>
                <a:lnTo>
                  <a:pt x="84" y="289"/>
                </a:lnTo>
                <a:lnTo>
                  <a:pt x="85" y="289"/>
                </a:lnTo>
                <a:lnTo>
                  <a:pt x="86" y="289"/>
                </a:lnTo>
                <a:lnTo>
                  <a:pt x="88" y="289"/>
                </a:lnTo>
                <a:lnTo>
                  <a:pt x="89" y="287"/>
                </a:lnTo>
                <a:lnTo>
                  <a:pt x="90" y="287"/>
                </a:lnTo>
                <a:lnTo>
                  <a:pt x="92" y="286"/>
                </a:lnTo>
                <a:lnTo>
                  <a:pt x="93" y="284"/>
                </a:lnTo>
                <a:lnTo>
                  <a:pt x="94" y="282"/>
                </a:lnTo>
                <a:lnTo>
                  <a:pt x="96" y="279"/>
                </a:lnTo>
                <a:lnTo>
                  <a:pt x="97" y="279"/>
                </a:lnTo>
                <a:lnTo>
                  <a:pt x="99" y="279"/>
                </a:lnTo>
                <a:lnTo>
                  <a:pt x="99" y="281"/>
                </a:lnTo>
                <a:lnTo>
                  <a:pt x="98" y="282"/>
                </a:lnTo>
                <a:lnTo>
                  <a:pt x="102" y="282"/>
                </a:lnTo>
                <a:lnTo>
                  <a:pt x="106" y="281"/>
                </a:lnTo>
                <a:lnTo>
                  <a:pt x="110" y="281"/>
                </a:lnTo>
                <a:lnTo>
                  <a:pt x="110" y="279"/>
                </a:lnTo>
                <a:lnTo>
                  <a:pt x="111" y="279"/>
                </a:lnTo>
                <a:lnTo>
                  <a:pt x="113" y="281"/>
                </a:lnTo>
                <a:lnTo>
                  <a:pt x="114" y="279"/>
                </a:lnTo>
                <a:lnTo>
                  <a:pt x="114" y="278"/>
                </a:lnTo>
                <a:lnTo>
                  <a:pt x="115" y="278"/>
                </a:lnTo>
                <a:lnTo>
                  <a:pt x="118" y="278"/>
                </a:lnTo>
                <a:lnTo>
                  <a:pt x="119" y="276"/>
                </a:lnTo>
                <a:lnTo>
                  <a:pt x="121" y="276"/>
                </a:lnTo>
                <a:lnTo>
                  <a:pt x="122" y="276"/>
                </a:lnTo>
                <a:lnTo>
                  <a:pt x="123" y="275"/>
                </a:lnTo>
                <a:lnTo>
                  <a:pt x="125" y="275"/>
                </a:lnTo>
                <a:lnTo>
                  <a:pt x="126" y="276"/>
                </a:lnTo>
                <a:lnTo>
                  <a:pt x="126" y="278"/>
                </a:lnTo>
                <a:lnTo>
                  <a:pt x="125" y="279"/>
                </a:lnTo>
                <a:lnTo>
                  <a:pt x="126" y="279"/>
                </a:lnTo>
                <a:lnTo>
                  <a:pt x="129" y="276"/>
                </a:lnTo>
                <a:lnTo>
                  <a:pt x="129" y="275"/>
                </a:lnTo>
                <a:lnTo>
                  <a:pt x="130" y="275"/>
                </a:lnTo>
                <a:lnTo>
                  <a:pt x="135" y="275"/>
                </a:lnTo>
                <a:lnTo>
                  <a:pt x="138" y="271"/>
                </a:lnTo>
                <a:lnTo>
                  <a:pt x="141" y="271"/>
                </a:lnTo>
                <a:lnTo>
                  <a:pt x="141" y="270"/>
                </a:lnTo>
                <a:lnTo>
                  <a:pt x="141" y="268"/>
                </a:lnTo>
                <a:lnTo>
                  <a:pt x="138" y="268"/>
                </a:lnTo>
                <a:lnTo>
                  <a:pt x="137" y="267"/>
                </a:lnTo>
                <a:lnTo>
                  <a:pt x="135" y="265"/>
                </a:lnTo>
                <a:lnTo>
                  <a:pt x="134" y="264"/>
                </a:lnTo>
                <a:lnTo>
                  <a:pt x="135" y="264"/>
                </a:lnTo>
                <a:lnTo>
                  <a:pt x="137" y="265"/>
                </a:lnTo>
                <a:lnTo>
                  <a:pt x="138" y="267"/>
                </a:lnTo>
                <a:lnTo>
                  <a:pt x="141" y="267"/>
                </a:lnTo>
                <a:lnTo>
                  <a:pt x="145" y="264"/>
                </a:lnTo>
                <a:lnTo>
                  <a:pt x="147" y="264"/>
                </a:lnTo>
                <a:lnTo>
                  <a:pt x="153" y="264"/>
                </a:lnTo>
                <a:lnTo>
                  <a:pt x="154" y="262"/>
                </a:lnTo>
                <a:lnTo>
                  <a:pt x="153" y="262"/>
                </a:lnTo>
                <a:lnTo>
                  <a:pt x="150" y="262"/>
                </a:lnTo>
                <a:lnTo>
                  <a:pt x="151" y="262"/>
                </a:lnTo>
                <a:lnTo>
                  <a:pt x="154" y="260"/>
                </a:lnTo>
                <a:lnTo>
                  <a:pt x="155" y="260"/>
                </a:lnTo>
                <a:lnTo>
                  <a:pt x="158" y="260"/>
                </a:lnTo>
                <a:lnTo>
                  <a:pt x="158" y="259"/>
                </a:lnTo>
                <a:lnTo>
                  <a:pt x="158" y="257"/>
                </a:lnTo>
                <a:lnTo>
                  <a:pt x="161" y="257"/>
                </a:lnTo>
                <a:lnTo>
                  <a:pt x="163" y="257"/>
                </a:lnTo>
                <a:lnTo>
                  <a:pt x="167" y="256"/>
                </a:lnTo>
                <a:lnTo>
                  <a:pt x="167" y="254"/>
                </a:lnTo>
                <a:lnTo>
                  <a:pt x="169" y="256"/>
                </a:lnTo>
                <a:lnTo>
                  <a:pt x="170" y="254"/>
                </a:lnTo>
                <a:lnTo>
                  <a:pt x="171" y="254"/>
                </a:lnTo>
                <a:lnTo>
                  <a:pt x="174" y="253"/>
                </a:lnTo>
                <a:lnTo>
                  <a:pt x="175" y="251"/>
                </a:lnTo>
                <a:lnTo>
                  <a:pt x="175" y="249"/>
                </a:lnTo>
                <a:lnTo>
                  <a:pt x="174" y="249"/>
                </a:lnTo>
                <a:lnTo>
                  <a:pt x="173" y="249"/>
                </a:lnTo>
                <a:lnTo>
                  <a:pt x="174" y="248"/>
                </a:lnTo>
                <a:lnTo>
                  <a:pt x="179" y="246"/>
                </a:lnTo>
                <a:lnTo>
                  <a:pt x="181" y="245"/>
                </a:lnTo>
                <a:lnTo>
                  <a:pt x="185" y="245"/>
                </a:lnTo>
                <a:lnTo>
                  <a:pt x="185" y="243"/>
                </a:lnTo>
                <a:lnTo>
                  <a:pt x="186" y="243"/>
                </a:lnTo>
                <a:lnTo>
                  <a:pt x="186" y="242"/>
                </a:lnTo>
                <a:lnTo>
                  <a:pt x="187" y="242"/>
                </a:lnTo>
                <a:lnTo>
                  <a:pt x="190" y="242"/>
                </a:lnTo>
                <a:lnTo>
                  <a:pt x="191" y="240"/>
                </a:lnTo>
                <a:lnTo>
                  <a:pt x="193" y="240"/>
                </a:lnTo>
                <a:lnTo>
                  <a:pt x="194" y="238"/>
                </a:lnTo>
                <a:lnTo>
                  <a:pt x="195" y="238"/>
                </a:lnTo>
                <a:lnTo>
                  <a:pt x="195" y="237"/>
                </a:lnTo>
                <a:lnTo>
                  <a:pt x="199" y="235"/>
                </a:lnTo>
                <a:lnTo>
                  <a:pt x="203" y="235"/>
                </a:lnTo>
                <a:lnTo>
                  <a:pt x="205" y="234"/>
                </a:lnTo>
                <a:lnTo>
                  <a:pt x="206" y="234"/>
                </a:lnTo>
                <a:lnTo>
                  <a:pt x="210" y="234"/>
                </a:lnTo>
                <a:lnTo>
                  <a:pt x="210" y="232"/>
                </a:lnTo>
                <a:lnTo>
                  <a:pt x="207" y="231"/>
                </a:lnTo>
                <a:lnTo>
                  <a:pt x="210" y="231"/>
                </a:lnTo>
                <a:lnTo>
                  <a:pt x="210" y="229"/>
                </a:lnTo>
                <a:lnTo>
                  <a:pt x="210" y="227"/>
                </a:lnTo>
                <a:lnTo>
                  <a:pt x="211" y="227"/>
                </a:lnTo>
                <a:lnTo>
                  <a:pt x="214" y="226"/>
                </a:lnTo>
                <a:lnTo>
                  <a:pt x="218" y="224"/>
                </a:lnTo>
                <a:lnTo>
                  <a:pt x="220" y="223"/>
                </a:lnTo>
                <a:lnTo>
                  <a:pt x="220" y="221"/>
                </a:lnTo>
                <a:lnTo>
                  <a:pt x="219" y="220"/>
                </a:lnTo>
                <a:lnTo>
                  <a:pt x="215" y="220"/>
                </a:lnTo>
                <a:lnTo>
                  <a:pt x="215" y="218"/>
                </a:lnTo>
                <a:lnTo>
                  <a:pt x="212" y="218"/>
                </a:lnTo>
                <a:lnTo>
                  <a:pt x="209" y="218"/>
                </a:lnTo>
                <a:lnTo>
                  <a:pt x="207" y="218"/>
                </a:lnTo>
                <a:lnTo>
                  <a:pt x="210" y="213"/>
                </a:lnTo>
                <a:lnTo>
                  <a:pt x="210" y="212"/>
                </a:lnTo>
                <a:lnTo>
                  <a:pt x="214" y="212"/>
                </a:lnTo>
                <a:lnTo>
                  <a:pt x="215" y="210"/>
                </a:lnTo>
                <a:lnTo>
                  <a:pt x="216" y="209"/>
                </a:lnTo>
                <a:lnTo>
                  <a:pt x="216" y="207"/>
                </a:lnTo>
                <a:lnTo>
                  <a:pt x="218" y="207"/>
                </a:lnTo>
                <a:lnTo>
                  <a:pt x="219" y="205"/>
                </a:lnTo>
                <a:lnTo>
                  <a:pt x="220" y="205"/>
                </a:lnTo>
                <a:lnTo>
                  <a:pt x="220" y="207"/>
                </a:lnTo>
                <a:lnTo>
                  <a:pt x="223" y="207"/>
                </a:lnTo>
                <a:lnTo>
                  <a:pt x="226" y="205"/>
                </a:lnTo>
                <a:lnTo>
                  <a:pt x="226" y="204"/>
                </a:lnTo>
                <a:lnTo>
                  <a:pt x="223" y="204"/>
                </a:lnTo>
                <a:lnTo>
                  <a:pt x="224" y="204"/>
                </a:lnTo>
                <a:lnTo>
                  <a:pt x="228" y="204"/>
                </a:lnTo>
                <a:lnTo>
                  <a:pt x="231" y="201"/>
                </a:lnTo>
                <a:lnTo>
                  <a:pt x="230" y="199"/>
                </a:lnTo>
                <a:lnTo>
                  <a:pt x="224" y="196"/>
                </a:lnTo>
                <a:lnTo>
                  <a:pt x="227" y="196"/>
                </a:lnTo>
                <a:lnTo>
                  <a:pt x="228" y="198"/>
                </a:lnTo>
                <a:lnTo>
                  <a:pt x="232" y="198"/>
                </a:lnTo>
                <a:lnTo>
                  <a:pt x="236" y="194"/>
                </a:lnTo>
                <a:lnTo>
                  <a:pt x="239" y="191"/>
                </a:lnTo>
                <a:lnTo>
                  <a:pt x="244" y="187"/>
                </a:lnTo>
                <a:lnTo>
                  <a:pt x="244" y="185"/>
                </a:lnTo>
                <a:lnTo>
                  <a:pt x="254" y="182"/>
                </a:lnTo>
                <a:lnTo>
                  <a:pt x="260" y="179"/>
                </a:lnTo>
                <a:lnTo>
                  <a:pt x="260" y="177"/>
                </a:lnTo>
                <a:lnTo>
                  <a:pt x="260" y="176"/>
                </a:lnTo>
                <a:lnTo>
                  <a:pt x="260" y="174"/>
                </a:lnTo>
                <a:lnTo>
                  <a:pt x="262" y="172"/>
                </a:lnTo>
                <a:lnTo>
                  <a:pt x="263" y="171"/>
                </a:lnTo>
                <a:lnTo>
                  <a:pt x="267" y="166"/>
                </a:lnTo>
                <a:lnTo>
                  <a:pt x="267" y="165"/>
                </a:lnTo>
                <a:lnTo>
                  <a:pt x="267" y="163"/>
                </a:lnTo>
                <a:lnTo>
                  <a:pt x="268" y="162"/>
                </a:lnTo>
                <a:lnTo>
                  <a:pt x="270" y="162"/>
                </a:lnTo>
                <a:lnTo>
                  <a:pt x="270" y="163"/>
                </a:lnTo>
                <a:lnTo>
                  <a:pt x="268" y="169"/>
                </a:lnTo>
                <a:lnTo>
                  <a:pt x="267" y="171"/>
                </a:lnTo>
                <a:lnTo>
                  <a:pt x="263" y="174"/>
                </a:lnTo>
                <a:lnTo>
                  <a:pt x="263" y="177"/>
                </a:lnTo>
                <a:lnTo>
                  <a:pt x="262" y="179"/>
                </a:lnTo>
                <a:lnTo>
                  <a:pt x="264" y="179"/>
                </a:lnTo>
                <a:lnTo>
                  <a:pt x="270" y="179"/>
                </a:lnTo>
                <a:lnTo>
                  <a:pt x="275" y="176"/>
                </a:lnTo>
                <a:lnTo>
                  <a:pt x="279" y="174"/>
                </a:lnTo>
                <a:lnTo>
                  <a:pt x="282" y="174"/>
                </a:lnTo>
                <a:lnTo>
                  <a:pt x="279" y="176"/>
                </a:lnTo>
                <a:lnTo>
                  <a:pt x="278" y="177"/>
                </a:lnTo>
                <a:lnTo>
                  <a:pt x="275" y="177"/>
                </a:lnTo>
                <a:lnTo>
                  <a:pt x="274" y="179"/>
                </a:lnTo>
                <a:lnTo>
                  <a:pt x="271" y="180"/>
                </a:lnTo>
                <a:lnTo>
                  <a:pt x="271" y="182"/>
                </a:lnTo>
                <a:lnTo>
                  <a:pt x="272" y="183"/>
                </a:lnTo>
                <a:lnTo>
                  <a:pt x="280" y="183"/>
                </a:lnTo>
                <a:lnTo>
                  <a:pt x="286" y="185"/>
                </a:lnTo>
                <a:lnTo>
                  <a:pt x="274" y="185"/>
                </a:lnTo>
                <a:lnTo>
                  <a:pt x="270" y="185"/>
                </a:lnTo>
                <a:lnTo>
                  <a:pt x="267" y="185"/>
                </a:lnTo>
                <a:lnTo>
                  <a:pt x="266" y="183"/>
                </a:lnTo>
                <a:lnTo>
                  <a:pt x="263" y="183"/>
                </a:lnTo>
                <a:lnTo>
                  <a:pt x="262" y="185"/>
                </a:lnTo>
                <a:lnTo>
                  <a:pt x="259" y="187"/>
                </a:lnTo>
                <a:lnTo>
                  <a:pt x="251" y="188"/>
                </a:lnTo>
                <a:lnTo>
                  <a:pt x="251" y="190"/>
                </a:lnTo>
                <a:lnTo>
                  <a:pt x="251" y="191"/>
                </a:lnTo>
                <a:lnTo>
                  <a:pt x="251" y="194"/>
                </a:lnTo>
                <a:lnTo>
                  <a:pt x="251" y="196"/>
                </a:lnTo>
                <a:lnTo>
                  <a:pt x="250" y="198"/>
                </a:lnTo>
                <a:lnTo>
                  <a:pt x="247" y="199"/>
                </a:lnTo>
                <a:lnTo>
                  <a:pt x="246" y="201"/>
                </a:lnTo>
                <a:lnTo>
                  <a:pt x="246" y="202"/>
                </a:lnTo>
                <a:lnTo>
                  <a:pt x="244" y="204"/>
                </a:lnTo>
                <a:lnTo>
                  <a:pt x="243" y="205"/>
                </a:lnTo>
                <a:lnTo>
                  <a:pt x="244" y="207"/>
                </a:lnTo>
                <a:lnTo>
                  <a:pt x="248" y="209"/>
                </a:lnTo>
                <a:lnTo>
                  <a:pt x="255" y="205"/>
                </a:lnTo>
                <a:lnTo>
                  <a:pt x="256" y="205"/>
                </a:lnTo>
                <a:lnTo>
                  <a:pt x="255" y="207"/>
                </a:lnTo>
                <a:lnTo>
                  <a:pt x="254" y="209"/>
                </a:lnTo>
                <a:lnTo>
                  <a:pt x="252" y="210"/>
                </a:lnTo>
                <a:lnTo>
                  <a:pt x="251" y="210"/>
                </a:lnTo>
                <a:lnTo>
                  <a:pt x="250" y="210"/>
                </a:lnTo>
                <a:lnTo>
                  <a:pt x="251" y="212"/>
                </a:lnTo>
                <a:lnTo>
                  <a:pt x="248" y="210"/>
                </a:lnTo>
                <a:lnTo>
                  <a:pt x="247" y="210"/>
                </a:lnTo>
                <a:lnTo>
                  <a:pt x="246" y="212"/>
                </a:lnTo>
                <a:lnTo>
                  <a:pt x="244" y="210"/>
                </a:lnTo>
                <a:lnTo>
                  <a:pt x="243" y="212"/>
                </a:lnTo>
                <a:lnTo>
                  <a:pt x="244" y="213"/>
                </a:lnTo>
                <a:lnTo>
                  <a:pt x="242" y="213"/>
                </a:lnTo>
                <a:lnTo>
                  <a:pt x="242" y="215"/>
                </a:lnTo>
                <a:lnTo>
                  <a:pt x="244" y="215"/>
                </a:lnTo>
                <a:lnTo>
                  <a:pt x="246" y="216"/>
                </a:lnTo>
                <a:lnTo>
                  <a:pt x="248" y="215"/>
                </a:lnTo>
                <a:lnTo>
                  <a:pt x="254" y="215"/>
                </a:lnTo>
                <a:lnTo>
                  <a:pt x="252" y="213"/>
                </a:lnTo>
                <a:lnTo>
                  <a:pt x="254" y="213"/>
                </a:lnTo>
                <a:lnTo>
                  <a:pt x="255" y="213"/>
                </a:lnTo>
                <a:lnTo>
                  <a:pt x="258" y="215"/>
                </a:lnTo>
                <a:lnTo>
                  <a:pt x="260" y="212"/>
                </a:lnTo>
                <a:lnTo>
                  <a:pt x="263" y="210"/>
                </a:lnTo>
                <a:lnTo>
                  <a:pt x="264" y="210"/>
                </a:lnTo>
                <a:lnTo>
                  <a:pt x="266" y="209"/>
                </a:lnTo>
                <a:lnTo>
                  <a:pt x="266" y="210"/>
                </a:lnTo>
                <a:lnTo>
                  <a:pt x="266" y="213"/>
                </a:lnTo>
                <a:lnTo>
                  <a:pt x="268" y="209"/>
                </a:lnTo>
                <a:lnTo>
                  <a:pt x="268" y="207"/>
                </a:lnTo>
                <a:lnTo>
                  <a:pt x="272" y="207"/>
                </a:lnTo>
                <a:lnTo>
                  <a:pt x="274" y="207"/>
                </a:lnTo>
                <a:lnTo>
                  <a:pt x="275" y="205"/>
                </a:lnTo>
                <a:lnTo>
                  <a:pt x="275" y="204"/>
                </a:lnTo>
                <a:lnTo>
                  <a:pt x="275" y="202"/>
                </a:lnTo>
                <a:lnTo>
                  <a:pt x="276" y="204"/>
                </a:lnTo>
                <a:lnTo>
                  <a:pt x="278" y="207"/>
                </a:lnTo>
                <a:lnTo>
                  <a:pt x="278" y="204"/>
                </a:lnTo>
                <a:lnTo>
                  <a:pt x="278" y="202"/>
                </a:lnTo>
                <a:lnTo>
                  <a:pt x="279" y="201"/>
                </a:lnTo>
                <a:lnTo>
                  <a:pt x="279" y="199"/>
                </a:lnTo>
                <a:lnTo>
                  <a:pt x="280" y="202"/>
                </a:lnTo>
                <a:lnTo>
                  <a:pt x="282" y="201"/>
                </a:lnTo>
                <a:lnTo>
                  <a:pt x="283" y="201"/>
                </a:lnTo>
                <a:lnTo>
                  <a:pt x="284" y="202"/>
                </a:lnTo>
                <a:lnTo>
                  <a:pt x="290" y="202"/>
                </a:lnTo>
                <a:lnTo>
                  <a:pt x="292" y="201"/>
                </a:lnTo>
                <a:lnTo>
                  <a:pt x="294" y="201"/>
                </a:lnTo>
                <a:lnTo>
                  <a:pt x="295" y="199"/>
                </a:lnTo>
                <a:lnTo>
                  <a:pt x="298" y="199"/>
                </a:lnTo>
                <a:lnTo>
                  <a:pt x="299" y="198"/>
                </a:lnTo>
                <a:lnTo>
                  <a:pt x="298" y="198"/>
                </a:lnTo>
                <a:lnTo>
                  <a:pt x="296" y="196"/>
                </a:lnTo>
                <a:lnTo>
                  <a:pt x="295" y="198"/>
                </a:lnTo>
                <a:lnTo>
                  <a:pt x="296" y="194"/>
                </a:lnTo>
                <a:lnTo>
                  <a:pt x="299" y="194"/>
                </a:lnTo>
                <a:lnTo>
                  <a:pt x="300" y="193"/>
                </a:lnTo>
                <a:lnTo>
                  <a:pt x="300" y="191"/>
                </a:lnTo>
                <a:lnTo>
                  <a:pt x="299" y="191"/>
                </a:lnTo>
                <a:lnTo>
                  <a:pt x="296" y="193"/>
                </a:lnTo>
                <a:lnTo>
                  <a:pt x="295" y="193"/>
                </a:lnTo>
                <a:lnTo>
                  <a:pt x="292" y="193"/>
                </a:lnTo>
                <a:lnTo>
                  <a:pt x="292" y="191"/>
                </a:lnTo>
                <a:lnTo>
                  <a:pt x="295" y="191"/>
                </a:lnTo>
                <a:lnTo>
                  <a:pt x="296" y="190"/>
                </a:lnTo>
                <a:lnTo>
                  <a:pt x="298" y="188"/>
                </a:lnTo>
                <a:lnTo>
                  <a:pt x="295" y="190"/>
                </a:lnTo>
                <a:lnTo>
                  <a:pt x="295" y="188"/>
                </a:lnTo>
                <a:lnTo>
                  <a:pt x="292" y="188"/>
                </a:lnTo>
                <a:lnTo>
                  <a:pt x="291" y="187"/>
                </a:lnTo>
                <a:lnTo>
                  <a:pt x="292" y="187"/>
                </a:lnTo>
                <a:lnTo>
                  <a:pt x="295" y="185"/>
                </a:lnTo>
                <a:lnTo>
                  <a:pt x="298" y="183"/>
                </a:lnTo>
                <a:lnTo>
                  <a:pt x="295" y="183"/>
                </a:lnTo>
                <a:lnTo>
                  <a:pt x="296" y="182"/>
                </a:lnTo>
                <a:lnTo>
                  <a:pt x="298" y="182"/>
                </a:lnTo>
                <a:lnTo>
                  <a:pt x="299" y="183"/>
                </a:lnTo>
                <a:lnTo>
                  <a:pt x="300" y="182"/>
                </a:lnTo>
                <a:lnTo>
                  <a:pt x="302" y="180"/>
                </a:lnTo>
                <a:lnTo>
                  <a:pt x="304" y="179"/>
                </a:lnTo>
                <a:lnTo>
                  <a:pt x="304" y="180"/>
                </a:lnTo>
                <a:lnTo>
                  <a:pt x="302" y="183"/>
                </a:lnTo>
                <a:lnTo>
                  <a:pt x="300" y="185"/>
                </a:lnTo>
                <a:lnTo>
                  <a:pt x="302" y="185"/>
                </a:lnTo>
                <a:lnTo>
                  <a:pt x="304" y="185"/>
                </a:lnTo>
                <a:lnTo>
                  <a:pt x="306" y="185"/>
                </a:lnTo>
                <a:lnTo>
                  <a:pt x="306" y="182"/>
                </a:lnTo>
                <a:lnTo>
                  <a:pt x="306" y="180"/>
                </a:lnTo>
                <a:lnTo>
                  <a:pt x="307" y="183"/>
                </a:lnTo>
                <a:lnTo>
                  <a:pt x="310" y="183"/>
                </a:lnTo>
                <a:lnTo>
                  <a:pt x="314" y="183"/>
                </a:lnTo>
                <a:lnTo>
                  <a:pt x="315" y="183"/>
                </a:lnTo>
                <a:lnTo>
                  <a:pt x="318" y="183"/>
                </a:lnTo>
                <a:lnTo>
                  <a:pt x="320" y="182"/>
                </a:lnTo>
                <a:lnTo>
                  <a:pt x="323" y="182"/>
                </a:lnTo>
                <a:lnTo>
                  <a:pt x="327" y="182"/>
                </a:lnTo>
                <a:lnTo>
                  <a:pt x="325" y="182"/>
                </a:lnTo>
                <a:lnTo>
                  <a:pt x="322" y="182"/>
                </a:lnTo>
                <a:lnTo>
                  <a:pt x="322" y="183"/>
                </a:lnTo>
                <a:lnTo>
                  <a:pt x="322" y="185"/>
                </a:lnTo>
                <a:lnTo>
                  <a:pt x="322" y="187"/>
                </a:lnTo>
                <a:lnTo>
                  <a:pt x="323" y="187"/>
                </a:lnTo>
                <a:lnTo>
                  <a:pt x="328" y="185"/>
                </a:lnTo>
                <a:lnTo>
                  <a:pt x="328" y="187"/>
                </a:lnTo>
                <a:lnTo>
                  <a:pt x="324" y="188"/>
                </a:lnTo>
                <a:lnTo>
                  <a:pt x="320" y="188"/>
                </a:lnTo>
                <a:lnTo>
                  <a:pt x="324" y="188"/>
                </a:lnTo>
                <a:lnTo>
                  <a:pt x="327" y="188"/>
                </a:lnTo>
                <a:lnTo>
                  <a:pt x="329" y="187"/>
                </a:lnTo>
                <a:lnTo>
                  <a:pt x="331" y="187"/>
                </a:lnTo>
                <a:lnTo>
                  <a:pt x="327" y="190"/>
                </a:lnTo>
                <a:lnTo>
                  <a:pt x="331" y="190"/>
                </a:lnTo>
                <a:lnTo>
                  <a:pt x="332" y="190"/>
                </a:lnTo>
                <a:lnTo>
                  <a:pt x="335" y="190"/>
                </a:lnTo>
                <a:lnTo>
                  <a:pt x="336" y="190"/>
                </a:lnTo>
                <a:lnTo>
                  <a:pt x="333" y="191"/>
                </a:lnTo>
                <a:lnTo>
                  <a:pt x="336" y="193"/>
                </a:lnTo>
                <a:lnTo>
                  <a:pt x="340" y="194"/>
                </a:lnTo>
                <a:lnTo>
                  <a:pt x="341" y="196"/>
                </a:lnTo>
                <a:lnTo>
                  <a:pt x="344" y="196"/>
                </a:lnTo>
                <a:lnTo>
                  <a:pt x="344" y="194"/>
                </a:lnTo>
                <a:lnTo>
                  <a:pt x="344" y="193"/>
                </a:lnTo>
                <a:lnTo>
                  <a:pt x="345" y="193"/>
                </a:lnTo>
                <a:lnTo>
                  <a:pt x="347" y="193"/>
                </a:lnTo>
                <a:lnTo>
                  <a:pt x="348" y="193"/>
                </a:lnTo>
                <a:lnTo>
                  <a:pt x="348" y="194"/>
                </a:lnTo>
                <a:lnTo>
                  <a:pt x="348" y="196"/>
                </a:lnTo>
                <a:lnTo>
                  <a:pt x="351" y="196"/>
                </a:lnTo>
                <a:lnTo>
                  <a:pt x="352" y="198"/>
                </a:lnTo>
                <a:lnTo>
                  <a:pt x="353" y="198"/>
                </a:lnTo>
                <a:lnTo>
                  <a:pt x="356" y="198"/>
                </a:lnTo>
                <a:lnTo>
                  <a:pt x="357" y="198"/>
                </a:lnTo>
                <a:lnTo>
                  <a:pt x="359" y="199"/>
                </a:lnTo>
                <a:lnTo>
                  <a:pt x="360" y="199"/>
                </a:lnTo>
                <a:lnTo>
                  <a:pt x="360" y="201"/>
                </a:lnTo>
                <a:lnTo>
                  <a:pt x="361" y="201"/>
                </a:lnTo>
                <a:lnTo>
                  <a:pt x="363" y="202"/>
                </a:lnTo>
                <a:lnTo>
                  <a:pt x="367" y="201"/>
                </a:lnTo>
                <a:lnTo>
                  <a:pt x="376" y="201"/>
                </a:lnTo>
                <a:lnTo>
                  <a:pt x="376" y="199"/>
                </a:lnTo>
                <a:lnTo>
                  <a:pt x="379" y="201"/>
                </a:lnTo>
                <a:lnTo>
                  <a:pt x="380" y="199"/>
                </a:lnTo>
                <a:lnTo>
                  <a:pt x="384" y="201"/>
                </a:lnTo>
                <a:lnTo>
                  <a:pt x="385" y="201"/>
                </a:lnTo>
                <a:lnTo>
                  <a:pt x="395" y="202"/>
                </a:lnTo>
                <a:lnTo>
                  <a:pt x="396" y="202"/>
                </a:lnTo>
                <a:lnTo>
                  <a:pt x="400" y="201"/>
                </a:lnTo>
                <a:lnTo>
                  <a:pt x="403" y="202"/>
                </a:lnTo>
                <a:lnTo>
                  <a:pt x="400" y="202"/>
                </a:lnTo>
                <a:lnTo>
                  <a:pt x="400" y="204"/>
                </a:lnTo>
                <a:lnTo>
                  <a:pt x="401" y="204"/>
                </a:lnTo>
                <a:lnTo>
                  <a:pt x="407" y="205"/>
                </a:lnTo>
                <a:lnTo>
                  <a:pt x="412" y="205"/>
                </a:lnTo>
                <a:lnTo>
                  <a:pt x="417" y="207"/>
                </a:lnTo>
                <a:lnTo>
                  <a:pt x="423" y="205"/>
                </a:lnTo>
                <a:lnTo>
                  <a:pt x="427" y="202"/>
                </a:lnTo>
                <a:lnTo>
                  <a:pt x="428" y="201"/>
                </a:lnTo>
                <a:lnTo>
                  <a:pt x="429" y="201"/>
                </a:lnTo>
                <a:lnTo>
                  <a:pt x="432" y="202"/>
                </a:lnTo>
                <a:lnTo>
                  <a:pt x="433" y="204"/>
                </a:lnTo>
                <a:lnTo>
                  <a:pt x="436" y="204"/>
                </a:lnTo>
                <a:lnTo>
                  <a:pt x="435" y="204"/>
                </a:lnTo>
                <a:lnTo>
                  <a:pt x="433" y="205"/>
                </a:lnTo>
                <a:lnTo>
                  <a:pt x="433" y="207"/>
                </a:lnTo>
                <a:lnTo>
                  <a:pt x="433" y="209"/>
                </a:lnTo>
                <a:lnTo>
                  <a:pt x="432" y="209"/>
                </a:lnTo>
                <a:lnTo>
                  <a:pt x="432" y="205"/>
                </a:lnTo>
                <a:lnTo>
                  <a:pt x="432" y="204"/>
                </a:lnTo>
                <a:lnTo>
                  <a:pt x="431" y="202"/>
                </a:lnTo>
                <a:lnTo>
                  <a:pt x="429" y="202"/>
                </a:lnTo>
                <a:lnTo>
                  <a:pt x="428" y="204"/>
                </a:lnTo>
                <a:lnTo>
                  <a:pt x="428" y="205"/>
                </a:lnTo>
                <a:lnTo>
                  <a:pt x="429" y="205"/>
                </a:lnTo>
                <a:lnTo>
                  <a:pt x="429" y="207"/>
                </a:lnTo>
                <a:lnTo>
                  <a:pt x="428" y="209"/>
                </a:lnTo>
                <a:lnTo>
                  <a:pt x="427" y="209"/>
                </a:lnTo>
                <a:lnTo>
                  <a:pt x="425" y="210"/>
                </a:lnTo>
                <a:lnTo>
                  <a:pt x="429" y="212"/>
                </a:lnTo>
                <a:lnTo>
                  <a:pt x="431" y="212"/>
                </a:lnTo>
                <a:lnTo>
                  <a:pt x="432" y="212"/>
                </a:lnTo>
                <a:lnTo>
                  <a:pt x="433" y="212"/>
                </a:lnTo>
                <a:lnTo>
                  <a:pt x="433" y="213"/>
                </a:lnTo>
                <a:lnTo>
                  <a:pt x="438" y="215"/>
                </a:lnTo>
                <a:lnTo>
                  <a:pt x="442" y="216"/>
                </a:lnTo>
                <a:lnTo>
                  <a:pt x="442" y="215"/>
                </a:lnTo>
                <a:lnTo>
                  <a:pt x="446" y="215"/>
                </a:lnTo>
                <a:lnTo>
                  <a:pt x="448" y="215"/>
                </a:lnTo>
                <a:lnTo>
                  <a:pt x="448" y="213"/>
                </a:lnTo>
                <a:lnTo>
                  <a:pt x="446" y="212"/>
                </a:lnTo>
                <a:lnTo>
                  <a:pt x="448" y="212"/>
                </a:lnTo>
                <a:lnTo>
                  <a:pt x="449" y="212"/>
                </a:lnTo>
                <a:lnTo>
                  <a:pt x="449" y="210"/>
                </a:lnTo>
                <a:lnTo>
                  <a:pt x="441" y="205"/>
                </a:lnTo>
                <a:lnTo>
                  <a:pt x="440" y="204"/>
                </a:lnTo>
                <a:lnTo>
                  <a:pt x="436" y="201"/>
                </a:lnTo>
                <a:lnTo>
                  <a:pt x="435" y="201"/>
                </a:lnTo>
                <a:lnTo>
                  <a:pt x="436" y="201"/>
                </a:lnTo>
                <a:lnTo>
                  <a:pt x="436" y="199"/>
                </a:lnTo>
                <a:lnTo>
                  <a:pt x="436" y="196"/>
                </a:lnTo>
                <a:lnTo>
                  <a:pt x="427" y="196"/>
                </a:lnTo>
                <a:lnTo>
                  <a:pt x="423" y="199"/>
                </a:lnTo>
                <a:lnTo>
                  <a:pt x="421" y="198"/>
                </a:lnTo>
                <a:lnTo>
                  <a:pt x="417" y="196"/>
                </a:lnTo>
                <a:lnTo>
                  <a:pt x="413" y="198"/>
                </a:lnTo>
                <a:lnTo>
                  <a:pt x="408" y="196"/>
                </a:lnTo>
                <a:lnTo>
                  <a:pt x="408" y="19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83" name="Freeform 282"/>
          <p:cNvSpPr>
            <a:spLocks/>
          </p:cNvSpPr>
          <p:nvPr/>
        </p:nvSpPr>
        <p:spPr bwMode="auto">
          <a:xfrm>
            <a:off x="903726" y="1829413"/>
            <a:ext cx="715215" cy="375831"/>
          </a:xfrm>
          <a:custGeom>
            <a:avLst/>
            <a:gdLst/>
            <a:ahLst/>
            <a:cxnLst>
              <a:cxn ang="0">
                <a:pos x="374" y="143"/>
              </a:cxn>
              <a:cxn ang="0">
                <a:pos x="374" y="78"/>
              </a:cxn>
              <a:cxn ang="0">
                <a:pos x="373" y="28"/>
              </a:cxn>
              <a:cxn ang="0">
                <a:pos x="369" y="30"/>
              </a:cxn>
              <a:cxn ang="0">
                <a:pos x="350" y="23"/>
              </a:cxn>
              <a:cxn ang="0">
                <a:pos x="337" y="22"/>
              </a:cxn>
              <a:cxn ang="0">
                <a:pos x="333" y="22"/>
              </a:cxn>
              <a:cxn ang="0">
                <a:pos x="317" y="23"/>
              </a:cxn>
              <a:cxn ang="0">
                <a:pos x="310" y="23"/>
              </a:cxn>
              <a:cxn ang="0">
                <a:pos x="289" y="20"/>
              </a:cxn>
              <a:cxn ang="0">
                <a:pos x="269" y="19"/>
              </a:cxn>
              <a:cxn ang="0">
                <a:pos x="254" y="15"/>
              </a:cxn>
              <a:cxn ang="0">
                <a:pos x="233" y="17"/>
              </a:cxn>
              <a:cxn ang="0">
                <a:pos x="230" y="15"/>
              </a:cxn>
              <a:cxn ang="0">
                <a:pos x="216" y="14"/>
              </a:cxn>
              <a:cxn ang="0">
                <a:pos x="208" y="12"/>
              </a:cxn>
              <a:cxn ang="0">
                <a:pos x="201" y="8"/>
              </a:cxn>
              <a:cxn ang="0">
                <a:pos x="193" y="8"/>
              </a:cxn>
              <a:cxn ang="0">
                <a:pos x="181" y="8"/>
              </a:cxn>
              <a:cxn ang="0">
                <a:pos x="173" y="9"/>
              </a:cxn>
              <a:cxn ang="0">
                <a:pos x="167" y="4"/>
              </a:cxn>
              <a:cxn ang="0">
                <a:pos x="159" y="6"/>
              </a:cxn>
              <a:cxn ang="0">
                <a:pos x="160" y="11"/>
              </a:cxn>
              <a:cxn ang="0">
                <a:pos x="153" y="9"/>
              </a:cxn>
              <a:cxn ang="0">
                <a:pos x="144" y="9"/>
              </a:cxn>
              <a:cxn ang="0">
                <a:pos x="151" y="6"/>
              </a:cxn>
              <a:cxn ang="0">
                <a:pos x="147" y="3"/>
              </a:cxn>
              <a:cxn ang="0">
                <a:pos x="140" y="1"/>
              </a:cxn>
              <a:cxn ang="0">
                <a:pos x="135" y="1"/>
              </a:cxn>
              <a:cxn ang="0">
                <a:pos x="129" y="4"/>
              </a:cxn>
              <a:cxn ang="0">
                <a:pos x="112" y="9"/>
              </a:cxn>
              <a:cxn ang="0">
                <a:pos x="101" y="11"/>
              </a:cxn>
              <a:cxn ang="0">
                <a:pos x="97" y="9"/>
              </a:cxn>
              <a:cxn ang="0">
                <a:pos x="97" y="9"/>
              </a:cxn>
              <a:cxn ang="0">
                <a:pos x="88" y="12"/>
              </a:cxn>
              <a:cxn ang="0">
                <a:pos x="91" y="14"/>
              </a:cxn>
              <a:cxn ang="0">
                <a:pos x="89" y="15"/>
              </a:cxn>
              <a:cxn ang="0">
                <a:pos x="87" y="19"/>
              </a:cxn>
              <a:cxn ang="0">
                <a:pos x="85" y="15"/>
              </a:cxn>
              <a:cxn ang="0">
                <a:pos x="77" y="15"/>
              </a:cxn>
              <a:cxn ang="0">
                <a:pos x="62" y="20"/>
              </a:cxn>
              <a:cxn ang="0">
                <a:pos x="58" y="19"/>
              </a:cxn>
              <a:cxn ang="0">
                <a:pos x="63" y="25"/>
              </a:cxn>
              <a:cxn ang="0">
                <a:pos x="51" y="23"/>
              </a:cxn>
              <a:cxn ang="0">
                <a:pos x="54" y="28"/>
              </a:cxn>
              <a:cxn ang="0">
                <a:pos x="43" y="30"/>
              </a:cxn>
              <a:cxn ang="0">
                <a:pos x="43" y="31"/>
              </a:cxn>
              <a:cxn ang="0">
                <a:pos x="38" y="36"/>
              </a:cxn>
              <a:cxn ang="0">
                <a:pos x="8" y="44"/>
              </a:cxn>
            </a:cxnLst>
            <a:rect l="0" t="0" r="r" b="b"/>
            <a:pathLst>
              <a:path w="374" h="190">
                <a:moveTo>
                  <a:pt x="374" y="190"/>
                </a:moveTo>
                <a:lnTo>
                  <a:pt x="374" y="172"/>
                </a:lnTo>
                <a:lnTo>
                  <a:pt x="374" y="157"/>
                </a:lnTo>
                <a:lnTo>
                  <a:pt x="374" y="143"/>
                </a:lnTo>
                <a:lnTo>
                  <a:pt x="374" y="127"/>
                </a:lnTo>
                <a:lnTo>
                  <a:pt x="374" y="110"/>
                </a:lnTo>
                <a:lnTo>
                  <a:pt x="374" y="92"/>
                </a:lnTo>
                <a:lnTo>
                  <a:pt x="374" y="78"/>
                </a:lnTo>
                <a:lnTo>
                  <a:pt x="374" y="63"/>
                </a:lnTo>
                <a:lnTo>
                  <a:pt x="374" y="45"/>
                </a:lnTo>
                <a:lnTo>
                  <a:pt x="374" y="28"/>
                </a:lnTo>
                <a:lnTo>
                  <a:pt x="373" y="28"/>
                </a:lnTo>
                <a:lnTo>
                  <a:pt x="371" y="28"/>
                </a:lnTo>
                <a:lnTo>
                  <a:pt x="371" y="30"/>
                </a:lnTo>
                <a:lnTo>
                  <a:pt x="370" y="30"/>
                </a:lnTo>
                <a:lnTo>
                  <a:pt x="369" y="30"/>
                </a:lnTo>
                <a:lnTo>
                  <a:pt x="366" y="28"/>
                </a:lnTo>
                <a:lnTo>
                  <a:pt x="358" y="26"/>
                </a:lnTo>
                <a:lnTo>
                  <a:pt x="353" y="25"/>
                </a:lnTo>
                <a:lnTo>
                  <a:pt x="350" y="23"/>
                </a:lnTo>
                <a:lnTo>
                  <a:pt x="341" y="22"/>
                </a:lnTo>
                <a:lnTo>
                  <a:pt x="339" y="22"/>
                </a:lnTo>
                <a:lnTo>
                  <a:pt x="338" y="22"/>
                </a:lnTo>
                <a:lnTo>
                  <a:pt x="337" y="22"/>
                </a:lnTo>
                <a:lnTo>
                  <a:pt x="337" y="23"/>
                </a:lnTo>
                <a:lnTo>
                  <a:pt x="335" y="23"/>
                </a:lnTo>
                <a:lnTo>
                  <a:pt x="334" y="22"/>
                </a:lnTo>
                <a:lnTo>
                  <a:pt x="333" y="22"/>
                </a:lnTo>
                <a:lnTo>
                  <a:pt x="331" y="22"/>
                </a:lnTo>
                <a:lnTo>
                  <a:pt x="323" y="23"/>
                </a:lnTo>
                <a:lnTo>
                  <a:pt x="319" y="23"/>
                </a:lnTo>
                <a:lnTo>
                  <a:pt x="317" y="23"/>
                </a:lnTo>
                <a:lnTo>
                  <a:pt x="315" y="23"/>
                </a:lnTo>
                <a:lnTo>
                  <a:pt x="314" y="23"/>
                </a:lnTo>
                <a:lnTo>
                  <a:pt x="309" y="23"/>
                </a:lnTo>
                <a:lnTo>
                  <a:pt x="310" y="23"/>
                </a:lnTo>
                <a:lnTo>
                  <a:pt x="303" y="23"/>
                </a:lnTo>
                <a:lnTo>
                  <a:pt x="301" y="22"/>
                </a:lnTo>
                <a:lnTo>
                  <a:pt x="298" y="20"/>
                </a:lnTo>
                <a:lnTo>
                  <a:pt x="289" y="20"/>
                </a:lnTo>
                <a:lnTo>
                  <a:pt x="284" y="22"/>
                </a:lnTo>
                <a:lnTo>
                  <a:pt x="276" y="20"/>
                </a:lnTo>
                <a:lnTo>
                  <a:pt x="272" y="19"/>
                </a:lnTo>
                <a:lnTo>
                  <a:pt x="269" y="19"/>
                </a:lnTo>
                <a:lnTo>
                  <a:pt x="265" y="17"/>
                </a:lnTo>
                <a:lnTo>
                  <a:pt x="261" y="17"/>
                </a:lnTo>
                <a:lnTo>
                  <a:pt x="260" y="17"/>
                </a:lnTo>
                <a:lnTo>
                  <a:pt x="254" y="15"/>
                </a:lnTo>
                <a:lnTo>
                  <a:pt x="249" y="15"/>
                </a:lnTo>
                <a:lnTo>
                  <a:pt x="242" y="15"/>
                </a:lnTo>
                <a:lnTo>
                  <a:pt x="241" y="15"/>
                </a:lnTo>
                <a:lnTo>
                  <a:pt x="233" y="17"/>
                </a:lnTo>
                <a:lnTo>
                  <a:pt x="234" y="15"/>
                </a:lnTo>
                <a:lnTo>
                  <a:pt x="236" y="15"/>
                </a:lnTo>
                <a:lnTo>
                  <a:pt x="233" y="15"/>
                </a:lnTo>
                <a:lnTo>
                  <a:pt x="230" y="15"/>
                </a:lnTo>
                <a:lnTo>
                  <a:pt x="221" y="15"/>
                </a:lnTo>
                <a:lnTo>
                  <a:pt x="213" y="15"/>
                </a:lnTo>
                <a:lnTo>
                  <a:pt x="214" y="15"/>
                </a:lnTo>
                <a:lnTo>
                  <a:pt x="216" y="14"/>
                </a:lnTo>
                <a:lnTo>
                  <a:pt x="205" y="14"/>
                </a:lnTo>
                <a:lnTo>
                  <a:pt x="204" y="14"/>
                </a:lnTo>
                <a:lnTo>
                  <a:pt x="209" y="14"/>
                </a:lnTo>
                <a:lnTo>
                  <a:pt x="208" y="12"/>
                </a:lnTo>
                <a:lnTo>
                  <a:pt x="205" y="12"/>
                </a:lnTo>
                <a:lnTo>
                  <a:pt x="206" y="11"/>
                </a:lnTo>
                <a:lnTo>
                  <a:pt x="206" y="9"/>
                </a:lnTo>
                <a:lnTo>
                  <a:pt x="201" y="8"/>
                </a:lnTo>
                <a:lnTo>
                  <a:pt x="197" y="8"/>
                </a:lnTo>
                <a:lnTo>
                  <a:pt x="197" y="9"/>
                </a:lnTo>
                <a:lnTo>
                  <a:pt x="194" y="9"/>
                </a:lnTo>
                <a:lnTo>
                  <a:pt x="193" y="8"/>
                </a:lnTo>
                <a:lnTo>
                  <a:pt x="190" y="8"/>
                </a:lnTo>
                <a:lnTo>
                  <a:pt x="188" y="8"/>
                </a:lnTo>
                <a:lnTo>
                  <a:pt x="182" y="9"/>
                </a:lnTo>
                <a:lnTo>
                  <a:pt x="181" y="8"/>
                </a:lnTo>
                <a:lnTo>
                  <a:pt x="180" y="8"/>
                </a:lnTo>
                <a:lnTo>
                  <a:pt x="177" y="9"/>
                </a:lnTo>
                <a:lnTo>
                  <a:pt x="176" y="9"/>
                </a:lnTo>
                <a:lnTo>
                  <a:pt x="173" y="9"/>
                </a:lnTo>
                <a:lnTo>
                  <a:pt x="171" y="9"/>
                </a:lnTo>
                <a:lnTo>
                  <a:pt x="169" y="8"/>
                </a:lnTo>
                <a:lnTo>
                  <a:pt x="171" y="8"/>
                </a:lnTo>
                <a:lnTo>
                  <a:pt x="167" y="4"/>
                </a:lnTo>
                <a:lnTo>
                  <a:pt x="163" y="4"/>
                </a:lnTo>
                <a:lnTo>
                  <a:pt x="160" y="4"/>
                </a:lnTo>
                <a:lnTo>
                  <a:pt x="161" y="6"/>
                </a:lnTo>
                <a:lnTo>
                  <a:pt x="159" y="6"/>
                </a:lnTo>
                <a:lnTo>
                  <a:pt x="157" y="6"/>
                </a:lnTo>
                <a:lnTo>
                  <a:pt x="156" y="8"/>
                </a:lnTo>
                <a:lnTo>
                  <a:pt x="159" y="9"/>
                </a:lnTo>
                <a:lnTo>
                  <a:pt x="160" y="11"/>
                </a:lnTo>
                <a:lnTo>
                  <a:pt x="157" y="11"/>
                </a:lnTo>
                <a:lnTo>
                  <a:pt x="156" y="9"/>
                </a:lnTo>
                <a:lnTo>
                  <a:pt x="155" y="9"/>
                </a:lnTo>
                <a:lnTo>
                  <a:pt x="153" y="9"/>
                </a:lnTo>
                <a:lnTo>
                  <a:pt x="152" y="9"/>
                </a:lnTo>
                <a:lnTo>
                  <a:pt x="151" y="11"/>
                </a:lnTo>
                <a:lnTo>
                  <a:pt x="147" y="9"/>
                </a:lnTo>
                <a:lnTo>
                  <a:pt x="144" y="9"/>
                </a:lnTo>
                <a:lnTo>
                  <a:pt x="143" y="9"/>
                </a:lnTo>
                <a:lnTo>
                  <a:pt x="145" y="8"/>
                </a:lnTo>
                <a:lnTo>
                  <a:pt x="147" y="8"/>
                </a:lnTo>
                <a:lnTo>
                  <a:pt x="151" y="6"/>
                </a:lnTo>
                <a:lnTo>
                  <a:pt x="155" y="4"/>
                </a:lnTo>
                <a:lnTo>
                  <a:pt x="155" y="3"/>
                </a:lnTo>
                <a:lnTo>
                  <a:pt x="152" y="3"/>
                </a:lnTo>
                <a:lnTo>
                  <a:pt x="147" y="3"/>
                </a:lnTo>
                <a:lnTo>
                  <a:pt x="147" y="1"/>
                </a:lnTo>
                <a:lnTo>
                  <a:pt x="144" y="1"/>
                </a:lnTo>
                <a:lnTo>
                  <a:pt x="143" y="1"/>
                </a:lnTo>
                <a:lnTo>
                  <a:pt x="140" y="1"/>
                </a:lnTo>
                <a:lnTo>
                  <a:pt x="137" y="0"/>
                </a:lnTo>
                <a:lnTo>
                  <a:pt x="136" y="0"/>
                </a:lnTo>
                <a:lnTo>
                  <a:pt x="136" y="1"/>
                </a:lnTo>
                <a:lnTo>
                  <a:pt x="135" y="1"/>
                </a:lnTo>
                <a:lnTo>
                  <a:pt x="133" y="3"/>
                </a:lnTo>
                <a:lnTo>
                  <a:pt x="132" y="4"/>
                </a:lnTo>
                <a:lnTo>
                  <a:pt x="131" y="3"/>
                </a:lnTo>
                <a:lnTo>
                  <a:pt x="129" y="4"/>
                </a:lnTo>
                <a:lnTo>
                  <a:pt x="128" y="4"/>
                </a:lnTo>
                <a:lnTo>
                  <a:pt x="127" y="6"/>
                </a:lnTo>
                <a:lnTo>
                  <a:pt x="119" y="9"/>
                </a:lnTo>
                <a:lnTo>
                  <a:pt x="112" y="9"/>
                </a:lnTo>
                <a:lnTo>
                  <a:pt x="113" y="9"/>
                </a:lnTo>
                <a:lnTo>
                  <a:pt x="105" y="11"/>
                </a:lnTo>
                <a:lnTo>
                  <a:pt x="100" y="9"/>
                </a:lnTo>
                <a:lnTo>
                  <a:pt x="101" y="11"/>
                </a:lnTo>
                <a:lnTo>
                  <a:pt x="99" y="11"/>
                </a:lnTo>
                <a:lnTo>
                  <a:pt x="100" y="12"/>
                </a:lnTo>
                <a:lnTo>
                  <a:pt x="95" y="11"/>
                </a:lnTo>
                <a:lnTo>
                  <a:pt x="97" y="9"/>
                </a:lnTo>
                <a:lnTo>
                  <a:pt x="99" y="9"/>
                </a:lnTo>
                <a:lnTo>
                  <a:pt x="101" y="8"/>
                </a:lnTo>
                <a:lnTo>
                  <a:pt x="103" y="8"/>
                </a:lnTo>
                <a:lnTo>
                  <a:pt x="97" y="9"/>
                </a:lnTo>
                <a:lnTo>
                  <a:pt x="93" y="9"/>
                </a:lnTo>
                <a:lnTo>
                  <a:pt x="89" y="11"/>
                </a:lnTo>
                <a:lnTo>
                  <a:pt x="88" y="11"/>
                </a:lnTo>
                <a:lnTo>
                  <a:pt x="88" y="12"/>
                </a:lnTo>
                <a:lnTo>
                  <a:pt x="87" y="12"/>
                </a:lnTo>
                <a:lnTo>
                  <a:pt x="88" y="12"/>
                </a:lnTo>
                <a:lnTo>
                  <a:pt x="89" y="12"/>
                </a:lnTo>
                <a:lnTo>
                  <a:pt x="91" y="14"/>
                </a:lnTo>
                <a:lnTo>
                  <a:pt x="93" y="15"/>
                </a:lnTo>
                <a:lnTo>
                  <a:pt x="96" y="15"/>
                </a:lnTo>
                <a:lnTo>
                  <a:pt x="92" y="15"/>
                </a:lnTo>
                <a:lnTo>
                  <a:pt x="89" y="15"/>
                </a:lnTo>
                <a:lnTo>
                  <a:pt x="89" y="17"/>
                </a:lnTo>
                <a:lnTo>
                  <a:pt x="89" y="19"/>
                </a:lnTo>
                <a:lnTo>
                  <a:pt x="88" y="19"/>
                </a:lnTo>
                <a:lnTo>
                  <a:pt x="87" y="19"/>
                </a:lnTo>
                <a:lnTo>
                  <a:pt x="87" y="17"/>
                </a:lnTo>
                <a:lnTo>
                  <a:pt x="84" y="19"/>
                </a:lnTo>
                <a:lnTo>
                  <a:pt x="87" y="17"/>
                </a:lnTo>
                <a:lnTo>
                  <a:pt x="85" y="15"/>
                </a:lnTo>
                <a:lnTo>
                  <a:pt x="88" y="15"/>
                </a:lnTo>
                <a:lnTo>
                  <a:pt x="87" y="14"/>
                </a:lnTo>
                <a:lnTo>
                  <a:pt x="84" y="14"/>
                </a:lnTo>
                <a:lnTo>
                  <a:pt x="77" y="15"/>
                </a:lnTo>
                <a:lnTo>
                  <a:pt x="80" y="15"/>
                </a:lnTo>
                <a:lnTo>
                  <a:pt x="77" y="17"/>
                </a:lnTo>
                <a:lnTo>
                  <a:pt x="65" y="20"/>
                </a:lnTo>
                <a:lnTo>
                  <a:pt x="62" y="20"/>
                </a:lnTo>
                <a:lnTo>
                  <a:pt x="59" y="22"/>
                </a:lnTo>
                <a:lnTo>
                  <a:pt x="59" y="20"/>
                </a:lnTo>
                <a:lnTo>
                  <a:pt x="62" y="19"/>
                </a:lnTo>
                <a:lnTo>
                  <a:pt x="58" y="19"/>
                </a:lnTo>
                <a:lnTo>
                  <a:pt x="55" y="22"/>
                </a:lnTo>
                <a:lnTo>
                  <a:pt x="55" y="23"/>
                </a:lnTo>
                <a:lnTo>
                  <a:pt x="59" y="25"/>
                </a:lnTo>
                <a:lnTo>
                  <a:pt x="63" y="25"/>
                </a:lnTo>
                <a:lnTo>
                  <a:pt x="63" y="26"/>
                </a:lnTo>
                <a:lnTo>
                  <a:pt x="55" y="23"/>
                </a:lnTo>
                <a:lnTo>
                  <a:pt x="54" y="23"/>
                </a:lnTo>
                <a:lnTo>
                  <a:pt x="51" y="23"/>
                </a:lnTo>
                <a:lnTo>
                  <a:pt x="50" y="25"/>
                </a:lnTo>
                <a:lnTo>
                  <a:pt x="44" y="28"/>
                </a:lnTo>
                <a:lnTo>
                  <a:pt x="47" y="28"/>
                </a:lnTo>
                <a:lnTo>
                  <a:pt x="54" y="28"/>
                </a:lnTo>
                <a:lnTo>
                  <a:pt x="52" y="28"/>
                </a:lnTo>
                <a:lnTo>
                  <a:pt x="44" y="28"/>
                </a:lnTo>
                <a:lnTo>
                  <a:pt x="43" y="28"/>
                </a:lnTo>
                <a:lnTo>
                  <a:pt x="43" y="30"/>
                </a:lnTo>
                <a:lnTo>
                  <a:pt x="46" y="31"/>
                </a:lnTo>
                <a:lnTo>
                  <a:pt x="48" y="31"/>
                </a:lnTo>
                <a:lnTo>
                  <a:pt x="43" y="30"/>
                </a:lnTo>
                <a:lnTo>
                  <a:pt x="43" y="31"/>
                </a:lnTo>
                <a:lnTo>
                  <a:pt x="40" y="34"/>
                </a:lnTo>
                <a:lnTo>
                  <a:pt x="40" y="36"/>
                </a:lnTo>
                <a:lnTo>
                  <a:pt x="39" y="33"/>
                </a:lnTo>
                <a:lnTo>
                  <a:pt x="38" y="36"/>
                </a:lnTo>
                <a:lnTo>
                  <a:pt x="35" y="39"/>
                </a:lnTo>
                <a:lnTo>
                  <a:pt x="28" y="42"/>
                </a:lnTo>
                <a:lnTo>
                  <a:pt x="18" y="42"/>
                </a:lnTo>
                <a:lnTo>
                  <a:pt x="8" y="44"/>
                </a:lnTo>
                <a:lnTo>
                  <a:pt x="0" y="44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84" name="Freeform 283"/>
          <p:cNvSpPr>
            <a:spLocks/>
          </p:cNvSpPr>
          <p:nvPr/>
        </p:nvSpPr>
        <p:spPr bwMode="auto">
          <a:xfrm>
            <a:off x="839416" y="1915316"/>
            <a:ext cx="245550" cy="158923"/>
          </a:xfrm>
          <a:custGeom>
            <a:avLst/>
            <a:gdLst/>
            <a:ahLst/>
            <a:cxnLst>
              <a:cxn ang="0">
                <a:pos x="28" y="0"/>
              </a:cxn>
              <a:cxn ang="0">
                <a:pos x="28" y="6"/>
              </a:cxn>
              <a:cxn ang="0">
                <a:pos x="22" y="9"/>
              </a:cxn>
              <a:cxn ang="0">
                <a:pos x="24" y="8"/>
              </a:cxn>
              <a:cxn ang="0">
                <a:pos x="30" y="12"/>
              </a:cxn>
              <a:cxn ang="0">
                <a:pos x="50" y="19"/>
              </a:cxn>
              <a:cxn ang="0">
                <a:pos x="64" y="25"/>
              </a:cxn>
              <a:cxn ang="0">
                <a:pos x="65" y="30"/>
              </a:cxn>
              <a:cxn ang="0">
                <a:pos x="80" y="34"/>
              </a:cxn>
              <a:cxn ang="0">
                <a:pos x="85" y="31"/>
              </a:cxn>
              <a:cxn ang="0">
                <a:pos x="85" y="34"/>
              </a:cxn>
              <a:cxn ang="0">
                <a:pos x="97" y="33"/>
              </a:cxn>
              <a:cxn ang="0">
                <a:pos x="94" y="37"/>
              </a:cxn>
              <a:cxn ang="0">
                <a:pos x="103" y="39"/>
              </a:cxn>
              <a:cxn ang="0">
                <a:pos x="114" y="41"/>
              </a:cxn>
              <a:cxn ang="0">
                <a:pos x="123" y="39"/>
              </a:cxn>
              <a:cxn ang="0">
                <a:pos x="119" y="42"/>
              </a:cxn>
              <a:cxn ang="0">
                <a:pos x="129" y="42"/>
              </a:cxn>
              <a:cxn ang="0">
                <a:pos x="118" y="44"/>
              </a:cxn>
              <a:cxn ang="0">
                <a:pos x="107" y="44"/>
              </a:cxn>
              <a:cxn ang="0">
                <a:pos x="101" y="42"/>
              </a:cxn>
              <a:cxn ang="0">
                <a:pos x="93" y="41"/>
              </a:cxn>
              <a:cxn ang="0">
                <a:pos x="94" y="45"/>
              </a:cxn>
              <a:cxn ang="0">
                <a:pos x="107" y="45"/>
              </a:cxn>
              <a:cxn ang="0">
                <a:pos x="105" y="47"/>
              </a:cxn>
              <a:cxn ang="0">
                <a:pos x="96" y="52"/>
              </a:cxn>
              <a:cxn ang="0">
                <a:pos x="90" y="50"/>
              </a:cxn>
              <a:cxn ang="0">
                <a:pos x="81" y="50"/>
              </a:cxn>
              <a:cxn ang="0">
                <a:pos x="77" y="50"/>
              </a:cxn>
              <a:cxn ang="0">
                <a:pos x="65" y="47"/>
              </a:cxn>
              <a:cxn ang="0">
                <a:pos x="65" y="42"/>
              </a:cxn>
              <a:cxn ang="0">
                <a:pos x="62" y="41"/>
              </a:cxn>
              <a:cxn ang="0">
                <a:pos x="44" y="44"/>
              </a:cxn>
              <a:cxn ang="0">
                <a:pos x="34" y="47"/>
              </a:cxn>
              <a:cxn ang="0">
                <a:pos x="32" y="48"/>
              </a:cxn>
              <a:cxn ang="0">
                <a:pos x="20" y="52"/>
              </a:cxn>
              <a:cxn ang="0">
                <a:pos x="13" y="53"/>
              </a:cxn>
              <a:cxn ang="0">
                <a:pos x="2" y="58"/>
              </a:cxn>
              <a:cxn ang="0">
                <a:pos x="0" y="58"/>
              </a:cxn>
              <a:cxn ang="0">
                <a:pos x="18" y="63"/>
              </a:cxn>
              <a:cxn ang="0">
                <a:pos x="20" y="66"/>
              </a:cxn>
              <a:cxn ang="0">
                <a:pos x="21" y="69"/>
              </a:cxn>
              <a:cxn ang="0">
                <a:pos x="26" y="75"/>
              </a:cxn>
              <a:cxn ang="0">
                <a:pos x="44" y="77"/>
              </a:cxn>
              <a:cxn ang="0">
                <a:pos x="68" y="77"/>
              </a:cxn>
              <a:cxn ang="0">
                <a:pos x="76" y="77"/>
              </a:cxn>
              <a:cxn ang="0">
                <a:pos x="76" y="75"/>
              </a:cxn>
              <a:cxn ang="0">
                <a:pos x="84" y="80"/>
              </a:cxn>
              <a:cxn ang="0">
                <a:pos x="96" y="74"/>
              </a:cxn>
            </a:cxnLst>
            <a:rect l="0" t="0" r="r" b="b"/>
            <a:pathLst>
              <a:path w="129" h="81">
                <a:moveTo>
                  <a:pt x="34" y="0"/>
                </a:moveTo>
                <a:lnTo>
                  <a:pt x="32" y="0"/>
                </a:lnTo>
                <a:lnTo>
                  <a:pt x="34" y="0"/>
                </a:lnTo>
                <a:lnTo>
                  <a:pt x="28" y="0"/>
                </a:lnTo>
                <a:lnTo>
                  <a:pt x="28" y="3"/>
                </a:lnTo>
                <a:lnTo>
                  <a:pt x="28" y="4"/>
                </a:lnTo>
                <a:lnTo>
                  <a:pt x="26" y="6"/>
                </a:lnTo>
                <a:lnTo>
                  <a:pt x="28" y="6"/>
                </a:lnTo>
                <a:lnTo>
                  <a:pt x="29" y="6"/>
                </a:lnTo>
                <a:lnTo>
                  <a:pt x="28" y="8"/>
                </a:lnTo>
                <a:lnTo>
                  <a:pt x="24" y="8"/>
                </a:lnTo>
                <a:lnTo>
                  <a:pt x="22" y="9"/>
                </a:lnTo>
                <a:lnTo>
                  <a:pt x="21" y="9"/>
                </a:lnTo>
                <a:lnTo>
                  <a:pt x="24" y="8"/>
                </a:lnTo>
                <a:lnTo>
                  <a:pt x="24" y="6"/>
                </a:lnTo>
                <a:lnTo>
                  <a:pt x="24" y="8"/>
                </a:lnTo>
                <a:lnTo>
                  <a:pt x="20" y="8"/>
                </a:lnTo>
                <a:lnTo>
                  <a:pt x="18" y="9"/>
                </a:lnTo>
                <a:lnTo>
                  <a:pt x="28" y="11"/>
                </a:lnTo>
                <a:lnTo>
                  <a:pt x="30" y="12"/>
                </a:lnTo>
                <a:lnTo>
                  <a:pt x="32" y="14"/>
                </a:lnTo>
                <a:lnTo>
                  <a:pt x="38" y="15"/>
                </a:lnTo>
                <a:lnTo>
                  <a:pt x="41" y="15"/>
                </a:lnTo>
                <a:lnTo>
                  <a:pt x="50" y="19"/>
                </a:lnTo>
                <a:lnTo>
                  <a:pt x="56" y="20"/>
                </a:lnTo>
                <a:lnTo>
                  <a:pt x="60" y="23"/>
                </a:lnTo>
                <a:lnTo>
                  <a:pt x="62" y="25"/>
                </a:lnTo>
                <a:lnTo>
                  <a:pt x="64" y="25"/>
                </a:lnTo>
                <a:lnTo>
                  <a:pt x="65" y="26"/>
                </a:lnTo>
                <a:lnTo>
                  <a:pt x="66" y="28"/>
                </a:lnTo>
                <a:lnTo>
                  <a:pt x="65" y="28"/>
                </a:lnTo>
                <a:lnTo>
                  <a:pt x="65" y="30"/>
                </a:lnTo>
                <a:lnTo>
                  <a:pt x="66" y="31"/>
                </a:lnTo>
                <a:lnTo>
                  <a:pt x="70" y="31"/>
                </a:lnTo>
                <a:lnTo>
                  <a:pt x="73" y="33"/>
                </a:lnTo>
                <a:lnTo>
                  <a:pt x="80" y="34"/>
                </a:lnTo>
                <a:lnTo>
                  <a:pt x="78" y="33"/>
                </a:lnTo>
                <a:lnTo>
                  <a:pt x="80" y="33"/>
                </a:lnTo>
                <a:lnTo>
                  <a:pt x="81" y="31"/>
                </a:lnTo>
                <a:lnTo>
                  <a:pt x="85" y="31"/>
                </a:lnTo>
                <a:lnTo>
                  <a:pt x="84" y="31"/>
                </a:lnTo>
                <a:lnTo>
                  <a:pt x="86" y="30"/>
                </a:lnTo>
                <a:lnTo>
                  <a:pt x="84" y="33"/>
                </a:lnTo>
                <a:lnTo>
                  <a:pt x="85" y="34"/>
                </a:lnTo>
                <a:lnTo>
                  <a:pt x="88" y="33"/>
                </a:lnTo>
                <a:lnTo>
                  <a:pt x="92" y="33"/>
                </a:lnTo>
                <a:lnTo>
                  <a:pt x="96" y="33"/>
                </a:lnTo>
                <a:lnTo>
                  <a:pt x="97" y="33"/>
                </a:lnTo>
                <a:lnTo>
                  <a:pt x="99" y="34"/>
                </a:lnTo>
                <a:lnTo>
                  <a:pt x="98" y="34"/>
                </a:lnTo>
                <a:lnTo>
                  <a:pt x="96" y="34"/>
                </a:lnTo>
                <a:lnTo>
                  <a:pt x="94" y="37"/>
                </a:lnTo>
                <a:lnTo>
                  <a:pt x="97" y="41"/>
                </a:lnTo>
                <a:lnTo>
                  <a:pt x="102" y="41"/>
                </a:lnTo>
                <a:lnTo>
                  <a:pt x="102" y="39"/>
                </a:lnTo>
                <a:lnTo>
                  <a:pt x="103" y="39"/>
                </a:lnTo>
                <a:lnTo>
                  <a:pt x="103" y="41"/>
                </a:lnTo>
                <a:lnTo>
                  <a:pt x="105" y="39"/>
                </a:lnTo>
                <a:lnTo>
                  <a:pt x="109" y="39"/>
                </a:lnTo>
                <a:lnTo>
                  <a:pt x="114" y="41"/>
                </a:lnTo>
                <a:lnTo>
                  <a:pt x="117" y="41"/>
                </a:lnTo>
                <a:lnTo>
                  <a:pt x="119" y="39"/>
                </a:lnTo>
                <a:lnTo>
                  <a:pt x="122" y="39"/>
                </a:lnTo>
                <a:lnTo>
                  <a:pt x="123" y="39"/>
                </a:lnTo>
                <a:lnTo>
                  <a:pt x="129" y="39"/>
                </a:lnTo>
                <a:lnTo>
                  <a:pt x="127" y="39"/>
                </a:lnTo>
                <a:lnTo>
                  <a:pt x="121" y="41"/>
                </a:lnTo>
                <a:lnTo>
                  <a:pt x="119" y="42"/>
                </a:lnTo>
                <a:lnTo>
                  <a:pt x="121" y="42"/>
                </a:lnTo>
                <a:lnTo>
                  <a:pt x="127" y="41"/>
                </a:lnTo>
                <a:lnTo>
                  <a:pt x="129" y="41"/>
                </a:lnTo>
                <a:lnTo>
                  <a:pt x="129" y="42"/>
                </a:lnTo>
                <a:lnTo>
                  <a:pt x="127" y="42"/>
                </a:lnTo>
                <a:lnTo>
                  <a:pt x="121" y="42"/>
                </a:lnTo>
                <a:lnTo>
                  <a:pt x="119" y="44"/>
                </a:lnTo>
                <a:lnTo>
                  <a:pt x="118" y="44"/>
                </a:lnTo>
                <a:lnTo>
                  <a:pt x="113" y="44"/>
                </a:lnTo>
                <a:lnTo>
                  <a:pt x="110" y="44"/>
                </a:lnTo>
                <a:lnTo>
                  <a:pt x="109" y="44"/>
                </a:lnTo>
                <a:lnTo>
                  <a:pt x="107" y="44"/>
                </a:lnTo>
                <a:lnTo>
                  <a:pt x="106" y="42"/>
                </a:lnTo>
                <a:lnTo>
                  <a:pt x="105" y="42"/>
                </a:lnTo>
                <a:lnTo>
                  <a:pt x="103" y="42"/>
                </a:lnTo>
                <a:lnTo>
                  <a:pt x="101" y="42"/>
                </a:lnTo>
                <a:lnTo>
                  <a:pt x="96" y="42"/>
                </a:lnTo>
                <a:lnTo>
                  <a:pt x="93" y="41"/>
                </a:lnTo>
                <a:lnTo>
                  <a:pt x="90" y="39"/>
                </a:lnTo>
                <a:lnTo>
                  <a:pt x="93" y="41"/>
                </a:lnTo>
                <a:lnTo>
                  <a:pt x="94" y="42"/>
                </a:lnTo>
                <a:lnTo>
                  <a:pt x="93" y="44"/>
                </a:lnTo>
                <a:lnTo>
                  <a:pt x="93" y="45"/>
                </a:lnTo>
                <a:lnTo>
                  <a:pt x="94" y="45"/>
                </a:lnTo>
                <a:lnTo>
                  <a:pt x="96" y="44"/>
                </a:lnTo>
                <a:lnTo>
                  <a:pt x="98" y="44"/>
                </a:lnTo>
                <a:lnTo>
                  <a:pt x="106" y="45"/>
                </a:lnTo>
                <a:lnTo>
                  <a:pt x="107" y="45"/>
                </a:lnTo>
                <a:lnTo>
                  <a:pt x="107" y="47"/>
                </a:lnTo>
                <a:lnTo>
                  <a:pt x="105" y="48"/>
                </a:lnTo>
                <a:lnTo>
                  <a:pt x="106" y="48"/>
                </a:lnTo>
                <a:lnTo>
                  <a:pt x="105" y="47"/>
                </a:lnTo>
                <a:lnTo>
                  <a:pt x="99" y="45"/>
                </a:lnTo>
                <a:lnTo>
                  <a:pt x="97" y="48"/>
                </a:lnTo>
                <a:lnTo>
                  <a:pt x="96" y="50"/>
                </a:lnTo>
                <a:lnTo>
                  <a:pt x="96" y="52"/>
                </a:lnTo>
                <a:lnTo>
                  <a:pt x="94" y="52"/>
                </a:lnTo>
                <a:lnTo>
                  <a:pt x="93" y="52"/>
                </a:lnTo>
                <a:lnTo>
                  <a:pt x="92" y="50"/>
                </a:lnTo>
                <a:lnTo>
                  <a:pt x="90" y="50"/>
                </a:lnTo>
                <a:lnTo>
                  <a:pt x="88" y="50"/>
                </a:lnTo>
                <a:lnTo>
                  <a:pt x="86" y="50"/>
                </a:lnTo>
                <a:lnTo>
                  <a:pt x="82" y="50"/>
                </a:lnTo>
                <a:lnTo>
                  <a:pt x="81" y="50"/>
                </a:lnTo>
                <a:lnTo>
                  <a:pt x="81" y="48"/>
                </a:lnTo>
                <a:lnTo>
                  <a:pt x="80" y="50"/>
                </a:lnTo>
                <a:lnTo>
                  <a:pt x="78" y="50"/>
                </a:lnTo>
                <a:lnTo>
                  <a:pt x="77" y="50"/>
                </a:lnTo>
                <a:lnTo>
                  <a:pt x="73" y="50"/>
                </a:lnTo>
                <a:lnTo>
                  <a:pt x="68" y="50"/>
                </a:lnTo>
                <a:lnTo>
                  <a:pt x="65" y="48"/>
                </a:lnTo>
                <a:lnTo>
                  <a:pt x="65" y="47"/>
                </a:lnTo>
                <a:lnTo>
                  <a:pt x="61" y="47"/>
                </a:lnTo>
                <a:lnTo>
                  <a:pt x="65" y="45"/>
                </a:lnTo>
                <a:lnTo>
                  <a:pt x="65" y="44"/>
                </a:lnTo>
                <a:lnTo>
                  <a:pt x="65" y="42"/>
                </a:lnTo>
                <a:lnTo>
                  <a:pt x="65" y="41"/>
                </a:lnTo>
                <a:lnTo>
                  <a:pt x="62" y="41"/>
                </a:lnTo>
                <a:lnTo>
                  <a:pt x="68" y="41"/>
                </a:lnTo>
                <a:lnTo>
                  <a:pt x="62" y="41"/>
                </a:lnTo>
                <a:lnTo>
                  <a:pt x="58" y="41"/>
                </a:lnTo>
                <a:lnTo>
                  <a:pt x="52" y="41"/>
                </a:lnTo>
                <a:lnTo>
                  <a:pt x="48" y="42"/>
                </a:lnTo>
                <a:lnTo>
                  <a:pt x="44" y="44"/>
                </a:lnTo>
                <a:lnTo>
                  <a:pt x="42" y="44"/>
                </a:lnTo>
                <a:lnTo>
                  <a:pt x="41" y="44"/>
                </a:lnTo>
                <a:lnTo>
                  <a:pt x="37" y="45"/>
                </a:lnTo>
                <a:lnTo>
                  <a:pt x="34" y="47"/>
                </a:lnTo>
                <a:lnTo>
                  <a:pt x="37" y="47"/>
                </a:lnTo>
                <a:lnTo>
                  <a:pt x="38" y="48"/>
                </a:lnTo>
                <a:lnTo>
                  <a:pt x="37" y="48"/>
                </a:lnTo>
                <a:lnTo>
                  <a:pt x="32" y="48"/>
                </a:lnTo>
                <a:lnTo>
                  <a:pt x="30" y="48"/>
                </a:lnTo>
                <a:lnTo>
                  <a:pt x="28" y="48"/>
                </a:lnTo>
                <a:lnTo>
                  <a:pt x="21" y="50"/>
                </a:lnTo>
                <a:lnTo>
                  <a:pt x="20" y="52"/>
                </a:lnTo>
                <a:lnTo>
                  <a:pt x="18" y="52"/>
                </a:lnTo>
                <a:lnTo>
                  <a:pt x="17" y="52"/>
                </a:lnTo>
                <a:lnTo>
                  <a:pt x="17" y="53"/>
                </a:lnTo>
                <a:lnTo>
                  <a:pt x="13" y="53"/>
                </a:lnTo>
                <a:lnTo>
                  <a:pt x="12" y="53"/>
                </a:lnTo>
                <a:lnTo>
                  <a:pt x="9" y="53"/>
                </a:lnTo>
                <a:lnTo>
                  <a:pt x="9" y="55"/>
                </a:lnTo>
                <a:lnTo>
                  <a:pt x="2" y="58"/>
                </a:lnTo>
                <a:lnTo>
                  <a:pt x="1" y="58"/>
                </a:lnTo>
                <a:lnTo>
                  <a:pt x="2" y="55"/>
                </a:lnTo>
                <a:lnTo>
                  <a:pt x="0" y="56"/>
                </a:lnTo>
                <a:lnTo>
                  <a:pt x="0" y="58"/>
                </a:lnTo>
                <a:lnTo>
                  <a:pt x="1" y="58"/>
                </a:lnTo>
                <a:lnTo>
                  <a:pt x="12" y="61"/>
                </a:lnTo>
                <a:lnTo>
                  <a:pt x="20" y="63"/>
                </a:lnTo>
                <a:lnTo>
                  <a:pt x="18" y="63"/>
                </a:lnTo>
                <a:lnTo>
                  <a:pt x="29" y="64"/>
                </a:lnTo>
                <a:lnTo>
                  <a:pt x="24" y="64"/>
                </a:lnTo>
                <a:lnTo>
                  <a:pt x="22" y="66"/>
                </a:lnTo>
                <a:lnTo>
                  <a:pt x="20" y="66"/>
                </a:lnTo>
                <a:lnTo>
                  <a:pt x="20" y="64"/>
                </a:lnTo>
                <a:lnTo>
                  <a:pt x="18" y="64"/>
                </a:lnTo>
                <a:lnTo>
                  <a:pt x="18" y="66"/>
                </a:lnTo>
                <a:lnTo>
                  <a:pt x="21" y="69"/>
                </a:lnTo>
                <a:lnTo>
                  <a:pt x="25" y="70"/>
                </a:lnTo>
                <a:lnTo>
                  <a:pt x="25" y="72"/>
                </a:lnTo>
                <a:lnTo>
                  <a:pt x="24" y="74"/>
                </a:lnTo>
                <a:lnTo>
                  <a:pt x="26" y="75"/>
                </a:lnTo>
                <a:lnTo>
                  <a:pt x="28" y="75"/>
                </a:lnTo>
                <a:lnTo>
                  <a:pt x="29" y="77"/>
                </a:lnTo>
                <a:lnTo>
                  <a:pt x="41" y="78"/>
                </a:lnTo>
                <a:lnTo>
                  <a:pt x="44" y="77"/>
                </a:lnTo>
                <a:lnTo>
                  <a:pt x="49" y="78"/>
                </a:lnTo>
                <a:lnTo>
                  <a:pt x="57" y="77"/>
                </a:lnTo>
                <a:lnTo>
                  <a:pt x="64" y="77"/>
                </a:lnTo>
                <a:lnTo>
                  <a:pt x="68" y="77"/>
                </a:lnTo>
                <a:lnTo>
                  <a:pt x="72" y="77"/>
                </a:lnTo>
                <a:lnTo>
                  <a:pt x="76" y="80"/>
                </a:lnTo>
                <a:lnTo>
                  <a:pt x="76" y="78"/>
                </a:lnTo>
                <a:lnTo>
                  <a:pt x="76" y="77"/>
                </a:lnTo>
                <a:lnTo>
                  <a:pt x="74" y="77"/>
                </a:lnTo>
                <a:lnTo>
                  <a:pt x="72" y="77"/>
                </a:lnTo>
                <a:lnTo>
                  <a:pt x="72" y="75"/>
                </a:lnTo>
                <a:lnTo>
                  <a:pt x="76" y="75"/>
                </a:lnTo>
                <a:lnTo>
                  <a:pt x="77" y="77"/>
                </a:lnTo>
                <a:lnTo>
                  <a:pt x="80" y="78"/>
                </a:lnTo>
                <a:lnTo>
                  <a:pt x="81" y="81"/>
                </a:lnTo>
                <a:lnTo>
                  <a:pt x="84" y="80"/>
                </a:lnTo>
                <a:lnTo>
                  <a:pt x="85" y="77"/>
                </a:lnTo>
                <a:lnTo>
                  <a:pt x="89" y="75"/>
                </a:lnTo>
                <a:lnTo>
                  <a:pt x="90" y="74"/>
                </a:lnTo>
                <a:lnTo>
                  <a:pt x="96" y="74"/>
                </a:lnTo>
                <a:lnTo>
                  <a:pt x="96" y="7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85" name="Freeform 284"/>
          <p:cNvSpPr>
            <a:spLocks/>
          </p:cNvSpPr>
          <p:nvPr/>
        </p:nvSpPr>
        <p:spPr bwMode="auto">
          <a:xfrm>
            <a:off x="893984" y="2052763"/>
            <a:ext cx="222164" cy="227647"/>
          </a:xfrm>
          <a:custGeom>
            <a:avLst/>
            <a:gdLst/>
            <a:ahLst/>
            <a:cxnLst>
              <a:cxn ang="0">
                <a:pos x="75" y="2"/>
              </a:cxn>
              <a:cxn ang="0">
                <a:pos x="83" y="5"/>
              </a:cxn>
              <a:cxn ang="0">
                <a:pos x="74" y="7"/>
              </a:cxn>
              <a:cxn ang="0">
                <a:pos x="74" y="10"/>
              </a:cxn>
              <a:cxn ang="0">
                <a:pos x="81" y="16"/>
              </a:cxn>
              <a:cxn ang="0">
                <a:pos x="82" y="19"/>
              </a:cxn>
              <a:cxn ang="0">
                <a:pos x="75" y="26"/>
              </a:cxn>
              <a:cxn ang="0">
                <a:pos x="66" y="27"/>
              </a:cxn>
              <a:cxn ang="0">
                <a:pos x="60" y="26"/>
              </a:cxn>
              <a:cxn ang="0">
                <a:pos x="50" y="32"/>
              </a:cxn>
              <a:cxn ang="0">
                <a:pos x="42" y="32"/>
              </a:cxn>
              <a:cxn ang="0">
                <a:pos x="33" y="38"/>
              </a:cxn>
              <a:cxn ang="0">
                <a:pos x="21" y="41"/>
              </a:cxn>
              <a:cxn ang="0">
                <a:pos x="12" y="46"/>
              </a:cxn>
              <a:cxn ang="0">
                <a:pos x="6" y="51"/>
              </a:cxn>
              <a:cxn ang="0">
                <a:pos x="4" y="55"/>
              </a:cxn>
              <a:cxn ang="0">
                <a:pos x="4" y="57"/>
              </a:cxn>
              <a:cxn ang="0">
                <a:pos x="6" y="60"/>
              </a:cxn>
              <a:cxn ang="0">
                <a:pos x="13" y="58"/>
              </a:cxn>
              <a:cxn ang="0">
                <a:pos x="4" y="62"/>
              </a:cxn>
              <a:cxn ang="0">
                <a:pos x="13" y="63"/>
              </a:cxn>
              <a:cxn ang="0">
                <a:pos x="13" y="68"/>
              </a:cxn>
              <a:cxn ang="0">
                <a:pos x="17" y="69"/>
              </a:cxn>
              <a:cxn ang="0">
                <a:pos x="25" y="69"/>
              </a:cxn>
              <a:cxn ang="0">
                <a:pos x="34" y="73"/>
              </a:cxn>
              <a:cxn ang="0">
                <a:pos x="32" y="76"/>
              </a:cxn>
              <a:cxn ang="0">
                <a:pos x="25" y="82"/>
              </a:cxn>
              <a:cxn ang="0">
                <a:pos x="30" y="87"/>
              </a:cxn>
              <a:cxn ang="0">
                <a:pos x="37" y="88"/>
              </a:cxn>
              <a:cxn ang="0">
                <a:pos x="32" y="90"/>
              </a:cxn>
              <a:cxn ang="0">
                <a:pos x="40" y="93"/>
              </a:cxn>
              <a:cxn ang="0">
                <a:pos x="48" y="93"/>
              </a:cxn>
              <a:cxn ang="0">
                <a:pos x="57" y="85"/>
              </a:cxn>
              <a:cxn ang="0">
                <a:pos x="60" y="77"/>
              </a:cxn>
              <a:cxn ang="0">
                <a:pos x="70" y="73"/>
              </a:cxn>
              <a:cxn ang="0">
                <a:pos x="60" y="84"/>
              </a:cxn>
              <a:cxn ang="0">
                <a:pos x="64" y="90"/>
              </a:cxn>
              <a:cxn ang="0">
                <a:pos x="64" y="99"/>
              </a:cxn>
              <a:cxn ang="0">
                <a:pos x="68" y="102"/>
              </a:cxn>
              <a:cxn ang="0">
                <a:pos x="68" y="107"/>
              </a:cxn>
              <a:cxn ang="0">
                <a:pos x="65" y="110"/>
              </a:cxn>
              <a:cxn ang="0">
                <a:pos x="70" y="110"/>
              </a:cxn>
              <a:cxn ang="0">
                <a:pos x="81" y="107"/>
              </a:cxn>
              <a:cxn ang="0">
                <a:pos x="89" y="104"/>
              </a:cxn>
              <a:cxn ang="0">
                <a:pos x="93" y="109"/>
              </a:cxn>
              <a:cxn ang="0">
                <a:pos x="98" y="107"/>
              </a:cxn>
              <a:cxn ang="0">
                <a:pos x="106" y="115"/>
              </a:cxn>
              <a:cxn ang="0">
                <a:pos x="110" y="109"/>
              </a:cxn>
              <a:cxn ang="0">
                <a:pos x="117" y="106"/>
              </a:cxn>
            </a:cxnLst>
            <a:rect l="0" t="0" r="r" b="b"/>
            <a:pathLst>
              <a:path w="117" h="115">
                <a:moveTo>
                  <a:pt x="68" y="2"/>
                </a:moveTo>
                <a:lnTo>
                  <a:pt x="71" y="4"/>
                </a:lnTo>
                <a:lnTo>
                  <a:pt x="73" y="2"/>
                </a:lnTo>
                <a:lnTo>
                  <a:pt x="75" y="2"/>
                </a:lnTo>
                <a:lnTo>
                  <a:pt x="78" y="0"/>
                </a:lnTo>
                <a:lnTo>
                  <a:pt x="82" y="2"/>
                </a:lnTo>
                <a:lnTo>
                  <a:pt x="83" y="4"/>
                </a:lnTo>
                <a:lnTo>
                  <a:pt x="83" y="5"/>
                </a:lnTo>
                <a:lnTo>
                  <a:pt x="82" y="7"/>
                </a:lnTo>
                <a:lnTo>
                  <a:pt x="79" y="7"/>
                </a:lnTo>
                <a:lnTo>
                  <a:pt x="77" y="8"/>
                </a:lnTo>
                <a:lnTo>
                  <a:pt x="74" y="7"/>
                </a:lnTo>
                <a:lnTo>
                  <a:pt x="71" y="7"/>
                </a:lnTo>
                <a:lnTo>
                  <a:pt x="71" y="8"/>
                </a:lnTo>
                <a:lnTo>
                  <a:pt x="73" y="10"/>
                </a:lnTo>
                <a:lnTo>
                  <a:pt x="74" y="10"/>
                </a:lnTo>
                <a:lnTo>
                  <a:pt x="77" y="10"/>
                </a:lnTo>
                <a:lnTo>
                  <a:pt x="78" y="11"/>
                </a:lnTo>
                <a:lnTo>
                  <a:pt x="81" y="15"/>
                </a:lnTo>
                <a:lnTo>
                  <a:pt x="81" y="16"/>
                </a:lnTo>
                <a:lnTo>
                  <a:pt x="79" y="16"/>
                </a:lnTo>
                <a:lnTo>
                  <a:pt x="82" y="16"/>
                </a:lnTo>
                <a:lnTo>
                  <a:pt x="82" y="18"/>
                </a:lnTo>
                <a:lnTo>
                  <a:pt x="82" y="19"/>
                </a:lnTo>
                <a:lnTo>
                  <a:pt x="82" y="21"/>
                </a:lnTo>
                <a:lnTo>
                  <a:pt x="79" y="24"/>
                </a:lnTo>
                <a:lnTo>
                  <a:pt x="78" y="24"/>
                </a:lnTo>
                <a:lnTo>
                  <a:pt x="75" y="26"/>
                </a:lnTo>
                <a:lnTo>
                  <a:pt x="74" y="26"/>
                </a:lnTo>
                <a:lnTo>
                  <a:pt x="70" y="26"/>
                </a:lnTo>
                <a:lnTo>
                  <a:pt x="69" y="27"/>
                </a:lnTo>
                <a:lnTo>
                  <a:pt x="66" y="27"/>
                </a:lnTo>
                <a:lnTo>
                  <a:pt x="61" y="27"/>
                </a:lnTo>
                <a:lnTo>
                  <a:pt x="60" y="27"/>
                </a:lnTo>
                <a:lnTo>
                  <a:pt x="62" y="26"/>
                </a:lnTo>
                <a:lnTo>
                  <a:pt x="60" y="26"/>
                </a:lnTo>
                <a:lnTo>
                  <a:pt x="58" y="26"/>
                </a:lnTo>
                <a:lnTo>
                  <a:pt x="57" y="27"/>
                </a:lnTo>
                <a:lnTo>
                  <a:pt x="54" y="30"/>
                </a:lnTo>
                <a:lnTo>
                  <a:pt x="50" y="32"/>
                </a:lnTo>
                <a:lnTo>
                  <a:pt x="49" y="33"/>
                </a:lnTo>
                <a:lnTo>
                  <a:pt x="46" y="33"/>
                </a:lnTo>
                <a:lnTo>
                  <a:pt x="44" y="33"/>
                </a:lnTo>
                <a:lnTo>
                  <a:pt x="42" y="32"/>
                </a:lnTo>
                <a:lnTo>
                  <a:pt x="37" y="35"/>
                </a:lnTo>
                <a:lnTo>
                  <a:pt x="33" y="35"/>
                </a:lnTo>
                <a:lnTo>
                  <a:pt x="32" y="37"/>
                </a:lnTo>
                <a:lnTo>
                  <a:pt x="33" y="38"/>
                </a:lnTo>
                <a:lnTo>
                  <a:pt x="32" y="40"/>
                </a:lnTo>
                <a:lnTo>
                  <a:pt x="28" y="38"/>
                </a:lnTo>
                <a:lnTo>
                  <a:pt x="24" y="40"/>
                </a:lnTo>
                <a:lnTo>
                  <a:pt x="21" y="41"/>
                </a:lnTo>
                <a:lnTo>
                  <a:pt x="20" y="43"/>
                </a:lnTo>
                <a:lnTo>
                  <a:pt x="18" y="41"/>
                </a:lnTo>
                <a:lnTo>
                  <a:pt x="16" y="43"/>
                </a:lnTo>
                <a:lnTo>
                  <a:pt x="12" y="46"/>
                </a:lnTo>
                <a:lnTo>
                  <a:pt x="10" y="46"/>
                </a:lnTo>
                <a:lnTo>
                  <a:pt x="9" y="46"/>
                </a:lnTo>
                <a:lnTo>
                  <a:pt x="9" y="48"/>
                </a:lnTo>
                <a:lnTo>
                  <a:pt x="6" y="51"/>
                </a:lnTo>
                <a:lnTo>
                  <a:pt x="6" y="52"/>
                </a:lnTo>
                <a:lnTo>
                  <a:pt x="6" y="54"/>
                </a:lnTo>
                <a:lnTo>
                  <a:pt x="6" y="55"/>
                </a:lnTo>
                <a:lnTo>
                  <a:pt x="4" y="55"/>
                </a:lnTo>
                <a:lnTo>
                  <a:pt x="2" y="55"/>
                </a:lnTo>
                <a:lnTo>
                  <a:pt x="1" y="55"/>
                </a:lnTo>
                <a:lnTo>
                  <a:pt x="1" y="57"/>
                </a:lnTo>
                <a:lnTo>
                  <a:pt x="4" y="57"/>
                </a:lnTo>
                <a:lnTo>
                  <a:pt x="4" y="58"/>
                </a:lnTo>
                <a:lnTo>
                  <a:pt x="0" y="58"/>
                </a:lnTo>
                <a:lnTo>
                  <a:pt x="0" y="60"/>
                </a:lnTo>
                <a:lnTo>
                  <a:pt x="6" y="60"/>
                </a:lnTo>
                <a:lnTo>
                  <a:pt x="8" y="60"/>
                </a:lnTo>
                <a:lnTo>
                  <a:pt x="9" y="58"/>
                </a:lnTo>
                <a:lnTo>
                  <a:pt x="14" y="58"/>
                </a:lnTo>
                <a:lnTo>
                  <a:pt x="13" y="58"/>
                </a:lnTo>
                <a:lnTo>
                  <a:pt x="14" y="60"/>
                </a:lnTo>
                <a:lnTo>
                  <a:pt x="9" y="60"/>
                </a:lnTo>
                <a:lnTo>
                  <a:pt x="6" y="60"/>
                </a:lnTo>
                <a:lnTo>
                  <a:pt x="4" y="62"/>
                </a:lnTo>
                <a:lnTo>
                  <a:pt x="4" y="63"/>
                </a:lnTo>
                <a:lnTo>
                  <a:pt x="8" y="65"/>
                </a:lnTo>
                <a:lnTo>
                  <a:pt x="12" y="63"/>
                </a:lnTo>
                <a:lnTo>
                  <a:pt x="13" y="63"/>
                </a:lnTo>
                <a:lnTo>
                  <a:pt x="12" y="63"/>
                </a:lnTo>
                <a:lnTo>
                  <a:pt x="12" y="65"/>
                </a:lnTo>
                <a:lnTo>
                  <a:pt x="12" y="66"/>
                </a:lnTo>
                <a:lnTo>
                  <a:pt x="13" y="68"/>
                </a:lnTo>
                <a:lnTo>
                  <a:pt x="13" y="69"/>
                </a:lnTo>
                <a:lnTo>
                  <a:pt x="14" y="69"/>
                </a:lnTo>
                <a:lnTo>
                  <a:pt x="16" y="69"/>
                </a:lnTo>
                <a:lnTo>
                  <a:pt x="17" y="69"/>
                </a:lnTo>
                <a:lnTo>
                  <a:pt x="20" y="68"/>
                </a:lnTo>
                <a:lnTo>
                  <a:pt x="20" y="69"/>
                </a:lnTo>
                <a:lnTo>
                  <a:pt x="21" y="69"/>
                </a:lnTo>
                <a:lnTo>
                  <a:pt x="25" y="69"/>
                </a:lnTo>
                <a:lnTo>
                  <a:pt x="22" y="71"/>
                </a:lnTo>
                <a:lnTo>
                  <a:pt x="26" y="73"/>
                </a:lnTo>
                <a:lnTo>
                  <a:pt x="32" y="73"/>
                </a:lnTo>
                <a:lnTo>
                  <a:pt x="34" y="73"/>
                </a:lnTo>
                <a:lnTo>
                  <a:pt x="37" y="73"/>
                </a:lnTo>
                <a:lnTo>
                  <a:pt x="38" y="74"/>
                </a:lnTo>
                <a:lnTo>
                  <a:pt x="37" y="76"/>
                </a:lnTo>
                <a:lnTo>
                  <a:pt x="32" y="76"/>
                </a:lnTo>
                <a:lnTo>
                  <a:pt x="30" y="77"/>
                </a:lnTo>
                <a:lnTo>
                  <a:pt x="28" y="80"/>
                </a:lnTo>
                <a:lnTo>
                  <a:pt x="26" y="82"/>
                </a:lnTo>
                <a:lnTo>
                  <a:pt x="25" y="82"/>
                </a:lnTo>
                <a:lnTo>
                  <a:pt x="25" y="84"/>
                </a:lnTo>
                <a:lnTo>
                  <a:pt x="28" y="87"/>
                </a:lnTo>
                <a:lnTo>
                  <a:pt x="29" y="87"/>
                </a:lnTo>
                <a:lnTo>
                  <a:pt x="30" y="87"/>
                </a:lnTo>
                <a:lnTo>
                  <a:pt x="33" y="87"/>
                </a:lnTo>
                <a:lnTo>
                  <a:pt x="34" y="87"/>
                </a:lnTo>
                <a:lnTo>
                  <a:pt x="33" y="88"/>
                </a:lnTo>
                <a:lnTo>
                  <a:pt x="37" y="88"/>
                </a:lnTo>
                <a:lnTo>
                  <a:pt x="36" y="88"/>
                </a:lnTo>
                <a:lnTo>
                  <a:pt x="33" y="88"/>
                </a:lnTo>
                <a:lnTo>
                  <a:pt x="30" y="90"/>
                </a:lnTo>
                <a:lnTo>
                  <a:pt x="32" y="90"/>
                </a:lnTo>
                <a:lnTo>
                  <a:pt x="36" y="91"/>
                </a:lnTo>
                <a:lnTo>
                  <a:pt x="37" y="91"/>
                </a:lnTo>
                <a:lnTo>
                  <a:pt x="38" y="93"/>
                </a:lnTo>
                <a:lnTo>
                  <a:pt x="40" y="93"/>
                </a:lnTo>
                <a:lnTo>
                  <a:pt x="41" y="93"/>
                </a:lnTo>
                <a:lnTo>
                  <a:pt x="44" y="93"/>
                </a:lnTo>
                <a:lnTo>
                  <a:pt x="45" y="93"/>
                </a:lnTo>
                <a:lnTo>
                  <a:pt x="48" y="93"/>
                </a:lnTo>
                <a:lnTo>
                  <a:pt x="50" y="91"/>
                </a:lnTo>
                <a:lnTo>
                  <a:pt x="54" y="88"/>
                </a:lnTo>
                <a:lnTo>
                  <a:pt x="56" y="85"/>
                </a:lnTo>
                <a:lnTo>
                  <a:pt x="57" y="85"/>
                </a:lnTo>
                <a:lnTo>
                  <a:pt x="57" y="84"/>
                </a:lnTo>
                <a:lnTo>
                  <a:pt x="56" y="84"/>
                </a:lnTo>
                <a:lnTo>
                  <a:pt x="54" y="82"/>
                </a:lnTo>
                <a:lnTo>
                  <a:pt x="60" y="77"/>
                </a:lnTo>
                <a:lnTo>
                  <a:pt x="64" y="74"/>
                </a:lnTo>
                <a:lnTo>
                  <a:pt x="65" y="73"/>
                </a:lnTo>
                <a:lnTo>
                  <a:pt x="68" y="73"/>
                </a:lnTo>
                <a:lnTo>
                  <a:pt x="70" y="73"/>
                </a:lnTo>
                <a:lnTo>
                  <a:pt x="62" y="77"/>
                </a:lnTo>
                <a:lnTo>
                  <a:pt x="57" y="80"/>
                </a:lnTo>
                <a:lnTo>
                  <a:pt x="57" y="82"/>
                </a:lnTo>
                <a:lnTo>
                  <a:pt x="60" y="84"/>
                </a:lnTo>
                <a:lnTo>
                  <a:pt x="60" y="85"/>
                </a:lnTo>
                <a:lnTo>
                  <a:pt x="60" y="87"/>
                </a:lnTo>
                <a:lnTo>
                  <a:pt x="61" y="88"/>
                </a:lnTo>
                <a:lnTo>
                  <a:pt x="64" y="90"/>
                </a:lnTo>
                <a:lnTo>
                  <a:pt x="66" y="95"/>
                </a:lnTo>
                <a:lnTo>
                  <a:pt x="68" y="96"/>
                </a:lnTo>
                <a:lnTo>
                  <a:pt x="65" y="99"/>
                </a:lnTo>
                <a:lnTo>
                  <a:pt x="64" y="99"/>
                </a:lnTo>
                <a:lnTo>
                  <a:pt x="62" y="101"/>
                </a:lnTo>
                <a:lnTo>
                  <a:pt x="65" y="104"/>
                </a:lnTo>
                <a:lnTo>
                  <a:pt x="66" y="102"/>
                </a:lnTo>
                <a:lnTo>
                  <a:pt x="68" y="102"/>
                </a:lnTo>
                <a:lnTo>
                  <a:pt x="69" y="104"/>
                </a:lnTo>
                <a:lnTo>
                  <a:pt x="68" y="104"/>
                </a:lnTo>
                <a:lnTo>
                  <a:pt x="66" y="106"/>
                </a:lnTo>
                <a:lnTo>
                  <a:pt x="68" y="107"/>
                </a:lnTo>
                <a:lnTo>
                  <a:pt x="69" y="107"/>
                </a:lnTo>
                <a:lnTo>
                  <a:pt x="69" y="109"/>
                </a:lnTo>
                <a:lnTo>
                  <a:pt x="68" y="109"/>
                </a:lnTo>
                <a:lnTo>
                  <a:pt x="65" y="110"/>
                </a:lnTo>
                <a:lnTo>
                  <a:pt x="64" y="110"/>
                </a:lnTo>
                <a:lnTo>
                  <a:pt x="61" y="112"/>
                </a:lnTo>
                <a:lnTo>
                  <a:pt x="66" y="112"/>
                </a:lnTo>
                <a:lnTo>
                  <a:pt x="70" y="110"/>
                </a:lnTo>
                <a:lnTo>
                  <a:pt x="71" y="109"/>
                </a:lnTo>
                <a:lnTo>
                  <a:pt x="74" y="109"/>
                </a:lnTo>
                <a:lnTo>
                  <a:pt x="78" y="107"/>
                </a:lnTo>
                <a:lnTo>
                  <a:pt x="81" y="107"/>
                </a:lnTo>
                <a:lnTo>
                  <a:pt x="85" y="104"/>
                </a:lnTo>
                <a:lnTo>
                  <a:pt x="89" y="99"/>
                </a:lnTo>
                <a:lnTo>
                  <a:pt x="89" y="101"/>
                </a:lnTo>
                <a:lnTo>
                  <a:pt x="89" y="104"/>
                </a:lnTo>
                <a:lnTo>
                  <a:pt x="89" y="106"/>
                </a:lnTo>
                <a:lnTo>
                  <a:pt x="90" y="107"/>
                </a:lnTo>
                <a:lnTo>
                  <a:pt x="91" y="107"/>
                </a:lnTo>
                <a:lnTo>
                  <a:pt x="93" y="109"/>
                </a:lnTo>
                <a:lnTo>
                  <a:pt x="94" y="109"/>
                </a:lnTo>
                <a:lnTo>
                  <a:pt x="97" y="107"/>
                </a:lnTo>
                <a:lnTo>
                  <a:pt x="97" y="106"/>
                </a:lnTo>
                <a:lnTo>
                  <a:pt x="98" y="107"/>
                </a:lnTo>
                <a:lnTo>
                  <a:pt x="99" y="107"/>
                </a:lnTo>
                <a:lnTo>
                  <a:pt x="101" y="109"/>
                </a:lnTo>
                <a:lnTo>
                  <a:pt x="102" y="110"/>
                </a:lnTo>
                <a:lnTo>
                  <a:pt x="106" y="115"/>
                </a:lnTo>
                <a:lnTo>
                  <a:pt x="109" y="115"/>
                </a:lnTo>
                <a:lnTo>
                  <a:pt x="111" y="113"/>
                </a:lnTo>
                <a:lnTo>
                  <a:pt x="111" y="112"/>
                </a:lnTo>
                <a:lnTo>
                  <a:pt x="110" y="109"/>
                </a:lnTo>
                <a:lnTo>
                  <a:pt x="111" y="107"/>
                </a:lnTo>
                <a:lnTo>
                  <a:pt x="114" y="106"/>
                </a:lnTo>
                <a:lnTo>
                  <a:pt x="115" y="106"/>
                </a:lnTo>
                <a:lnTo>
                  <a:pt x="117" y="106"/>
                </a:lnTo>
                <a:lnTo>
                  <a:pt x="115" y="109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86" name="Freeform 285"/>
          <p:cNvSpPr>
            <a:spLocks/>
          </p:cNvSpPr>
          <p:nvPr/>
        </p:nvSpPr>
        <p:spPr bwMode="auto">
          <a:xfrm>
            <a:off x="971935" y="2235310"/>
            <a:ext cx="288425" cy="171808"/>
          </a:xfrm>
          <a:custGeom>
            <a:avLst/>
            <a:gdLst/>
            <a:ahLst/>
            <a:cxnLst>
              <a:cxn ang="0">
                <a:pos x="88" y="18"/>
              </a:cxn>
              <a:cxn ang="0">
                <a:pos x="101" y="13"/>
              </a:cxn>
              <a:cxn ang="0">
                <a:pos x="92" y="21"/>
              </a:cxn>
              <a:cxn ang="0">
                <a:pos x="88" y="35"/>
              </a:cxn>
              <a:cxn ang="0">
                <a:pos x="81" y="44"/>
              </a:cxn>
              <a:cxn ang="0">
                <a:pos x="74" y="48"/>
              </a:cxn>
              <a:cxn ang="0">
                <a:pos x="68" y="52"/>
              </a:cxn>
              <a:cxn ang="0">
                <a:pos x="54" y="57"/>
              </a:cxn>
              <a:cxn ang="0">
                <a:pos x="44" y="66"/>
              </a:cxn>
              <a:cxn ang="0">
                <a:pos x="45" y="70"/>
              </a:cxn>
              <a:cxn ang="0">
                <a:pos x="38" y="70"/>
              </a:cxn>
              <a:cxn ang="0">
                <a:pos x="36" y="66"/>
              </a:cxn>
              <a:cxn ang="0">
                <a:pos x="27" y="68"/>
              </a:cxn>
              <a:cxn ang="0">
                <a:pos x="13" y="76"/>
              </a:cxn>
              <a:cxn ang="0">
                <a:pos x="8" y="81"/>
              </a:cxn>
              <a:cxn ang="0">
                <a:pos x="1" y="82"/>
              </a:cxn>
              <a:cxn ang="0">
                <a:pos x="3" y="85"/>
              </a:cxn>
              <a:cxn ang="0">
                <a:pos x="5" y="85"/>
              </a:cxn>
              <a:cxn ang="0">
                <a:pos x="8" y="85"/>
              </a:cxn>
              <a:cxn ang="0">
                <a:pos x="15" y="82"/>
              </a:cxn>
              <a:cxn ang="0">
                <a:pos x="19" y="84"/>
              </a:cxn>
              <a:cxn ang="0">
                <a:pos x="24" y="79"/>
              </a:cxn>
              <a:cxn ang="0">
                <a:pos x="30" y="74"/>
              </a:cxn>
              <a:cxn ang="0">
                <a:pos x="37" y="76"/>
              </a:cxn>
              <a:cxn ang="0">
                <a:pos x="44" y="76"/>
              </a:cxn>
              <a:cxn ang="0">
                <a:pos x="49" y="73"/>
              </a:cxn>
              <a:cxn ang="0">
                <a:pos x="54" y="70"/>
              </a:cxn>
              <a:cxn ang="0">
                <a:pos x="56" y="74"/>
              </a:cxn>
              <a:cxn ang="0">
                <a:pos x="61" y="70"/>
              </a:cxn>
              <a:cxn ang="0">
                <a:pos x="72" y="65"/>
              </a:cxn>
              <a:cxn ang="0">
                <a:pos x="66" y="60"/>
              </a:cxn>
              <a:cxn ang="0">
                <a:pos x="69" y="62"/>
              </a:cxn>
              <a:cxn ang="0">
                <a:pos x="84" y="59"/>
              </a:cxn>
              <a:cxn ang="0">
                <a:pos x="82" y="57"/>
              </a:cxn>
              <a:cxn ang="0">
                <a:pos x="89" y="54"/>
              </a:cxn>
              <a:cxn ang="0">
                <a:pos x="98" y="51"/>
              </a:cxn>
              <a:cxn ang="0">
                <a:pos x="102" y="49"/>
              </a:cxn>
              <a:cxn ang="0">
                <a:pos x="105" y="44"/>
              </a:cxn>
              <a:cxn ang="0">
                <a:pos x="112" y="40"/>
              </a:cxn>
              <a:cxn ang="0">
                <a:pos x="117" y="37"/>
              </a:cxn>
              <a:cxn ang="0">
                <a:pos x="124" y="35"/>
              </a:cxn>
              <a:cxn ang="0">
                <a:pos x="130" y="30"/>
              </a:cxn>
              <a:cxn ang="0">
                <a:pos x="141" y="29"/>
              </a:cxn>
              <a:cxn ang="0">
                <a:pos x="141" y="24"/>
              </a:cxn>
              <a:cxn ang="0">
                <a:pos x="149" y="19"/>
              </a:cxn>
              <a:cxn ang="0">
                <a:pos x="146" y="15"/>
              </a:cxn>
              <a:cxn ang="0">
                <a:pos x="138" y="13"/>
              </a:cxn>
              <a:cxn ang="0">
                <a:pos x="146" y="5"/>
              </a:cxn>
              <a:cxn ang="0">
                <a:pos x="150" y="0"/>
              </a:cxn>
            </a:cxnLst>
            <a:rect l="0" t="0" r="r" b="b"/>
            <a:pathLst>
              <a:path w="151" h="87">
                <a:moveTo>
                  <a:pt x="74" y="18"/>
                </a:moveTo>
                <a:lnTo>
                  <a:pt x="78" y="19"/>
                </a:lnTo>
                <a:lnTo>
                  <a:pt x="81" y="21"/>
                </a:lnTo>
                <a:lnTo>
                  <a:pt x="88" y="18"/>
                </a:lnTo>
                <a:lnTo>
                  <a:pt x="93" y="16"/>
                </a:lnTo>
                <a:lnTo>
                  <a:pt x="97" y="13"/>
                </a:lnTo>
                <a:lnTo>
                  <a:pt x="101" y="11"/>
                </a:lnTo>
                <a:lnTo>
                  <a:pt x="101" y="13"/>
                </a:lnTo>
                <a:lnTo>
                  <a:pt x="97" y="16"/>
                </a:lnTo>
                <a:lnTo>
                  <a:pt x="96" y="18"/>
                </a:lnTo>
                <a:lnTo>
                  <a:pt x="94" y="21"/>
                </a:lnTo>
                <a:lnTo>
                  <a:pt x="92" y="21"/>
                </a:lnTo>
                <a:lnTo>
                  <a:pt x="89" y="26"/>
                </a:lnTo>
                <a:lnTo>
                  <a:pt x="93" y="27"/>
                </a:lnTo>
                <a:lnTo>
                  <a:pt x="89" y="29"/>
                </a:lnTo>
                <a:lnTo>
                  <a:pt x="88" y="35"/>
                </a:lnTo>
                <a:lnTo>
                  <a:pt x="86" y="37"/>
                </a:lnTo>
                <a:lnTo>
                  <a:pt x="86" y="38"/>
                </a:lnTo>
                <a:lnTo>
                  <a:pt x="85" y="40"/>
                </a:lnTo>
                <a:lnTo>
                  <a:pt x="81" y="44"/>
                </a:lnTo>
                <a:lnTo>
                  <a:pt x="80" y="43"/>
                </a:lnTo>
                <a:lnTo>
                  <a:pt x="78" y="43"/>
                </a:lnTo>
                <a:lnTo>
                  <a:pt x="78" y="44"/>
                </a:lnTo>
                <a:lnTo>
                  <a:pt x="74" y="48"/>
                </a:lnTo>
                <a:lnTo>
                  <a:pt x="73" y="49"/>
                </a:lnTo>
                <a:lnTo>
                  <a:pt x="72" y="52"/>
                </a:lnTo>
                <a:lnTo>
                  <a:pt x="69" y="52"/>
                </a:lnTo>
                <a:lnTo>
                  <a:pt x="68" y="52"/>
                </a:lnTo>
                <a:lnTo>
                  <a:pt x="64" y="55"/>
                </a:lnTo>
                <a:lnTo>
                  <a:pt x="60" y="55"/>
                </a:lnTo>
                <a:lnTo>
                  <a:pt x="56" y="57"/>
                </a:lnTo>
                <a:lnTo>
                  <a:pt x="54" y="57"/>
                </a:lnTo>
                <a:lnTo>
                  <a:pt x="49" y="60"/>
                </a:lnTo>
                <a:lnTo>
                  <a:pt x="46" y="63"/>
                </a:lnTo>
                <a:lnTo>
                  <a:pt x="45" y="65"/>
                </a:lnTo>
                <a:lnTo>
                  <a:pt x="44" y="66"/>
                </a:lnTo>
                <a:lnTo>
                  <a:pt x="44" y="68"/>
                </a:lnTo>
                <a:lnTo>
                  <a:pt x="46" y="70"/>
                </a:lnTo>
                <a:lnTo>
                  <a:pt x="48" y="71"/>
                </a:lnTo>
                <a:lnTo>
                  <a:pt x="45" y="70"/>
                </a:lnTo>
                <a:lnTo>
                  <a:pt x="44" y="70"/>
                </a:lnTo>
                <a:lnTo>
                  <a:pt x="41" y="70"/>
                </a:lnTo>
                <a:lnTo>
                  <a:pt x="40" y="70"/>
                </a:lnTo>
                <a:lnTo>
                  <a:pt x="38" y="70"/>
                </a:lnTo>
                <a:lnTo>
                  <a:pt x="37" y="68"/>
                </a:lnTo>
                <a:lnTo>
                  <a:pt x="38" y="68"/>
                </a:lnTo>
                <a:lnTo>
                  <a:pt x="38" y="66"/>
                </a:lnTo>
                <a:lnTo>
                  <a:pt x="36" y="66"/>
                </a:lnTo>
                <a:lnTo>
                  <a:pt x="33" y="66"/>
                </a:lnTo>
                <a:lnTo>
                  <a:pt x="32" y="66"/>
                </a:lnTo>
                <a:lnTo>
                  <a:pt x="30" y="68"/>
                </a:lnTo>
                <a:lnTo>
                  <a:pt x="27" y="68"/>
                </a:lnTo>
                <a:lnTo>
                  <a:pt x="20" y="71"/>
                </a:lnTo>
                <a:lnTo>
                  <a:pt x="16" y="74"/>
                </a:lnTo>
                <a:lnTo>
                  <a:pt x="15" y="76"/>
                </a:lnTo>
                <a:lnTo>
                  <a:pt x="13" y="76"/>
                </a:lnTo>
                <a:lnTo>
                  <a:pt x="13" y="77"/>
                </a:lnTo>
                <a:lnTo>
                  <a:pt x="9" y="79"/>
                </a:lnTo>
                <a:lnTo>
                  <a:pt x="9" y="81"/>
                </a:lnTo>
                <a:lnTo>
                  <a:pt x="8" y="81"/>
                </a:lnTo>
                <a:lnTo>
                  <a:pt x="7" y="81"/>
                </a:lnTo>
                <a:lnTo>
                  <a:pt x="5" y="81"/>
                </a:lnTo>
                <a:lnTo>
                  <a:pt x="3" y="82"/>
                </a:lnTo>
                <a:lnTo>
                  <a:pt x="1" y="82"/>
                </a:lnTo>
                <a:lnTo>
                  <a:pt x="0" y="82"/>
                </a:lnTo>
                <a:lnTo>
                  <a:pt x="0" y="84"/>
                </a:lnTo>
                <a:lnTo>
                  <a:pt x="1" y="84"/>
                </a:lnTo>
                <a:lnTo>
                  <a:pt x="3" y="85"/>
                </a:lnTo>
                <a:lnTo>
                  <a:pt x="1" y="87"/>
                </a:lnTo>
                <a:lnTo>
                  <a:pt x="3" y="87"/>
                </a:lnTo>
                <a:lnTo>
                  <a:pt x="4" y="87"/>
                </a:lnTo>
                <a:lnTo>
                  <a:pt x="5" y="85"/>
                </a:lnTo>
                <a:lnTo>
                  <a:pt x="4" y="82"/>
                </a:lnTo>
                <a:lnTo>
                  <a:pt x="5" y="84"/>
                </a:lnTo>
                <a:lnTo>
                  <a:pt x="7" y="85"/>
                </a:lnTo>
                <a:lnTo>
                  <a:pt x="8" y="85"/>
                </a:lnTo>
                <a:lnTo>
                  <a:pt x="13" y="84"/>
                </a:lnTo>
                <a:lnTo>
                  <a:pt x="12" y="81"/>
                </a:lnTo>
                <a:lnTo>
                  <a:pt x="15" y="81"/>
                </a:lnTo>
                <a:lnTo>
                  <a:pt x="15" y="82"/>
                </a:lnTo>
                <a:lnTo>
                  <a:pt x="15" y="84"/>
                </a:lnTo>
                <a:lnTo>
                  <a:pt x="16" y="84"/>
                </a:lnTo>
                <a:lnTo>
                  <a:pt x="17" y="84"/>
                </a:lnTo>
                <a:lnTo>
                  <a:pt x="19" y="84"/>
                </a:lnTo>
                <a:lnTo>
                  <a:pt x="20" y="82"/>
                </a:lnTo>
                <a:lnTo>
                  <a:pt x="21" y="82"/>
                </a:lnTo>
                <a:lnTo>
                  <a:pt x="23" y="81"/>
                </a:lnTo>
                <a:lnTo>
                  <a:pt x="24" y="79"/>
                </a:lnTo>
                <a:lnTo>
                  <a:pt x="25" y="77"/>
                </a:lnTo>
                <a:lnTo>
                  <a:pt x="27" y="74"/>
                </a:lnTo>
                <a:lnTo>
                  <a:pt x="28" y="74"/>
                </a:lnTo>
                <a:lnTo>
                  <a:pt x="30" y="74"/>
                </a:lnTo>
                <a:lnTo>
                  <a:pt x="30" y="76"/>
                </a:lnTo>
                <a:lnTo>
                  <a:pt x="29" y="77"/>
                </a:lnTo>
                <a:lnTo>
                  <a:pt x="33" y="77"/>
                </a:lnTo>
                <a:lnTo>
                  <a:pt x="37" y="76"/>
                </a:lnTo>
                <a:lnTo>
                  <a:pt x="41" y="76"/>
                </a:lnTo>
                <a:lnTo>
                  <a:pt x="41" y="74"/>
                </a:lnTo>
                <a:lnTo>
                  <a:pt x="42" y="74"/>
                </a:lnTo>
                <a:lnTo>
                  <a:pt x="44" y="76"/>
                </a:lnTo>
                <a:lnTo>
                  <a:pt x="45" y="74"/>
                </a:lnTo>
                <a:lnTo>
                  <a:pt x="45" y="73"/>
                </a:lnTo>
                <a:lnTo>
                  <a:pt x="46" y="73"/>
                </a:lnTo>
                <a:lnTo>
                  <a:pt x="49" y="73"/>
                </a:lnTo>
                <a:lnTo>
                  <a:pt x="50" y="71"/>
                </a:lnTo>
                <a:lnTo>
                  <a:pt x="52" y="71"/>
                </a:lnTo>
                <a:lnTo>
                  <a:pt x="53" y="71"/>
                </a:lnTo>
                <a:lnTo>
                  <a:pt x="54" y="70"/>
                </a:lnTo>
                <a:lnTo>
                  <a:pt x="56" y="70"/>
                </a:lnTo>
                <a:lnTo>
                  <a:pt x="57" y="71"/>
                </a:lnTo>
                <a:lnTo>
                  <a:pt x="57" y="73"/>
                </a:lnTo>
                <a:lnTo>
                  <a:pt x="56" y="74"/>
                </a:lnTo>
                <a:lnTo>
                  <a:pt x="57" y="74"/>
                </a:lnTo>
                <a:lnTo>
                  <a:pt x="60" y="71"/>
                </a:lnTo>
                <a:lnTo>
                  <a:pt x="60" y="70"/>
                </a:lnTo>
                <a:lnTo>
                  <a:pt x="61" y="70"/>
                </a:lnTo>
                <a:lnTo>
                  <a:pt x="66" y="70"/>
                </a:lnTo>
                <a:lnTo>
                  <a:pt x="69" y="66"/>
                </a:lnTo>
                <a:lnTo>
                  <a:pt x="72" y="66"/>
                </a:lnTo>
                <a:lnTo>
                  <a:pt x="72" y="65"/>
                </a:lnTo>
                <a:lnTo>
                  <a:pt x="72" y="63"/>
                </a:lnTo>
                <a:lnTo>
                  <a:pt x="69" y="63"/>
                </a:lnTo>
                <a:lnTo>
                  <a:pt x="68" y="62"/>
                </a:lnTo>
                <a:lnTo>
                  <a:pt x="66" y="60"/>
                </a:lnTo>
                <a:lnTo>
                  <a:pt x="65" y="59"/>
                </a:lnTo>
                <a:lnTo>
                  <a:pt x="66" y="59"/>
                </a:lnTo>
                <a:lnTo>
                  <a:pt x="68" y="60"/>
                </a:lnTo>
                <a:lnTo>
                  <a:pt x="69" y="62"/>
                </a:lnTo>
                <a:lnTo>
                  <a:pt x="72" y="62"/>
                </a:lnTo>
                <a:lnTo>
                  <a:pt x="76" y="59"/>
                </a:lnTo>
                <a:lnTo>
                  <a:pt x="78" y="59"/>
                </a:lnTo>
                <a:lnTo>
                  <a:pt x="84" y="59"/>
                </a:lnTo>
                <a:lnTo>
                  <a:pt x="85" y="57"/>
                </a:lnTo>
                <a:lnTo>
                  <a:pt x="84" y="57"/>
                </a:lnTo>
                <a:lnTo>
                  <a:pt x="81" y="57"/>
                </a:lnTo>
                <a:lnTo>
                  <a:pt x="82" y="57"/>
                </a:lnTo>
                <a:lnTo>
                  <a:pt x="85" y="55"/>
                </a:lnTo>
                <a:lnTo>
                  <a:pt x="86" y="55"/>
                </a:lnTo>
                <a:lnTo>
                  <a:pt x="89" y="55"/>
                </a:lnTo>
                <a:lnTo>
                  <a:pt x="89" y="54"/>
                </a:lnTo>
                <a:lnTo>
                  <a:pt x="89" y="52"/>
                </a:lnTo>
                <a:lnTo>
                  <a:pt x="92" y="52"/>
                </a:lnTo>
                <a:lnTo>
                  <a:pt x="94" y="52"/>
                </a:lnTo>
                <a:lnTo>
                  <a:pt x="98" y="51"/>
                </a:lnTo>
                <a:lnTo>
                  <a:pt x="98" y="49"/>
                </a:lnTo>
                <a:lnTo>
                  <a:pt x="100" y="51"/>
                </a:lnTo>
                <a:lnTo>
                  <a:pt x="101" y="49"/>
                </a:lnTo>
                <a:lnTo>
                  <a:pt x="102" y="49"/>
                </a:lnTo>
                <a:lnTo>
                  <a:pt x="105" y="48"/>
                </a:lnTo>
                <a:lnTo>
                  <a:pt x="106" y="46"/>
                </a:lnTo>
                <a:lnTo>
                  <a:pt x="106" y="44"/>
                </a:lnTo>
                <a:lnTo>
                  <a:pt x="105" y="44"/>
                </a:lnTo>
                <a:lnTo>
                  <a:pt x="104" y="44"/>
                </a:lnTo>
                <a:lnTo>
                  <a:pt x="105" y="43"/>
                </a:lnTo>
                <a:lnTo>
                  <a:pt x="110" y="41"/>
                </a:lnTo>
                <a:lnTo>
                  <a:pt x="112" y="40"/>
                </a:lnTo>
                <a:lnTo>
                  <a:pt x="116" y="40"/>
                </a:lnTo>
                <a:lnTo>
                  <a:pt x="116" y="38"/>
                </a:lnTo>
                <a:lnTo>
                  <a:pt x="117" y="38"/>
                </a:lnTo>
                <a:lnTo>
                  <a:pt x="117" y="37"/>
                </a:lnTo>
                <a:lnTo>
                  <a:pt x="118" y="37"/>
                </a:lnTo>
                <a:lnTo>
                  <a:pt x="121" y="37"/>
                </a:lnTo>
                <a:lnTo>
                  <a:pt x="122" y="35"/>
                </a:lnTo>
                <a:lnTo>
                  <a:pt x="124" y="35"/>
                </a:lnTo>
                <a:lnTo>
                  <a:pt x="125" y="33"/>
                </a:lnTo>
                <a:lnTo>
                  <a:pt x="126" y="33"/>
                </a:lnTo>
                <a:lnTo>
                  <a:pt x="126" y="32"/>
                </a:lnTo>
                <a:lnTo>
                  <a:pt x="130" y="30"/>
                </a:lnTo>
                <a:lnTo>
                  <a:pt x="134" y="30"/>
                </a:lnTo>
                <a:lnTo>
                  <a:pt x="136" y="29"/>
                </a:lnTo>
                <a:lnTo>
                  <a:pt x="137" y="29"/>
                </a:lnTo>
                <a:lnTo>
                  <a:pt x="141" y="29"/>
                </a:lnTo>
                <a:lnTo>
                  <a:pt x="141" y="27"/>
                </a:lnTo>
                <a:lnTo>
                  <a:pt x="138" y="26"/>
                </a:lnTo>
                <a:lnTo>
                  <a:pt x="141" y="26"/>
                </a:lnTo>
                <a:lnTo>
                  <a:pt x="141" y="24"/>
                </a:lnTo>
                <a:lnTo>
                  <a:pt x="141" y="22"/>
                </a:lnTo>
                <a:lnTo>
                  <a:pt x="142" y="22"/>
                </a:lnTo>
                <a:lnTo>
                  <a:pt x="145" y="21"/>
                </a:lnTo>
                <a:lnTo>
                  <a:pt x="149" y="19"/>
                </a:lnTo>
                <a:lnTo>
                  <a:pt x="151" y="18"/>
                </a:lnTo>
                <a:lnTo>
                  <a:pt x="151" y="16"/>
                </a:lnTo>
                <a:lnTo>
                  <a:pt x="150" y="15"/>
                </a:lnTo>
                <a:lnTo>
                  <a:pt x="146" y="15"/>
                </a:lnTo>
                <a:lnTo>
                  <a:pt x="146" y="13"/>
                </a:lnTo>
                <a:lnTo>
                  <a:pt x="143" y="13"/>
                </a:lnTo>
                <a:lnTo>
                  <a:pt x="140" y="13"/>
                </a:lnTo>
                <a:lnTo>
                  <a:pt x="138" y="13"/>
                </a:lnTo>
                <a:lnTo>
                  <a:pt x="141" y="8"/>
                </a:lnTo>
                <a:lnTo>
                  <a:pt x="141" y="7"/>
                </a:lnTo>
                <a:lnTo>
                  <a:pt x="145" y="7"/>
                </a:lnTo>
                <a:lnTo>
                  <a:pt x="146" y="5"/>
                </a:lnTo>
                <a:lnTo>
                  <a:pt x="147" y="4"/>
                </a:lnTo>
                <a:lnTo>
                  <a:pt x="147" y="2"/>
                </a:lnTo>
                <a:lnTo>
                  <a:pt x="149" y="2"/>
                </a:lnTo>
                <a:lnTo>
                  <a:pt x="150" y="0"/>
                </a:lnTo>
                <a:lnTo>
                  <a:pt x="151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87" name="Freeform 286"/>
          <p:cNvSpPr>
            <a:spLocks/>
          </p:cNvSpPr>
          <p:nvPr/>
        </p:nvSpPr>
        <p:spPr bwMode="auto">
          <a:xfrm>
            <a:off x="1260360" y="2149405"/>
            <a:ext cx="243603" cy="107381"/>
          </a:xfrm>
          <a:custGeom>
            <a:avLst/>
            <a:gdLst/>
            <a:ahLst/>
            <a:cxnLst>
              <a:cxn ang="0">
                <a:pos x="6" y="43"/>
              </a:cxn>
              <a:cxn ang="0">
                <a:pos x="8" y="42"/>
              </a:cxn>
              <a:cxn ang="0">
                <a:pos x="7" y="34"/>
              </a:cxn>
              <a:cxn ang="0">
                <a:pos x="19" y="29"/>
              </a:cxn>
              <a:cxn ang="0">
                <a:pos x="40" y="17"/>
              </a:cxn>
              <a:cxn ang="0">
                <a:pos x="42" y="10"/>
              </a:cxn>
              <a:cxn ang="0">
                <a:pos x="47" y="1"/>
              </a:cxn>
              <a:cxn ang="0">
                <a:pos x="48" y="7"/>
              </a:cxn>
              <a:cxn ang="0">
                <a:pos x="42" y="17"/>
              </a:cxn>
              <a:cxn ang="0">
                <a:pos x="59" y="12"/>
              </a:cxn>
              <a:cxn ang="0">
                <a:pos x="55" y="15"/>
              </a:cxn>
              <a:cxn ang="0">
                <a:pos x="52" y="21"/>
              </a:cxn>
              <a:cxn ang="0">
                <a:pos x="50" y="23"/>
              </a:cxn>
              <a:cxn ang="0">
                <a:pos x="42" y="23"/>
              </a:cxn>
              <a:cxn ang="0">
                <a:pos x="31" y="29"/>
              </a:cxn>
              <a:cxn ang="0">
                <a:pos x="27" y="37"/>
              </a:cxn>
              <a:cxn ang="0">
                <a:pos x="23" y="43"/>
              </a:cxn>
              <a:cxn ang="0">
                <a:pos x="36" y="43"/>
              </a:cxn>
              <a:cxn ang="0">
                <a:pos x="31" y="48"/>
              </a:cxn>
              <a:cxn ang="0">
                <a:pos x="27" y="48"/>
              </a:cxn>
              <a:cxn ang="0">
                <a:pos x="24" y="51"/>
              </a:cxn>
              <a:cxn ang="0">
                <a:pos x="26" y="54"/>
              </a:cxn>
              <a:cxn ang="0">
                <a:pos x="34" y="51"/>
              </a:cxn>
              <a:cxn ang="0">
                <a:pos x="43" y="48"/>
              </a:cxn>
              <a:cxn ang="0">
                <a:pos x="46" y="51"/>
              </a:cxn>
              <a:cxn ang="0">
                <a:pos x="54" y="45"/>
              </a:cxn>
              <a:cxn ang="0">
                <a:pos x="56" y="42"/>
              </a:cxn>
              <a:cxn ang="0">
                <a:pos x="59" y="39"/>
              </a:cxn>
              <a:cxn ang="0">
                <a:pos x="63" y="39"/>
              </a:cxn>
              <a:cxn ang="0">
                <a:pos x="74" y="39"/>
              </a:cxn>
              <a:cxn ang="0">
                <a:pos x="78" y="36"/>
              </a:cxn>
              <a:cxn ang="0">
                <a:pos x="79" y="32"/>
              </a:cxn>
              <a:cxn ang="0">
                <a:pos x="76" y="31"/>
              </a:cxn>
              <a:cxn ang="0">
                <a:pos x="75" y="29"/>
              </a:cxn>
              <a:cxn ang="0">
                <a:pos x="75" y="26"/>
              </a:cxn>
              <a:cxn ang="0">
                <a:pos x="75" y="23"/>
              </a:cxn>
              <a:cxn ang="0">
                <a:pos x="78" y="20"/>
              </a:cxn>
              <a:cxn ang="0">
                <a:pos x="84" y="17"/>
              </a:cxn>
              <a:cxn ang="0">
                <a:pos x="82" y="23"/>
              </a:cxn>
              <a:cxn ang="0">
                <a:pos x="86" y="18"/>
              </a:cxn>
              <a:cxn ang="0">
                <a:pos x="95" y="21"/>
              </a:cxn>
              <a:cxn ang="0">
                <a:pos x="107" y="20"/>
              </a:cxn>
              <a:cxn ang="0">
                <a:pos x="102" y="23"/>
              </a:cxn>
              <a:cxn ang="0">
                <a:pos x="108" y="25"/>
              </a:cxn>
              <a:cxn ang="0">
                <a:pos x="107" y="26"/>
              </a:cxn>
              <a:cxn ang="0">
                <a:pos x="111" y="28"/>
              </a:cxn>
              <a:cxn ang="0">
                <a:pos x="113" y="29"/>
              </a:cxn>
              <a:cxn ang="0">
                <a:pos x="124" y="34"/>
              </a:cxn>
              <a:cxn ang="0">
                <a:pos x="127" y="31"/>
              </a:cxn>
            </a:cxnLst>
            <a:rect l="0" t="0" r="r" b="b"/>
            <a:pathLst>
              <a:path w="128" h="54">
                <a:moveTo>
                  <a:pt x="0" y="43"/>
                </a:moveTo>
                <a:lnTo>
                  <a:pt x="0" y="45"/>
                </a:lnTo>
                <a:lnTo>
                  <a:pt x="3" y="45"/>
                </a:lnTo>
                <a:lnTo>
                  <a:pt x="6" y="43"/>
                </a:lnTo>
                <a:lnTo>
                  <a:pt x="6" y="42"/>
                </a:lnTo>
                <a:lnTo>
                  <a:pt x="3" y="42"/>
                </a:lnTo>
                <a:lnTo>
                  <a:pt x="4" y="42"/>
                </a:lnTo>
                <a:lnTo>
                  <a:pt x="8" y="42"/>
                </a:lnTo>
                <a:lnTo>
                  <a:pt x="11" y="39"/>
                </a:lnTo>
                <a:lnTo>
                  <a:pt x="10" y="37"/>
                </a:lnTo>
                <a:lnTo>
                  <a:pt x="4" y="34"/>
                </a:lnTo>
                <a:lnTo>
                  <a:pt x="7" y="34"/>
                </a:lnTo>
                <a:lnTo>
                  <a:pt x="8" y="36"/>
                </a:lnTo>
                <a:lnTo>
                  <a:pt x="12" y="36"/>
                </a:lnTo>
                <a:lnTo>
                  <a:pt x="16" y="32"/>
                </a:lnTo>
                <a:lnTo>
                  <a:pt x="19" y="29"/>
                </a:lnTo>
                <a:lnTo>
                  <a:pt x="24" y="25"/>
                </a:lnTo>
                <a:lnTo>
                  <a:pt x="24" y="23"/>
                </a:lnTo>
                <a:lnTo>
                  <a:pt x="34" y="20"/>
                </a:lnTo>
                <a:lnTo>
                  <a:pt x="40" y="17"/>
                </a:lnTo>
                <a:lnTo>
                  <a:pt x="40" y="15"/>
                </a:lnTo>
                <a:lnTo>
                  <a:pt x="40" y="14"/>
                </a:lnTo>
                <a:lnTo>
                  <a:pt x="40" y="12"/>
                </a:lnTo>
                <a:lnTo>
                  <a:pt x="42" y="10"/>
                </a:lnTo>
                <a:lnTo>
                  <a:pt x="43" y="9"/>
                </a:lnTo>
                <a:lnTo>
                  <a:pt x="47" y="4"/>
                </a:lnTo>
                <a:lnTo>
                  <a:pt x="47" y="3"/>
                </a:lnTo>
                <a:lnTo>
                  <a:pt x="47" y="1"/>
                </a:lnTo>
                <a:lnTo>
                  <a:pt x="48" y="0"/>
                </a:lnTo>
                <a:lnTo>
                  <a:pt x="50" y="0"/>
                </a:lnTo>
                <a:lnTo>
                  <a:pt x="50" y="1"/>
                </a:lnTo>
                <a:lnTo>
                  <a:pt x="48" y="7"/>
                </a:lnTo>
                <a:lnTo>
                  <a:pt x="47" y="9"/>
                </a:lnTo>
                <a:lnTo>
                  <a:pt x="43" y="12"/>
                </a:lnTo>
                <a:lnTo>
                  <a:pt x="43" y="15"/>
                </a:lnTo>
                <a:lnTo>
                  <a:pt x="42" y="17"/>
                </a:lnTo>
                <a:lnTo>
                  <a:pt x="44" y="17"/>
                </a:lnTo>
                <a:lnTo>
                  <a:pt x="50" y="17"/>
                </a:lnTo>
                <a:lnTo>
                  <a:pt x="55" y="14"/>
                </a:lnTo>
                <a:lnTo>
                  <a:pt x="59" y="12"/>
                </a:lnTo>
                <a:lnTo>
                  <a:pt x="62" y="12"/>
                </a:lnTo>
                <a:lnTo>
                  <a:pt x="59" y="14"/>
                </a:lnTo>
                <a:lnTo>
                  <a:pt x="58" y="15"/>
                </a:lnTo>
                <a:lnTo>
                  <a:pt x="55" y="15"/>
                </a:lnTo>
                <a:lnTo>
                  <a:pt x="54" y="17"/>
                </a:lnTo>
                <a:lnTo>
                  <a:pt x="51" y="18"/>
                </a:lnTo>
                <a:lnTo>
                  <a:pt x="51" y="20"/>
                </a:lnTo>
                <a:lnTo>
                  <a:pt x="52" y="21"/>
                </a:lnTo>
                <a:lnTo>
                  <a:pt x="60" y="21"/>
                </a:lnTo>
                <a:lnTo>
                  <a:pt x="66" y="23"/>
                </a:lnTo>
                <a:lnTo>
                  <a:pt x="54" y="23"/>
                </a:lnTo>
                <a:lnTo>
                  <a:pt x="50" y="23"/>
                </a:lnTo>
                <a:lnTo>
                  <a:pt x="47" y="23"/>
                </a:lnTo>
                <a:lnTo>
                  <a:pt x="46" y="21"/>
                </a:lnTo>
                <a:lnTo>
                  <a:pt x="43" y="21"/>
                </a:lnTo>
                <a:lnTo>
                  <a:pt x="42" y="23"/>
                </a:lnTo>
                <a:lnTo>
                  <a:pt x="39" y="25"/>
                </a:lnTo>
                <a:lnTo>
                  <a:pt x="31" y="26"/>
                </a:lnTo>
                <a:lnTo>
                  <a:pt x="31" y="28"/>
                </a:lnTo>
                <a:lnTo>
                  <a:pt x="31" y="29"/>
                </a:lnTo>
                <a:lnTo>
                  <a:pt x="31" y="32"/>
                </a:lnTo>
                <a:lnTo>
                  <a:pt x="31" y="34"/>
                </a:lnTo>
                <a:lnTo>
                  <a:pt x="30" y="36"/>
                </a:lnTo>
                <a:lnTo>
                  <a:pt x="27" y="37"/>
                </a:lnTo>
                <a:lnTo>
                  <a:pt x="26" y="39"/>
                </a:lnTo>
                <a:lnTo>
                  <a:pt x="26" y="40"/>
                </a:lnTo>
                <a:lnTo>
                  <a:pt x="24" y="42"/>
                </a:lnTo>
                <a:lnTo>
                  <a:pt x="23" y="43"/>
                </a:lnTo>
                <a:lnTo>
                  <a:pt x="24" y="45"/>
                </a:lnTo>
                <a:lnTo>
                  <a:pt x="28" y="47"/>
                </a:lnTo>
                <a:lnTo>
                  <a:pt x="35" y="43"/>
                </a:lnTo>
                <a:lnTo>
                  <a:pt x="36" y="43"/>
                </a:lnTo>
                <a:lnTo>
                  <a:pt x="35" y="45"/>
                </a:lnTo>
                <a:lnTo>
                  <a:pt x="34" y="47"/>
                </a:lnTo>
                <a:lnTo>
                  <a:pt x="32" y="48"/>
                </a:lnTo>
                <a:lnTo>
                  <a:pt x="31" y="48"/>
                </a:lnTo>
                <a:lnTo>
                  <a:pt x="30" y="48"/>
                </a:lnTo>
                <a:lnTo>
                  <a:pt x="31" y="50"/>
                </a:lnTo>
                <a:lnTo>
                  <a:pt x="28" y="48"/>
                </a:lnTo>
                <a:lnTo>
                  <a:pt x="27" y="48"/>
                </a:lnTo>
                <a:lnTo>
                  <a:pt x="26" y="50"/>
                </a:lnTo>
                <a:lnTo>
                  <a:pt x="24" y="48"/>
                </a:lnTo>
                <a:lnTo>
                  <a:pt x="23" y="50"/>
                </a:lnTo>
                <a:lnTo>
                  <a:pt x="24" y="51"/>
                </a:lnTo>
                <a:lnTo>
                  <a:pt x="22" y="51"/>
                </a:lnTo>
                <a:lnTo>
                  <a:pt x="22" y="53"/>
                </a:lnTo>
                <a:lnTo>
                  <a:pt x="24" y="53"/>
                </a:lnTo>
                <a:lnTo>
                  <a:pt x="26" y="54"/>
                </a:lnTo>
                <a:lnTo>
                  <a:pt x="28" y="53"/>
                </a:lnTo>
                <a:lnTo>
                  <a:pt x="34" y="53"/>
                </a:lnTo>
                <a:lnTo>
                  <a:pt x="32" y="51"/>
                </a:lnTo>
                <a:lnTo>
                  <a:pt x="34" y="51"/>
                </a:lnTo>
                <a:lnTo>
                  <a:pt x="35" y="51"/>
                </a:lnTo>
                <a:lnTo>
                  <a:pt x="38" y="53"/>
                </a:lnTo>
                <a:lnTo>
                  <a:pt x="40" y="50"/>
                </a:lnTo>
                <a:lnTo>
                  <a:pt x="43" y="48"/>
                </a:lnTo>
                <a:lnTo>
                  <a:pt x="44" y="48"/>
                </a:lnTo>
                <a:lnTo>
                  <a:pt x="46" y="47"/>
                </a:lnTo>
                <a:lnTo>
                  <a:pt x="46" y="48"/>
                </a:lnTo>
                <a:lnTo>
                  <a:pt x="46" y="51"/>
                </a:lnTo>
                <a:lnTo>
                  <a:pt x="48" y="47"/>
                </a:lnTo>
                <a:lnTo>
                  <a:pt x="48" y="45"/>
                </a:lnTo>
                <a:lnTo>
                  <a:pt x="52" y="45"/>
                </a:lnTo>
                <a:lnTo>
                  <a:pt x="54" y="45"/>
                </a:lnTo>
                <a:lnTo>
                  <a:pt x="55" y="43"/>
                </a:lnTo>
                <a:lnTo>
                  <a:pt x="55" y="42"/>
                </a:lnTo>
                <a:lnTo>
                  <a:pt x="55" y="40"/>
                </a:lnTo>
                <a:lnTo>
                  <a:pt x="56" y="42"/>
                </a:lnTo>
                <a:lnTo>
                  <a:pt x="58" y="45"/>
                </a:lnTo>
                <a:lnTo>
                  <a:pt x="58" y="42"/>
                </a:lnTo>
                <a:lnTo>
                  <a:pt x="58" y="40"/>
                </a:lnTo>
                <a:lnTo>
                  <a:pt x="59" y="39"/>
                </a:lnTo>
                <a:lnTo>
                  <a:pt x="59" y="37"/>
                </a:lnTo>
                <a:lnTo>
                  <a:pt x="60" y="40"/>
                </a:lnTo>
                <a:lnTo>
                  <a:pt x="62" y="39"/>
                </a:lnTo>
                <a:lnTo>
                  <a:pt x="63" y="39"/>
                </a:lnTo>
                <a:lnTo>
                  <a:pt x="64" y="40"/>
                </a:lnTo>
                <a:lnTo>
                  <a:pt x="70" y="40"/>
                </a:lnTo>
                <a:lnTo>
                  <a:pt x="72" y="39"/>
                </a:lnTo>
                <a:lnTo>
                  <a:pt x="74" y="39"/>
                </a:lnTo>
                <a:lnTo>
                  <a:pt x="75" y="37"/>
                </a:lnTo>
                <a:lnTo>
                  <a:pt x="78" y="37"/>
                </a:lnTo>
                <a:lnTo>
                  <a:pt x="79" y="36"/>
                </a:lnTo>
                <a:lnTo>
                  <a:pt x="78" y="36"/>
                </a:lnTo>
                <a:lnTo>
                  <a:pt x="76" y="34"/>
                </a:lnTo>
                <a:lnTo>
                  <a:pt x="75" y="36"/>
                </a:lnTo>
                <a:lnTo>
                  <a:pt x="76" y="32"/>
                </a:lnTo>
                <a:lnTo>
                  <a:pt x="79" y="32"/>
                </a:lnTo>
                <a:lnTo>
                  <a:pt x="80" y="31"/>
                </a:lnTo>
                <a:lnTo>
                  <a:pt x="80" y="29"/>
                </a:lnTo>
                <a:lnTo>
                  <a:pt x="79" y="29"/>
                </a:lnTo>
                <a:lnTo>
                  <a:pt x="76" y="31"/>
                </a:lnTo>
                <a:lnTo>
                  <a:pt x="75" y="31"/>
                </a:lnTo>
                <a:lnTo>
                  <a:pt x="72" y="31"/>
                </a:lnTo>
                <a:lnTo>
                  <a:pt x="72" y="29"/>
                </a:lnTo>
                <a:lnTo>
                  <a:pt x="75" y="29"/>
                </a:lnTo>
                <a:lnTo>
                  <a:pt x="76" y="28"/>
                </a:lnTo>
                <a:lnTo>
                  <a:pt x="78" y="26"/>
                </a:lnTo>
                <a:lnTo>
                  <a:pt x="75" y="28"/>
                </a:lnTo>
                <a:lnTo>
                  <a:pt x="75" y="26"/>
                </a:lnTo>
                <a:lnTo>
                  <a:pt x="72" y="26"/>
                </a:lnTo>
                <a:lnTo>
                  <a:pt x="71" y="25"/>
                </a:lnTo>
                <a:lnTo>
                  <a:pt x="72" y="25"/>
                </a:lnTo>
                <a:lnTo>
                  <a:pt x="75" y="23"/>
                </a:lnTo>
                <a:lnTo>
                  <a:pt x="78" y="21"/>
                </a:lnTo>
                <a:lnTo>
                  <a:pt x="75" y="21"/>
                </a:lnTo>
                <a:lnTo>
                  <a:pt x="76" y="20"/>
                </a:lnTo>
                <a:lnTo>
                  <a:pt x="78" y="20"/>
                </a:lnTo>
                <a:lnTo>
                  <a:pt x="79" y="21"/>
                </a:lnTo>
                <a:lnTo>
                  <a:pt x="80" y="20"/>
                </a:lnTo>
                <a:lnTo>
                  <a:pt x="82" y="18"/>
                </a:lnTo>
                <a:lnTo>
                  <a:pt x="84" y="17"/>
                </a:lnTo>
                <a:lnTo>
                  <a:pt x="84" y="18"/>
                </a:lnTo>
                <a:lnTo>
                  <a:pt x="82" y="21"/>
                </a:lnTo>
                <a:lnTo>
                  <a:pt x="80" y="23"/>
                </a:lnTo>
                <a:lnTo>
                  <a:pt x="82" y="23"/>
                </a:lnTo>
                <a:lnTo>
                  <a:pt x="84" y="23"/>
                </a:lnTo>
                <a:lnTo>
                  <a:pt x="86" y="23"/>
                </a:lnTo>
                <a:lnTo>
                  <a:pt x="86" y="20"/>
                </a:lnTo>
                <a:lnTo>
                  <a:pt x="86" y="18"/>
                </a:lnTo>
                <a:lnTo>
                  <a:pt x="87" y="21"/>
                </a:lnTo>
                <a:lnTo>
                  <a:pt x="90" y="21"/>
                </a:lnTo>
                <a:lnTo>
                  <a:pt x="94" y="21"/>
                </a:lnTo>
                <a:lnTo>
                  <a:pt x="95" y="21"/>
                </a:lnTo>
                <a:lnTo>
                  <a:pt x="98" y="21"/>
                </a:lnTo>
                <a:lnTo>
                  <a:pt x="100" y="20"/>
                </a:lnTo>
                <a:lnTo>
                  <a:pt x="103" y="20"/>
                </a:lnTo>
                <a:lnTo>
                  <a:pt x="107" y="20"/>
                </a:lnTo>
                <a:lnTo>
                  <a:pt x="105" y="20"/>
                </a:lnTo>
                <a:lnTo>
                  <a:pt x="102" y="20"/>
                </a:lnTo>
                <a:lnTo>
                  <a:pt x="102" y="21"/>
                </a:lnTo>
                <a:lnTo>
                  <a:pt x="102" y="23"/>
                </a:lnTo>
                <a:lnTo>
                  <a:pt x="102" y="25"/>
                </a:lnTo>
                <a:lnTo>
                  <a:pt x="103" y="25"/>
                </a:lnTo>
                <a:lnTo>
                  <a:pt x="108" y="23"/>
                </a:lnTo>
                <a:lnTo>
                  <a:pt x="108" y="25"/>
                </a:lnTo>
                <a:lnTo>
                  <a:pt x="104" y="26"/>
                </a:lnTo>
                <a:lnTo>
                  <a:pt x="100" y="26"/>
                </a:lnTo>
                <a:lnTo>
                  <a:pt x="104" y="26"/>
                </a:lnTo>
                <a:lnTo>
                  <a:pt x="107" y="26"/>
                </a:lnTo>
                <a:lnTo>
                  <a:pt x="109" y="25"/>
                </a:lnTo>
                <a:lnTo>
                  <a:pt x="111" y="25"/>
                </a:lnTo>
                <a:lnTo>
                  <a:pt x="107" y="28"/>
                </a:lnTo>
                <a:lnTo>
                  <a:pt x="111" y="28"/>
                </a:lnTo>
                <a:lnTo>
                  <a:pt x="112" y="28"/>
                </a:lnTo>
                <a:lnTo>
                  <a:pt x="115" y="28"/>
                </a:lnTo>
                <a:lnTo>
                  <a:pt x="116" y="28"/>
                </a:lnTo>
                <a:lnTo>
                  <a:pt x="113" y="29"/>
                </a:lnTo>
                <a:lnTo>
                  <a:pt x="116" y="31"/>
                </a:lnTo>
                <a:lnTo>
                  <a:pt x="120" y="32"/>
                </a:lnTo>
                <a:lnTo>
                  <a:pt x="121" y="34"/>
                </a:lnTo>
                <a:lnTo>
                  <a:pt x="124" y="34"/>
                </a:lnTo>
                <a:lnTo>
                  <a:pt x="124" y="32"/>
                </a:lnTo>
                <a:lnTo>
                  <a:pt x="124" y="31"/>
                </a:lnTo>
                <a:lnTo>
                  <a:pt x="125" y="31"/>
                </a:lnTo>
                <a:lnTo>
                  <a:pt x="127" y="31"/>
                </a:lnTo>
                <a:lnTo>
                  <a:pt x="128" y="3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88" name="Freeform 287"/>
          <p:cNvSpPr>
            <a:spLocks/>
          </p:cNvSpPr>
          <p:nvPr/>
        </p:nvSpPr>
        <p:spPr bwMode="auto">
          <a:xfrm>
            <a:off x="1503961" y="2205244"/>
            <a:ext cx="192933" cy="51542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3" y="6"/>
              </a:cxn>
              <a:cxn ang="0">
                <a:pos x="5" y="8"/>
              </a:cxn>
              <a:cxn ang="0">
                <a:pos x="9" y="8"/>
              </a:cxn>
              <a:cxn ang="0">
                <a:pos x="12" y="9"/>
              </a:cxn>
              <a:cxn ang="0">
                <a:pos x="13" y="11"/>
              </a:cxn>
              <a:cxn ang="0">
                <a:pos x="19" y="11"/>
              </a:cxn>
              <a:cxn ang="0">
                <a:pos x="28" y="9"/>
              </a:cxn>
              <a:cxn ang="0">
                <a:pos x="32" y="9"/>
              </a:cxn>
              <a:cxn ang="0">
                <a:pos x="37" y="11"/>
              </a:cxn>
              <a:cxn ang="0">
                <a:pos x="48" y="12"/>
              </a:cxn>
              <a:cxn ang="0">
                <a:pos x="55" y="12"/>
              </a:cxn>
              <a:cxn ang="0">
                <a:pos x="52" y="14"/>
              </a:cxn>
              <a:cxn ang="0">
                <a:pos x="59" y="15"/>
              </a:cxn>
              <a:cxn ang="0">
                <a:pos x="69" y="17"/>
              </a:cxn>
              <a:cxn ang="0">
                <a:pos x="79" y="12"/>
              </a:cxn>
              <a:cxn ang="0">
                <a:pos x="81" y="11"/>
              </a:cxn>
              <a:cxn ang="0">
                <a:pos x="85" y="14"/>
              </a:cxn>
              <a:cxn ang="0">
                <a:pos x="87" y="14"/>
              </a:cxn>
              <a:cxn ang="0">
                <a:pos x="85" y="17"/>
              </a:cxn>
              <a:cxn ang="0">
                <a:pos x="84" y="19"/>
              </a:cxn>
              <a:cxn ang="0">
                <a:pos x="84" y="14"/>
              </a:cxn>
              <a:cxn ang="0">
                <a:pos x="81" y="12"/>
              </a:cxn>
              <a:cxn ang="0">
                <a:pos x="80" y="15"/>
              </a:cxn>
              <a:cxn ang="0">
                <a:pos x="81" y="17"/>
              </a:cxn>
              <a:cxn ang="0">
                <a:pos x="79" y="19"/>
              </a:cxn>
              <a:cxn ang="0">
                <a:pos x="81" y="22"/>
              </a:cxn>
              <a:cxn ang="0">
                <a:pos x="84" y="22"/>
              </a:cxn>
              <a:cxn ang="0">
                <a:pos x="85" y="23"/>
              </a:cxn>
              <a:cxn ang="0">
                <a:pos x="94" y="26"/>
              </a:cxn>
              <a:cxn ang="0">
                <a:pos x="98" y="25"/>
              </a:cxn>
              <a:cxn ang="0">
                <a:pos x="100" y="23"/>
              </a:cxn>
              <a:cxn ang="0">
                <a:pos x="100" y="22"/>
              </a:cxn>
              <a:cxn ang="0">
                <a:pos x="101" y="20"/>
              </a:cxn>
              <a:cxn ang="0">
                <a:pos x="92" y="14"/>
              </a:cxn>
              <a:cxn ang="0">
                <a:pos x="87" y="11"/>
              </a:cxn>
              <a:cxn ang="0">
                <a:pos x="88" y="9"/>
              </a:cxn>
              <a:cxn ang="0">
                <a:pos x="79" y="6"/>
              </a:cxn>
              <a:cxn ang="0">
                <a:pos x="73" y="8"/>
              </a:cxn>
              <a:cxn ang="0">
                <a:pos x="65" y="8"/>
              </a:cxn>
              <a:cxn ang="0">
                <a:pos x="60" y="0"/>
              </a:cxn>
            </a:cxnLst>
            <a:rect l="0" t="0" r="r" b="b"/>
            <a:pathLst>
              <a:path w="101" h="26">
                <a:moveTo>
                  <a:pt x="0" y="3"/>
                </a:moveTo>
                <a:lnTo>
                  <a:pt x="0" y="4"/>
                </a:lnTo>
                <a:lnTo>
                  <a:pt x="0" y="6"/>
                </a:lnTo>
                <a:lnTo>
                  <a:pt x="3" y="6"/>
                </a:lnTo>
                <a:lnTo>
                  <a:pt x="4" y="8"/>
                </a:lnTo>
                <a:lnTo>
                  <a:pt x="5" y="8"/>
                </a:lnTo>
                <a:lnTo>
                  <a:pt x="8" y="8"/>
                </a:lnTo>
                <a:lnTo>
                  <a:pt x="9" y="8"/>
                </a:lnTo>
                <a:lnTo>
                  <a:pt x="11" y="9"/>
                </a:lnTo>
                <a:lnTo>
                  <a:pt x="12" y="9"/>
                </a:lnTo>
                <a:lnTo>
                  <a:pt x="12" y="11"/>
                </a:lnTo>
                <a:lnTo>
                  <a:pt x="13" y="11"/>
                </a:lnTo>
                <a:lnTo>
                  <a:pt x="15" y="12"/>
                </a:lnTo>
                <a:lnTo>
                  <a:pt x="19" y="11"/>
                </a:lnTo>
                <a:lnTo>
                  <a:pt x="28" y="11"/>
                </a:lnTo>
                <a:lnTo>
                  <a:pt x="28" y="9"/>
                </a:lnTo>
                <a:lnTo>
                  <a:pt x="31" y="11"/>
                </a:lnTo>
                <a:lnTo>
                  <a:pt x="32" y="9"/>
                </a:lnTo>
                <a:lnTo>
                  <a:pt x="36" y="11"/>
                </a:lnTo>
                <a:lnTo>
                  <a:pt x="37" y="11"/>
                </a:lnTo>
                <a:lnTo>
                  <a:pt x="47" y="12"/>
                </a:lnTo>
                <a:lnTo>
                  <a:pt x="48" y="12"/>
                </a:lnTo>
                <a:lnTo>
                  <a:pt x="52" y="11"/>
                </a:lnTo>
                <a:lnTo>
                  <a:pt x="55" y="12"/>
                </a:lnTo>
                <a:lnTo>
                  <a:pt x="52" y="12"/>
                </a:lnTo>
                <a:lnTo>
                  <a:pt x="52" y="14"/>
                </a:lnTo>
                <a:lnTo>
                  <a:pt x="53" y="14"/>
                </a:lnTo>
                <a:lnTo>
                  <a:pt x="59" y="15"/>
                </a:lnTo>
                <a:lnTo>
                  <a:pt x="64" y="15"/>
                </a:lnTo>
                <a:lnTo>
                  <a:pt x="69" y="17"/>
                </a:lnTo>
                <a:lnTo>
                  <a:pt x="75" y="15"/>
                </a:lnTo>
                <a:lnTo>
                  <a:pt x="79" y="12"/>
                </a:lnTo>
                <a:lnTo>
                  <a:pt x="80" y="11"/>
                </a:lnTo>
                <a:lnTo>
                  <a:pt x="81" y="11"/>
                </a:lnTo>
                <a:lnTo>
                  <a:pt x="84" y="12"/>
                </a:lnTo>
                <a:lnTo>
                  <a:pt x="85" y="14"/>
                </a:lnTo>
                <a:lnTo>
                  <a:pt x="88" y="14"/>
                </a:lnTo>
                <a:lnTo>
                  <a:pt x="87" y="14"/>
                </a:lnTo>
                <a:lnTo>
                  <a:pt x="85" y="15"/>
                </a:lnTo>
                <a:lnTo>
                  <a:pt x="85" y="17"/>
                </a:lnTo>
                <a:lnTo>
                  <a:pt x="85" y="19"/>
                </a:lnTo>
                <a:lnTo>
                  <a:pt x="84" y="19"/>
                </a:lnTo>
                <a:lnTo>
                  <a:pt x="84" y="15"/>
                </a:lnTo>
                <a:lnTo>
                  <a:pt x="84" y="14"/>
                </a:lnTo>
                <a:lnTo>
                  <a:pt x="83" y="12"/>
                </a:lnTo>
                <a:lnTo>
                  <a:pt x="81" y="12"/>
                </a:lnTo>
                <a:lnTo>
                  <a:pt x="80" y="14"/>
                </a:lnTo>
                <a:lnTo>
                  <a:pt x="80" y="15"/>
                </a:lnTo>
                <a:lnTo>
                  <a:pt x="81" y="15"/>
                </a:lnTo>
                <a:lnTo>
                  <a:pt x="81" y="17"/>
                </a:lnTo>
                <a:lnTo>
                  <a:pt x="80" y="19"/>
                </a:lnTo>
                <a:lnTo>
                  <a:pt x="79" y="19"/>
                </a:lnTo>
                <a:lnTo>
                  <a:pt x="77" y="20"/>
                </a:lnTo>
                <a:lnTo>
                  <a:pt x="81" y="22"/>
                </a:lnTo>
                <a:lnTo>
                  <a:pt x="83" y="22"/>
                </a:lnTo>
                <a:lnTo>
                  <a:pt x="84" y="22"/>
                </a:lnTo>
                <a:lnTo>
                  <a:pt x="85" y="22"/>
                </a:lnTo>
                <a:lnTo>
                  <a:pt x="85" y="23"/>
                </a:lnTo>
                <a:lnTo>
                  <a:pt x="90" y="25"/>
                </a:lnTo>
                <a:lnTo>
                  <a:pt x="94" y="26"/>
                </a:lnTo>
                <a:lnTo>
                  <a:pt x="94" y="25"/>
                </a:lnTo>
                <a:lnTo>
                  <a:pt x="98" y="25"/>
                </a:lnTo>
                <a:lnTo>
                  <a:pt x="100" y="25"/>
                </a:lnTo>
                <a:lnTo>
                  <a:pt x="100" y="23"/>
                </a:lnTo>
                <a:lnTo>
                  <a:pt x="98" y="22"/>
                </a:lnTo>
                <a:lnTo>
                  <a:pt x="100" y="22"/>
                </a:lnTo>
                <a:lnTo>
                  <a:pt x="101" y="22"/>
                </a:lnTo>
                <a:lnTo>
                  <a:pt x="101" y="20"/>
                </a:lnTo>
                <a:lnTo>
                  <a:pt x="93" y="15"/>
                </a:lnTo>
                <a:lnTo>
                  <a:pt x="92" y="14"/>
                </a:lnTo>
                <a:lnTo>
                  <a:pt x="88" y="11"/>
                </a:lnTo>
                <a:lnTo>
                  <a:pt x="87" y="11"/>
                </a:lnTo>
                <a:lnTo>
                  <a:pt x="88" y="11"/>
                </a:lnTo>
                <a:lnTo>
                  <a:pt x="88" y="9"/>
                </a:lnTo>
                <a:lnTo>
                  <a:pt x="88" y="6"/>
                </a:lnTo>
                <a:lnTo>
                  <a:pt x="79" y="6"/>
                </a:lnTo>
                <a:lnTo>
                  <a:pt x="75" y="9"/>
                </a:lnTo>
                <a:lnTo>
                  <a:pt x="73" y="8"/>
                </a:lnTo>
                <a:lnTo>
                  <a:pt x="69" y="6"/>
                </a:lnTo>
                <a:lnTo>
                  <a:pt x="65" y="8"/>
                </a:lnTo>
                <a:lnTo>
                  <a:pt x="60" y="6"/>
                </a:lnTo>
                <a:lnTo>
                  <a:pt x="6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89" name="Freeform 288"/>
          <p:cNvSpPr>
            <a:spLocks/>
          </p:cNvSpPr>
          <p:nvPr/>
        </p:nvSpPr>
        <p:spPr bwMode="auto">
          <a:xfrm>
            <a:off x="2219176" y="3143746"/>
            <a:ext cx="7795" cy="6444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0" y="0"/>
              </a:cxn>
              <a:cxn ang="0">
                <a:pos x="2" y="0"/>
              </a:cxn>
              <a:cxn ang="0">
                <a:pos x="4" y="0"/>
              </a:cxn>
              <a:cxn ang="0">
                <a:pos x="4" y="2"/>
              </a:cxn>
              <a:cxn ang="0">
                <a:pos x="2" y="2"/>
              </a:cxn>
              <a:cxn ang="0">
                <a:pos x="1" y="0"/>
              </a:cxn>
              <a:cxn ang="0">
                <a:pos x="2" y="2"/>
              </a:cxn>
              <a:cxn ang="0">
                <a:pos x="1" y="0"/>
              </a:cxn>
            </a:cxnLst>
            <a:rect l="0" t="0" r="r" b="b"/>
            <a:pathLst>
              <a:path w="4" h="2">
                <a:moveTo>
                  <a:pt x="1" y="0"/>
                </a:moveTo>
                <a:lnTo>
                  <a:pt x="0" y="0"/>
                </a:lnTo>
                <a:lnTo>
                  <a:pt x="2" y="0"/>
                </a:lnTo>
                <a:lnTo>
                  <a:pt x="4" y="0"/>
                </a:lnTo>
                <a:lnTo>
                  <a:pt x="4" y="2"/>
                </a:lnTo>
                <a:lnTo>
                  <a:pt x="2" y="2"/>
                </a:lnTo>
                <a:lnTo>
                  <a:pt x="1" y="0"/>
                </a:lnTo>
                <a:lnTo>
                  <a:pt x="2" y="2"/>
                </a:lnTo>
                <a:lnTo>
                  <a:pt x="1" y="0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90" name="Freeform 289"/>
          <p:cNvSpPr>
            <a:spLocks/>
          </p:cNvSpPr>
          <p:nvPr/>
        </p:nvSpPr>
        <p:spPr bwMode="auto">
          <a:xfrm>
            <a:off x="2219176" y="3143746"/>
            <a:ext cx="7795" cy="6444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0" y="0"/>
              </a:cxn>
              <a:cxn ang="0">
                <a:pos x="2" y="0"/>
              </a:cxn>
              <a:cxn ang="0">
                <a:pos x="4" y="0"/>
              </a:cxn>
              <a:cxn ang="0">
                <a:pos x="4" y="2"/>
              </a:cxn>
              <a:cxn ang="0">
                <a:pos x="2" y="2"/>
              </a:cxn>
              <a:cxn ang="0">
                <a:pos x="1" y="0"/>
              </a:cxn>
              <a:cxn ang="0">
                <a:pos x="2" y="2"/>
              </a:cxn>
              <a:cxn ang="0">
                <a:pos x="1" y="0"/>
              </a:cxn>
            </a:cxnLst>
            <a:rect l="0" t="0" r="r" b="b"/>
            <a:pathLst>
              <a:path w="4" h="2">
                <a:moveTo>
                  <a:pt x="1" y="0"/>
                </a:moveTo>
                <a:lnTo>
                  <a:pt x="0" y="0"/>
                </a:lnTo>
                <a:lnTo>
                  <a:pt x="2" y="0"/>
                </a:lnTo>
                <a:lnTo>
                  <a:pt x="4" y="0"/>
                </a:lnTo>
                <a:lnTo>
                  <a:pt x="4" y="2"/>
                </a:lnTo>
                <a:lnTo>
                  <a:pt x="2" y="2"/>
                </a:lnTo>
                <a:lnTo>
                  <a:pt x="1" y="0"/>
                </a:lnTo>
                <a:lnTo>
                  <a:pt x="2" y="2"/>
                </a:lnTo>
                <a:lnTo>
                  <a:pt x="1" y="0"/>
                </a:lnTo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91" name="Freeform 290"/>
          <p:cNvSpPr>
            <a:spLocks/>
          </p:cNvSpPr>
          <p:nvPr/>
        </p:nvSpPr>
        <p:spPr bwMode="auto">
          <a:xfrm>
            <a:off x="2228922" y="3141600"/>
            <a:ext cx="9744" cy="85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" y="2"/>
              </a:cxn>
              <a:cxn ang="0">
                <a:pos x="5" y="2"/>
              </a:cxn>
              <a:cxn ang="0">
                <a:pos x="4" y="2"/>
              </a:cxn>
              <a:cxn ang="0">
                <a:pos x="3" y="4"/>
              </a:cxn>
              <a:cxn ang="0">
                <a:pos x="1" y="2"/>
              </a:cxn>
              <a:cxn ang="0">
                <a:pos x="0" y="0"/>
              </a:cxn>
            </a:cxnLst>
            <a:rect l="0" t="0" r="r" b="b"/>
            <a:pathLst>
              <a:path w="5" h="4">
                <a:moveTo>
                  <a:pt x="0" y="0"/>
                </a:moveTo>
                <a:lnTo>
                  <a:pt x="3" y="2"/>
                </a:lnTo>
                <a:lnTo>
                  <a:pt x="5" y="2"/>
                </a:lnTo>
                <a:lnTo>
                  <a:pt x="4" y="2"/>
                </a:lnTo>
                <a:lnTo>
                  <a:pt x="3" y="4"/>
                </a:lnTo>
                <a:lnTo>
                  <a:pt x="1" y="2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92" name="Freeform 291"/>
          <p:cNvSpPr>
            <a:spLocks/>
          </p:cNvSpPr>
          <p:nvPr/>
        </p:nvSpPr>
        <p:spPr bwMode="auto">
          <a:xfrm>
            <a:off x="2228922" y="3141600"/>
            <a:ext cx="9744" cy="85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" y="2"/>
              </a:cxn>
              <a:cxn ang="0">
                <a:pos x="5" y="2"/>
              </a:cxn>
              <a:cxn ang="0">
                <a:pos x="4" y="2"/>
              </a:cxn>
              <a:cxn ang="0">
                <a:pos x="3" y="4"/>
              </a:cxn>
              <a:cxn ang="0">
                <a:pos x="1" y="2"/>
              </a:cxn>
              <a:cxn ang="0">
                <a:pos x="0" y="0"/>
              </a:cxn>
            </a:cxnLst>
            <a:rect l="0" t="0" r="r" b="b"/>
            <a:pathLst>
              <a:path w="5" h="4">
                <a:moveTo>
                  <a:pt x="0" y="0"/>
                </a:moveTo>
                <a:lnTo>
                  <a:pt x="3" y="2"/>
                </a:lnTo>
                <a:lnTo>
                  <a:pt x="5" y="2"/>
                </a:lnTo>
                <a:lnTo>
                  <a:pt x="4" y="2"/>
                </a:lnTo>
                <a:lnTo>
                  <a:pt x="3" y="4"/>
                </a:lnTo>
                <a:lnTo>
                  <a:pt x="1" y="2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93" name="Freeform 292"/>
          <p:cNvSpPr>
            <a:spLocks/>
          </p:cNvSpPr>
          <p:nvPr/>
        </p:nvSpPr>
        <p:spPr bwMode="auto">
          <a:xfrm>
            <a:off x="2269846" y="3163076"/>
            <a:ext cx="5847" cy="85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3" y="4"/>
              </a:cxn>
              <a:cxn ang="0">
                <a:pos x="2" y="4"/>
              </a:cxn>
              <a:cxn ang="0">
                <a:pos x="2" y="2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3" h="4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3" y="4"/>
                </a:lnTo>
                <a:lnTo>
                  <a:pt x="2" y="4"/>
                </a:lnTo>
                <a:lnTo>
                  <a:pt x="2" y="2"/>
                </a:ln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94" name="Freeform 293"/>
          <p:cNvSpPr>
            <a:spLocks/>
          </p:cNvSpPr>
          <p:nvPr/>
        </p:nvSpPr>
        <p:spPr bwMode="auto">
          <a:xfrm>
            <a:off x="2269846" y="3163076"/>
            <a:ext cx="5847" cy="85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3" y="4"/>
              </a:cxn>
              <a:cxn ang="0">
                <a:pos x="2" y="4"/>
              </a:cxn>
              <a:cxn ang="0">
                <a:pos x="2" y="2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3" h="4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3" y="4"/>
                </a:lnTo>
                <a:lnTo>
                  <a:pt x="2" y="4"/>
                </a:lnTo>
                <a:lnTo>
                  <a:pt x="2" y="2"/>
                </a:lnTo>
                <a:lnTo>
                  <a:pt x="0" y="2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95" name="Freeform 294"/>
          <p:cNvSpPr>
            <a:spLocks/>
          </p:cNvSpPr>
          <p:nvPr/>
        </p:nvSpPr>
        <p:spPr bwMode="auto">
          <a:xfrm>
            <a:off x="2265948" y="3178109"/>
            <a:ext cx="9745" cy="85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3"/>
              </a:cxn>
              <a:cxn ang="0">
                <a:pos x="3" y="3"/>
              </a:cxn>
              <a:cxn ang="0">
                <a:pos x="4" y="5"/>
              </a:cxn>
              <a:cxn ang="0">
                <a:pos x="3" y="5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4" h="5">
                <a:moveTo>
                  <a:pt x="0" y="0"/>
                </a:moveTo>
                <a:lnTo>
                  <a:pt x="1" y="3"/>
                </a:lnTo>
                <a:lnTo>
                  <a:pt x="3" y="3"/>
                </a:lnTo>
                <a:lnTo>
                  <a:pt x="4" y="5"/>
                </a:lnTo>
                <a:lnTo>
                  <a:pt x="3" y="5"/>
                </a:ln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96" name="Freeform 295"/>
          <p:cNvSpPr>
            <a:spLocks/>
          </p:cNvSpPr>
          <p:nvPr/>
        </p:nvSpPr>
        <p:spPr bwMode="auto">
          <a:xfrm>
            <a:off x="2265948" y="3178109"/>
            <a:ext cx="9745" cy="85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3"/>
              </a:cxn>
              <a:cxn ang="0">
                <a:pos x="3" y="3"/>
              </a:cxn>
              <a:cxn ang="0">
                <a:pos x="4" y="5"/>
              </a:cxn>
              <a:cxn ang="0">
                <a:pos x="3" y="5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4" h="5">
                <a:moveTo>
                  <a:pt x="0" y="0"/>
                </a:moveTo>
                <a:lnTo>
                  <a:pt x="1" y="3"/>
                </a:lnTo>
                <a:lnTo>
                  <a:pt x="3" y="3"/>
                </a:lnTo>
                <a:lnTo>
                  <a:pt x="4" y="5"/>
                </a:lnTo>
                <a:lnTo>
                  <a:pt x="3" y="5"/>
                </a:lnTo>
                <a:lnTo>
                  <a:pt x="0" y="2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97" name="Freeform 296"/>
          <p:cNvSpPr>
            <a:spLocks/>
          </p:cNvSpPr>
          <p:nvPr/>
        </p:nvSpPr>
        <p:spPr bwMode="auto">
          <a:xfrm>
            <a:off x="2219176" y="3143746"/>
            <a:ext cx="7795" cy="6444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0" y="0"/>
              </a:cxn>
              <a:cxn ang="0">
                <a:pos x="2" y="0"/>
              </a:cxn>
              <a:cxn ang="0">
                <a:pos x="4" y="0"/>
              </a:cxn>
              <a:cxn ang="0">
                <a:pos x="4" y="2"/>
              </a:cxn>
              <a:cxn ang="0">
                <a:pos x="2" y="2"/>
              </a:cxn>
              <a:cxn ang="0">
                <a:pos x="1" y="0"/>
              </a:cxn>
              <a:cxn ang="0">
                <a:pos x="2" y="2"/>
              </a:cxn>
              <a:cxn ang="0">
                <a:pos x="1" y="0"/>
              </a:cxn>
            </a:cxnLst>
            <a:rect l="0" t="0" r="r" b="b"/>
            <a:pathLst>
              <a:path w="4" h="2">
                <a:moveTo>
                  <a:pt x="1" y="0"/>
                </a:moveTo>
                <a:lnTo>
                  <a:pt x="0" y="0"/>
                </a:lnTo>
                <a:lnTo>
                  <a:pt x="2" y="0"/>
                </a:lnTo>
                <a:lnTo>
                  <a:pt x="4" y="0"/>
                </a:lnTo>
                <a:lnTo>
                  <a:pt x="4" y="2"/>
                </a:lnTo>
                <a:lnTo>
                  <a:pt x="2" y="2"/>
                </a:lnTo>
                <a:lnTo>
                  <a:pt x="1" y="0"/>
                </a:lnTo>
                <a:lnTo>
                  <a:pt x="2" y="2"/>
                </a:lnTo>
                <a:lnTo>
                  <a:pt x="1" y="0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98" name="Freeform 297"/>
          <p:cNvSpPr>
            <a:spLocks/>
          </p:cNvSpPr>
          <p:nvPr/>
        </p:nvSpPr>
        <p:spPr bwMode="auto">
          <a:xfrm>
            <a:off x="2219176" y="3143746"/>
            <a:ext cx="7795" cy="6444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0" y="0"/>
              </a:cxn>
              <a:cxn ang="0">
                <a:pos x="2" y="0"/>
              </a:cxn>
              <a:cxn ang="0">
                <a:pos x="4" y="0"/>
              </a:cxn>
              <a:cxn ang="0">
                <a:pos x="4" y="2"/>
              </a:cxn>
              <a:cxn ang="0">
                <a:pos x="2" y="2"/>
              </a:cxn>
              <a:cxn ang="0">
                <a:pos x="1" y="0"/>
              </a:cxn>
              <a:cxn ang="0">
                <a:pos x="2" y="2"/>
              </a:cxn>
              <a:cxn ang="0">
                <a:pos x="1" y="0"/>
              </a:cxn>
            </a:cxnLst>
            <a:rect l="0" t="0" r="r" b="b"/>
            <a:pathLst>
              <a:path w="4" h="2">
                <a:moveTo>
                  <a:pt x="1" y="0"/>
                </a:moveTo>
                <a:lnTo>
                  <a:pt x="0" y="0"/>
                </a:lnTo>
                <a:lnTo>
                  <a:pt x="2" y="0"/>
                </a:lnTo>
                <a:lnTo>
                  <a:pt x="4" y="0"/>
                </a:lnTo>
                <a:lnTo>
                  <a:pt x="4" y="2"/>
                </a:lnTo>
                <a:lnTo>
                  <a:pt x="2" y="2"/>
                </a:lnTo>
                <a:lnTo>
                  <a:pt x="1" y="0"/>
                </a:lnTo>
                <a:lnTo>
                  <a:pt x="2" y="2"/>
                </a:lnTo>
                <a:lnTo>
                  <a:pt x="1" y="0"/>
                </a:lnTo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399" name="Freeform 298"/>
          <p:cNvSpPr>
            <a:spLocks/>
          </p:cNvSpPr>
          <p:nvPr/>
        </p:nvSpPr>
        <p:spPr bwMode="auto">
          <a:xfrm>
            <a:off x="2228922" y="3141600"/>
            <a:ext cx="9744" cy="85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" y="2"/>
              </a:cxn>
              <a:cxn ang="0">
                <a:pos x="5" y="2"/>
              </a:cxn>
              <a:cxn ang="0">
                <a:pos x="4" y="2"/>
              </a:cxn>
              <a:cxn ang="0">
                <a:pos x="3" y="4"/>
              </a:cxn>
              <a:cxn ang="0">
                <a:pos x="1" y="2"/>
              </a:cxn>
              <a:cxn ang="0">
                <a:pos x="0" y="0"/>
              </a:cxn>
            </a:cxnLst>
            <a:rect l="0" t="0" r="r" b="b"/>
            <a:pathLst>
              <a:path w="5" h="4">
                <a:moveTo>
                  <a:pt x="0" y="0"/>
                </a:moveTo>
                <a:lnTo>
                  <a:pt x="3" y="2"/>
                </a:lnTo>
                <a:lnTo>
                  <a:pt x="5" y="2"/>
                </a:lnTo>
                <a:lnTo>
                  <a:pt x="4" y="2"/>
                </a:lnTo>
                <a:lnTo>
                  <a:pt x="3" y="4"/>
                </a:lnTo>
                <a:lnTo>
                  <a:pt x="1" y="2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00" name="Freeform 299"/>
          <p:cNvSpPr>
            <a:spLocks/>
          </p:cNvSpPr>
          <p:nvPr/>
        </p:nvSpPr>
        <p:spPr bwMode="auto">
          <a:xfrm>
            <a:off x="2228922" y="3141600"/>
            <a:ext cx="9744" cy="85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" y="2"/>
              </a:cxn>
              <a:cxn ang="0">
                <a:pos x="5" y="2"/>
              </a:cxn>
              <a:cxn ang="0">
                <a:pos x="4" y="2"/>
              </a:cxn>
              <a:cxn ang="0">
                <a:pos x="3" y="4"/>
              </a:cxn>
              <a:cxn ang="0">
                <a:pos x="1" y="2"/>
              </a:cxn>
              <a:cxn ang="0">
                <a:pos x="0" y="0"/>
              </a:cxn>
            </a:cxnLst>
            <a:rect l="0" t="0" r="r" b="b"/>
            <a:pathLst>
              <a:path w="5" h="4">
                <a:moveTo>
                  <a:pt x="0" y="0"/>
                </a:moveTo>
                <a:lnTo>
                  <a:pt x="3" y="2"/>
                </a:lnTo>
                <a:lnTo>
                  <a:pt x="5" y="2"/>
                </a:lnTo>
                <a:lnTo>
                  <a:pt x="4" y="2"/>
                </a:lnTo>
                <a:lnTo>
                  <a:pt x="3" y="4"/>
                </a:lnTo>
                <a:lnTo>
                  <a:pt x="1" y="2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01" name="Freeform 300"/>
          <p:cNvSpPr>
            <a:spLocks/>
          </p:cNvSpPr>
          <p:nvPr/>
        </p:nvSpPr>
        <p:spPr bwMode="auto">
          <a:xfrm>
            <a:off x="2269846" y="3163076"/>
            <a:ext cx="5847" cy="85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3" y="4"/>
              </a:cxn>
              <a:cxn ang="0">
                <a:pos x="2" y="4"/>
              </a:cxn>
              <a:cxn ang="0">
                <a:pos x="2" y="2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3" h="4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3" y="4"/>
                </a:lnTo>
                <a:lnTo>
                  <a:pt x="2" y="4"/>
                </a:lnTo>
                <a:lnTo>
                  <a:pt x="2" y="2"/>
                </a:ln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02" name="Freeform 301"/>
          <p:cNvSpPr>
            <a:spLocks/>
          </p:cNvSpPr>
          <p:nvPr/>
        </p:nvSpPr>
        <p:spPr bwMode="auto">
          <a:xfrm>
            <a:off x="2269846" y="3163076"/>
            <a:ext cx="5847" cy="85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3" y="4"/>
              </a:cxn>
              <a:cxn ang="0">
                <a:pos x="2" y="4"/>
              </a:cxn>
              <a:cxn ang="0">
                <a:pos x="2" y="2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3" h="4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3" y="4"/>
                </a:lnTo>
                <a:lnTo>
                  <a:pt x="2" y="4"/>
                </a:lnTo>
                <a:lnTo>
                  <a:pt x="2" y="2"/>
                </a:lnTo>
                <a:lnTo>
                  <a:pt x="0" y="2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03" name="Freeform 302"/>
          <p:cNvSpPr>
            <a:spLocks/>
          </p:cNvSpPr>
          <p:nvPr/>
        </p:nvSpPr>
        <p:spPr bwMode="auto">
          <a:xfrm>
            <a:off x="2265948" y="3178109"/>
            <a:ext cx="9745" cy="85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3"/>
              </a:cxn>
              <a:cxn ang="0">
                <a:pos x="3" y="3"/>
              </a:cxn>
              <a:cxn ang="0">
                <a:pos x="4" y="5"/>
              </a:cxn>
              <a:cxn ang="0">
                <a:pos x="3" y="5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4" h="5">
                <a:moveTo>
                  <a:pt x="0" y="0"/>
                </a:moveTo>
                <a:lnTo>
                  <a:pt x="1" y="3"/>
                </a:lnTo>
                <a:lnTo>
                  <a:pt x="3" y="3"/>
                </a:lnTo>
                <a:lnTo>
                  <a:pt x="4" y="5"/>
                </a:lnTo>
                <a:lnTo>
                  <a:pt x="3" y="5"/>
                </a:ln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04" name="Freeform 303"/>
          <p:cNvSpPr>
            <a:spLocks/>
          </p:cNvSpPr>
          <p:nvPr/>
        </p:nvSpPr>
        <p:spPr bwMode="auto">
          <a:xfrm>
            <a:off x="2265948" y="3178109"/>
            <a:ext cx="9745" cy="85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3"/>
              </a:cxn>
              <a:cxn ang="0">
                <a:pos x="3" y="3"/>
              </a:cxn>
              <a:cxn ang="0">
                <a:pos x="4" y="5"/>
              </a:cxn>
              <a:cxn ang="0">
                <a:pos x="3" y="5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4" h="5">
                <a:moveTo>
                  <a:pt x="0" y="0"/>
                </a:moveTo>
                <a:lnTo>
                  <a:pt x="1" y="3"/>
                </a:lnTo>
                <a:lnTo>
                  <a:pt x="3" y="3"/>
                </a:lnTo>
                <a:lnTo>
                  <a:pt x="4" y="5"/>
                </a:lnTo>
                <a:lnTo>
                  <a:pt x="3" y="5"/>
                </a:lnTo>
                <a:lnTo>
                  <a:pt x="0" y="2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05" name="Freeform 304"/>
          <p:cNvSpPr>
            <a:spLocks/>
          </p:cNvSpPr>
          <p:nvPr/>
        </p:nvSpPr>
        <p:spPr bwMode="auto">
          <a:xfrm>
            <a:off x="2883723" y="3347771"/>
            <a:ext cx="15591" cy="21476"/>
          </a:xfrm>
          <a:custGeom>
            <a:avLst/>
            <a:gdLst/>
            <a:ahLst/>
            <a:cxnLst>
              <a:cxn ang="0">
                <a:pos x="3" y="6"/>
              </a:cxn>
              <a:cxn ang="0">
                <a:pos x="3" y="5"/>
              </a:cxn>
              <a:cxn ang="0">
                <a:pos x="5" y="2"/>
              </a:cxn>
              <a:cxn ang="0">
                <a:pos x="7" y="2"/>
              </a:cxn>
              <a:cxn ang="0">
                <a:pos x="8" y="0"/>
              </a:cxn>
              <a:cxn ang="0">
                <a:pos x="9" y="0"/>
              </a:cxn>
              <a:cxn ang="0">
                <a:pos x="9" y="2"/>
              </a:cxn>
              <a:cxn ang="0">
                <a:pos x="5" y="5"/>
              </a:cxn>
              <a:cxn ang="0">
                <a:pos x="1" y="11"/>
              </a:cxn>
              <a:cxn ang="0">
                <a:pos x="0" y="9"/>
              </a:cxn>
              <a:cxn ang="0">
                <a:pos x="1" y="8"/>
              </a:cxn>
              <a:cxn ang="0">
                <a:pos x="3" y="6"/>
              </a:cxn>
            </a:cxnLst>
            <a:rect l="0" t="0" r="r" b="b"/>
            <a:pathLst>
              <a:path w="9" h="11">
                <a:moveTo>
                  <a:pt x="3" y="6"/>
                </a:moveTo>
                <a:lnTo>
                  <a:pt x="3" y="5"/>
                </a:lnTo>
                <a:lnTo>
                  <a:pt x="5" y="2"/>
                </a:lnTo>
                <a:lnTo>
                  <a:pt x="7" y="2"/>
                </a:lnTo>
                <a:lnTo>
                  <a:pt x="8" y="0"/>
                </a:lnTo>
                <a:lnTo>
                  <a:pt x="9" y="0"/>
                </a:lnTo>
                <a:lnTo>
                  <a:pt x="9" y="2"/>
                </a:lnTo>
                <a:lnTo>
                  <a:pt x="5" y="5"/>
                </a:lnTo>
                <a:lnTo>
                  <a:pt x="1" y="11"/>
                </a:lnTo>
                <a:lnTo>
                  <a:pt x="0" y="9"/>
                </a:lnTo>
                <a:lnTo>
                  <a:pt x="1" y="8"/>
                </a:lnTo>
                <a:lnTo>
                  <a:pt x="3" y="6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06" name="Freeform 305"/>
          <p:cNvSpPr>
            <a:spLocks/>
          </p:cNvSpPr>
          <p:nvPr/>
        </p:nvSpPr>
        <p:spPr bwMode="auto">
          <a:xfrm>
            <a:off x="2883723" y="3347771"/>
            <a:ext cx="15591" cy="21476"/>
          </a:xfrm>
          <a:custGeom>
            <a:avLst/>
            <a:gdLst/>
            <a:ahLst/>
            <a:cxnLst>
              <a:cxn ang="0">
                <a:pos x="3" y="6"/>
              </a:cxn>
              <a:cxn ang="0">
                <a:pos x="3" y="5"/>
              </a:cxn>
              <a:cxn ang="0">
                <a:pos x="5" y="2"/>
              </a:cxn>
              <a:cxn ang="0">
                <a:pos x="7" y="2"/>
              </a:cxn>
              <a:cxn ang="0">
                <a:pos x="8" y="0"/>
              </a:cxn>
              <a:cxn ang="0">
                <a:pos x="9" y="0"/>
              </a:cxn>
              <a:cxn ang="0">
                <a:pos x="9" y="2"/>
              </a:cxn>
              <a:cxn ang="0">
                <a:pos x="5" y="5"/>
              </a:cxn>
              <a:cxn ang="0">
                <a:pos x="1" y="11"/>
              </a:cxn>
              <a:cxn ang="0">
                <a:pos x="0" y="9"/>
              </a:cxn>
              <a:cxn ang="0">
                <a:pos x="1" y="8"/>
              </a:cxn>
              <a:cxn ang="0">
                <a:pos x="3" y="6"/>
              </a:cxn>
            </a:cxnLst>
            <a:rect l="0" t="0" r="r" b="b"/>
            <a:pathLst>
              <a:path w="9" h="11">
                <a:moveTo>
                  <a:pt x="3" y="6"/>
                </a:moveTo>
                <a:lnTo>
                  <a:pt x="3" y="5"/>
                </a:lnTo>
                <a:lnTo>
                  <a:pt x="5" y="2"/>
                </a:lnTo>
                <a:lnTo>
                  <a:pt x="7" y="2"/>
                </a:lnTo>
                <a:lnTo>
                  <a:pt x="8" y="0"/>
                </a:lnTo>
                <a:lnTo>
                  <a:pt x="9" y="0"/>
                </a:lnTo>
                <a:lnTo>
                  <a:pt x="9" y="2"/>
                </a:lnTo>
                <a:lnTo>
                  <a:pt x="5" y="5"/>
                </a:lnTo>
                <a:lnTo>
                  <a:pt x="1" y="11"/>
                </a:lnTo>
                <a:lnTo>
                  <a:pt x="0" y="9"/>
                </a:lnTo>
                <a:lnTo>
                  <a:pt x="1" y="8"/>
                </a:lnTo>
                <a:lnTo>
                  <a:pt x="3" y="6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07" name="Freeform 306"/>
          <p:cNvSpPr>
            <a:spLocks/>
          </p:cNvSpPr>
          <p:nvPr/>
        </p:nvSpPr>
        <p:spPr bwMode="auto">
          <a:xfrm>
            <a:off x="3630118" y="2750735"/>
            <a:ext cx="5847" cy="8591"/>
          </a:xfrm>
          <a:custGeom>
            <a:avLst/>
            <a:gdLst/>
            <a:ahLst/>
            <a:cxnLst>
              <a:cxn ang="0">
                <a:pos x="3" y="0"/>
              </a:cxn>
              <a:cxn ang="0">
                <a:pos x="0" y="3"/>
              </a:cxn>
              <a:cxn ang="0">
                <a:pos x="0" y="5"/>
              </a:cxn>
              <a:cxn ang="0">
                <a:pos x="3" y="0"/>
              </a:cxn>
            </a:cxnLst>
            <a:rect l="0" t="0" r="r" b="b"/>
            <a:pathLst>
              <a:path w="3" h="5">
                <a:moveTo>
                  <a:pt x="3" y="0"/>
                </a:moveTo>
                <a:lnTo>
                  <a:pt x="0" y="3"/>
                </a:lnTo>
                <a:lnTo>
                  <a:pt x="0" y="5"/>
                </a:lnTo>
                <a:lnTo>
                  <a:pt x="3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08" name="Freeform 307"/>
          <p:cNvSpPr>
            <a:spLocks/>
          </p:cNvSpPr>
          <p:nvPr/>
        </p:nvSpPr>
        <p:spPr bwMode="auto">
          <a:xfrm>
            <a:off x="3355335" y="3457297"/>
            <a:ext cx="5846" cy="8591"/>
          </a:xfrm>
          <a:custGeom>
            <a:avLst/>
            <a:gdLst/>
            <a:ahLst/>
            <a:cxnLst>
              <a:cxn ang="0">
                <a:pos x="3" y="0"/>
              </a:cxn>
              <a:cxn ang="0">
                <a:pos x="0" y="3"/>
              </a:cxn>
              <a:cxn ang="0">
                <a:pos x="0" y="5"/>
              </a:cxn>
              <a:cxn ang="0">
                <a:pos x="3" y="0"/>
              </a:cxn>
            </a:cxnLst>
            <a:rect l="0" t="0" r="r" b="b"/>
            <a:pathLst>
              <a:path w="3" h="5">
                <a:moveTo>
                  <a:pt x="3" y="0"/>
                </a:moveTo>
                <a:lnTo>
                  <a:pt x="0" y="3"/>
                </a:lnTo>
                <a:lnTo>
                  <a:pt x="0" y="5"/>
                </a:lnTo>
                <a:lnTo>
                  <a:pt x="3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09" name="Freeform 308"/>
          <p:cNvSpPr>
            <a:spLocks/>
          </p:cNvSpPr>
          <p:nvPr/>
        </p:nvSpPr>
        <p:spPr bwMode="auto">
          <a:xfrm>
            <a:off x="3345591" y="3465887"/>
            <a:ext cx="7795" cy="2148"/>
          </a:xfrm>
          <a:custGeom>
            <a:avLst/>
            <a:gdLst/>
            <a:ahLst/>
            <a:cxnLst>
              <a:cxn ang="0">
                <a:pos x="3" y="0"/>
              </a:cxn>
              <a:cxn ang="0">
                <a:pos x="0" y="1"/>
              </a:cxn>
              <a:cxn ang="0">
                <a:pos x="1" y="1"/>
              </a:cxn>
              <a:cxn ang="0">
                <a:pos x="3" y="1"/>
              </a:cxn>
              <a:cxn ang="0">
                <a:pos x="3" y="0"/>
              </a:cxn>
            </a:cxnLst>
            <a:rect l="0" t="0" r="r" b="b"/>
            <a:pathLst>
              <a:path w="3" h="1">
                <a:moveTo>
                  <a:pt x="3" y="0"/>
                </a:moveTo>
                <a:lnTo>
                  <a:pt x="0" y="1"/>
                </a:lnTo>
                <a:lnTo>
                  <a:pt x="1" y="1"/>
                </a:lnTo>
                <a:lnTo>
                  <a:pt x="3" y="1"/>
                </a:lnTo>
                <a:lnTo>
                  <a:pt x="3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10" name="Freeform 309"/>
          <p:cNvSpPr>
            <a:spLocks/>
          </p:cNvSpPr>
          <p:nvPr/>
        </p:nvSpPr>
        <p:spPr bwMode="auto">
          <a:xfrm>
            <a:off x="3345591" y="3465887"/>
            <a:ext cx="7795" cy="2148"/>
          </a:xfrm>
          <a:custGeom>
            <a:avLst/>
            <a:gdLst/>
            <a:ahLst/>
            <a:cxnLst>
              <a:cxn ang="0">
                <a:pos x="3" y="0"/>
              </a:cxn>
              <a:cxn ang="0">
                <a:pos x="0" y="1"/>
              </a:cxn>
              <a:cxn ang="0">
                <a:pos x="1" y="1"/>
              </a:cxn>
              <a:cxn ang="0">
                <a:pos x="3" y="1"/>
              </a:cxn>
              <a:cxn ang="0">
                <a:pos x="3" y="0"/>
              </a:cxn>
            </a:cxnLst>
            <a:rect l="0" t="0" r="r" b="b"/>
            <a:pathLst>
              <a:path w="3" h="1">
                <a:moveTo>
                  <a:pt x="3" y="0"/>
                </a:moveTo>
                <a:lnTo>
                  <a:pt x="0" y="1"/>
                </a:lnTo>
                <a:lnTo>
                  <a:pt x="1" y="1"/>
                </a:lnTo>
                <a:lnTo>
                  <a:pt x="3" y="1"/>
                </a:lnTo>
                <a:lnTo>
                  <a:pt x="3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11" name="Freeform 310"/>
          <p:cNvSpPr>
            <a:spLocks/>
          </p:cNvSpPr>
          <p:nvPr/>
        </p:nvSpPr>
        <p:spPr bwMode="auto">
          <a:xfrm>
            <a:off x="3320258" y="3468037"/>
            <a:ext cx="11693" cy="10737"/>
          </a:xfrm>
          <a:custGeom>
            <a:avLst/>
            <a:gdLst/>
            <a:ahLst/>
            <a:cxnLst>
              <a:cxn ang="0">
                <a:pos x="6" y="3"/>
              </a:cxn>
              <a:cxn ang="0">
                <a:pos x="5" y="3"/>
              </a:cxn>
              <a:cxn ang="0">
                <a:pos x="1" y="5"/>
              </a:cxn>
              <a:cxn ang="0">
                <a:pos x="0" y="5"/>
              </a:cxn>
              <a:cxn ang="0">
                <a:pos x="0" y="3"/>
              </a:cxn>
              <a:cxn ang="0">
                <a:pos x="2" y="3"/>
              </a:cxn>
              <a:cxn ang="0">
                <a:pos x="5" y="0"/>
              </a:cxn>
              <a:cxn ang="0">
                <a:pos x="6" y="2"/>
              </a:cxn>
              <a:cxn ang="0">
                <a:pos x="6" y="3"/>
              </a:cxn>
            </a:cxnLst>
            <a:rect l="0" t="0" r="r" b="b"/>
            <a:pathLst>
              <a:path w="6" h="5">
                <a:moveTo>
                  <a:pt x="6" y="3"/>
                </a:moveTo>
                <a:lnTo>
                  <a:pt x="5" y="3"/>
                </a:lnTo>
                <a:lnTo>
                  <a:pt x="1" y="5"/>
                </a:lnTo>
                <a:lnTo>
                  <a:pt x="0" y="5"/>
                </a:lnTo>
                <a:lnTo>
                  <a:pt x="0" y="3"/>
                </a:lnTo>
                <a:lnTo>
                  <a:pt x="2" y="3"/>
                </a:lnTo>
                <a:lnTo>
                  <a:pt x="5" y="0"/>
                </a:lnTo>
                <a:lnTo>
                  <a:pt x="6" y="2"/>
                </a:lnTo>
                <a:lnTo>
                  <a:pt x="6" y="3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12" name="Freeform 311"/>
          <p:cNvSpPr>
            <a:spLocks/>
          </p:cNvSpPr>
          <p:nvPr/>
        </p:nvSpPr>
        <p:spPr bwMode="auto">
          <a:xfrm>
            <a:off x="3320258" y="3468037"/>
            <a:ext cx="11693" cy="10737"/>
          </a:xfrm>
          <a:custGeom>
            <a:avLst/>
            <a:gdLst/>
            <a:ahLst/>
            <a:cxnLst>
              <a:cxn ang="0">
                <a:pos x="6" y="3"/>
              </a:cxn>
              <a:cxn ang="0">
                <a:pos x="5" y="3"/>
              </a:cxn>
              <a:cxn ang="0">
                <a:pos x="1" y="5"/>
              </a:cxn>
              <a:cxn ang="0">
                <a:pos x="0" y="5"/>
              </a:cxn>
              <a:cxn ang="0">
                <a:pos x="0" y="3"/>
              </a:cxn>
              <a:cxn ang="0">
                <a:pos x="2" y="3"/>
              </a:cxn>
              <a:cxn ang="0">
                <a:pos x="5" y="0"/>
              </a:cxn>
              <a:cxn ang="0">
                <a:pos x="6" y="2"/>
              </a:cxn>
              <a:cxn ang="0">
                <a:pos x="6" y="3"/>
              </a:cxn>
            </a:cxnLst>
            <a:rect l="0" t="0" r="r" b="b"/>
            <a:pathLst>
              <a:path w="6" h="5">
                <a:moveTo>
                  <a:pt x="6" y="3"/>
                </a:moveTo>
                <a:lnTo>
                  <a:pt x="5" y="3"/>
                </a:lnTo>
                <a:lnTo>
                  <a:pt x="1" y="5"/>
                </a:lnTo>
                <a:lnTo>
                  <a:pt x="0" y="5"/>
                </a:lnTo>
                <a:lnTo>
                  <a:pt x="0" y="3"/>
                </a:lnTo>
                <a:lnTo>
                  <a:pt x="2" y="3"/>
                </a:lnTo>
                <a:lnTo>
                  <a:pt x="5" y="0"/>
                </a:lnTo>
                <a:lnTo>
                  <a:pt x="6" y="2"/>
                </a:lnTo>
                <a:lnTo>
                  <a:pt x="6" y="3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13" name="Freeform 312"/>
          <p:cNvSpPr>
            <a:spLocks/>
          </p:cNvSpPr>
          <p:nvPr/>
        </p:nvSpPr>
        <p:spPr bwMode="auto">
          <a:xfrm>
            <a:off x="3482008" y="3107239"/>
            <a:ext cx="11693" cy="4295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5" y="0"/>
              </a:cxn>
              <a:cxn ang="0">
                <a:pos x="0" y="3"/>
              </a:cxn>
            </a:cxnLst>
            <a:rect l="0" t="0" r="r" b="b"/>
            <a:pathLst>
              <a:path w="5" h="3">
                <a:moveTo>
                  <a:pt x="0" y="3"/>
                </a:moveTo>
                <a:lnTo>
                  <a:pt x="5" y="0"/>
                </a:lnTo>
                <a:lnTo>
                  <a:pt x="0" y="3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14" name="Freeform 313"/>
          <p:cNvSpPr>
            <a:spLocks/>
          </p:cNvSpPr>
          <p:nvPr/>
        </p:nvSpPr>
        <p:spPr bwMode="auto">
          <a:xfrm>
            <a:off x="3482008" y="3107239"/>
            <a:ext cx="11693" cy="4295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5" y="0"/>
              </a:cxn>
              <a:cxn ang="0">
                <a:pos x="0" y="3"/>
              </a:cxn>
            </a:cxnLst>
            <a:rect l="0" t="0" r="r" b="b"/>
            <a:pathLst>
              <a:path w="5" h="3">
                <a:moveTo>
                  <a:pt x="0" y="3"/>
                </a:moveTo>
                <a:lnTo>
                  <a:pt x="5" y="0"/>
                </a:lnTo>
                <a:lnTo>
                  <a:pt x="0" y="3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15" name="Freeform 314"/>
          <p:cNvSpPr>
            <a:spLocks/>
          </p:cNvSpPr>
          <p:nvPr/>
        </p:nvSpPr>
        <p:spPr bwMode="auto">
          <a:xfrm>
            <a:off x="3493701" y="3072876"/>
            <a:ext cx="9745" cy="27918"/>
          </a:xfrm>
          <a:custGeom>
            <a:avLst/>
            <a:gdLst/>
            <a:ahLst/>
            <a:cxnLst>
              <a:cxn ang="0">
                <a:pos x="0" y="14"/>
              </a:cxn>
              <a:cxn ang="0">
                <a:pos x="3" y="14"/>
              </a:cxn>
              <a:cxn ang="0">
                <a:pos x="4" y="8"/>
              </a:cxn>
              <a:cxn ang="0">
                <a:pos x="0" y="0"/>
              </a:cxn>
              <a:cxn ang="0">
                <a:pos x="4" y="8"/>
              </a:cxn>
              <a:cxn ang="0">
                <a:pos x="3" y="12"/>
              </a:cxn>
              <a:cxn ang="0">
                <a:pos x="0" y="14"/>
              </a:cxn>
            </a:cxnLst>
            <a:rect l="0" t="0" r="r" b="b"/>
            <a:pathLst>
              <a:path w="4" h="14">
                <a:moveTo>
                  <a:pt x="0" y="14"/>
                </a:moveTo>
                <a:lnTo>
                  <a:pt x="3" y="14"/>
                </a:lnTo>
                <a:lnTo>
                  <a:pt x="4" y="8"/>
                </a:lnTo>
                <a:lnTo>
                  <a:pt x="0" y="0"/>
                </a:lnTo>
                <a:lnTo>
                  <a:pt x="4" y="8"/>
                </a:lnTo>
                <a:lnTo>
                  <a:pt x="3" y="12"/>
                </a:lnTo>
                <a:lnTo>
                  <a:pt x="0" y="14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16" name="Freeform 315"/>
          <p:cNvSpPr>
            <a:spLocks/>
          </p:cNvSpPr>
          <p:nvPr/>
        </p:nvSpPr>
        <p:spPr bwMode="auto">
          <a:xfrm>
            <a:off x="3493701" y="3072876"/>
            <a:ext cx="9745" cy="27918"/>
          </a:xfrm>
          <a:custGeom>
            <a:avLst/>
            <a:gdLst/>
            <a:ahLst/>
            <a:cxnLst>
              <a:cxn ang="0">
                <a:pos x="0" y="14"/>
              </a:cxn>
              <a:cxn ang="0">
                <a:pos x="3" y="14"/>
              </a:cxn>
              <a:cxn ang="0">
                <a:pos x="4" y="8"/>
              </a:cxn>
              <a:cxn ang="0">
                <a:pos x="0" y="0"/>
              </a:cxn>
              <a:cxn ang="0">
                <a:pos x="4" y="8"/>
              </a:cxn>
              <a:cxn ang="0">
                <a:pos x="3" y="12"/>
              </a:cxn>
              <a:cxn ang="0">
                <a:pos x="0" y="14"/>
              </a:cxn>
            </a:cxnLst>
            <a:rect l="0" t="0" r="r" b="b"/>
            <a:pathLst>
              <a:path w="4" h="14">
                <a:moveTo>
                  <a:pt x="0" y="14"/>
                </a:moveTo>
                <a:lnTo>
                  <a:pt x="3" y="14"/>
                </a:lnTo>
                <a:lnTo>
                  <a:pt x="4" y="8"/>
                </a:lnTo>
                <a:lnTo>
                  <a:pt x="0" y="0"/>
                </a:lnTo>
                <a:lnTo>
                  <a:pt x="4" y="8"/>
                </a:lnTo>
                <a:lnTo>
                  <a:pt x="3" y="12"/>
                </a:lnTo>
                <a:lnTo>
                  <a:pt x="0" y="14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17" name="Freeform 316"/>
          <p:cNvSpPr>
            <a:spLocks/>
          </p:cNvSpPr>
          <p:nvPr/>
        </p:nvSpPr>
        <p:spPr bwMode="auto">
          <a:xfrm>
            <a:off x="3546320" y="2892477"/>
            <a:ext cx="60412" cy="19328"/>
          </a:xfrm>
          <a:custGeom>
            <a:avLst/>
            <a:gdLst/>
            <a:ahLst/>
            <a:cxnLst>
              <a:cxn ang="0">
                <a:pos x="27" y="0"/>
              </a:cxn>
              <a:cxn ang="0">
                <a:pos x="24" y="1"/>
              </a:cxn>
              <a:cxn ang="0">
                <a:pos x="21" y="3"/>
              </a:cxn>
              <a:cxn ang="0">
                <a:pos x="16" y="3"/>
              </a:cxn>
              <a:cxn ang="0">
                <a:pos x="8" y="5"/>
              </a:cxn>
              <a:cxn ang="0">
                <a:pos x="5" y="5"/>
              </a:cxn>
              <a:cxn ang="0">
                <a:pos x="3" y="6"/>
              </a:cxn>
              <a:cxn ang="0">
                <a:pos x="3" y="8"/>
              </a:cxn>
              <a:cxn ang="0">
                <a:pos x="1" y="8"/>
              </a:cxn>
              <a:cxn ang="0">
                <a:pos x="0" y="9"/>
              </a:cxn>
              <a:cxn ang="0">
                <a:pos x="1" y="9"/>
              </a:cxn>
              <a:cxn ang="0">
                <a:pos x="3" y="9"/>
              </a:cxn>
              <a:cxn ang="0">
                <a:pos x="8" y="8"/>
              </a:cxn>
              <a:cxn ang="0">
                <a:pos x="15" y="6"/>
              </a:cxn>
              <a:cxn ang="0">
                <a:pos x="21" y="6"/>
              </a:cxn>
              <a:cxn ang="0">
                <a:pos x="24" y="5"/>
              </a:cxn>
              <a:cxn ang="0">
                <a:pos x="27" y="3"/>
              </a:cxn>
              <a:cxn ang="0">
                <a:pos x="31" y="1"/>
              </a:cxn>
              <a:cxn ang="0">
                <a:pos x="28" y="1"/>
              </a:cxn>
              <a:cxn ang="0">
                <a:pos x="25" y="3"/>
              </a:cxn>
              <a:cxn ang="0">
                <a:pos x="24" y="3"/>
              </a:cxn>
              <a:cxn ang="0">
                <a:pos x="23" y="3"/>
              </a:cxn>
              <a:cxn ang="0">
                <a:pos x="25" y="0"/>
              </a:cxn>
              <a:cxn ang="0">
                <a:pos x="27" y="0"/>
              </a:cxn>
            </a:cxnLst>
            <a:rect l="0" t="0" r="r" b="b"/>
            <a:pathLst>
              <a:path w="31" h="9">
                <a:moveTo>
                  <a:pt x="27" y="0"/>
                </a:moveTo>
                <a:lnTo>
                  <a:pt x="24" y="1"/>
                </a:lnTo>
                <a:lnTo>
                  <a:pt x="21" y="3"/>
                </a:lnTo>
                <a:lnTo>
                  <a:pt x="16" y="3"/>
                </a:lnTo>
                <a:lnTo>
                  <a:pt x="8" y="5"/>
                </a:lnTo>
                <a:lnTo>
                  <a:pt x="5" y="5"/>
                </a:lnTo>
                <a:lnTo>
                  <a:pt x="3" y="6"/>
                </a:lnTo>
                <a:lnTo>
                  <a:pt x="3" y="8"/>
                </a:lnTo>
                <a:lnTo>
                  <a:pt x="1" y="8"/>
                </a:lnTo>
                <a:lnTo>
                  <a:pt x="0" y="9"/>
                </a:lnTo>
                <a:lnTo>
                  <a:pt x="1" y="9"/>
                </a:lnTo>
                <a:lnTo>
                  <a:pt x="3" y="9"/>
                </a:lnTo>
                <a:lnTo>
                  <a:pt x="8" y="8"/>
                </a:lnTo>
                <a:lnTo>
                  <a:pt x="15" y="6"/>
                </a:lnTo>
                <a:lnTo>
                  <a:pt x="21" y="6"/>
                </a:lnTo>
                <a:lnTo>
                  <a:pt x="24" y="5"/>
                </a:lnTo>
                <a:lnTo>
                  <a:pt x="27" y="3"/>
                </a:lnTo>
                <a:lnTo>
                  <a:pt x="31" y="1"/>
                </a:lnTo>
                <a:lnTo>
                  <a:pt x="28" y="1"/>
                </a:lnTo>
                <a:lnTo>
                  <a:pt x="25" y="3"/>
                </a:lnTo>
                <a:lnTo>
                  <a:pt x="24" y="3"/>
                </a:lnTo>
                <a:lnTo>
                  <a:pt x="23" y="3"/>
                </a:lnTo>
                <a:lnTo>
                  <a:pt x="25" y="0"/>
                </a:lnTo>
                <a:lnTo>
                  <a:pt x="27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18" name="Freeform 317"/>
          <p:cNvSpPr>
            <a:spLocks/>
          </p:cNvSpPr>
          <p:nvPr/>
        </p:nvSpPr>
        <p:spPr bwMode="auto">
          <a:xfrm>
            <a:off x="3546320" y="2892477"/>
            <a:ext cx="60412" cy="19328"/>
          </a:xfrm>
          <a:custGeom>
            <a:avLst/>
            <a:gdLst/>
            <a:ahLst/>
            <a:cxnLst>
              <a:cxn ang="0">
                <a:pos x="27" y="0"/>
              </a:cxn>
              <a:cxn ang="0">
                <a:pos x="24" y="1"/>
              </a:cxn>
              <a:cxn ang="0">
                <a:pos x="21" y="3"/>
              </a:cxn>
              <a:cxn ang="0">
                <a:pos x="16" y="3"/>
              </a:cxn>
              <a:cxn ang="0">
                <a:pos x="8" y="5"/>
              </a:cxn>
              <a:cxn ang="0">
                <a:pos x="5" y="5"/>
              </a:cxn>
              <a:cxn ang="0">
                <a:pos x="3" y="6"/>
              </a:cxn>
              <a:cxn ang="0">
                <a:pos x="3" y="8"/>
              </a:cxn>
              <a:cxn ang="0">
                <a:pos x="1" y="8"/>
              </a:cxn>
              <a:cxn ang="0">
                <a:pos x="0" y="9"/>
              </a:cxn>
              <a:cxn ang="0">
                <a:pos x="1" y="9"/>
              </a:cxn>
              <a:cxn ang="0">
                <a:pos x="3" y="9"/>
              </a:cxn>
              <a:cxn ang="0">
                <a:pos x="8" y="8"/>
              </a:cxn>
              <a:cxn ang="0">
                <a:pos x="15" y="6"/>
              </a:cxn>
              <a:cxn ang="0">
                <a:pos x="21" y="6"/>
              </a:cxn>
              <a:cxn ang="0">
                <a:pos x="24" y="5"/>
              </a:cxn>
              <a:cxn ang="0">
                <a:pos x="27" y="3"/>
              </a:cxn>
              <a:cxn ang="0">
                <a:pos x="31" y="1"/>
              </a:cxn>
              <a:cxn ang="0">
                <a:pos x="28" y="1"/>
              </a:cxn>
              <a:cxn ang="0">
                <a:pos x="25" y="3"/>
              </a:cxn>
              <a:cxn ang="0">
                <a:pos x="24" y="3"/>
              </a:cxn>
              <a:cxn ang="0">
                <a:pos x="23" y="3"/>
              </a:cxn>
              <a:cxn ang="0">
                <a:pos x="25" y="0"/>
              </a:cxn>
              <a:cxn ang="0">
                <a:pos x="27" y="0"/>
              </a:cxn>
            </a:cxnLst>
            <a:rect l="0" t="0" r="r" b="b"/>
            <a:pathLst>
              <a:path w="31" h="9">
                <a:moveTo>
                  <a:pt x="27" y="0"/>
                </a:moveTo>
                <a:lnTo>
                  <a:pt x="24" y="1"/>
                </a:lnTo>
                <a:lnTo>
                  <a:pt x="21" y="3"/>
                </a:lnTo>
                <a:lnTo>
                  <a:pt x="16" y="3"/>
                </a:lnTo>
                <a:lnTo>
                  <a:pt x="8" y="5"/>
                </a:lnTo>
                <a:lnTo>
                  <a:pt x="5" y="5"/>
                </a:lnTo>
                <a:lnTo>
                  <a:pt x="3" y="6"/>
                </a:lnTo>
                <a:lnTo>
                  <a:pt x="3" y="8"/>
                </a:lnTo>
                <a:lnTo>
                  <a:pt x="1" y="8"/>
                </a:lnTo>
                <a:lnTo>
                  <a:pt x="0" y="9"/>
                </a:lnTo>
                <a:lnTo>
                  <a:pt x="1" y="9"/>
                </a:lnTo>
                <a:lnTo>
                  <a:pt x="3" y="9"/>
                </a:lnTo>
                <a:lnTo>
                  <a:pt x="8" y="8"/>
                </a:lnTo>
                <a:lnTo>
                  <a:pt x="15" y="6"/>
                </a:lnTo>
                <a:lnTo>
                  <a:pt x="21" y="6"/>
                </a:lnTo>
                <a:lnTo>
                  <a:pt x="24" y="5"/>
                </a:lnTo>
                <a:lnTo>
                  <a:pt x="27" y="3"/>
                </a:lnTo>
                <a:lnTo>
                  <a:pt x="31" y="1"/>
                </a:lnTo>
                <a:lnTo>
                  <a:pt x="28" y="1"/>
                </a:lnTo>
                <a:lnTo>
                  <a:pt x="25" y="3"/>
                </a:lnTo>
                <a:lnTo>
                  <a:pt x="24" y="3"/>
                </a:lnTo>
                <a:lnTo>
                  <a:pt x="23" y="3"/>
                </a:lnTo>
                <a:lnTo>
                  <a:pt x="25" y="0"/>
                </a:lnTo>
                <a:lnTo>
                  <a:pt x="27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19" name="Freeform 318"/>
          <p:cNvSpPr>
            <a:spLocks/>
          </p:cNvSpPr>
          <p:nvPr/>
        </p:nvSpPr>
        <p:spPr bwMode="auto">
          <a:xfrm>
            <a:off x="3692480" y="2782948"/>
            <a:ext cx="1949" cy="6444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0" y="3"/>
              </a:cxn>
              <a:cxn ang="0">
                <a:pos x="1" y="3"/>
              </a:cxn>
              <a:cxn ang="0">
                <a:pos x="2" y="3"/>
              </a:cxn>
              <a:cxn ang="0">
                <a:pos x="1" y="1"/>
              </a:cxn>
              <a:cxn ang="0">
                <a:pos x="1" y="0"/>
              </a:cxn>
              <a:cxn ang="0">
                <a:pos x="0" y="0"/>
              </a:cxn>
              <a:cxn ang="0">
                <a:pos x="0" y="1"/>
              </a:cxn>
            </a:cxnLst>
            <a:rect l="0" t="0" r="r" b="b"/>
            <a:pathLst>
              <a:path w="2" h="3">
                <a:moveTo>
                  <a:pt x="0" y="1"/>
                </a:moveTo>
                <a:lnTo>
                  <a:pt x="0" y="3"/>
                </a:lnTo>
                <a:lnTo>
                  <a:pt x="1" y="3"/>
                </a:lnTo>
                <a:lnTo>
                  <a:pt x="2" y="3"/>
                </a:lnTo>
                <a:lnTo>
                  <a:pt x="1" y="1"/>
                </a:lnTo>
                <a:lnTo>
                  <a:pt x="1" y="0"/>
                </a:lnTo>
                <a:lnTo>
                  <a:pt x="0" y="0"/>
                </a:lnTo>
                <a:lnTo>
                  <a:pt x="0" y="1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20" name="Freeform 319"/>
          <p:cNvSpPr>
            <a:spLocks/>
          </p:cNvSpPr>
          <p:nvPr/>
        </p:nvSpPr>
        <p:spPr bwMode="auto">
          <a:xfrm>
            <a:off x="3692480" y="2782948"/>
            <a:ext cx="1949" cy="6444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0" y="3"/>
              </a:cxn>
              <a:cxn ang="0">
                <a:pos x="1" y="3"/>
              </a:cxn>
              <a:cxn ang="0">
                <a:pos x="2" y="3"/>
              </a:cxn>
              <a:cxn ang="0">
                <a:pos x="1" y="1"/>
              </a:cxn>
              <a:cxn ang="0">
                <a:pos x="1" y="0"/>
              </a:cxn>
              <a:cxn ang="0">
                <a:pos x="0" y="0"/>
              </a:cxn>
              <a:cxn ang="0">
                <a:pos x="0" y="1"/>
              </a:cxn>
            </a:cxnLst>
            <a:rect l="0" t="0" r="r" b="b"/>
            <a:pathLst>
              <a:path w="2" h="3">
                <a:moveTo>
                  <a:pt x="0" y="1"/>
                </a:moveTo>
                <a:lnTo>
                  <a:pt x="0" y="3"/>
                </a:lnTo>
                <a:lnTo>
                  <a:pt x="1" y="3"/>
                </a:lnTo>
                <a:lnTo>
                  <a:pt x="2" y="3"/>
                </a:lnTo>
                <a:lnTo>
                  <a:pt x="1" y="1"/>
                </a:lnTo>
                <a:lnTo>
                  <a:pt x="1" y="0"/>
                </a:lnTo>
                <a:lnTo>
                  <a:pt x="0" y="0"/>
                </a:lnTo>
                <a:lnTo>
                  <a:pt x="0" y="1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21" name="Freeform 320"/>
          <p:cNvSpPr>
            <a:spLocks/>
          </p:cNvSpPr>
          <p:nvPr/>
        </p:nvSpPr>
        <p:spPr bwMode="auto">
          <a:xfrm>
            <a:off x="3694430" y="2780804"/>
            <a:ext cx="5846" cy="4295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2" y="3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3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0" y="3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22" name="Freeform 321"/>
          <p:cNvSpPr>
            <a:spLocks/>
          </p:cNvSpPr>
          <p:nvPr/>
        </p:nvSpPr>
        <p:spPr bwMode="auto">
          <a:xfrm>
            <a:off x="3694430" y="2780804"/>
            <a:ext cx="5846" cy="4295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2" y="3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3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0" y="3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23" name="Freeform 322"/>
          <p:cNvSpPr>
            <a:spLocks/>
          </p:cNvSpPr>
          <p:nvPr/>
        </p:nvSpPr>
        <p:spPr bwMode="auto">
          <a:xfrm>
            <a:off x="3700276" y="2785096"/>
            <a:ext cx="0" cy="8591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4"/>
              </a:cxn>
              <a:cxn ang="0">
                <a:pos x="1" y="2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1" h="4">
                <a:moveTo>
                  <a:pt x="0" y="2"/>
                </a:moveTo>
                <a:lnTo>
                  <a:pt x="0" y="4"/>
                </a:lnTo>
                <a:lnTo>
                  <a:pt x="1" y="2"/>
                </a:lnTo>
                <a:lnTo>
                  <a:pt x="0" y="0"/>
                </a:lnTo>
                <a:lnTo>
                  <a:pt x="0" y="2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24" name="Freeform 323"/>
          <p:cNvSpPr>
            <a:spLocks/>
          </p:cNvSpPr>
          <p:nvPr/>
        </p:nvSpPr>
        <p:spPr bwMode="auto">
          <a:xfrm>
            <a:off x="3700276" y="2785096"/>
            <a:ext cx="0" cy="8591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4"/>
              </a:cxn>
              <a:cxn ang="0">
                <a:pos x="1" y="2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1" h="4">
                <a:moveTo>
                  <a:pt x="0" y="2"/>
                </a:moveTo>
                <a:lnTo>
                  <a:pt x="0" y="4"/>
                </a:lnTo>
                <a:lnTo>
                  <a:pt x="1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25" name="Freeform 324"/>
          <p:cNvSpPr>
            <a:spLocks/>
          </p:cNvSpPr>
          <p:nvPr/>
        </p:nvSpPr>
        <p:spPr bwMode="auto">
          <a:xfrm>
            <a:off x="6666371" y="3206028"/>
            <a:ext cx="608030" cy="558378"/>
          </a:xfrm>
          <a:custGeom>
            <a:avLst/>
            <a:gdLst/>
            <a:ahLst/>
            <a:cxnLst>
              <a:cxn ang="0">
                <a:pos x="252" y="137"/>
              </a:cxn>
              <a:cxn ang="0">
                <a:pos x="252" y="142"/>
              </a:cxn>
              <a:cxn ang="0">
                <a:pos x="255" y="145"/>
              </a:cxn>
              <a:cxn ang="0">
                <a:pos x="310" y="170"/>
              </a:cxn>
              <a:cxn ang="0">
                <a:pos x="262" y="236"/>
              </a:cxn>
              <a:cxn ang="0">
                <a:pos x="205" y="250"/>
              </a:cxn>
              <a:cxn ang="0">
                <a:pos x="189" y="272"/>
              </a:cxn>
              <a:cxn ang="0">
                <a:pos x="177" y="267"/>
              </a:cxn>
              <a:cxn ang="0">
                <a:pos x="159" y="264"/>
              </a:cxn>
              <a:cxn ang="0">
                <a:pos x="147" y="264"/>
              </a:cxn>
              <a:cxn ang="0">
                <a:pos x="133" y="271"/>
              </a:cxn>
              <a:cxn ang="0">
                <a:pos x="129" y="275"/>
              </a:cxn>
              <a:cxn ang="0">
                <a:pos x="125" y="280"/>
              </a:cxn>
              <a:cxn ang="0">
                <a:pos x="121" y="277"/>
              </a:cxn>
              <a:cxn ang="0">
                <a:pos x="115" y="267"/>
              </a:cxn>
              <a:cxn ang="0">
                <a:pos x="107" y="255"/>
              </a:cxn>
              <a:cxn ang="0">
                <a:pos x="99" y="242"/>
              </a:cxn>
              <a:cxn ang="0">
                <a:pos x="97" y="233"/>
              </a:cxn>
              <a:cxn ang="0">
                <a:pos x="93" y="225"/>
              </a:cxn>
              <a:cxn ang="0">
                <a:pos x="89" y="219"/>
              </a:cxn>
              <a:cxn ang="0">
                <a:pos x="81" y="212"/>
              </a:cxn>
              <a:cxn ang="0">
                <a:pos x="74" y="209"/>
              </a:cxn>
              <a:cxn ang="0">
                <a:pos x="69" y="201"/>
              </a:cxn>
              <a:cxn ang="0">
                <a:pos x="66" y="184"/>
              </a:cxn>
              <a:cxn ang="0">
                <a:pos x="66" y="179"/>
              </a:cxn>
              <a:cxn ang="0">
                <a:pos x="65" y="168"/>
              </a:cxn>
              <a:cxn ang="0">
                <a:pos x="62" y="162"/>
              </a:cxn>
              <a:cxn ang="0">
                <a:pos x="57" y="150"/>
              </a:cxn>
              <a:cxn ang="0">
                <a:pos x="49" y="143"/>
              </a:cxn>
              <a:cxn ang="0">
                <a:pos x="45" y="140"/>
              </a:cxn>
              <a:cxn ang="0">
                <a:pos x="42" y="139"/>
              </a:cxn>
              <a:cxn ang="0">
                <a:pos x="38" y="131"/>
              </a:cxn>
              <a:cxn ang="0">
                <a:pos x="33" y="115"/>
              </a:cxn>
              <a:cxn ang="0">
                <a:pos x="29" y="112"/>
              </a:cxn>
              <a:cxn ang="0">
                <a:pos x="22" y="98"/>
              </a:cxn>
              <a:cxn ang="0">
                <a:pos x="16" y="90"/>
              </a:cxn>
              <a:cxn ang="0">
                <a:pos x="9" y="74"/>
              </a:cxn>
              <a:cxn ang="0">
                <a:pos x="2" y="73"/>
              </a:cxn>
              <a:cxn ang="0">
                <a:pos x="2" y="66"/>
              </a:cxn>
              <a:cxn ang="0">
                <a:pos x="5" y="55"/>
              </a:cxn>
              <a:cxn ang="0">
                <a:pos x="22" y="55"/>
              </a:cxn>
              <a:cxn ang="0">
                <a:pos x="32" y="41"/>
              </a:cxn>
              <a:cxn ang="0">
                <a:pos x="45" y="33"/>
              </a:cxn>
              <a:cxn ang="0">
                <a:pos x="37" y="15"/>
              </a:cxn>
              <a:cxn ang="0">
                <a:pos x="64" y="7"/>
              </a:cxn>
              <a:cxn ang="0">
                <a:pos x="107" y="19"/>
              </a:cxn>
              <a:cxn ang="0">
                <a:pos x="127" y="32"/>
              </a:cxn>
              <a:cxn ang="0">
                <a:pos x="137" y="46"/>
              </a:cxn>
              <a:cxn ang="0">
                <a:pos x="182" y="55"/>
              </a:cxn>
              <a:cxn ang="0">
                <a:pos x="195" y="62"/>
              </a:cxn>
              <a:cxn ang="0">
                <a:pos x="209" y="68"/>
              </a:cxn>
              <a:cxn ang="0">
                <a:pos x="210" y="74"/>
              </a:cxn>
              <a:cxn ang="0">
                <a:pos x="216" y="82"/>
              </a:cxn>
              <a:cxn ang="0">
                <a:pos x="220" y="88"/>
              </a:cxn>
              <a:cxn ang="0">
                <a:pos x="226" y="93"/>
              </a:cxn>
              <a:cxn ang="0">
                <a:pos x="232" y="98"/>
              </a:cxn>
              <a:cxn ang="0">
                <a:pos x="234" y="106"/>
              </a:cxn>
              <a:cxn ang="0">
                <a:pos x="232" y="110"/>
              </a:cxn>
              <a:cxn ang="0">
                <a:pos x="239" y="121"/>
              </a:cxn>
              <a:cxn ang="0">
                <a:pos x="242" y="131"/>
              </a:cxn>
              <a:cxn ang="0">
                <a:pos x="246" y="137"/>
              </a:cxn>
            </a:cxnLst>
            <a:rect l="0" t="0" r="r" b="b"/>
            <a:pathLst>
              <a:path w="318" h="281">
                <a:moveTo>
                  <a:pt x="252" y="134"/>
                </a:moveTo>
                <a:lnTo>
                  <a:pt x="252" y="135"/>
                </a:lnTo>
                <a:lnTo>
                  <a:pt x="252" y="137"/>
                </a:lnTo>
                <a:lnTo>
                  <a:pt x="254" y="137"/>
                </a:lnTo>
                <a:lnTo>
                  <a:pt x="252" y="139"/>
                </a:lnTo>
                <a:lnTo>
                  <a:pt x="252" y="142"/>
                </a:lnTo>
                <a:lnTo>
                  <a:pt x="254" y="142"/>
                </a:lnTo>
                <a:lnTo>
                  <a:pt x="255" y="142"/>
                </a:lnTo>
                <a:lnTo>
                  <a:pt x="255" y="145"/>
                </a:lnTo>
                <a:lnTo>
                  <a:pt x="271" y="165"/>
                </a:lnTo>
                <a:lnTo>
                  <a:pt x="310" y="172"/>
                </a:lnTo>
                <a:lnTo>
                  <a:pt x="310" y="170"/>
                </a:lnTo>
                <a:lnTo>
                  <a:pt x="318" y="183"/>
                </a:lnTo>
                <a:lnTo>
                  <a:pt x="307" y="219"/>
                </a:lnTo>
                <a:lnTo>
                  <a:pt x="262" y="236"/>
                </a:lnTo>
                <a:lnTo>
                  <a:pt x="243" y="241"/>
                </a:lnTo>
                <a:lnTo>
                  <a:pt x="218" y="242"/>
                </a:lnTo>
                <a:lnTo>
                  <a:pt x="205" y="250"/>
                </a:lnTo>
                <a:lnTo>
                  <a:pt x="195" y="264"/>
                </a:lnTo>
                <a:lnTo>
                  <a:pt x="194" y="269"/>
                </a:lnTo>
                <a:lnTo>
                  <a:pt x="189" y="272"/>
                </a:lnTo>
                <a:lnTo>
                  <a:pt x="186" y="272"/>
                </a:lnTo>
                <a:lnTo>
                  <a:pt x="183" y="266"/>
                </a:lnTo>
                <a:lnTo>
                  <a:pt x="177" y="267"/>
                </a:lnTo>
                <a:lnTo>
                  <a:pt x="173" y="267"/>
                </a:lnTo>
                <a:lnTo>
                  <a:pt x="163" y="266"/>
                </a:lnTo>
                <a:lnTo>
                  <a:pt x="159" y="264"/>
                </a:lnTo>
                <a:lnTo>
                  <a:pt x="151" y="264"/>
                </a:lnTo>
                <a:lnTo>
                  <a:pt x="150" y="264"/>
                </a:lnTo>
                <a:lnTo>
                  <a:pt x="147" y="264"/>
                </a:lnTo>
                <a:lnTo>
                  <a:pt x="146" y="264"/>
                </a:lnTo>
                <a:lnTo>
                  <a:pt x="139" y="271"/>
                </a:lnTo>
                <a:lnTo>
                  <a:pt x="133" y="271"/>
                </a:lnTo>
                <a:lnTo>
                  <a:pt x="131" y="272"/>
                </a:lnTo>
                <a:lnTo>
                  <a:pt x="130" y="274"/>
                </a:lnTo>
                <a:lnTo>
                  <a:pt x="129" y="275"/>
                </a:lnTo>
                <a:lnTo>
                  <a:pt x="126" y="277"/>
                </a:lnTo>
                <a:lnTo>
                  <a:pt x="126" y="278"/>
                </a:lnTo>
                <a:lnTo>
                  <a:pt x="125" y="280"/>
                </a:lnTo>
                <a:lnTo>
                  <a:pt x="122" y="281"/>
                </a:lnTo>
                <a:lnTo>
                  <a:pt x="121" y="280"/>
                </a:lnTo>
                <a:lnTo>
                  <a:pt x="121" y="277"/>
                </a:lnTo>
                <a:lnTo>
                  <a:pt x="118" y="271"/>
                </a:lnTo>
                <a:lnTo>
                  <a:pt x="117" y="269"/>
                </a:lnTo>
                <a:lnTo>
                  <a:pt x="115" y="267"/>
                </a:lnTo>
                <a:lnTo>
                  <a:pt x="114" y="263"/>
                </a:lnTo>
                <a:lnTo>
                  <a:pt x="110" y="256"/>
                </a:lnTo>
                <a:lnTo>
                  <a:pt x="107" y="255"/>
                </a:lnTo>
                <a:lnTo>
                  <a:pt x="106" y="253"/>
                </a:lnTo>
                <a:lnTo>
                  <a:pt x="103" y="249"/>
                </a:lnTo>
                <a:lnTo>
                  <a:pt x="99" y="242"/>
                </a:lnTo>
                <a:lnTo>
                  <a:pt x="98" y="241"/>
                </a:lnTo>
                <a:lnTo>
                  <a:pt x="97" y="236"/>
                </a:lnTo>
                <a:lnTo>
                  <a:pt x="97" y="233"/>
                </a:lnTo>
                <a:lnTo>
                  <a:pt x="97" y="230"/>
                </a:lnTo>
                <a:lnTo>
                  <a:pt x="94" y="227"/>
                </a:lnTo>
                <a:lnTo>
                  <a:pt x="93" y="225"/>
                </a:lnTo>
                <a:lnTo>
                  <a:pt x="92" y="223"/>
                </a:lnTo>
                <a:lnTo>
                  <a:pt x="90" y="222"/>
                </a:lnTo>
                <a:lnTo>
                  <a:pt x="89" y="219"/>
                </a:lnTo>
                <a:lnTo>
                  <a:pt x="86" y="217"/>
                </a:lnTo>
                <a:lnTo>
                  <a:pt x="82" y="214"/>
                </a:lnTo>
                <a:lnTo>
                  <a:pt x="81" y="212"/>
                </a:lnTo>
                <a:lnTo>
                  <a:pt x="80" y="212"/>
                </a:lnTo>
                <a:lnTo>
                  <a:pt x="78" y="211"/>
                </a:lnTo>
                <a:lnTo>
                  <a:pt x="74" y="209"/>
                </a:lnTo>
                <a:lnTo>
                  <a:pt x="73" y="208"/>
                </a:lnTo>
                <a:lnTo>
                  <a:pt x="72" y="206"/>
                </a:lnTo>
                <a:lnTo>
                  <a:pt x="69" y="201"/>
                </a:lnTo>
                <a:lnTo>
                  <a:pt x="69" y="198"/>
                </a:lnTo>
                <a:lnTo>
                  <a:pt x="66" y="186"/>
                </a:lnTo>
                <a:lnTo>
                  <a:pt x="66" y="184"/>
                </a:lnTo>
                <a:lnTo>
                  <a:pt x="65" y="183"/>
                </a:lnTo>
                <a:lnTo>
                  <a:pt x="66" y="181"/>
                </a:lnTo>
                <a:lnTo>
                  <a:pt x="66" y="179"/>
                </a:lnTo>
                <a:lnTo>
                  <a:pt x="68" y="175"/>
                </a:lnTo>
                <a:lnTo>
                  <a:pt x="66" y="172"/>
                </a:lnTo>
                <a:lnTo>
                  <a:pt x="65" y="168"/>
                </a:lnTo>
                <a:lnTo>
                  <a:pt x="64" y="167"/>
                </a:lnTo>
                <a:lnTo>
                  <a:pt x="64" y="165"/>
                </a:lnTo>
                <a:lnTo>
                  <a:pt x="62" y="162"/>
                </a:lnTo>
                <a:lnTo>
                  <a:pt x="61" y="161"/>
                </a:lnTo>
                <a:lnTo>
                  <a:pt x="60" y="157"/>
                </a:lnTo>
                <a:lnTo>
                  <a:pt x="57" y="150"/>
                </a:lnTo>
                <a:lnTo>
                  <a:pt x="53" y="146"/>
                </a:lnTo>
                <a:lnTo>
                  <a:pt x="50" y="143"/>
                </a:lnTo>
                <a:lnTo>
                  <a:pt x="49" y="143"/>
                </a:lnTo>
                <a:lnTo>
                  <a:pt x="49" y="142"/>
                </a:lnTo>
                <a:lnTo>
                  <a:pt x="46" y="140"/>
                </a:lnTo>
                <a:lnTo>
                  <a:pt x="45" y="140"/>
                </a:lnTo>
                <a:lnTo>
                  <a:pt x="44" y="142"/>
                </a:lnTo>
                <a:lnTo>
                  <a:pt x="42" y="140"/>
                </a:lnTo>
                <a:lnTo>
                  <a:pt x="42" y="139"/>
                </a:lnTo>
                <a:lnTo>
                  <a:pt x="41" y="135"/>
                </a:lnTo>
                <a:lnTo>
                  <a:pt x="38" y="134"/>
                </a:lnTo>
                <a:lnTo>
                  <a:pt x="38" y="131"/>
                </a:lnTo>
                <a:lnTo>
                  <a:pt x="37" y="121"/>
                </a:lnTo>
                <a:lnTo>
                  <a:pt x="34" y="120"/>
                </a:lnTo>
                <a:lnTo>
                  <a:pt x="33" y="115"/>
                </a:lnTo>
                <a:lnTo>
                  <a:pt x="30" y="115"/>
                </a:lnTo>
                <a:lnTo>
                  <a:pt x="30" y="113"/>
                </a:lnTo>
                <a:lnTo>
                  <a:pt x="29" y="112"/>
                </a:lnTo>
                <a:lnTo>
                  <a:pt x="26" y="107"/>
                </a:lnTo>
                <a:lnTo>
                  <a:pt x="24" y="99"/>
                </a:lnTo>
                <a:lnTo>
                  <a:pt x="22" y="98"/>
                </a:lnTo>
                <a:lnTo>
                  <a:pt x="20" y="96"/>
                </a:lnTo>
                <a:lnTo>
                  <a:pt x="17" y="91"/>
                </a:lnTo>
                <a:lnTo>
                  <a:pt x="16" y="90"/>
                </a:lnTo>
                <a:lnTo>
                  <a:pt x="14" y="87"/>
                </a:lnTo>
                <a:lnTo>
                  <a:pt x="12" y="82"/>
                </a:lnTo>
                <a:lnTo>
                  <a:pt x="9" y="74"/>
                </a:lnTo>
                <a:lnTo>
                  <a:pt x="6" y="74"/>
                </a:lnTo>
                <a:lnTo>
                  <a:pt x="5" y="74"/>
                </a:lnTo>
                <a:lnTo>
                  <a:pt x="2" y="73"/>
                </a:lnTo>
                <a:lnTo>
                  <a:pt x="1" y="73"/>
                </a:lnTo>
                <a:lnTo>
                  <a:pt x="0" y="74"/>
                </a:lnTo>
                <a:lnTo>
                  <a:pt x="2" y="66"/>
                </a:lnTo>
                <a:lnTo>
                  <a:pt x="4" y="60"/>
                </a:lnTo>
                <a:lnTo>
                  <a:pt x="4" y="57"/>
                </a:lnTo>
                <a:lnTo>
                  <a:pt x="5" y="55"/>
                </a:lnTo>
                <a:lnTo>
                  <a:pt x="5" y="51"/>
                </a:lnTo>
                <a:lnTo>
                  <a:pt x="5" y="52"/>
                </a:lnTo>
                <a:lnTo>
                  <a:pt x="22" y="55"/>
                </a:lnTo>
                <a:lnTo>
                  <a:pt x="26" y="51"/>
                </a:lnTo>
                <a:lnTo>
                  <a:pt x="28" y="49"/>
                </a:lnTo>
                <a:lnTo>
                  <a:pt x="32" y="41"/>
                </a:lnTo>
                <a:lnTo>
                  <a:pt x="42" y="40"/>
                </a:lnTo>
                <a:lnTo>
                  <a:pt x="44" y="38"/>
                </a:lnTo>
                <a:lnTo>
                  <a:pt x="45" y="33"/>
                </a:lnTo>
                <a:lnTo>
                  <a:pt x="50" y="30"/>
                </a:lnTo>
                <a:lnTo>
                  <a:pt x="52" y="29"/>
                </a:lnTo>
                <a:lnTo>
                  <a:pt x="37" y="15"/>
                </a:lnTo>
                <a:lnTo>
                  <a:pt x="34" y="13"/>
                </a:lnTo>
                <a:lnTo>
                  <a:pt x="45" y="10"/>
                </a:lnTo>
                <a:lnTo>
                  <a:pt x="64" y="7"/>
                </a:lnTo>
                <a:lnTo>
                  <a:pt x="68" y="0"/>
                </a:lnTo>
                <a:lnTo>
                  <a:pt x="92" y="7"/>
                </a:lnTo>
                <a:lnTo>
                  <a:pt x="107" y="19"/>
                </a:lnTo>
                <a:lnTo>
                  <a:pt x="123" y="26"/>
                </a:lnTo>
                <a:lnTo>
                  <a:pt x="125" y="27"/>
                </a:lnTo>
                <a:lnTo>
                  <a:pt x="127" y="32"/>
                </a:lnTo>
                <a:lnTo>
                  <a:pt x="135" y="33"/>
                </a:lnTo>
                <a:lnTo>
                  <a:pt x="135" y="44"/>
                </a:lnTo>
                <a:lnTo>
                  <a:pt x="137" y="46"/>
                </a:lnTo>
                <a:lnTo>
                  <a:pt x="154" y="54"/>
                </a:lnTo>
                <a:lnTo>
                  <a:pt x="181" y="55"/>
                </a:lnTo>
                <a:lnTo>
                  <a:pt x="182" y="55"/>
                </a:lnTo>
                <a:lnTo>
                  <a:pt x="187" y="57"/>
                </a:lnTo>
                <a:lnTo>
                  <a:pt x="193" y="59"/>
                </a:lnTo>
                <a:lnTo>
                  <a:pt x="195" y="62"/>
                </a:lnTo>
                <a:lnTo>
                  <a:pt x="198" y="65"/>
                </a:lnTo>
                <a:lnTo>
                  <a:pt x="207" y="66"/>
                </a:lnTo>
                <a:lnTo>
                  <a:pt x="209" y="68"/>
                </a:lnTo>
                <a:lnTo>
                  <a:pt x="209" y="70"/>
                </a:lnTo>
                <a:lnTo>
                  <a:pt x="210" y="71"/>
                </a:lnTo>
                <a:lnTo>
                  <a:pt x="210" y="74"/>
                </a:lnTo>
                <a:lnTo>
                  <a:pt x="212" y="77"/>
                </a:lnTo>
                <a:lnTo>
                  <a:pt x="215" y="79"/>
                </a:lnTo>
                <a:lnTo>
                  <a:pt x="216" y="82"/>
                </a:lnTo>
                <a:lnTo>
                  <a:pt x="220" y="85"/>
                </a:lnTo>
                <a:lnTo>
                  <a:pt x="220" y="87"/>
                </a:lnTo>
                <a:lnTo>
                  <a:pt x="220" y="88"/>
                </a:lnTo>
                <a:lnTo>
                  <a:pt x="222" y="90"/>
                </a:lnTo>
                <a:lnTo>
                  <a:pt x="224" y="91"/>
                </a:lnTo>
                <a:lnTo>
                  <a:pt x="226" y="93"/>
                </a:lnTo>
                <a:lnTo>
                  <a:pt x="230" y="96"/>
                </a:lnTo>
                <a:lnTo>
                  <a:pt x="231" y="96"/>
                </a:lnTo>
                <a:lnTo>
                  <a:pt x="232" y="98"/>
                </a:lnTo>
                <a:lnTo>
                  <a:pt x="232" y="99"/>
                </a:lnTo>
                <a:lnTo>
                  <a:pt x="232" y="102"/>
                </a:lnTo>
                <a:lnTo>
                  <a:pt x="234" y="106"/>
                </a:lnTo>
                <a:lnTo>
                  <a:pt x="235" y="107"/>
                </a:lnTo>
                <a:lnTo>
                  <a:pt x="235" y="109"/>
                </a:lnTo>
                <a:lnTo>
                  <a:pt x="232" y="110"/>
                </a:lnTo>
                <a:lnTo>
                  <a:pt x="234" y="113"/>
                </a:lnTo>
                <a:lnTo>
                  <a:pt x="235" y="117"/>
                </a:lnTo>
                <a:lnTo>
                  <a:pt x="239" y="121"/>
                </a:lnTo>
                <a:lnTo>
                  <a:pt x="240" y="128"/>
                </a:lnTo>
                <a:lnTo>
                  <a:pt x="242" y="129"/>
                </a:lnTo>
                <a:lnTo>
                  <a:pt x="242" y="131"/>
                </a:lnTo>
                <a:lnTo>
                  <a:pt x="243" y="132"/>
                </a:lnTo>
                <a:lnTo>
                  <a:pt x="243" y="134"/>
                </a:lnTo>
                <a:lnTo>
                  <a:pt x="246" y="137"/>
                </a:lnTo>
                <a:lnTo>
                  <a:pt x="247" y="137"/>
                </a:lnTo>
                <a:lnTo>
                  <a:pt x="252" y="13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26" name="Freeform 325"/>
          <p:cNvSpPr>
            <a:spLocks/>
          </p:cNvSpPr>
          <p:nvPr/>
        </p:nvSpPr>
        <p:spPr bwMode="auto">
          <a:xfrm>
            <a:off x="6666371" y="3206028"/>
            <a:ext cx="608030" cy="558378"/>
          </a:xfrm>
          <a:custGeom>
            <a:avLst/>
            <a:gdLst/>
            <a:ahLst/>
            <a:cxnLst>
              <a:cxn ang="0">
                <a:pos x="252" y="137"/>
              </a:cxn>
              <a:cxn ang="0">
                <a:pos x="252" y="142"/>
              </a:cxn>
              <a:cxn ang="0">
                <a:pos x="255" y="145"/>
              </a:cxn>
              <a:cxn ang="0">
                <a:pos x="310" y="170"/>
              </a:cxn>
              <a:cxn ang="0">
                <a:pos x="262" y="236"/>
              </a:cxn>
              <a:cxn ang="0">
                <a:pos x="205" y="250"/>
              </a:cxn>
              <a:cxn ang="0">
                <a:pos x="189" y="272"/>
              </a:cxn>
              <a:cxn ang="0">
                <a:pos x="177" y="267"/>
              </a:cxn>
              <a:cxn ang="0">
                <a:pos x="159" y="264"/>
              </a:cxn>
              <a:cxn ang="0">
                <a:pos x="147" y="264"/>
              </a:cxn>
              <a:cxn ang="0">
                <a:pos x="133" y="271"/>
              </a:cxn>
              <a:cxn ang="0">
                <a:pos x="129" y="275"/>
              </a:cxn>
              <a:cxn ang="0">
                <a:pos x="125" y="280"/>
              </a:cxn>
              <a:cxn ang="0">
                <a:pos x="121" y="277"/>
              </a:cxn>
              <a:cxn ang="0">
                <a:pos x="115" y="267"/>
              </a:cxn>
              <a:cxn ang="0">
                <a:pos x="107" y="255"/>
              </a:cxn>
              <a:cxn ang="0">
                <a:pos x="99" y="242"/>
              </a:cxn>
              <a:cxn ang="0">
                <a:pos x="97" y="233"/>
              </a:cxn>
              <a:cxn ang="0">
                <a:pos x="93" y="225"/>
              </a:cxn>
              <a:cxn ang="0">
                <a:pos x="89" y="219"/>
              </a:cxn>
              <a:cxn ang="0">
                <a:pos x="81" y="212"/>
              </a:cxn>
              <a:cxn ang="0">
                <a:pos x="74" y="209"/>
              </a:cxn>
              <a:cxn ang="0">
                <a:pos x="69" y="201"/>
              </a:cxn>
              <a:cxn ang="0">
                <a:pos x="66" y="184"/>
              </a:cxn>
              <a:cxn ang="0">
                <a:pos x="66" y="179"/>
              </a:cxn>
              <a:cxn ang="0">
                <a:pos x="65" y="168"/>
              </a:cxn>
              <a:cxn ang="0">
                <a:pos x="62" y="162"/>
              </a:cxn>
              <a:cxn ang="0">
                <a:pos x="57" y="150"/>
              </a:cxn>
              <a:cxn ang="0">
                <a:pos x="49" y="143"/>
              </a:cxn>
              <a:cxn ang="0">
                <a:pos x="45" y="140"/>
              </a:cxn>
              <a:cxn ang="0">
                <a:pos x="42" y="139"/>
              </a:cxn>
              <a:cxn ang="0">
                <a:pos x="38" y="131"/>
              </a:cxn>
              <a:cxn ang="0">
                <a:pos x="33" y="115"/>
              </a:cxn>
              <a:cxn ang="0">
                <a:pos x="29" y="112"/>
              </a:cxn>
              <a:cxn ang="0">
                <a:pos x="22" y="98"/>
              </a:cxn>
              <a:cxn ang="0">
                <a:pos x="16" y="90"/>
              </a:cxn>
              <a:cxn ang="0">
                <a:pos x="9" y="74"/>
              </a:cxn>
              <a:cxn ang="0">
                <a:pos x="2" y="73"/>
              </a:cxn>
              <a:cxn ang="0">
                <a:pos x="2" y="66"/>
              </a:cxn>
              <a:cxn ang="0">
                <a:pos x="5" y="55"/>
              </a:cxn>
              <a:cxn ang="0">
                <a:pos x="22" y="55"/>
              </a:cxn>
              <a:cxn ang="0">
                <a:pos x="32" y="41"/>
              </a:cxn>
              <a:cxn ang="0">
                <a:pos x="45" y="33"/>
              </a:cxn>
              <a:cxn ang="0">
                <a:pos x="37" y="15"/>
              </a:cxn>
              <a:cxn ang="0">
                <a:pos x="64" y="7"/>
              </a:cxn>
              <a:cxn ang="0">
                <a:pos x="107" y="19"/>
              </a:cxn>
              <a:cxn ang="0">
                <a:pos x="127" y="32"/>
              </a:cxn>
              <a:cxn ang="0">
                <a:pos x="137" y="46"/>
              </a:cxn>
              <a:cxn ang="0">
                <a:pos x="182" y="55"/>
              </a:cxn>
              <a:cxn ang="0">
                <a:pos x="195" y="62"/>
              </a:cxn>
              <a:cxn ang="0">
                <a:pos x="209" y="68"/>
              </a:cxn>
              <a:cxn ang="0">
                <a:pos x="210" y="74"/>
              </a:cxn>
              <a:cxn ang="0">
                <a:pos x="216" y="82"/>
              </a:cxn>
              <a:cxn ang="0">
                <a:pos x="220" y="88"/>
              </a:cxn>
              <a:cxn ang="0">
                <a:pos x="226" y="93"/>
              </a:cxn>
              <a:cxn ang="0">
                <a:pos x="232" y="98"/>
              </a:cxn>
              <a:cxn ang="0">
                <a:pos x="234" y="106"/>
              </a:cxn>
              <a:cxn ang="0">
                <a:pos x="232" y="110"/>
              </a:cxn>
              <a:cxn ang="0">
                <a:pos x="239" y="121"/>
              </a:cxn>
              <a:cxn ang="0">
                <a:pos x="242" y="131"/>
              </a:cxn>
              <a:cxn ang="0">
                <a:pos x="246" y="137"/>
              </a:cxn>
            </a:cxnLst>
            <a:rect l="0" t="0" r="r" b="b"/>
            <a:pathLst>
              <a:path w="318" h="281">
                <a:moveTo>
                  <a:pt x="252" y="134"/>
                </a:moveTo>
                <a:lnTo>
                  <a:pt x="252" y="135"/>
                </a:lnTo>
                <a:lnTo>
                  <a:pt x="252" y="137"/>
                </a:lnTo>
                <a:lnTo>
                  <a:pt x="254" y="137"/>
                </a:lnTo>
                <a:lnTo>
                  <a:pt x="252" y="139"/>
                </a:lnTo>
                <a:lnTo>
                  <a:pt x="252" y="142"/>
                </a:lnTo>
                <a:lnTo>
                  <a:pt x="254" y="142"/>
                </a:lnTo>
                <a:lnTo>
                  <a:pt x="255" y="142"/>
                </a:lnTo>
                <a:lnTo>
                  <a:pt x="255" y="145"/>
                </a:lnTo>
                <a:lnTo>
                  <a:pt x="271" y="165"/>
                </a:lnTo>
                <a:lnTo>
                  <a:pt x="310" y="172"/>
                </a:lnTo>
                <a:lnTo>
                  <a:pt x="310" y="170"/>
                </a:lnTo>
                <a:lnTo>
                  <a:pt x="318" y="183"/>
                </a:lnTo>
                <a:lnTo>
                  <a:pt x="307" y="219"/>
                </a:lnTo>
                <a:lnTo>
                  <a:pt x="262" y="236"/>
                </a:lnTo>
                <a:lnTo>
                  <a:pt x="243" y="241"/>
                </a:lnTo>
                <a:lnTo>
                  <a:pt x="218" y="242"/>
                </a:lnTo>
                <a:lnTo>
                  <a:pt x="205" y="250"/>
                </a:lnTo>
                <a:lnTo>
                  <a:pt x="195" y="264"/>
                </a:lnTo>
                <a:lnTo>
                  <a:pt x="194" y="269"/>
                </a:lnTo>
                <a:lnTo>
                  <a:pt x="189" y="272"/>
                </a:lnTo>
                <a:lnTo>
                  <a:pt x="186" y="272"/>
                </a:lnTo>
                <a:lnTo>
                  <a:pt x="183" y="266"/>
                </a:lnTo>
                <a:lnTo>
                  <a:pt x="177" y="267"/>
                </a:lnTo>
                <a:lnTo>
                  <a:pt x="173" y="267"/>
                </a:lnTo>
                <a:lnTo>
                  <a:pt x="163" y="266"/>
                </a:lnTo>
                <a:lnTo>
                  <a:pt x="159" y="264"/>
                </a:lnTo>
                <a:lnTo>
                  <a:pt x="151" y="264"/>
                </a:lnTo>
                <a:lnTo>
                  <a:pt x="150" y="264"/>
                </a:lnTo>
                <a:lnTo>
                  <a:pt x="147" y="264"/>
                </a:lnTo>
                <a:lnTo>
                  <a:pt x="146" y="264"/>
                </a:lnTo>
                <a:lnTo>
                  <a:pt x="139" y="271"/>
                </a:lnTo>
                <a:lnTo>
                  <a:pt x="133" y="271"/>
                </a:lnTo>
                <a:lnTo>
                  <a:pt x="131" y="272"/>
                </a:lnTo>
                <a:lnTo>
                  <a:pt x="130" y="274"/>
                </a:lnTo>
                <a:lnTo>
                  <a:pt x="129" y="275"/>
                </a:lnTo>
                <a:lnTo>
                  <a:pt x="126" y="277"/>
                </a:lnTo>
                <a:lnTo>
                  <a:pt x="126" y="278"/>
                </a:lnTo>
                <a:lnTo>
                  <a:pt x="125" y="280"/>
                </a:lnTo>
                <a:lnTo>
                  <a:pt x="122" y="281"/>
                </a:lnTo>
                <a:lnTo>
                  <a:pt x="121" y="280"/>
                </a:lnTo>
                <a:lnTo>
                  <a:pt x="121" y="277"/>
                </a:lnTo>
                <a:lnTo>
                  <a:pt x="118" y="271"/>
                </a:lnTo>
                <a:lnTo>
                  <a:pt x="117" y="269"/>
                </a:lnTo>
                <a:lnTo>
                  <a:pt x="115" y="267"/>
                </a:lnTo>
                <a:lnTo>
                  <a:pt x="114" y="263"/>
                </a:lnTo>
                <a:lnTo>
                  <a:pt x="110" y="256"/>
                </a:lnTo>
                <a:lnTo>
                  <a:pt x="107" y="255"/>
                </a:lnTo>
                <a:lnTo>
                  <a:pt x="106" y="253"/>
                </a:lnTo>
                <a:lnTo>
                  <a:pt x="103" y="249"/>
                </a:lnTo>
                <a:lnTo>
                  <a:pt x="99" y="242"/>
                </a:lnTo>
                <a:lnTo>
                  <a:pt x="98" y="241"/>
                </a:lnTo>
                <a:lnTo>
                  <a:pt x="97" y="236"/>
                </a:lnTo>
                <a:lnTo>
                  <a:pt x="97" y="233"/>
                </a:lnTo>
                <a:lnTo>
                  <a:pt x="97" y="230"/>
                </a:lnTo>
                <a:lnTo>
                  <a:pt x="94" y="227"/>
                </a:lnTo>
                <a:lnTo>
                  <a:pt x="93" y="225"/>
                </a:lnTo>
                <a:lnTo>
                  <a:pt x="92" y="223"/>
                </a:lnTo>
                <a:lnTo>
                  <a:pt x="90" y="222"/>
                </a:lnTo>
                <a:lnTo>
                  <a:pt x="89" y="219"/>
                </a:lnTo>
                <a:lnTo>
                  <a:pt x="86" y="217"/>
                </a:lnTo>
                <a:lnTo>
                  <a:pt x="82" y="214"/>
                </a:lnTo>
                <a:lnTo>
                  <a:pt x="81" y="212"/>
                </a:lnTo>
                <a:lnTo>
                  <a:pt x="80" y="212"/>
                </a:lnTo>
                <a:lnTo>
                  <a:pt x="78" y="211"/>
                </a:lnTo>
                <a:lnTo>
                  <a:pt x="74" y="209"/>
                </a:lnTo>
                <a:lnTo>
                  <a:pt x="73" y="208"/>
                </a:lnTo>
                <a:lnTo>
                  <a:pt x="72" y="206"/>
                </a:lnTo>
                <a:lnTo>
                  <a:pt x="69" y="201"/>
                </a:lnTo>
                <a:lnTo>
                  <a:pt x="69" y="198"/>
                </a:lnTo>
                <a:lnTo>
                  <a:pt x="66" y="186"/>
                </a:lnTo>
                <a:lnTo>
                  <a:pt x="66" y="184"/>
                </a:lnTo>
                <a:lnTo>
                  <a:pt x="65" y="183"/>
                </a:lnTo>
                <a:lnTo>
                  <a:pt x="66" y="181"/>
                </a:lnTo>
                <a:lnTo>
                  <a:pt x="66" y="179"/>
                </a:lnTo>
                <a:lnTo>
                  <a:pt x="68" y="175"/>
                </a:lnTo>
                <a:lnTo>
                  <a:pt x="66" y="172"/>
                </a:lnTo>
                <a:lnTo>
                  <a:pt x="65" y="168"/>
                </a:lnTo>
                <a:lnTo>
                  <a:pt x="64" y="167"/>
                </a:lnTo>
                <a:lnTo>
                  <a:pt x="64" y="165"/>
                </a:lnTo>
                <a:lnTo>
                  <a:pt x="62" y="162"/>
                </a:lnTo>
                <a:lnTo>
                  <a:pt x="61" y="161"/>
                </a:lnTo>
                <a:lnTo>
                  <a:pt x="60" y="157"/>
                </a:lnTo>
                <a:lnTo>
                  <a:pt x="57" y="150"/>
                </a:lnTo>
                <a:lnTo>
                  <a:pt x="53" y="146"/>
                </a:lnTo>
                <a:lnTo>
                  <a:pt x="50" y="143"/>
                </a:lnTo>
                <a:lnTo>
                  <a:pt x="49" y="143"/>
                </a:lnTo>
                <a:lnTo>
                  <a:pt x="49" y="142"/>
                </a:lnTo>
                <a:lnTo>
                  <a:pt x="46" y="140"/>
                </a:lnTo>
                <a:lnTo>
                  <a:pt x="45" y="140"/>
                </a:lnTo>
                <a:lnTo>
                  <a:pt x="44" y="142"/>
                </a:lnTo>
                <a:lnTo>
                  <a:pt x="42" y="140"/>
                </a:lnTo>
                <a:lnTo>
                  <a:pt x="42" y="139"/>
                </a:lnTo>
                <a:lnTo>
                  <a:pt x="41" y="135"/>
                </a:lnTo>
                <a:lnTo>
                  <a:pt x="38" y="134"/>
                </a:lnTo>
                <a:lnTo>
                  <a:pt x="38" y="131"/>
                </a:lnTo>
                <a:lnTo>
                  <a:pt x="37" y="121"/>
                </a:lnTo>
                <a:lnTo>
                  <a:pt x="34" y="120"/>
                </a:lnTo>
                <a:lnTo>
                  <a:pt x="33" y="115"/>
                </a:lnTo>
                <a:lnTo>
                  <a:pt x="30" y="115"/>
                </a:lnTo>
                <a:lnTo>
                  <a:pt x="30" y="113"/>
                </a:lnTo>
                <a:lnTo>
                  <a:pt x="29" y="112"/>
                </a:lnTo>
                <a:lnTo>
                  <a:pt x="26" y="107"/>
                </a:lnTo>
                <a:lnTo>
                  <a:pt x="24" y="99"/>
                </a:lnTo>
                <a:lnTo>
                  <a:pt x="22" y="98"/>
                </a:lnTo>
                <a:lnTo>
                  <a:pt x="20" y="96"/>
                </a:lnTo>
                <a:lnTo>
                  <a:pt x="17" y="91"/>
                </a:lnTo>
                <a:lnTo>
                  <a:pt x="16" y="90"/>
                </a:lnTo>
                <a:lnTo>
                  <a:pt x="14" y="87"/>
                </a:lnTo>
                <a:lnTo>
                  <a:pt x="12" y="82"/>
                </a:lnTo>
                <a:lnTo>
                  <a:pt x="9" y="74"/>
                </a:lnTo>
                <a:lnTo>
                  <a:pt x="6" y="74"/>
                </a:lnTo>
                <a:lnTo>
                  <a:pt x="5" y="74"/>
                </a:lnTo>
                <a:lnTo>
                  <a:pt x="2" y="73"/>
                </a:lnTo>
                <a:lnTo>
                  <a:pt x="1" y="73"/>
                </a:lnTo>
                <a:lnTo>
                  <a:pt x="0" y="74"/>
                </a:lnTo>
                <a:lnTo>
                  <a:pt x="2" y="66"/>
                </a:lnTo>
                <a:lnTo>
                  <a:pt x="4" y="60"/>
                </a:lnTo>
                <a:lnTo>
                  <a:pt x="4" y="57"/>
                </a:lnTo>
                <a:lnTo>
                  <a:pt x="5" y="55"/>
                </a:lnTo>
                <a:lnTo>
                  <a:pt x="5" y="51"/>
                </a:lnTo>
                <a:lnTo>
                  <a:pt x="5" y="52"/>
                </a:lnTo>
                <a:lnTo>
                  <a:pt x="22" y="55"/>
                </a:lnTo>
                <a:lnTo>
                  <a:pt x="26" y="51"/>
                </a:lnTo>
                <a:lnTo>
                  <a:pt x="28" y="49"/>
                </a:lnTo>
                <a:lnTo>
                  <a:pt x="32" y="41"/>
                </a:lnTo>
                <a:lnTo>
                  <a:pt x="42" y="40"/>
                </a:lnTo>
                <a:lnTo>
                  <a:pt x="44" y="38"/>
                </a:lnTo>
                <a:lnTo>
                  <a:pt x="45" y="33"/>
                </a:lnTo>
                <a:lnTo>
                  <a:pt x="50" y="30"/>
                </a:lnTo>
                <a:lnTo>
                  <a:pt x="52" y="29"/>
                </a:lnTo>
                <a:lnTo>
                  <a:pt x="37" y="15"/>
                </a:lnTo>
                <a:lnTo>
                  <a:pt x="34" y="13"/>
                </a:lnTo>
                <a:lnTo>
                  <a:pt x="45" y="10"/>
                </a:lnTo>
                <a:lnTo>
                  <a:pt x="64" y="7"/>
                </a:lnTo>
                <a:lnTo>
                  <a:pt x="68" y="0"/>
                </a:lnTo>
                <a:lnTo>
                  <a:pt x="92" y="7"/>
                </a:lnTo>
                <a:lnTo>
                  <a:pt x="107" y="19"/>
                </a:lnTo>
                <a:lnTo>
                  <a:pt x="123" y="26"/>
                </a:lnTo>
                <a:lnTo>
                  <a:pt x="125" y="27"/>
                </a:lnTo>
                <a:lnTo>
                  <a:pt x="127" y="32"/>
                </a:lnTo>
                <a:lnTo>
                  <a:pt x="135" y="33"/>
                </a:lnTo>
                <a:lnTo>
                  <a:pt x="135" y="44"/>
                </a:lnTo>
                <a:lnTo>
                  <a:pt x="137" y="46"/>
                </a:lnTo>
                <a:lnTo>
                  <a:pt x="154" y="54"/>
                </a:lnTo>
                <a:lnTo>
                  <a:pt x="181" y="55"/>
                </a:lnTo>
                <a:lnTo>
                  <a:pt x="182" y="55"/>
                </a:lnTo>
                <a:lnTo>
                  <a:pt x="187" y="57"/>
                </a:lnTo>
                <a:lnTo>
                  <a:pt x="193" y="59"/>
                </a:lnTo>
                <a:lnTo>
                  <a:pt x="195" y="62"/>
                </a:lnTo>
                <a:lnTo>
                  <a:pt x="198" y="65"/>
                </a:lnTo>
                <a:lnTo>
                  <a:pt x="207" y="66"/>
                </a:lnTo>
                <a:lnTo>
                  <a:pt x="209" y="68"/>
                </a:lnTo>
                <a:lnTo>
                  <a:pt x="209" y="70"/>
                </a:lnTo>
                <a:lnTo>
                  <a:pt x="210" y="71"/>
                </a:lnTo>
                <a:lnTo>
                  <a:pt x="210" y="74"/>
                </a:lnTo>
                <a:lnTo>
                  <a:pt x="212" y="77"/>
                </a:lnTo>
                <a:lnTo>
                  <a:pt x="215" y="79"/>
                </a:lnTo>
                <a:lnTo>
                  <a:pt x="216" y="82"/>
                </a:lnTo>
                <a:lnTo>
                  <a:pt x="220" y="85"/>
                </a:lnTo>
                <a:lnTo>
                  <a:pt x="220" y="87"/>
                </a:lnTo>
                <a:lnTo>
                  <a:pt x="220" y="88"/>
                </a:lnTo>
                <a:lnTo>
                  <a:pt x="222" y="90"/>
                </a:lnTo>
                <a:lnTo>
                  <a:pt x="224" y="91"/>
                </a:lnTo>
                <a:lnTo>
                  <a:pt x="226" y="93"/>
                </a:lnTo>
                <a:lnTo>
                  <a:pt x="230" y="96"/>
                </a:lnTo>
                <a:lnTo>
                  <a:pt x="231" y="96"/>
                </a:lnTo>
                <a:lnTo>
                  <a:pt x="232" y="98"/>
                </a:lnTo>
                <a:lnTo>
                  <a:pt x="232" y="99"/>
                </a:lnTo>
                <a:lnTo>
                  <a:pt x="232" y="102"/>
                </a:lnTo>
                <a:lnTo>
                  <a:pt x="234" y="106"/>
                </a:lnTo>
                <a:lnTo>
                  <a:pt x="235" y="107"/>
                </a:lnTo>
                <a:lnTo>
                  <a:pt x="235" y="109"/>
                </a:lnTo>
                <a:lnTo>
                  <a:pt x="232" y="110"/>
                </a:lnTo>
                <a:lnTo>
                  <a:pt x="234" y="113"/>
                </a:lnTo>
                <a:lnTo>
                  <a:pt x="235" y="117"/>
                </a:lnTo>
                <a:lnTo>
                  <a:pt x="239" y="121"/>
                </a:lnTo>
                <a:lnTo>
                  <a:pt x="240" y="128"/>
                </a:lnTo>
                <a:lnTo>
                  <a:pt x="242" y="129"/>
                </a:lnTo>
                <a:lnTo>
                  <a:pt x="242" y="131"/>
                </a:lnTo>
                <a:lnTo>
                  <a:pt x="243" y="132"/>
                </a:lnTo>
                <a:lnTo>
                  <a:pt x="243" y="134"/>
                </a:lnTo>
                <a:lnTo>
                  <a:pt x="246" y="137"/>
                </a:lnTo>
                <a:lnTo>
                  <a:pt x="247" y="137"/>
                </a:lnTo>
                <a:lnTo>
                  <a:pt x="252" y="134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27" name="Freeform 326"/>
          <p:cNvSpPr>
            <a:spLocks/>
          </p:cNvSpPr>
          <p:nvPr/>
        </p:nvSpPr>
        <p:spPr bwMode="auto">
          <a:xfrm>
            <a:off x="9227114" y="4657810"/>
            <a:ext cx="46772" cy="49394"/>
          </a:xfrm>
          <a:custGeom>
            <a:avLst/>
            <a:gdLst/>
            <a:ahLst/>
            <a:cxnLst>
              <a:cxn ang="0">
                <a:pos x="22" y="10"/>
              </a:cxn>
              <a:cxn ang="0">
                <a:pos x="22" y="8"/>
              </a:cxn>
              <a:cxn ang="0">
                <a:pos x="21" y="8"/>
              </a:cxn>
              <a:cxn ang="0">
                <a:pos x="21" y="6"/>
              </a:cxn>
              <a:cxn ang="0">
                <a:pos x="20" y="5"/>
              </a:cxn>
              <a:cxn ang="0">
                <a:pos x="21" y="5"/>
              </a:cxn>
              <a:cxn ang="0">
                <a:pos x="22" y="5"/>
              </a:cxn>
              <a:cxn ang="0">
                <a:pos x="24" y="5"/>
              </a:cxn>
              <a:cxn ang="0">
                <a:pos x="24" y="3"/>
              </a:cxn>
              <a:cxn ang="0">
                <a:pos x="24" y="2"/>
              </a:cxn>
              <a:cxn ang="0">
                <a:pos x="22" y="2"/>
              </a:cxn>
              <a:cxn ang="0">
                <a:pos x="21" y="2"/>
              </a:cxn>
              <a:cxn ang="0">
                <a:pos x="21" y="3"/>
              </a:cxn>
              <a:cxn ang="0">
                <a:pos x="20" y="3"/>
              </a:cxn>
              <a:cxn ang="0">
                <a:pos x="20" y="2"/>
              </a:cxn>
              <a:cxn ang="0">
                <a:pos x="20" y="0"/>
              </a:cxn>
              <a:cxn ang="0">
                <a:pos x="18" y="3"/>
              </a:cxn>
              <a:cxn ang="0">
                <a:pos x="17" y="3"/>
              </a:cxn>
              <a:cxn ang="0">
                <a:pos x="16" y="3"/>
              </a:cxn>
              <a:cxn ang="0">
                <a:pos x="14" y="5"/>
              </a:cxn>
              <a:cxn ang="0">
                <a:pos x="13" y="5"/>
              </a:cxn>
              <a:cxn ang="0">
                <a:pos x="13" y="6"/>
              </a:cxn>
              <a:cxn ang="0">
                <a:pos x="12" y="6"/>
              </a:cxn>
              <a:cxn ang="0">
                <a:pos x="12" y="8"/>
              </a:cxn>
              <a:cxn ang="0">
                <a:pos x="10" y="8"/>
              </a:cxn>
              <a:cxn ang="0">
                <a:pos x="12" y="8"/>
              </a:cxn>
              <a:cxn ang="0">
                <a:pos x="12" y="10"/>
              </a:cxn>
              <a:cxn ang="0">
                <a:pos x="10" y="10"/>
              </a:cxn>
              <a:cxn ang="0">
                <a:pos x="10" y="11"/>
              </a:cxn>
              <a:cxn ang="0">
                <a:pos x="9" y="11"/>
              </a:cxn>
              <a:cxn ang="0">
                <a:pos x="9" y="10"/>
              </a:cxn>
              <a:cxn ang="0">
                <a:pos x="9" y="8"/>
              </a:cxn>
              <a:cxn ang="0">
                <a:pos x="8" y="8"/>
              </a:cxn>
              <a:cxn ang="0">
                <a:pos x="8" y="10"/>
              </a:cxn>
              <a:cxn ang="0">
                <a:pos x="6" y="10"/>
              </a:cxn>
              <a:cxn ang="0">
                <a:pos x="6" y="8"/>
              </a:cxn>
              <a:cxn ang="0">
                <a:pos x="5" y="8"/>
              </a:cxn>
              <a:cxn ang="0">
                <a:pos x="4" y="11"/>
              </a:cxn>
              <a:cxn ang="0">
                <a:pos x="1" y="13"/>
              </a:cxn>
              <a:cxn ang="0">
                <a:pos x="1" y="17"/>
              </a:cxn>
              <a:cxn ang="0">
                <a:pos x="1" y="19"/>
              </a:cxn>
              <a:cxn ang="0">
                <a:pos x="1" y="22"/>
              </a:cxn>
              <a:cxn ang="0">
                <a:pos x="0" y="24"/>
              </a:cxn>
              <a:cxn ang="0">
                <a:pos x="1" y="25"/>
              </a:cxn>
              <a:cxn ang="0">
                <a:pos x="4" y="25"/>
              </a:cxn>
              <a:cxn ang="0">
                <a:pos x="5" y="25"/>
              </a:cxn>
              <a:cxn ang="0">
                <a:pos x="8" y="25"/>
              </a:cxn>
              <a:cxn ang="0">
                <a:pos x="10" y="24"/>
              </a:cxn>
              <a:cxn ang="0">
                <a:pos x="13" y="22"/>
              </a:cxn>
              <a:cxn ang="0">
                <a:pos x="14" y="22"/>
              </a:cxn>
              <a:cxn ang="0">
                <a:pos x="16" y="21"/>
              </a:cxn>
              <a:cxn ang="0">
                <a:pos x="18" y="17"/>
              </a:cxn>
              <a:cxn ang="0">
                <a:pos x="21" y="14"/>
              </a:cxn>
              <a:cxn ang="0">
                <a:pos x="22" y="10"/>
              </a:cxn>
            </a:cxnLst>
            <a:rect l="0" t="0" r="r" b="b"/>
            <a:pathLst>
              <a:path w="24" h="25">
                <a:moveTo>
                  <a:pt x="22" y="10"/>
                </a:moveTo>
                <a:lnTo>
                  <a:pt x="22" y="8"/>
                </a:lnTo>
                <a:lnTo>
                  <a:pt x="21" y="8"/>
                </a:lnTo>
                <a:lnTo>
                  <a:pt x="21" y="6"/>
                </a:lnTo>
                <a:lnTo>
                  <a:pt x="20" y="5"/>
                </a:lnTo>
                <a:lnTo>
                  <a:pt x="21" y="5"/>
                </a:lnTo>
                <a:lnTo>
                  <a:pt x="22" y="5"/>
                </a:lnTo>
                <a:lnTo>
                  <a:pt x="24" y="5"/>
                </a:lnTo>
                <a:lnTo>
                  <a:pt x="24" y="3"/>
                </a:lnTo>
                <a:lnTo>
                  <a:pt x="24" y="2"/>
                </a:lnTo>
                <a:lnTo>
                  <a:pt x="22" y="2"/>
                </a:lnTo>
                <a:lnTo>
                  <a:pt x="21" y="2"/>
                </a:lnTo>
                <a:lnTo>
                  <a:pt x="21" y="3"/>
                </a:lnTo>
                <a:lnTo>
                  <a:pt x="20" y="3"/>
                </a:lnTo>
                <a:lnTo>
                  <a:pt x="20" y="2"/>
                </a:lnTo>
                <a:lnTo>
                  <a:pt x="20" y="0"/>
                </a:lnTo>
                <a:lnTo>
                  <a:pt x="18" y="3"/>
                </a:lnTo>
                <a:lnTo>
                  <a:pt x="17" y="3"/>
                </a:lnTo>
                <a:lnTo>
                  <a:pt x="16" y="3"/>
                </a:lnTo>
                <a:lnTo>
                  <a:pt x="14" y="5"/>
                </a:lnTo>
                <a:lnTo>
                  <a:pt x="13" y="5"/>
                </a:lnTo>
                <a:lnTo>
                  <a:pt x="13" y="6"/>
                </a:lnTo>
                <a:lnTo>
                  <a:pt x="12" y="6"/>
                </a:lnTo>
                <a:lnTo>
                  <a:pt x="12" y="8"/>
                </a:lnTo>
                <a:lnTo>
                  <a:pt x="10" y="8"/>
                </a:lnTo>
                <a:lnTo>
                  <a:pt x="12" y="8"/>
                </a:lnTo>
                <a:lnTo>
                  <a:pt x="12" y="10"/>
                </a:lnTo>
                <a:lnTo>
                  <a:pt x="10" y="10"/>
                </a:lnTo>
                <a:lnTo>
                  <a:pt x="10" y="11"/>
                </a:lnTo>
                <a:lnTo>
                  <a:pt x="9" y="11"/>
                </a:lnTo>
                <a:lnTo>
                  <a:pt x="9" y="10"/>
                </a:lnTo>
                <a:lnTo>
                  <a:pt x="9" y="8"/>
                </a:lnTo>
                <a:lnTo>
                  <a:pt x="8" y="8"/>
                </a:lnTo>
                <a:lnTo>
                  <a:pt x="8" y="10"/>
                </a:lnTo>
                <a:lnTo>
                  <a:pt x="6" y="10"/>
                </a:lnTo>
                <a:lnTo>
                  <a:pt x="6" y="8"/>
                </a:lnTo>
                <a:lnTo>
                  <a:pt x="5" y="8"/>
                </a:lnTo>
                <a:lnTo>
                  <a:pt x="4" y="11"/>
                </a:lnTo>
                <a:lnTo>
                  <a:pt x="1" y="13"/>
                </a:lnTo>
                <a:lnTo>
                  <a:pt x="1" y="17"/>
                </a:lnTo>
                <a:lnTo>
                  <a:pt x="1" y="19"/>
                </a:lnTo>
                <a:lnTo>
                  <a:pt x="1" y="22"/>
                </a:lnTo>
                <a:lnTo>
                  <a:pt x="0" y="24"/>
                </a:lnTo>
                <a:lnTo>
                  <a:pt x="1" y="25"/>
                </a:lnTo>
                <a:lnTo>
                  <a:pt x="4" y="25"/>
                </a:lnTo>
                <a:lnTo>
                  <a:pt x="5" y="25"/>
                </a:lnTo>
                <a:lnTo>
                  <a:pt x="8" y="25"/>
                </a:lnTo>
                <a:lnTo>
                  <a:pt x="10" y="24"/>
                </a:lnTo>
                <a:lnTo>
                  <a:pt x="13" y="22"/>
                </a:lnTo>
                <a:lnTo>
                  <a:pt x="14" y="22"/>
                </a:lnTo>
                <a:lnTo>
                  <a:pt x="16" y="21"/>
                </a:lnTo>
                <a:lnTo>
                  <a:pt x="18" y="17"/>
                </a:lnTo>
                <a:lnTo>
                  <a:pt x="21" y="14"/>
                </a:lnTo>
                <a:lnTo>
                  <a:pt x="22" y="1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28" name="Freeform 327"/>
          <p:cNvSpPr>
            <a:spLocks/>
          </p:cNvSpPr>
          <p:nvPr/>
        </p:nvSpPr>
        <p:spPr bwMode="auto">
          <a:xfrm>
            <a:off x="9227114" y="4657810"/>
            <a:ext cx="46772" cy="49394"/>
          </a:xfrm>
          <a:custGeom>
            <a:avLst/>
            <a:gdLst/>
            <a:ahLst/>
            <a:cxnLst>
              <a:cxn ang="0">
                <a:pos x="22" y="10"/>
              </a:cxn>
              <a:cxn ang="0">
                <a:pos x="22" y="8"/>
              </a:cxn>
              <a:cxn ang="0">
                <a:pos x="21" y="8"/>
              </a:cxn>
              <a:cxn ang="0">
                <a:pos x="21" y="6"/>
              </a:cxn>
              <a:cxn ang="0">
                <a:pos x="20" y="5"/>
              </a:cxn>
              <a:cxn ang="0">
                <a:pos x="21" y="5"/>
              </a:cxn>
              <a:cxn ang="0">
                <a:pos x="22" y="5"/>
              </a:cxn>
              <a:cxn ang="0">
                <a:pos x="24" y="5"/>
              </a:cxn>
              <a:cxn ang="0">
                <a:pos x="24" y="3"/>
              </a:cxn>
              <a:cxn ang="0">
                <a:pos x="24" y="2"/>
              </a:cxn>
              <a:cxn ang="0">
                <a:pos x="22" y="2"/>
              </a:cxn>
              <a:cxn ang="0">
                <a:pos x="21" y="2"/>
              </a:cxn>
              <a:cxn ang="0">
                <a:pos x="21" y="3"/>
              </a:cxn>
              <a:cxn ang="0">
                <a:pos x="20" y="3"/>
              </a:cxn>
              <a:cxn ang="0">
                <a:pos x="20" y="2"/>
              </a:cxn>
              <a:cxn ang="0">
                <a:pos x="20" y="0"/>
              </a:cxn>
              <a:cxn ang="0">
                <a:pos x="18" y="3"/>
              </a:cxn>
              <a:cxn ang="0">
                <a:pos x="17" y="3"/>
              </a:cxn>
              <a:cxn ang="0">
                <a:pos x="16" y="3"/>
              </a:cxn>
              <a:cxn ang="0">
                <a:pos x="14" y="5"/>
              </a:cxn>
              <a:cxn ang="0">
                <a:pos x="13" y="5"/>
              </a:cxn>
              <a:cxn ang="0">
                <a:pos x="13" y="6"/>
              </a:cxn>
              <a:cxn ang="0">
                <a:pos x="12" y="6"/>
              </a:cxn>
              <a:cxn ang="0">
                <a:pos x="12" y="8"/>
              </a:cxn>
              <a:cxn ang="0">
                <a:pos x="10" y="8"/>
              </a:cxn>
              <a:cxn ang="0">
                <a:pos x="12" y="8"/>
              </a:cxn>
              <a:cxn ang="0">
                <a:pos x="12" y="10"/>
              </a:cxn>
              <a:cxn ang="0">
                <a:pos x="10" y="10"/>
              </a:cxn>
              <a:cxn ang="0">
                <a:pos x="10" y="11"/>
              </a:cxn>
              <a:cxn ang="0">
                <a:pos x="9" y="11"/>
              </a:cxn>
              <a:cxn ang="0">
                <a:pos x="9" y="10"/>
              </a:cxn>
              <a:cxn ang="0">
                <a:pos x="9" y="8"/>
              </a:cxn>
              <a:cxn ang="0">
                <a:pos x="8" y="8"/>
              </a:cxn>
              <a:cxn ang="0">
                <a:pos x="8" y="10"/>
              </a:cxn>
              <a:cxn ang="0">
                <a:pos x="6" y="10"/>
              </a:cxn>
              <a:cxn ang="0">
                <a:pos x="6" y="8"/>
              </a:cxn>
              <a:cxn ang="0">
                <a:pos x="5" y="8"/>
              </a:cxn>
              <a:cxn ang="0">
                <a:pos x="4" y="11"/>
              </a:cxn>
              <a:cxn ang="0">
                <a:pos x="1" y="13"/>
              </a:cxn>
              <a:cxn ang="0">
                <a:pos x="1" y="17"/>
              </a:cxn>
              <a:cxn ang="0">
                <a:pos x="1" y="19"/>
              </a:cxn>
              <a:cxn ang="0">
                <a:pos x="1" y="22"/>
              </a:cxn>
              <a:cxn ang="0">
                <a:pos x="0" y="24"/>
              </a:cxn>
              <a:cxn ang="0">
                <a:pos x="1" y="25"/>
              </a:cxn>
              <a:cxn ang="0">
                <a:pos x="4" y="25"/>
              </a:cxn>
              <a:cxn ang="0">
                <a:pos x="5" y="25"/>
              </a:cxn>
              <a:cxn ang="0">
                <a:pos x="8" y="25"/>
              </a:cxn>
              <a:cxn ang="0">
                <a:pos x="10" y="24"/>
              </a:cxn>
              <a:cxn ang="0">
                <a:pos x="13" y="22"/>
              </a:cxn>
              <a:cxn ang="0">
                <a:pos x="14" y="22"/>
              </a:cxn>
              <a:cxn ang="0">
                <a:pos x="16" y="21"/>
              </a:cxn>
              <a:cxn ang="0">
                <a:pos x="18" y="17"/>
              </a:cxn>
              <a:cxn ang="0">
                <a:pos x="21" y="14"/>
              </a:cxn>
              <a:cxn ang="0">
                <a:pos x="22" y="10"/>
              </a:cxn>
            </a:cxnLst>
            <a:rect l="0" t="0" r="r" b="b"/>
            <a:pathLst>
              <a:path w="24" h="25">
                <a:moveTo>
                  <a:pt x="22" y="10"/>
                </a:moveTo>
                <a:lnTo>
                  <a:pt x="22" y="8"/>
                </a:lnTo>
                <a:lnTo>
                  <a:pt x="21" y="8"/>
                </a:lnTo>
                <a:lnTo>
                  <a:pt x="21" y="6"/>
                </a:lnTo>
                <a:lnTo>
                  <a:pt x="20" y="5"/>
                </a:lnTo>
                <a:lnTo>
                  <a:pt x="21" y="5"/>
                </a:lnTo>
                <a:lnTo>
                  <a:pt x="22" y="5"/>
                </a:lnTo>
                <a:lnTo>
                  <a:pt x="24" y="5"/>
                </a:lnTo>
                <a:lnTo>
                  <a:pt x="24" y="3"/>
                </a:lnTo>
                <a:lnTo>
                  <a:pt x="24" y="2"/>
                </a:lnTo>
                <a:lnTo>
                  <a:pt x="22" y="2"/>
                </a:lnTo>
                <a:lnTo>
                  <a:pt x="21" y="2"/>
                </a:lnTo>
                <a:lnTo>
                  <a:pt x="21" y="3"/>
                </a:lnTo>
                <a:lnTo>
                  <a:pt x="20" y="3"/>
                </a:lnTo>
                <a:lnTo>
                  <a:pt x="20" y="2"/>
                </a:lnTo>
                <a:lnTo>
                  <a:pt x="20" y="0"/>
                </a:lnTo>
                <a:lnTo>
                  <a:pt x="18" y="3"/>
                </a:lnTo>
                <a:lnTo>
                  <a:pt x="17" y="3"/>
                </a:lnTo>
                <a:lnTo>
                  <a:pt x="16" y="3"/>
                </a:lnTo>
                <a:lnTo>
                  <a:pt x="14" y="5"/>
                </a:lnTo>
                <a:lnTo>
                  <a:pt x="13" y="5"/>
                </a:lnTo>
                <a:lnTo>
                  <a:pt x="13" y="6"/>
                </a:lnTo>
                <a:lnTo>
                  <a:pt x="12" y="6"/>
                </a:lnTo>
                <a:lnTo>
                  <a:pt x="12" y="8"/>
                </a:lnTo>
                <a:lnTo>
                  <a:pt x="10" y="8"/>
                </a:lnTo>
                <a:lnTo>
                  <a:pt x="12" y="8"/>
                </a:lnTo>
                <a:lnTo>
                  <a:pt x="12" y="10"/>
                </a:lnTo>
                <a:lnTo>
                  <a:pt x="10" y="10"/>
                </a:lnTo>
                <a:lnTo>
                  <a:pt x="10" y="11"/>
                </a:lnTo>
                <a:lnTo>
                  <a:pt x="9" y="11"/>
                </a:lnTo>
                <a:lnTo>
                  <a:pt x="9" y="10"/>
                </a:lnTo>
                <a:lnTo>
                  <a:pt x="9" y="8"/>
                </a:lnTo>
                <a:lnTo>
                  <a:pt x="8" y="8"/>
                </a:lnTo>
                <a:lnTo>
                  <a:pt x="8" y="10"/>
                </a:lnTo>
                <a:lnTo>
                  <a:pt x="6" y="10"/>
                </a:lnTo>
                <a:lnTo>
                  <a:pt x="6" y="8"/>
                </a:lnTo>
                <a:lnTo>
                  <a:pt x="5" y="8"/>
                </a:lnTo>
                <a:lnTo>
                  <a:pt x="4" y="11"/>
                </a:lnTo>
                <a:lnTo>
                  <a:pt x="1" y="13"/>
                </a:lnTo>
                <a:lnTo>
                  <a:pt x="1" y="17"/>
                </a:lnTo>
                <a:lnTo>
                  <a:pt x="1" y="19"/>
                </a:lnTo>
                <a:lnTo>
                  <a:pt x="1" y="22"/>
                </a:lnTo>
                <a:lnTo>
                  <a:pt x="0" y="24"/>
                </a:lnTo>
                <a:lnTo>
                  <a:pt x="1" y="25"/>
                </a:lnTo>
                <a:lnTo>
                  <a:pt x="4" y="25"/>
                </a:lnTo>
                <a:lnTo>
                  <a:pt x="5" y="25"/>
                </a:lnTo>
                <a:lnTo>
                  <a:pt x="8" y="25"/>
                </a:lnTo>
                <a:lnTo>
                  <a:pt x="10" y="24"/>
                </a:lnTo>
                <a:lnTo>
                  <a:pt x="13" y="22"/>
                </a:lnTo>
                <a:lnTo>
                  <a:pt x="14" y="22"/>
                </a:lnTo>
                <a:lnTo>
                  <a:pt x="16" y="21"/>
                </a:lnTo>
                <a:lnTo>
                  <a:pt x="18" y="17"/>
                </a:lnTo>
                <a:lnTo>
                  <a:pt x="21" y="14"/>
                </a:lnTo>
                <a:lnTo>
                  <a:pt x="22" y="1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29" name="Freeform 328"/>
          <p:cNvSpPr>
            <a:spLocks/>
          </p:cNvSpPr>
          <p:nvPr/>
        </p:nvSpPr>
        <p:spPr bwMode="auto">
          <a:xfrm>
            <a:off x="6146039" y="5121695"/>
            <a:ext cx="469663" cy="448849"/>
          </a:xfrm>
          <a:custGeom>
            <a:avLst/>
            <a:gdLst/>
            <a:ahLst/>
            <a:cxnLst>
              <a:cxn ang="0">
                <a:pos x="51" y="98"/>
              </a:cxn>
              <a:cxn ang="0">
                <a:pos x="43" y="119"/>
              </a:cxn>
              <a:cxn ang="0">
                <a:pos x="27" y="123"/>
              </a:cxn>
              <a:cxn ang="0">
                <a:pos x="16" y="116"/>
              </a:cxn>
              <a:cxn ang="0">
                <a:pos x="2" y="116"/>
              </a:cxn>
              <a:cxn ang="0">
                <a:pos x="2" y="123"/>
              </a:cxn>
              <a:cxn ang="0">
                <a:pos x="14" y="154"/>
              </a:cxn>
              <a:cxn ang="0">
                <a:pos x="24" y="173"/>
              </a:cxn>
              <a:cxn ang="0">
                <a:pos x="22" y="190"/>
              </a:cxn>
              <a:cxn ang="0">
                <a:pos x="23" y="196"/>
              </a:cxn>
              <a:cxn ang="0">
                <a:pos x="27" y="206"/>
              </a:cxn>
              <a:cxn ang="0">
                <a:pos x="28" y="214"/>
              </a:cxn>
              <a:cxn ang="0">
                <a:pos x="30" y="215"/>
              </a:cxn>
              <a:cxn ang="0">
                <a:pos x="35" y="218"/>
              </a:cxn>
              <a:cxn ang="0">
                <a:pos x="43" y="222"/>
              </a:cxn>
              <a:cxn ang="0">
                <a:pos x="49" y="226"/>
              </a:cxn>
              <a:cxn ang="0">
                <a:pos x="64" y="222"/>
              </a:cxn>
              <a:cxn ang="0">
                <a:pos x="73" y="220"/>
              </a:cxn>
              <a:cxn ang="0">
                <a:pos x="83" y="217"/>
              </a:cxn>
              <a:cxn ang="0">
                <a:pos x="93" y="214"/>
              </a:cxn>
              <a:cxn ang="0">
                <a:pos x="108" y="212"/>
              </a:cxn>
              <a:cxn ang="0">
                <a:pos x="128" y="214"/>
              </a:cxn>
              <a:cxn ang="0">
                <a:pos x="139" y="212"/>
              </a:cxn>
              <a:cxn ang="0">
                <a:pos x="145" y="207"/>
              </a:cxn>
              <a:cxn ang="0">
                <a:pos x="170" y="198"/>
              </a:cxn>
              <a:cxn ang="0">
                <a:pos x="189" y="181"/>
              </a:cxn>
              <a:cxn ang="0">
                <a:pos x="205" y="162"/>
              </a:cxn>
              <a:cxn ang="0">
                <a:pos x="220" y="138"/>
              </a:cxn>
              <a:cxn ang="0">
                <a:pos x="228" y="124"/>
              </a:cxn>
              <a:cxn ang="0">
                <a:pos x="240" y="113"/>
              </a:cxn>
              <a:cxn ang="0">
                <a:pos x="244" y="94"/>
              </a:cxn>
              <a:cxn ang="0">
                <a:pos x="245" y="83"/>
              </a:cxn>
              <a:cxn ang="0">
                <a:pos x="229" y="91"/>
              </a:cxn>
              <a:cxn ang="0">
                <a:pos x="216" y="80"/>
              </a:cxn>
              <a:cxn ang="0">
                <a:pos x="225" y="65"/>
              </a:cxn>
              <a:cxn ang="0">
                <a:pos x="229" y="25"/>
              </a:cxn>
              <a:cxn ang="0">
                <a:pos x="225" y="10"/>
              </a:cxn>
              <a:cxn ang="0">
                <a:pos x="209" y="3"/>
              </a:cxn>
              <a:cxn ang="0">
                <a:pos x="193" y="0"/>
              </a:cxn>
              <a:cxn ang="0">
                <a:pos x="176" y="11"/>
              </a:cxn>
              <a:cxn ang="0">
                <a:pos x="157" y="30"/>
              </a:cxn>
              <a:cxn ang="0">
                <a:pos x="137" y="60"/>
              </a:cxn>
              <a:cxn ang="0">
                <a:pos x="124" y="65"/>
              </a:cxn>
              <a:cxn ang="0">
                <a:pos x="107" y="58"/>
              </a:cxn>
              <a:cxn ang="0">
                <a:pos x="95" y="71"/>
              </a:cxn>
              <a:cxn ang="0">
                <a:pos x="85" y="82"/>
              </a:cxn>
              <a:cxn ang="0">
                <a:pos x="64" y="82"/>
              </a:cxn>
              <a:cxn ang="0">
                <a:pos x="65" y="68"/>
              </a:cxn>
              <a:cxn ang="0">
                <a:pos x="59" y="54"/>
              </a:cxn>
              <a:cxn ang="0">
                <a:pos x="51" y="47"/>
              </a:cxn>
            </a:cxnLst>
            <a:rect l="0" t="0" r="r" b="b"/>
            <a:pathLst>
              <a:path w="246" h="226">
                <a:moveTo>
                  <a:pt x="51" y="47"/>
                </a:moveTo>
                <a:lnTo>
                  <a:pt x="51" y="65"/>
                </a:lnTo>
                <a:lnTo>
                  <a:pt x="51" y="82"/>
                </a:lnTo>
                <a:lnTo>
                  <a:pt x="51" y="98"/>
                </a:lnTo>
                <a:lnTo>
                  <a:pt x="51" y="115"/>
                </a:lnTo>
                <a:lnTo>
                  <a:pt x="49" y="115"/>
                </a:lnTo>
                <a:lnTo>
                  <a:pt x="47" y="116"/>
                </a:lnTo>
                <a:lnTo>
                  <a:pt x="43" y="119"/>
                </a:lnTo>
                <a:lnTo>
                  <a:pt x="39" y="123"/>
                </a:lnTo>
                <a:lnTo>
                  <a:pt x="35" y="123"/>
                </a:lnTo>
                <a:lnTo>
                  <a:pt x="32" y="123"/>
                </a:lnTo>
                <a:lnTo>
                  <a:pt x="27" y="123"/>
                </a:lnTo>
                <a:lnTo>
                  <a:pt x="23" y="124"/>
                </a:lnTo>
                <a:lnTo>
                  <a:pt x="19" y="123"/>
                </a:lnTo>
                <a:lnTo>
                  <a:pt x="16" y="119"/>
                </a:lnTo>
                <a:lnTo>
                  <a:pt x="16" y="116"/>
                </a:lnTo>
                <a:lnTo>
                  <a:pt x="8" y="112"/>
                </a:lnTo>
                <a:lnTo>
                  <a:pt x="6" y="112"/>
                </a:lnTo>
                <a:lnTo>
                  <a:pt x="4" y="115"/>
                </a:lnTo>
                <a:lnTo>
                  <a:pt x="2" y="116"/>
                </a:lnTo>
                <a:lnTo>
                  <a:pt x="2" y="118"/>
                </a:lnTo>
                <a:lnTo>
                  <a:pt x="0" y="118"/>
                </a:lnTo>
                <a:lnTo>
                  <a:pt x="0" y="121"/>
                </a:lnTo>
                <a:lnTo>
                  <a:pt x="2" y="123"/>
                </a:lnTo>
                <a:lnTo>
                  <a:pt x="3" y="124"/>
                </a:lnTo>
                <a:lnTo>
                  <a:pt x="7" y="135"/>
                </a:lnTo>
                <a:lnTo>
                  <a:pt x="10" y="143"/>
                </a:lnTo>
                <a:lnTo>
                  <a:pt x="14" y="154"/>
                </a:lnTo>
                <a:lnTo>
                  <a:pt x="16" y="156"/>
                </a:lnTo>
                <a:lnTo>
                  <a:pt x="18" y="160"/>
                </a:lnTo>
                <a:lnTo>
                  <a:pt x="19" y="163"/>
                </a:lnTo>
                <a:lnTo>
                  <a:pt x="24" y="173"/>
                </a:lnTo>
                <a:lnTo>
                  <a:pt x="27" y="176"/>
                </a:lnTo>
                <a:lnTo>
                  <a:pt x="27" y="187"/>
                </a:lnTo>
                <a:lnTo>
                  <a:pt x="24" y="192"/>
                </a:lnTo>
                <a:lnTo>
                  <a:pt x="22" y="190"/>
                </a:lnTo>
                <a:lnTo>
                  <a:pt x="20" y="192"/>
                </a:lnTo>
                <a:lnTo>
                  <a:pt x="20" y="195"/>
                </a:lnTo>
                <a:lnTo>
                  <a:pt x="22" y="195"/>
                </a:lnTo>
                <a:lnTo>
                  <a:pt x="23" y="196"/>
                </a:lnTo>
                <a:lnTo>
                  <a:pt x="23" y="198"/>
                </a:lnTo>
                <a:lnTo>
                  <a:pt x="24" y="201"/>
                </a:lnTo>
                <a:lnTo>
                  <a:pt x="26" y="203"/>
                </a:lnTo>
                <a:lnTo>
                  <a:pt x="27" y="206"/>
                </a:lnTo>
                <a:lnTo>
                  <a:pt x="30" y="207"/>
                </a:lnTo>
                <a:lnTo>
                  <a:pt x="30" y="211"/>
                </a:lnTo>
                <a:lnTo>
                  <a:pt x="28" y="212"/>
                </a:lnTo>
                <a:lnTo>
                  <a:pt x="28" y="214"/>
                </a:lnTo>
                <a:lnTo>
                  <a:pt x="28" y="217"/>
                </a:lnTo>
                <a:lnTo>
                  <a:pt x="30" y="220"/>
                </a:lnTo>
                <a:lnTo>
                  <a:pt x="30" y="218"/>
                </a:lnTo>
                <a:lnTo>
                  <a:pt x="30" y="215"/>
                </a:lnTo>
                <a:lnTo>
                  <a:pt x="31" y="215"/>
                </a:lnTo>
                <a:lnTo>
                  <a:pt x="32" y="214"/>
                </a:lnTo>
                <a:lnTo>
                  <a:pt x="35" y="215"/>
                </a:lnTo>
                <a:lnTo>
                  <a:pt x="35" y="218"/>
                </a:lnTo>
                <a:lnTo>
                  <a:pt x="35" y="220"/>
                </a:lnTo>
                <a:lnTo>
                  <a:pt x="36" y="220"/>
                </a:lnTo>
                <a:lnTo>
                  <a:pt x="41" y="220"/>
                </a:lnTo>
                <a:lnTo>
                  <a:pt x="43" y="222"/>
                </a:lnTo>
                <a:lnTo>
                  <a:pt x="43" y="223"/>
                </a:lnTo>
                <a:lnTo>
                  <a:pt x="45" y="225"/>
                </a:lnTo>
                <a:lnTo>
                  <a:pt x="48" y="225"/>
                </a:lnTo>
                <a:lnTo>
                  <a:pt x="49" y="226"/>
                </a:lnTo>
                <a:lnTo>
                  <a:pt x="53" y="226"/>
                </a:lnTo>
                <a:lnTo>
                  <a:pt x="56" y="225"/>
                </a:lnTo>
                <a:lnTo>
                  <a:pt x="59" y="222"/>
                </a:lnTo>
                <a:lnTo>
                  <a:pt x="64" y="222"/>
                </a:lnTo>
                <a:lnTo>
                  <a:pt x="64" y="220"/>
                </a:lnTo>
                <a:lnTo>
                  <a:pt x="67" y="220"/>
                </a:lnTo>
                <a:lnTo>
                  <a:pt x="72" y="220"/>
                </a:lnTo>
                <a:lnTo>
                  <a:pt x="73" y="220"/>
                </a:lnTo>
                <a:lnTo>
                  <a:pt x="79" y="220"/>
                </a:lnTo>
                <a:lnTo>
                  <a:pt x="80" y="220"/>
                </a:lnTo>
                <a:lnTo>
                  <a:pt x="81" y="217"/>
                </a:lnTo>
                <a:lnTo>
                  <a:pt x="83" y="217"/>
                </a:lnTo>
                <a:lnTo>
                  <a:pt x="85" y="215"/>
                </a:lnTo>
                <a:lnTo>
                  <a:pt x="87" y="214"/>
                </a:lnTo>
                <a:lnTo>
                  <a:pt x="91" y="214"/>
                </a:lnTo>
                <a:lnTo>
                  <a:pt x="93" y="214"/>
                </a:lnTo>
                <a:lnTo>
                  <a:pt x="100" y="215"/>
                </a:lnTo>
                <a:lnTo>
                  <a:pt x="103" y="215"/>
                </a:lnTo>
                <a:lnTo>
                  <a:pt x="104" y="214"/>
                </a:lnTo>
                <a:lnTo>
                  <a:pt x="108" y="212"/>
                </a:lnTo>
                <a:lnTo>
                  <a:pt x="112" y="214"/>
                </a:lnTo>
                <a:lnTo>
                  <a:pt x="123" y="217"/>
                </a:lnTo>
                <a:lnTo>
                  <a:pt x="125" y="217"/>
                </a:lnTo>
                <a:lnTo>
                  <a:pt x="128" y="214"/>
                </a:lnTo>
                <a:lnTo>
                  <a:pt x="131" y="212"/>
                </a:lnTo>
                <a:lnTo>
                  <a:pt x="135" y="214"/>
                </a:lnTo>
                <a:lnTo>
                  <a:pt x="139" y="214"/>
                </a:lnTo>
                <a:lnTo>
                  <a:pt x="139" y="212"/>
                </a:lnTo>
                <a:lnTo>
                  <a:pt x="139" y="211"/>
                </a:lnTo>
                <a:lnTo>
                  <a:pt x="140" y="209"/>
                </a:lnTo>
                <a:lnTo>
                  <a:pt x="143" y="207"/>
                </a:lnTo>
                <a:lnTo>
                  <a:pt x="145" y="207"/>
                </a:lnTo>
                <a:lnTo>
                  <a:pt x="152" y="209"/>
                </a:lnTo>
                <a:lnTo>
                  <a:pt x="154" y="207"/>
                </a:lnTo>
                <a:lnTo>
                  <a:pt x="161" y="204"/>
                </a:lnTo>
                <a:lnTo>
                  <a:pt x="170" y="198"/>
                </a:lnTo>
                <a:lnTo>
                  <a:pt x="173" y="195"/>
                </a:lnTo>
                <a:lnTo>
                  <a:pt x="176" y="192"/>
                </a:lnTo>
                <a:lnTo>
                  <a:pt x="182" y="187"/>
                </a:lnTo>
                <a:lnTo>
                  <a:pt x="189" y="181"/>
                </a:lnTo>
                <a:lnTo>
                  <a:pt x="193" y="173"/>
                </a:lnTo>
                <a:lnTo>
                  <a:pt x="196" y="171"/>
                </a:lnTo>
                <a:lnTo>
                  <a:pt x="198" y="168"/>
                </a:lnTo>
                <a:lnTo>
                  <a:pt x="205" y="162"/>
                </a:lnTo>
                <a:lnTo>
                  <a:pt x="210" y="154"/>
                </a:lnTo>
                <a:lnTo>
                  <a:pt x="212" y="151"/>
                </a:lnTo>
                <a:lnTo>
                  <a:pt x="218" y="140"/>
                </a:lnTo>
                <a:lnTo>
                  <a:pt x="220" y="138"/>
                </a:lnTo>
                <a:lnTo>
                  <a:pt x="221" y="135"/>
                </a:lnTo>
                <a:lnTo>
                  <a:pt x="221" y="132"/>
                </a:lnTo>
                <a:lnTo>
                  <a:pt x="225" y="127"/>
                </a:lnTo>
                <a:lnTo>
                  <a:pt x="228" y="124"/>
                </a:lnTo>
                <a:lnTo>
                  <a:pt x="229" y="123"/>
                </a:lnTo>
                <a:lnTo>
                  <a:pt x="232" y="123"/>
                </a:lnTo>
                <a:lnTo>
                  <a:pt x="237" y="118"/>
                </a:lnTo>
                <a:lnTo>
                  <a:pt x="240" y="113"/>
                </a:lnTo>
                <a:lnTo>
                  <a:pt x="241" y="105"/>
                </a:lnTo>
                <a:lnTo>
                  <a:pt x="242" y="101"/>
                </a:lnTo>
                <a:lnTo>
                  <a:pt x="244" y="98"/>
                </a:lnTo>
                <a:lnTo>
                  <a:pt x="244" y="94"/>
                </a:lnTo>
                <a:lnTo>
                  <a:pt x="245" y="90"/>
                </a:lnTo>
                <a:lnTo>
                  <a:pt x="246" y="87"/>
                </a:lnTo>
                <a:lnTo>
                  <a:pt x="246" y="83"/>
                </a:lnTo>
                <a:lnTo>
                  <a:pt x="245" y="83"/>
                </a:lnTo>
                <a:lnTo>
                  <a:pt x="234" y="83"/>
                </a:lnTo>
                <a:lnTo>
                  <a:pt x="233" y="83"/>
                </a:lnTo>
                <a:lnTo>
                  <a:pt x="232" y="88"/>
                </a:lnTo>
                <a:lnTo>
                  <a:pt x="229" y="91"/>
                </a:lnTo>
                <a:lnTo>
                  <a:pt x="226" y="91"/>
                </a:lnTo>
                <a:lnTo>
                  <a:pt x="220" y="90"/>
                </a:lnTo>
                <a:lnTo>
                  <a:pt x="217" y="83"/>
                </a:lnTo>
                <a:lnTo>
                  <a:pt x="216" y="80"/>
                </a:lnTo>
                <a:lnTo>
                  <a:pt x="217" y="76"/>
                </a:lnTo>
                <a:lnTo>
                  <a:pt x="220" y="71"/>
                </a:lnTo>
                <a:lnTo>
                  <a:pt x="221" y="68"/>
                </a:lnTo>
                <a:lnTo>
                  <a:pt x="225" y="65"/>
                </a:lnTo>
                <a:lnTo>
                  <a:pt x="232" y="69"/>
                </a:lnTo>
                <a:lnTo>
                  <a:pt x="234" y="66"/>
                </a:lnTo>
                <a:lnTo>
                  <a:pt x="233" y="39"/>
                </a:lnTo>
                <a:lnTo>
                  <a:pt x="229" y="25"/>
                </a:lnTo>
                <a:lnTo>
                  <a:pt x="228" y="16"/>
                </a:lnTo>
                <a:lnTo>
                  <a:pt x="228" y="10"/>
                </a:lnTo>
                <a:lnTo>
                  <a:pt x="226" y="10"/>
                </a:lnTo>
                <a:lnTo>
                  <a:pt x="225" y="10"/>
                </a:lnTo>
                <a:lnTo>
                  <a:pt x="221" y="5"/>
                </a:lnTo>
                <a:lnTo>
                  <a:pt x="216" y="3"/>
                </a:lnTo>
                <a:lnTo>
                  <a:pt x="212" y="2"/>
                </a:lnTo>
                <a:lnTo>
                  <a:pt x="209" y="3"/>
                </a:lnTo>
                <a:lnTo>
                  <a:pt x="205" y="2"/>
                </a:lnTo>
                <a:lnTo>
                  <a:pt x="198" y="0"/>
                </a:lnTo>
                <a:lnTo>
                  <a:pt x="197" y="0"/>
                </a:lnTo>
                <a:lnTo>
                  <a:pt x="193" y="0"/>
                </a:lnTo>
                <a:lnTo>
                  <a:pt x="193" y="2"/>
                </a:lnTo>
                <a:lnTo>
                  <a:pt x="190" y="3"/>
                </a:lnTo>
                <a:lnTo>
                  <a:pt x="186" y="6"/>
                </a:lnTo>
                <a:lnTo>
                  <a:pt x="176" y="11"/>
                </a:lnTo>
                <a:lnTo>
                  <a:pt x="172" y="17"/>
                </a:lnTo>
                <a:lnTo>
                  <a:pt x="166" y="21"/>
                </a:lnTo>
                <a:lnTo>
                  <a:pt x="161" y="25"/>
                </a:lnTo>
                <a:lnTo>
                  <a:pt x="157" y="30"/>
                </a:lnTo>
                <a:lnTo>
                  <a:pt x="153" y="38"/>
                </a:lnTo>
                <a:lnTo>
                  <a:pt x="145" y="44"/>
                </a:lnTo>
                <a:lnTo>
                  <a:pt x="141" y="49"/>
                </a:lnTo>
                <a:lnTo>
                  <a:pt x="137" y="60"/>
                </a:lnTo>
                <a:lnTo>
                  <a:pt x="136" y="61"/>
                </a:lnTo>
                <a:lnTo>
                  <a:pt x="133" y="63"/>
                </a:lnTo>
                <a:lnTo>
                  <a:pt x="131" y="63"/>
                </a:lnTo>
                <a:lnTo>
                  <a:pt x="124" y="65"/>
                </a:lnTo>
                <a:lnTo>
                  <a:pt x="120" y="65"/>
                </a:lnTo>
                <a:lnTo>
                  <a:pt x="113" y="60"/>
                </a:lnTo>
                <a:lnTo>
                  <a:pt x="111" y="58"/>
                </a:lnTo>
                <a:lnTo>
                  <a:pt x="107" y="58"/>
                </a:lnTo>
                <a:lnTo>
                  <a:pt x="103" y="60"/>
                </a:lnTo>
                <a:lnTo>
                  <a:pt x="97" y="65"/>
                </a:lnTo>
                <a:lnTo>
                  <a:pt x="96" y="68"/>
                </a:lnTo>
                <a:lnTo>
                  <a:pt x="95" y="71"/>
                </a:lnTo>
                <a:lnTo>
                  <a:pt x="93" y="72"/>
                </a:lnTo>
                <a:lnTo>
                  <a:pt x="89" y="76"/>
                </a:lnTo>
                <a:lnTo>
                  <a:pt x="88" y="77"/>
                </a:lnTo>
                <a:lnTo>
                  <a:pt x="85" y="82"/>
                </a:lnTo>
                <a:lnTo>
                  <a:pt x="76" y="85"/>
                </a:lnTo>
                <a:lnTo>
                  <a:pt x="71" y="83"/>
                </a:lnTo>
                <a:lnTo>
                  <a:pt x="67" y="83"/>
                </a:lnTo>
                <a:lnTo>
                  <a:pt x="64" y="82"/>
                </a:lnTo>
                <a:lnTo>
                  <a:pt x="63" y="80"/>
                </a:lnTo>
                <a:lnTo>
                  <a:pt x="65" y="74"/>
                </a:lnTo>
                <a:lnTo>
                  <a:pt x="65" y="69"/>
                </a:lnTo>
                <a:lnTo>
                  <a:pt x="65" y="68"/>
                </a:lnTo>
                <a:lnTo>
                  <a:pt x="65" y="63"/>
                </a:lnTo>
                <a:lnTo>
                  <a:pt x="63" y="60"/>
                </a:lnTo>
                <a:lnTo>
                  <a:pt x="60" y="57"/>
                </a:lnTo>
                <a:lnTo>
                  <a:pt x="59" y="54"/>
                </a:lnTo>
                <a:lnTo>
                  <a:pt x="55" y="50"/>
                </a:lnTo>
                <a:lnTo>
                  <a:pt x="53" y="49"/>
                </a:lnTo>
                <a:lnTo>
                  <a:pt x="52" y="47"/>
                </a:lnTo>
                <a:lnTo>
                  <a:pt x="51" y="47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30" name="Freeform 329"/>
          <p:cNvSpPr>
            <a:spLocks/>
          </p:cNvSpPr>
          <p:nvPr/>
        </p:nvSpPr>
        <p:spPr bwMode="auto">
          <a:xfrm>
            <a:off x="6146039" y="5121695"/>
            <a:ext cx="469663" cy="448849"/>
          </a:xfrm>
          <a:custGeom>
            <a:avLst/>
            <a:gdLst/>
            <a:ahLst/>
            <a:cxnLst>
              <a:cxn ang="0">
                <a:pos x="51" y="98"/>
              </a:cxn>
              <a:cxn ang="0">
                <a:pos x="43" y="119"/>
              </a:cxn>
              <a:cxn ang="0">
                <a:pos x="27" y="123"/>
              </a:cxn>
              <a:cxn ang="0">
                <a:pos x="16" y="116"/>
              </a:cxn>
              <a:cxn ang="0">
                <a:pos x="2" y="116"/>
              </a:cxn>
              <a:cxn ang="0">
                <a:pos x="2" y="123"/>
              </a:cxn>
              <a:cxn ang="0">
                <a:pos x="14" y="154"/>
              </a:cxn>
              <a:cxn ang="0">
                <a:pos x="24" y="173"/>
              </a:cxn>
              <a:cxn ang="0">
                <a:pos x="22" y="190"/>
              </a:cxn>
              <a:cxn ang="0">
                <a:pos x="23" y="196"/>
              </a:cxn>
              <a:cxn ang="0">
                <a:pos x="27" y="206"/>
              </a:cxn>
              <a:cxn ang="0">
                <a:pos x="28" y="214"/>
              </a:cxn>
              <a:cxn ang="0">
                <a:pos x="30" y="215"/>
              </a:cxn>
              <a:cxn ang="0">
                <a:pos x="35" y="218"/>
              </a:cxn>
              <a:cxn ang="0">
                <a:pos x="43" y="222"/>
              </a:cxn>
              <a:cxn ang="0">
                <a:pos x="49" y="226"/>
              </a:cxn>
              <a:cxn ang="0">
                <a:pos x="64" y="222"/>
              </a:cxn>
              <a:cxn ang="0">
                <a:pos x="73" y="220"/>
              </a:cxn>
              <a:cxn ang="0">
                <a:pos x="83" y="217"/>
              </a:cxn>
              <a:cxn ang="0">
                <a:pos x="93" y="214"/>
              </a:cxn>
              <a:cxn ang="0">
                <a:pos x="108" y="212"/>
              </a:cxn>
              <a:cxn ang="0">
                <a:pos x="128" y="214"/>
              </a:cxn>
              <a:cxn ang="0">
                <a:pos x="139" y="212"/>
              </a:cxn>
              <a:cxn ang="0">
                <a:pos x="145" y="207"/>
              </a:cxn>
              <a:cxn ang="0">
                <a:pos x="170" y="198"/>
              </a:cxn>
              <a:cxn ang="0">
                <a:pos x="189" y="181"/>
              </a:cxn>
              <a:cxn ang="0">
                <a:pos x="205" y="162"/>
              </a:cxn>
              <a:cxn ang="0">
                <a:pos x="220" y="138"/>
              </a:cxn>
              <a:cxn ang="0">
                <a:pos x="228" y="124"/>
              </a:cxn>
              <a:cxn ang="0">
                <a:pos x="240" y="113"/>
              </a:cxn>
              <a:cxn ang="0">
                <a:pos x="244" y="94"/>
              </a:cxn>
              <a:cxn ang="0">
                <a:pos x="245" y="83"/>
              </a:cxn>
              <a:cxn ang="0">
                <a:pos x="229" y="91"/>
              </a:cxn>
              <a:cxn ang="0">
                <a:pos x="216" y="80"/>
              </a:cxn>
              <a:cxn ang="0">
                <a:pos x="225" y="65"/>
              </a:cxn>
              <a:cxn ang="0">
                <a:pos x="229" y="25"/>
              </a:cxn>
              <a:cxn ang="0">
                <a:pos x="225" y="10"/>
              </a:cxn>
              <a:cxn ang="0">
                <a:pos x="209" y="3"/>
              </a:cxn>
              <a:cxn ang="0">
                <a:pos x="193" y="0"/>
              </a:cxn>
              <a:cxn ang="0">
                <a:pos x="176" y="11"/>
              </a:cxn>
              <a:cxn ang="0">
                <a:pos x="157" y="30"/>
              </a:cxn>
              <a:cxn ang="0">
                <a:pos x="137" y="60"/>
              </a:cxn>
              <a:cxn ang="0">
                <a:pos x="124" y="65"/>
              </a:cxn>
              <a:cxn ang="0">
                <a:pos x="107" y="58"/>
              </a:cxn>
              <a:cxn ang="0">
                <a:pos x="95" y="71"/>
              </a:cxn>
              <a:cxn ang="0">
                <a:pos x="85" y="82"/>
              </a:cxn>
              <a:cxn ang="0">
                <a:pos x="64" y="82"/>
              </a:cxn>
              <a:cxn ang="0">
                <a:pos x="65" y="68"/>
              </a:cxn>
              <a:cxn ang="0">
                <a:pos x="59" y="54"/>
              </a:cxn>
            </a:cxnLst>
            <a:rect l="0" t="0" r="r" b="b"/>
            <a:pathLst>
              <a:path w="246" h="226">
                <a:moveTo>
                  <a:pt x="51" y="47"/>
                </a:moveTo>
                <a:lnTo>
                  <a:pt x="51" y="65"/>
                </a:lnTo>
                <a:lnTo>
                  <a:pt x="51" y="82"/>
                </a:lnTo>
                <a:lnTo>
                  <a:pt x="51" y="98"/>
                </a:lnTo>
                <a:lnTo>
                  <a:pt x="51" y="115"/>
                </a:lnTo>
                <a:lnTo>
                  <a:pt x="49" y="115"/>
                </a:lnTo>
                <a:lnTo>
                  <a:pt x="47" y="116"/>
                </a:lnTo>
                <a:lnTo>
                  <a:pt x="43" y="119"/>
                </a:lnTo>
                <a:lnTo>
                  <a:pt x="39" y="123"/>
                </a:lnTo>
                <a:lnTo>
                  <a:pt x="35" y="123"/>
                </a:lnTo>
                <a:lnTo>
                  <a:pt x="32" y="123"/>
                </a:lnTo>
                <a:lnTo>
                  <a:pt x="27" y="123"/>
                </a:lnTo>
                <a:lnTo>
                  <a:pt x="23" y="124"/>
                </a:lnTo>
                <a:lnTo>
                  <a:pt x="19" y="123"/>
                </a:lnTo>
                <a:lnTo>
                  <a:pt x="16" y="119"/>
                </a:lnTo>
                <a:lnTo>
                  <a:pt x="16" y="116"/>
                </a:lnTo>
                <a:lnTo>
                  <a:pt x="8" y="112"/>
                </a:lnTo>
                <a:lnTo>
                  <a:pt x="6" y="112"/>
                </a:lnTo>
                <a:lnTo>
                  <a:pt x="4" y="115"/>
                </a:lnTo>
                <a:lnTo>
                  <a:pt x="2" y="116"/>
                </a:lnTo>
                <a:lnTo>
                  <a:pt x="2" y="118"/>
                </a:lnTo>
                <a:lnTo>
                  <a:pt x="0" y="118"/>
                </a:lnTo>
                <a:lnTo>
                  <a:pt x="0" y="121"/>
                </a:lnTo>
                <a:lnTo>
                  <a:pt x="2" y="123"/>
                </a:lnTo>
                <a:lnTo>
                  <a:pt x="3" y="124"/>
                </a:lnTo>
                <a:lnTo>
                  <a:pt x="7" y="135"/>
                </a:lnTo>
                <a:lnTo>
                  <a:pt x="10" y="143"/>
                </a:lnTo>
                <a:lnTo>
                  <a:pt x="14" y="154"/>
                </a:lnTo>
                <a:lnTo>
                  <a:pt x="16" y="156"/>
                </a:lnTo>
                <a:lnTo>
                  <a:pt x="18" y="160"/>
                </a:lnTo>
                <a:lnTo>
                  <a:pt x="19" y="163"/>
                </a:lnTo>
                <a:lnTo>
                  <a:pt x="24" y="173"/>
                </a:lnTo>
                <a:lnTo>
                  <a:pt x="27" y="176"/>
                </a:lnTo>
                <a:lnTo>
                  <a:pt x="27" y="187"/>
                </a:lnTo>
                <a:lnTo>
                  <a:pt x="24" y="192"/>
                </a:lnTo>
                <a:lnTo>
                  <a:pt x="22" y="190"/>
                </a:lnTo>
                <a:lnTo>
                  <a:pt x="20" y="192"/>
                </a:lnTo>
                <a:lnTo>
                  <a:pt x="20" y="195"/>
                </a:lnTo>
                <a:lnTo>
                  <a:pt x="22" y="195"/>
                </a:lnTo>
                <a:lnTo>
                  <a:pt x="23" y="196"/>
                </a:lnTo>
                <a:lnTo>
                  <a:pt x="23" y="198"/>
                </a:lnTo>
                <a:lnTo>
                  <a:pt x="24" y="201"/>
                </a:lnTo>
                <a:lnTo>
                  <a:pt x="26" y="203"/>
                </a:lnTo>
                <a:lnTo>
                  <a:pt x="27" y="206"/>
                </a:lnTo>
                <a:lnTo>
                  <a:pt x="30" y="207"/>
                </a:lnTo>
                <a:lnTo>
                  <a:pt x="30" y="211"/>
                </a:lnTo>
                <a:lnTo>
                  <a:pt x="28" y="212"/>
                </a:lnTo>
                <a:lnTo>
                  <a:pt x="28" y="214"/>
                </a:lnTo>
                <a:lnTo>
                  <a:pt x="28" y="217"/>
                </a:lnTo>
                <a:lnTo>
                  <a:pt x="30" y="220"/>
                </a:lnTo>
                <a:lnTo>
                  <a:pt x="30" y="218"/>
                </a:lnTo>
                <a:lnTo>
                  <a:pt x="30" y="215"/>
                </a:lnTo>
                <a:lnTo>
                  <a:pt x="31" y="215"/>
                </a:lnTo>
                <a:lnTo>
                  <a:pt x="32" y="214"/>
                </a:lnTo>
                <a:lnTo>
                  <a:pt x="35" y="215"/>
                </a:lnTo>
                <a:lnTo>
                  <a:pt x="35" y="218"/>
                </a:lnTo>
                <a:lnTo>
                  <a:pt x="35" y="220"/>
                </a:lnTo>
                <a:lnTo>
                  <a:pt x="36" y="220"/>
                </a:lnTo>
                <a:lnTo>
                  <a:pt x="41" y="220"/>
                </a:lnTo>
                <a:lnTo>
                  <a:pt x="43" y="222"/>
                </a:lnTo>
                <a:lnTo>
                  <a:pt x="43" y="223"/>
                </a:lnTo>
                <a:lnTo>
                  <a:pt x="45" y="225"/>
                </a:lnTo>
                <a:lnTo>
                  <a:pt x="48" y="225"/>
                </a:lnTo>
                <a:lnTo>
                  <a:pt x="49" y="226"/>
                </a:lnTo>
                <a:lnTo>
                  <a:pt x="53" y="226"/>
                </a:lnTo>
                <a:lnTo>
                  <a:pt x="56" y="225"/>
                </a:lnTo>
                <a:lnTo>
                  <a:pt x="59" y="222"/>
                </a:lnTo>
                <a:lnTo>
                  <a:pt x="64" y="222"/>
                </a:lnTo>
                <a:lnTo>
                  <a:pt x="64" y="220"/>
                </a:lnTo>
                <a:lnTo>
                  <a:pt x="67" y="220"/>
                </a:lnTo>
                <a:lnTo>
                  <a:pt x="72" y="220"/>
                </a:lnTo>
                <a:lnTo>
                  <a:pt x="73" y="220"/>
                </a:lnTo>
                <a:lnTo>
                  <a:pt x="79" y="220"/>
                </a:lnTo>
                <a:lnTo>
                  <a:pt x="80" y="220"/>
                </a:lnTo>
                <a:lnTo>
                  <a:pt x="81" y="217"/>
                </a:lnTo>
                <a:lnTo>
                  <a:pt x="83" y="217"/>
                </a:lnTo>
                <a:lnTo>
                  <a:pt x="85" y="215"/>
                </a:lnTo>
                <a:lnTo>
                  <a:pt x="87" y="214"/>
                </a:lnTo>
                <a:lnTo>
                  <a:pt x="91" y="214"/>
                </a:lnTo>
                <a:lnTo>
                  <a:pt x="93" y="214"/>
                </a:lnTo>
                <a:lnTo>
                  <a:pt x="100" y="215"/>
                </a:lnTo>
                <a:lnTo>
                  <a:pt x="103" y="215"/>
                </a:lnTo>
                <a:lnTo>
                  <a:pt x="104" y="214"/>
                </a:lnTo>
                <a:lnTo>
                  <a:pt x="108" y="212"/>
                </a:lnTo>
                <a:lnTo>
                  <a:pt x="112" y="214"/>
                </a:lnTo>
                <a:lnTo>
                  <a:pt x="123" y="217"/>
                </a:lnTo>
                <a:lnTo>
                  <a:pt x="125" y="217"/>
                </a:lnTo>
                <a:lnTo>
                  <a:pt x="128" y="214"/>
                </a:lnTo>
                <a:lnTo>
                  <a:pt x="131" y="212"/>
                </a:lnTo>
                <a:lnTo>
                  <a:pt x="135" y="214"/>
                </a:lnTo>
                <a:lnTo>
                  <a:pt x="139" y="214"/>
                </a:lnTo>
                <a:lnTo>
                  <a:pt x="139" y="212"/>
                </a:lnTo>
                <a:lnTo>
                  <a:pt x="139" y="211"/>
                </a:lnTo>
                <a:lnTo>
                  <a:pt x="140" y="209"/>
                </a:lnTo>
                <a:lnTo>
                  <a:pt x="143" y="207"/>
                </a:lnTo>
                <a:lnTo>
                  <a:pt x="145" y="207"/>
                </a:lnTo>
                <a:lnTo>
                  <a:pt x="152" y="209"/>
                </a:lnTo>
                <a:lnTo>
                  <a:pt x="154" y="207"/>
                </a:lnTo>
                <a:lnTo>
                  <a:pt x="161" y="204"/>
                </a:lnTo>
                <a:lnTo>
                  <a:pt x="170" y="198"/>
                </a:lnTo>
                <a:lnTo>
                  <a:pt x="173" y="195"/>
                </a:lnTo>
                <a:lnTo>
                  <a:pt x="176" y="192"/>
                </a:lnTo>
                <a:lnTo>
                  <a:pt x="182" y="187"/>
                </a:lnTo>
                <a:lnTo>
                  <a:pt x="189" y="181"/>
                </a:lnTo>
                <a:lnTo>
                  <a:pt x="193" y="173"/>
                </a:lnTo>
                <a:lnTo>
                  <a:pt x="196" y="171"/>
                </a:lnTo>
                <a:lnTo>
                  <a:pt x="198" y="168"/>
                </a:lnTo>
                <a:lnTo>
                  <a:pt x="205" y="162"/>
                </a:lnTo>
                <a:lnTo>
                  <a:pt x="210" y="154"/>
                </a:lnTo>
                <a:lnTo>
                  <a:pt x="212" y="151"/>
                </a:lnTo>
                <a:lnTo>
                  <a:pt x="218" y="140"/>
                </a:lnTo>
                <a:lnTo>
                  <a:pt x="220" y="138"/>
                </a:lnTo>
                <a:lnTo>
                  <a:pt x="221" y="135"/>
                </a:lnTo>
                <a:lnTo>
                  <a:pt x="221" y="132"/>
                </a:lnTo>
                <a:lnTo>
                  <a:pt x="225" y="127"/>
                </a:lnTo>
                <a:lnTo>
                  <a:pt x="228" y="124"/>
                </a:lnTo>
                <a:lnTo>
                  <a:pt x="229" y="123"/>
                </a:lnTo>
                <a:lnTo>
                  <a:pt x="232" y="123"/>
                </a:lnTo>
                <a:lnTo>
                  <a:pt x="237" y="118"/>
                </a:lnTo>
                <a:lnTo>
                  <a:pt x="240" y="113"/>
                </a:lnTo>
                <a:lnTo>
                  <a:pt x="241" y="105"/>
                </a:lnTo>
                <a:lnTo>
                  <a:pt x="242" y="101"/>
                </a:lnTo>
                <a:lnTo>
                  <a:pt x="244" y="98"/>
                </a:lnTo>
                <a:lnTo>
                  <a:pt x="244" y="94"/>
                </a:lnTo>
                <a:lnTo>
                  <a:pt x="245" y="90"/>
                </a:lnTo>
                <a:lnTo>
                  <a:pt x="246" y="87"/>
                </a:lnTo>
                <a:lnTo>
                  <a:pt x="246" y="83"/>
                </a:lnTo>
                <a:lnTo>
                  <a:pt x="245" y="83"/>
                </a:lnTo>
                <a:lnTo>
                  <a:pt x="234" y="83"/>
                </a:lnTo>
                <a:lnTo>
                  <a:pt x="233" y="83"/>
                </a:lnTo>
                <a:lnTo>
                  <a:pt x="232" y="88"/>
                </a:lnTo>
                <a:lnTo>
                  <a:pt x="229" y="91"/>
                </a:lnTo>
                <a:lnTo>
                  <a:pt x="226" y="91"/>
                </a:lnTo>
                <a:lnTo>
                  <a:pt x="220" y="90"/>
                </a:lnTo>
                <a:lnTo>
                  <a:pt x="217" y="83"/>
                </a:lnTo>
                <a:lnTo>
                  <a:pt x="216" y="80"/>
                </a:lnTo>
                <a:lnTo>
                  <a:pt x="217" y="76"/>
                </a:lnTo>
                <a:lnTo>
                  <a:pt x="220" y="71"/>
                </a:lnTo>
                <a:lnTo>
                  <a:pt x="221" y="68"/>
                </a:lnTo>
                <a:lnTo>
                  <a:pt x="225" y="65"/>
                </a:lnTo>
                <a:lnTo>
                  <a:pt x="232" y="69"/>
                </a:lnTo>
                <a:lnTo>
                  <a:pt x="234" y="66"/>
                </a:lnTo>
                <a:lnTo>
                  <a:pt x="233" y="39"/>
                </a:lnTo>
                <a:lnTo>
                  <a:pt x="229" y="25"/>
                </a:lnTo>
                <a:lnTo>
                  <a:pt x="228" y="16"/>
                </a:lnTo>
                <a:lnTo>
                  <a:pt x="228" y="10"/>
                </a:lnTo>
                <a:lnTo>
                  <a:pt x="226" y="10"/>
                </a:lnTo>
                <a:lnTo>
                  <a:pt x="225" y="10"/>
                </a:lnTo>
                <a:lnTo>
                  <a:pt x="221" y="5"/>
                </a:lnTo>
                <a:lnTo>
                  <a:pt x="216" y="3"/>
                </a:lnTo>
                <a:lnTo>
                  <a:pt x="212" y="2"/>
                </a:lnTo>
                <a:lnTo>
                  <a:pt x="209" y="3"/>
                </a:lnTo>
                <a:lnTo>
                  <a:pt x="205" y="2"/>
                </a:lnTo>
                <a:lnTo>
                  <a:pt x="198" y="0"/>
                </a:lnTo>
                <a:lnTo>
                  <a:pt x="197" y="0"/>
                </a:lnTo>
                <a:lnTo>
                  <a:pt x="193" y="0"/>
                </a:lnTo>
                <a:lnTo>
                  <a:pt x="193" y="2"/>
                </a:lnTo>
                <a:lnTo>
                  <a:pt x="190" y="3"/>
                </a:lnTo>
                <a:lnTo>
                  <a:pt x="186" y="6"/>
                </a:lnTo>
                <a:lnTo>
                  <a:pt x="176" y="11"/>
                </a:lnTo>
                <a:lnTo>
                  <a:pt x="172" y="17"/>
                </a:lnTo>
                <a:lnTo>
                  <a:pt x="166" y="21"/>
                </a:lnTo>
                <a:lnTo>
                  <a:pt x="161" y="25"/>
                </a:lnTo>
                <a:lnTo>
                  <a:pt x="157" y="30"/>
                </a:lnTo>
                <a:lnTo>
                  <a:pt x="153" y="38"/>
                </a:lnTo>
                <a:lnTo>
                  <a:pt x="145" y="44"/>
                </a:lnTo>
                <a:lnTo>
                  <a:pt x="141" y="49"/>
                </a:lnTo>
                <a:lnTo>
                  <a:pt x="137" y="60"/>
                </a:lnTo>
                <a:lnTo>
                  <a:pt x="136" y="61"/>
                </a:lnTo>
                <a:lnTo>
                  <a:pt x="133" y="63"/>
                </a:lnTo>
                <a:lnTo>
                  <a:pt x="131" y="63"/>
                </a:lnTo>
                <a:lnTo>
                  <a:pt x="124" y="65"/>
                </a:lnTo>
                <a:lnTo>
                  <a:pt x="120" y="65"/>
                </a:lnTo>
                <a:lnTo>
                  <a:pt x="113" y="60"/>
                </a:lnTo>
                <a:lnTo>
                  <a:pt x="111" y="58"/>
                </a:lnTo>
                <a:lnTo>
                  <a:pt x="107" y="58"/>
                </a:lnTo>
                <a:lnTo>
                  <a:pt x="103" y="60"/>
                </a:lnTo>
                <a:lnTo>
                  <a:pt x="97" y="65"/>
                </a:lnTo>
                <a:lnTo>
                  <a:pt x="96" y="68"/>
                </a:lnTo>
                <a:lnTo>
                  <a:pt x="95" y="71"/>
                </a:lnTo>
                <a:lnTo>
                  <a:pt x="93" y="72"/>
                </a:lnTo>
                <a:lnTo>
                  <a:pt x="89" y="76"/>
                </a:lnTo>
                <a:lnTo>
                  <a:pt x="88" y="77"/>
                </a:lnTo>
                <a:lnTo>
                  <a:pt x="85" y="82"/>
                </a:lnTo>
                <a:lnTo>
                  <a:pt x="76" y="85"/>
                </a:lnTo>
                <a:lnTo>
                  <a:pt x="71" y="83"/>
                </a:lnTo>
                <a:lnTo>
                  <a:pt x="67" y="83"/>
                </a:lnTo>
                <a:lnTo>
                  <a:pt x="64" y="82"/>
                </a:lnTo>
                <a:lnTo>
                  <a:pt x="63" y="80"/>
                </a:lnTo>
                <a:lnTo>
                  <a:pt x="65" y="74"/>
                </a:lnTo>
                <a:lnTo>
                  <a:pt x="65" y="69"/>
                </a:lnTo>
                <a:lnTo>
                  <a:pt x="65" y="68"/>
                </a:lnTo>
                <a:lnTo>
                  <a:pt x="65" y="63"/>
                </a:lnTo>
                <a:lnTo>
                  <a:pt x="63" y="60"/>
                </a:lnTo>
                <a:lnTo>
                  <a:pt x="60" y="57"/>
                </a:lnTo>
                <a:lnTo>
                  <a:pt x="59" y="54"/>
                </a:lnTo>
                <a:lnTo>
                  <a:pt x="55" y="5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31" name="Freeform 330"/>
          <p:cNvSpPr>
            <a:spLocks/>
          </p:cNvSpPr>
          <p:nvPr/>
        </p:nvSpPr>
        <p:spPr bwMode="auto">
          <a:xfrm>
            <a:off x="6243479" y="5216189"/>
            <a:ext cx="9744" cy="6443"/>
          </a:xfrm>
          <a:custGeom>
            <a:avLst/>
            <a:gdLst/>
            <a:ahLst/>
            <a:cxnLst>
              <a:cxn ang="0">
                <a:pos x="4" y="3"/>
              </a:cxn>
              <a:cxn ang="0">
                <a:pos x="2" y="2"/>
              </a:cxn>
              <a:cxn ang="0">
                <a:pos x="1" y="0"/>
              </a:cxn>
              <a:cxn ang="0">
                <a:pos x="0" y="0"/>
              </a:cxn>
            </a:cxnLst>
            <a:rect l="0" t="0" r="r" b="b"/>
            <a:pathLst>
              <a:path w="4" h="3">
                <a:moveTo>
                  <a:pt x="4" y="3"/>
                </a:moveTo>
                <a:lnTo>
                  <a:pt x="2" y="2"/>
                </a:lnTo>
                <a:lnTo>
                  <a:pt x="1" y="0"/>
                </a:lnTo>
                <a:lnTo>
                  <a:pt x="0" y="0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32" name="Freeform 331"/>
          <p:cNvSpPr>
            <a:spLocks/>
          </p:cNvSpPr>
          <p:nvPr/>
        </p:nvSpPr>
        <p:spPr bwMode="auto">
          <a:xfrm>
            <a:off x="3686634" y="3906149"/>
            <a:ext cx="7795" cy="10737"/>
          </a:xfrm>
          <a:custGeom>
            <a:avLst/>
            <a:gdLst/>
            <a:ahLst/>
            <a:cxnLst>
              <a:cxn ang="0">
                <a:pos x="1" y="3"/>
              </a:cxn>
              <a:cxn ang="0">
                <a:pos x="0" y="0"/>
              </a:cxn>
              <a:cxn ang="0">
                <a:pos x="0" y="2"/>
              </a:cxn>
              <a:cxn ang="0">
                <a:pos x="0" y="3"/>
              </a:cxn>
              <a:cxn ang="0">
                <a:pos x="1" y="5"/>
              </a:cxn>
              <a:cxn ang="0">
                <a:pos x="5" y="6"/>
              </a:cxn>
              <a:cxn ang="0">
                <a:pos x="3" y="5"/>
              </a:cxn>
              <a:cxn ang="0">
                <a:pos x="1" y="3"/>
              </a:cxn>
            </a:cxnLst>
            <a:rect l="0" t="0" r="r" b="b"/>
            <a:pathLst>
              <a:path w="5" h="6">
                <a:moveTo>
                  <a:pt x="1" y="3"/>
                </a:moveTo>
                <a:lnTo>
                  <a:pt x="0" y="0"/>
                </a:lnTo>
                <a:lnTo>
                  <a:pt x="0" y="2"/>
                </a:lnTo>
                <a:lnTo>
                  <a:pt x="0" y="3"/>
                </a:lnTo>
                <a:lnTo>
                  <a:pt x="1" y="5"/>
                </a:lnTo>
                <a:lnTo>
                  <a:pt x="5" y="6"/>
                </a:lnTo>
                <a:lnTo>
                  <a:pt x="3" y="5"/>
                </a:lnTo>
                <a:lnTo>
                  <a:pt x="1" y="3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33" name="Freeform 332"/>
          <p:cNvSpPr>
            <a:spLocks/>
          </p:cNvSpPr>
          <p:nvPr/>
        </p:nvSpPr>
        <p:spPr bwMode="auto">
          <a:xfrm>
            <a:off x="3686634" y="3906149"/>
            <a:ext cx="7795" cy="10737"/>
          </a:xfrm>
          <a:custGeom>
            <a:avLst/>
            <a:gdLst/>
            <a:ahLst/>
            <a:cxnLst>
              <a:cxn ang="0">
                <a:pos x="1" y="3"/>
              </a:cxn>
              <a:cxn ang="0">
                <a:pos x="0" y="0"/>
              </a:cxn>
              <a:cxn ang="0">
                <a:pos x="0" y="2"/>
              </a:cxn>
              <a:cxn ang="0">
                <a:pos x="0" y="3"/>
              </a:cxn>
              <a:cxn ang="0">
                <a:pos x="1" y="5"/>
              </a:cxn>
              <a:cxn ang="0">
                <a:pos x="5" y="6"/>
              </a:cxn>
              <a:cxn ang="0">
                <a:pos x="3" y="5"/>
              </a:cxn>
              <a:cxn ang="0">
                <a:pos x="1" y="3"/>
              </a:cxn>
            </a:cxnLst>
            <a:rect l="0" t="0" r="r" b="b"/>
            <a:pathLst>
              <a:path w="5" h="6">
                <a:moveTo>
                  <a:pt x="1" y="3"/>
                </a:moveTo>
                <a:lnTo>
                  <a:pt x="0" y="0"/>
                </a:lnTo>
                <a:lnTo>
                  <a:pt x="0" y="2"/>
                </a:lnTo>
                <a:lnTo>
                  <a:pt x="0" y="3"/>
                </a:lnTo>
                <a:lnTo>
                  <a:pt x="1" y="5"/>
                </a:lnTo>
                <a:lnTo>
                  <a:pt x="5" y="6"/>
                </a:lnTo>
                <a:lnTo>
                  <a:pt x="3" y="5"/>
                </a:lnTo>
                <a:lnTo>
                  <a:pt x="1" y="3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34" name="Freeform 333"/>
          <p:cNvSpPr>
            <a:spLocks/>
          </p:cNvSpPr>
          <p:nvPr/>
        </p:nvSpPr>
        <p:spPr bwMode="auto">
          <a:xfrm>
            <a:off x="3708071" y="3908294"/>
            <a:ext cx="1949" cy="8591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0" y="0"/>
              </a:cxn>
              <a:cxn ang="0">
                <a:pos x="0" y="1"/>
              </a:cxn>
              <a:cxn ang="0">
                <a:pos x="1" y="3"/>
              </a:cxn>
              <a:cxn ang="0">
                <a:pos x="2" y="4"/>
              </a:cxn>
              <a:cxn ang="0">
                <a:pos x="2" y="3"/>
              </a:cxn>
              <a:cxn ang="0">
                <a:pos x="2" y="1"/>
              </a:cxn>
              <a:cxn ang="0">
                <a:pos x="0" y="1"/>
              </a:cxn>
            </a:cxnLst>
            <a:rect l="0" t="0" r="r" b="b"/>
            <a:pathLst>
              <a:path w="2" h="4">
                <a:moveTo>
                  <a:pt x="0" y="1"/>
                </a:moveTo>
                <a:lnTo>
                  <a:pt x="0" y="0"/>
                </a:lnTo>
                <a:lnTo>
                  <a:pt x="0" y="1"/>
                </a:lnTo>
                <a:lnTo>
                  <a:pt x="1" y="3"/>
                </a:lnTo>
                <a:lnTo>
                  <a:pt x="2" y="4"/>
                </a:lnTo>
                <a:lnTo>
                  <a:pt x="2" y="3"/>
                </a:lnTo>
                <a:lnTo>
                  <a:pt x="2" y="1"/>
                </a:lnTo>
                <a:lnTo>
                  <a:pt x="0" y="1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35" name="Freeform 334"/>
          <p:cNvSpPr>
            <a:spLocks/>
          </p:cNvSpPr>
          <p:nvPr/>
        </p:nvSpPr>
        <p:spPr bwMode="auto">
          <a:xfrm>
            <a:off x="3708071" y="3908294"/>
            <a:ext cx="1949" cy="8591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0" y="0"/>
              </a:cxn>
              <a:cxn ang="0">
                <a:pos x="0" y="1"/>
              </a:cxn>
              <a:cxn ang="0">
                <a:pos x="1" y="3"/>
              </a:cxn>
              <a:cxn ang="0">
                <a:pos x="2" y="4"/>
              </a:cxn>
              <a:cxn ang="0">
                <a:pos x="2" y="3"/>
              </a:cxn>
              <a:cxn ang="0">
                <a:pos x="2" y="1"/>
              </a:cxn>
              <a:cxn ang="0">
                <a:pos x="0" y="1"/>
              </a:cxn>
            </a:cxnLst>
            <a:rect l="0" t="0" r="r" b="b"/>
            <a:pathLst>
              <a:path w="2" h="4">
                <a:moveTo>
                  <a:pt x="0" y="1"/>
                </a:moveTo>
                <a:lnTo>
                  <a:pt x="0" y="0"/>
                </a:lnTo>
                <a:lnTo>
                  <a:pt x="0" y="1"/>
                </a:lnTo>
                <a:lnTo>
                  <a:pt x="1" y="3"/>
                </a:lnTo>
                <a:lnTo>
                  <a:pt x="2" y="4"/>
                </a:lnTo>
                <a:lnTo>
                  <a:pt x="2" y="3"/>
                </a:lnTo>
                <a:lnTo>
                  <a:pt x="2" y="1"/>
                </a:lnTo>
                <a:lnTo>
                  <a:pt x="0" y="1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36" name="Freeform 335"/>
          <p:cNvSpPr>
            <a:spLocks/>
          </p:cNvSpPr>
          <p:nvPr/>
        </p:nvSpPr>
        <p:spPr bwMode="auto">
          <a:xfrm>
            <a:off x="3924389" y="3946953"/>
            <a:ext cx="7795" cy="4295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3" y="0"/>
              </a:cxn>
              <a:cxn ang="0">
                <a:pos x="0" y="1"/>
              </a:cxn>
              <a:cxn ang="0">
                <a:pos x="1" y="3"/>
              </a:cxn>
              <a:cxn ang="0">
                <a:pos x="4" y="1"/>
              </a:cxn>
              <a:cxn ang="0">
                <a:pos x="4" y="0"/>
              </a:cxn>
            </a:cxnLst>
            <a:rect l="0" t="0" r="r" b="b"/>
            <a:pathLst>
              <a:path w="4" h="3">
                <a:moveTo>
                  <a:pt x="4" y="0"/>
                </a:moveTo>
                <a:lnTo>
                  <a:pt x="3" y="0"/>
                </a:lnTo>
                <a:lnTo>
                  <a:pt x="0" y="1"/>
                </a:lnTo>
                <a:lnTo>
                  <a:pt x="1" y="3"/>
                </a:lnTo>
                <a:lnTo>
                  <a:pt x="4" y="1"/>
                </a:lnTo>
                <a:lnTo>
                  <a:pt x="4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37" name="Freeform 336"/>
          <p:cNvSpPr>
            <a:spLocks/>
          </p:cNvSpPr>
          <p:nvPr/>
        </p:nvSpPr>
        <p:spPr bwMode="auto">
          <a:xfrm>
            <a:off x="3924389" y="3946953"/>
            <a:ext cx="7795" cy="4295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3" y="0"/>
              </a:cxn>
              <a:cxn ang="0">
                <a:pos x="0" y="1"/>
              </a:cxn>
              <a:cxn ang="0">
                <a:pos x="1" y="3"/>
              </a:cxn>
              <a:cxn ang="0">
                <a:pos x="4" y="1"/>
              </a:cxn>
              <a:cxn ang="0">
                <a:pos x="4" y="0"/>
              </a:cxn>
            </a:cxnLst>
            <a:rect l="0" t="0" r="r" b="b"/>
            <a:pathLst>
              <a:path w="4" h="3">
                <a:moveTo>
                  <a:pt x="4" y="0"/>
                </a:moveTo>
                <a:lnTo>
                  <a:pt x="3" y="0"/>
                </a:lnTo>
                <a:lnTo>
                  <a:pt x="0" y="1"/>
                </a:lnTo>
                <a:lnTo>
                  <a:pt x="1" y="3"/>
                </a:lnTo>
                <a:lnTo>
                  <a:pt x="4" y="1"/>
                </a:lnTo>
                <a:lnTo>
                  <a:pt x="4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38" name="Freeform 337"/>
          <p:cNvSpPr>
            <a:spLocks/>
          </p:cNvSpPr>
          <p:nvPr/>
        </p:nvSpPr>
        <p:spPr bwMode="auto">
          <a:xfrm>
            <a:off x="3893209" y="3964133"/>
            <a:ext cx="27284" cy="27920"/>
          </a:xfrm>
          <a:custGeom>
            <a:avLst/>
            <a:gdLst/>
            <a:ahLst/>
            <a:cxnLst>
              <a:cxn ang="0">
                <a:pos x="13" y="0"/>
              </a:cxn>
              <a:cxn ang="0">
                <a:pos x="13" y="2"/>
              </a:cxn>
              <a:cxn ang="0">
                <a:pos x="12" y="5"/>
              </a:cxn>
              <a:cxn ang="0">
                <a:pos x="13" y="8"/>
              </a:cxn>
              <a:cxn ang="0">
                <a:pos x="13" y="11"/>
              </a:cxn>
              <a:cxn ang="0">
                <a:pos x="11" y="13"/>
              </a:cxn>
              <a:cxn ang="0">
                <a:pos x="8" y="13"/>
              </a:cxn>
              <a:cxn ang="0">
                <a:pos x="0" y="13"/>
              </a:cxn>
              <a:cxn ang="0">
                <a:pos x="5" y="9"/>
              </a:cxn>
              <a:cxn ang="0">
                <a:pos x="5" y="8"/>
              </a:cxn>
              <a:cxn ang="0">
                <a:pos x="7" y="5"/>
              </a:cxn>
              <a:cxn ang="0">
                <a:pos x="5" y="3"/>
              </a:cxn>
              <a:cxn ang="0">
                <a:pos x="4" y="3"/>
              </a:cxn>
              <a:cxn ang="0">
                <a:pos x="3" y="2"/>
              </a:cxn>
              <a:cxn ang="0">
                <a:pos x="4" y="2"/>
              </a:cxn>
              <a:cxn ang="0">
                <a:pos x="5" y="0"/>
              </a:cxn>
              <a:cxn ang="0">
                <a:pos x="9" y="0"/>
              </a:cxn>
              <a:cxn ang="0">
                <a:pos x="13" y="0"/>
              </a:cxn>
            </a:cxnLst>
            <a:rect l="0" t="0" r="r" b="b"/>
            <a:pathLst>
              <a:path w="13" h="13">
                <a:moveTo>
                  <a:pt x="13" y="0"/>
                </a:moveTo>
                <a:lnTo>
                  <a:pt x="13" y="2"/>
                </a:lnTo>
                <a:lnTo>
                  <a:pt x="12" y="5"/>
                </a:lnTo>
                <a:lnTo>
                  <a:pt x="13" y="8"/>
                </a:lnTo>
                <a:lnTo>
                  <a:pt x="13" y="11"/>
                </a:lnTo>
                <a:lnTo>
                  <a:pt x="11" y="13"/>
                </a:lnTo>
                <a:lnTo>
                  <a:pt x="8" y="13"/>
                </a:lnTo>
                <a:lnTo>
                  <a:pt x="0" y="13"/>
                </a:lnTo>
                <a:lnTo>
                  <a:pt x="5" y="9"/>
                </a:lnTo>
                <a:lnTo>
                  <a:pt x="5" y="8"/>
                </a:lnTo>
                <a:lnTo>
                  <a:pt x="7" y="5"/>
                </a:lnTo>
                <a:lnTo>
                  <a:pt x="5" y="3"/>
                </a:lnTo>
                <a:lnTo>
                  <a:pt x="4" y="3"/>
                </a:lnTo>
                <a:lnTo>
                  <a:pt x="3" y="2"/>
                </a:lnTo>
                <a:lnTo>
                  <a:pt x="4" y="2"/>
                </a:lnTo>
                <a:lnTo>
                  <a:pt x="5" y="0"/>
                </a:lnTo>
                <a:lnTo>
                  <a:pt x="9" y="0"/>
                </a:lnTo>
                <a:lnTo>
                  <a:pt x="13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39" name="Freeform 338"/>
          <p:cNvSpPr>
            <a:spLocks/>
          </p:cNvSpPr>
          <p:nvPr/>
        </p:nvSpPr>
        <p:spPr bwMode="auto">
          <a:xfrm>
            <a:off x="3893209" y="3964133"/>
            <a:ext cx="27284" cy="27920"/>
          </a:xfrm>
          <a:custGeom>
            <a:avLst/>
            <a:gdLst/>
            <a:ahLst/>
            <a:cxnLst>
              <a:cxn ang="0">
                <a:pos x="13" y="0"/>
              </a:cxn>
              <a:cxn ang="0">
                <a:pos x="13" y="2"/>
              </a:cxn>
              <a:cxn ang="0">
                <a:pos x="12" y="5"/>
              </a:cxn>
              <a:cxn ang="0">
                <a:pos x="13" y="8"/>
              </a:cxn>
              <a:cxn ang="0">
                <a:pos x="13" y="11"/>
              </a:cxn>
              <a:cxn ang="0">
                <a:pos x="11" y="13"/>
              </a:cxn>
              <a:cxn ang="0">
                <a:pos x="8" y="13"/>
              </a:cxn>
              <a:cxn ang="0">
                <a:pos x="0" y="13"/>
              </a:cxn>
              <a:cxn ang="0">
                <a:pos x="5" y="9"/>
              </a:cxn>
              <a:cxn ang="0">
                <a:pos x="5" y="8"/>
              </a:cxn>
              <a:cxn ang="0">
                <a:pos x="7" y="5"/>
              </a:cxn>
              <a:cxn ang="0">
                <a:pos x="5" y="3"/>
              </a:cxn>
              <a:cxn ang="0">
                <a:pos x="4" y="3"/>
              </a:cxn>
              <a:cxn ang="0">
                <a:pos x="3" y="2"/>
              </a:cxn>
              <a:cxn ang="0">
                <a:pos x="4" y="2"/>
              </a:cxn>
              <a:cxn ang="0">
                <a:pos x="5" y="0"/>
              </a:cxn>
              <a:cxn ang="0">
                <a:pos x="9" y="0"/>
              </a:cxn>
              <a:cxn ang="0">
                <a:pos x="13" y="0"/>
              </a:cxn>
            </a:cxnLst>
            <a:rect l="0" t="0" r="r" b="b"/>
            <a:pathLst>
              <a:path w="13" h="13">
                <a:moveTo>
                  <a:pt x="13" y="0"/>
                </a:moveTo>
                <a:lnTo>
                  <a:pt x="13" y="2"/>
                </a:lnTo>
                <a:lnTo>
                  <a:pt x="12" y="5"/>
                </a:lnTo>
                <a:lnTo>
                  <a:pt x="13" y="8"/>
                </a:lnTo>
                <a:lnTo>
                  <a:pt x="13" y="11"/>
                </a:lnTo>
                <a:lnTo>
                  <a:pt x="11" y="13"/>
                </a:lnTo>
                <a:lnTo>
                  <a:pt x="8" y="13"/>
                </a:lnTo>
                <a:lnTo>
                  <a:pt x="0" y="13"/>
                </a:lnTo>
                <a:lnTo>
                  <a:pt x="5" y="9"/>
                </a:lnTo>
                <a:lnTo>
                  <a:pt x="5" y="8"/>
                </a:lnTo>
                <a:lnTo>
                  <a:pt x="7" y="5"/>
                </a:lnTo>
                <a:lnTo>
                  <a:pt x="5" y="3"/>
                </a:lnTo>
                <a:lnTo>
                  <a:pt x="4" y="3"/>
                </a:lnTo>
                <a:lnTo>
                  <a:pt x="3" y="2"/>
                </a:lnTo>
                <a:lnTo>
                  <a:pt x="4" y="2"/>
                </a:lnTo>
                <a:lnTo>
                  <a:pt x="5" y="0"/>
                </a:lnTo>
                <a:lnTo>
                  <a:pt x="9" y="0"/>
                </a:lnTo>
                <a:lnTo>
                  <a:pt x="13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40" name="Freeform 339"/>
          <p:cNvSpPr>
            <a:spLocks/>
          </p:cNvSpPr>
          <p:nvPr/>
        </p:nvSpPr>
        <p:spPr bwMode="auto">
          <a:xfrm>
            <a:off x="4226455" y="4329227"/>
            <a:ext cx="15591" cy="15033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3"/>
              </a:cxn>
              <a:cxn ang="0">
                <a:pos x="0" y="4"/>
              </a:cxn>
              <a:cxn ang="0">
                <a:pos x="2" y="6"/>
              </a:cxn>
              <a:cxn ang="0">
                <a:pos x="4" y="8"/>
              </a:cxn>
              <a:cxn ang="0">
                <a:pos x="6" y="8"/>
              </a:cxn>
              <a:cxn ang="0">
                <a:pos x="8" y="8"/>
              </a:cxn>
              <a:cxn ang="0">
                <a:pos x="8" y="6"/>
              </a:cxn>
              <a:cxn ang="0">
                <a:pos x="7" y="4"/>
              </a:cxn>
              <a:cxn ang="0">
                <a:pos x="4" y="3"/>
              </a:cxn>
              <a:cxn ang="0">
                <a:pos x="3" y="1"/>
              </a:cxn>
              <a:cxn ang="0">
                <a:pos x="2" y="0"/>
              </a:cxn>
            </a:cxnLst>
            <a:rect l="0" t="0" r="r" b="b"/>
            <a:pathLst>
              <a:path w="8" h="8">
                <a:moveTo>
                  <a:pt x="2" y="0"/>
                </a:moveTo>
                <a:lnTo>
                  <a:pt x="0" y="3"/>
                </a:lnTo>
                <a:lnTo>
                  <a:pt x="0" y="4"/>
                </a:lnTo>
                <a:lnTo>
                  <a:pt x="2" y="6"/>
                </a:lnTo>
                <a:lnTo>
                  <a:pt x="4" y="8"/>
                </a:lnTo>
                <a:lnTo>
                  <a:pt x="6" y="8"/>
                </a:lnTo>
                <a:lnTo>
                  <a:pt x="8" y="8"/>
                </a:lnTo>
                <a:lnTo>
                  <a:pt x="8" y="6"/>
                </a:lnTo>
                <a:lnTo>
                  <a:pt x="7" y="4"/>
                </a:lnTo>
                <a:lnTo>
                  <a:pt x="4" y="3"/>
                </a:lnTo>
                <a:lnTo>
                  <a:pt x="3" y="1"/>
                </a:lnTo>
                <a:lnTo>
                  <a:pt x="2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41" name="Freeform 340"/>
          <p:cNvSpPr>
            <a:spLocks/>
          </p:cNvSpPr>
          <p:nvPr/>
        </p:nvSpPr>
        <p:spPr bwMode="auto">
          <a:xfrm>
            <a:off x="4226455" y="4329227"/>
            <a:ext cx="15591" cy="15033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3"/>
              </a:cxn>
              <a:cxn ang="0">
                <a:pos x="0" y="4"/>
              </a:cxn>
              <a:cxn ang="0">
                <a:pos x="2" y="6"/>
              </a:cxn>
              <a:cxn ang="0">
                <a:pos x="4" y="8"/>
              </a:cxn>
              <a:cxn ang="0">
                <a:pos x="6" y="8"/>
              </a:cxn>
              <a:cxn ang="0">
                <a:pos x="8" y="8"/>
              </a:cxn>
              <a:cxn ang="0">
                <a:pos x="8" y="6"/>
              </a:cxn>
              <a:cxn ang="0">
                <a:pos x="7" y="4"/>
              </a:cxn>
              <a:cxn ang="0">
                <a:pos x="4" y="3"/>
              </a:cxn>
              <a:cxn ang="0">
                <a:pos x="3" y="1"/>
              </a:cxn>
              <a:cxn ang="0">
                <a:pos x="2" y="0"/>
              </a:cxn>
            </a:cxnLst>
            <a:rect l="0" t="0" r="r" b="b"/>
            <a:pathLst>
              <a:path w="8" h="8">
                <a:moveTo>
                  <a:pt x="2" y="0"/>
                </a:moveTo>
                <a:lnTo>
                  <a:pt x="0" y="3"/>
                </a:lnTo>
                <a:lnTo>
                  <a:pt x="0" y="4"/>
                </a:lnTo>
                <a:lnTo>
                  <a:pt x="2" y="6"/>
                </a:lnTo>
                <a:lnTo>
                  <a:pt x="4" y="8"/>
                </a:lnTo>
                <a:lnTo>
                  <a:pt x="6" y="8"/>
                </a:lnTo>
                <a:lnTo>
                  <a:pt x="8" y="8"/>
                </a:lnTo>
                <a:lnTo>
                  <a:pt x="8" y="6"/>
                </a:lnTo>
                <a:lnTo>
                  <a:pt x="7" y="4"/>
                </a:lnTo>
                <a:lnTo>
                  <a:pt x="4" y="3"/>
                </a:lnTo>
                <a:lnTo>
                  <a:pt x="3" y="1"/>
                </a:lnTo>
                <a:lnTo>
                  <a:pt x="2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42" name="Freeform 341"/>
          <p:cNvSpPr>
            <a:spLocks/>
          </p:cNvSpPr>
          <p:nvPr/>
        </p:nvSpPr>
        <p:spPr bwMode="auto">
          <a:xfrm>
            <a:off x="4245944" y="4344260"/>
            <a:ext cx="7795" cy="6443"/>
          </a:xfrm>
          <a:custGeom>
            <a:avLst/>
            <a:gdLst/>
            <a:ahLst/>
            <a:cxnLst>
              <a:cxn ang="0">
                <a:pos x="4" y="3"/>
              </a:cxn>
              <a:cxn ang="0">
                <a:pos x="2" y="3"/>
              </a:cxn>
              <a:cxn ang="0">
                <a:pos x="0" y="3"/>
              </a:cxn>
              <a:cxn ang="0">
                <a:pos x="0" y="1"/>
              </a:cxn>
              <a:cxn ang="0">
                <a:pos x="1" y="1"/>
              </a:cxn>
              <a:cxn ang="0">
                <a:pos x="2" y="0"/>
              </a:cxn>
              <a:cxn ang="0">
                <a:pos x="4" y="0"/>
              </a:cxn>
              <a:cxn ang="0">
                <a:pos x="5" y="0"/>
              </a:cxn>
              <a:cxn ang="0">
                <a:pos x="5" y="1"/>
              </a:cxn>
              <a:cxn ang="0">
                <a:pos x="4" y="3"/>
              </a:cxn>
            </a:cxnLst>
            <a:rect l="0" t="0" r="r" b="b"/>
            <a:pathLst>
              <a:path w="5" h="3">
                <a:moveTo>
                  <a:pt x="4" y="3"/>
                </a:moveTo>
                <a:lnTo>
                  <a:pt x="2" y="3"/>
                </a:lnTo>
                <a:lnTo>
                  <a:pt x="0" y="3"/>
                </a:lnTo>
                <a:lnTo>
                  <a:pt x="0" y="1"/>
                </a:lnTo>
                <a:lnTo>
                  <a:pt x="1" y="1"/>
                </a:lnTo>
                <a:lnTo>
                  <a:pt x="2" y="0"/>
                </a:lnTo>
                <a:lnTo>
                  <a:pt x="4" y="0"/>
                </a:lnTo>
                <a:lnTo>
                  <a:pt x="5" y="0"/>
                </a:lnTo>
                <a:lnTo>
                  <a:pt x="5" y="1"/>
                </a:lnTo>
                <a:lnTo>
                  <a:pt x="4" y="3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43" name="Freeform 342"/>
          <p:cNvSpPr>
            <a:spLocks/>
          </p:cNvSpPr>
          <p:nvPr/>
        </p:nvSpPr>
        <p:spPr bwMode="auto">
          <a:xfrm>
            <a:off x="4245944" y="4344260"/>
            <a:ext cx="7795" cy="6443"/>
          </a:xfrm>
          <a:custGeom>
            <a:avLst/>
            <a:gdLst/>
            <a:ahLst/>
            <a:cxnLst>
              <a:cxn ang="0">
                <a:pos x="4" y="3"/>
              </a:cxn>
              <a:cxn ang="0">
                <a:pos x="2" y="3"/>
              </a:cxn>
              <a:cxn ang="0">
                <a:pos x="0" y="3"/>
              </a:cxn>
              <a:cxn ang="0">
                <a:pos x="0" y="1"/>
              </a:cxn>
              <a:cxn ang="0">
                <a:pos x="1" y="1"/>
              </a:cxn>
              <a:cxn ang="0">
                <a:pos x="2" y="0"/>
              </a:cxn>
              <a:cxn ang="0">
                <a:pos x="4" y="0"/>
              </a:cxn>
              <a:cxn ang="0">
                <a:pos x="5" y="0"/>
              </a:cxn>
              <a:cxn ang="0">
                <a:pos x="5" y="1"/>
              </a:cxn>
              <a:cxn ang="0">
                <a:pos x="4" y="3"/>
              </a:cxn>
            </a:cxnLst>
            <a:rect l="0" t="0" r="r" b="b"/>
            <a:pathLst>
              <a:path w="5" h="3">
                <a:moveTo>
                  <a:pt x="4" y="3"/>
                </a:moveTo>
                <a:lnTo>
                  <a:pt x="2" y="3"/>
                </a:lnTo>
                <a:lnTo>
                  <a:pt x="0" y="3"/>
                </a:lnTo>
                <a:lnTo>
                  <a:pt x="0" y="1"/>
                </a:lnTo>
                <a:lnTo>
                  <a:pt x="1" y="1"/>
                </a:lnTo>
                <a:lnTo>
                  <a:pt x="2" y="0"/>
                </a:lnTo>
                <a:lnTo>
                  <a:pt x="4" y="0"/>
                </a:lnTo>
                <a:lnTo>
                  <a:pt x="5" y="0"/>
                </a:lnTo>
                <a:lnTo>
                  <a:pt x="5" y="1"/>
                </a:lnTo>
                <a:lnTo>
                  <a:pt x="4" y="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44" name="Freeform 343"/>
          <p:cNvSpPr>
            <a:spLocks/>
          </p:cNvSpPr>
          <p:nvPr/>
        </p:nvSpPr>
        <p:spPr bwMode="auto">
          <a:xfrm>
            <a:off x="4218660" y="4350703"/>
            <a:ext cx="62363" cy="60133"/>
          </a:xfrm>
          <a:custGeom>
            <a:avLst/>
            <a:gdLst/>
            <a:ahLst/>
            <a:cxnLst>
              <a:cxn ang="0">
                <a:pos x="32" y="3"/>
              </a:cxn>
              <a:cxn ang="0">
                <a:pos x="32" y="11"/>
              </a:cxn>
              <a:cxn ang="0">
                <a:pos x="32" y="12"/>
              </a:cxn>
              <a:cxn ang="0">
                <a:pos x="27" y="22"/>
              </a:cxn>
              <a:cxn ang="0">
                <a:pos x="23" y="25"/>
              </a:cxn>
              <a:cxn ang="0">
                <a:pos x="20" y="26"/>
              </a:cxn>
              <a:cxn ang="0">
                <a:pos x="12" y="30"/>
              </a:cxn>
              <a:cxn ang="0">
                <a:pos x="11" y="28"/>
              </a:cxn>
              <a:cxn ang="0">
                <a:pos x="6" y="28"/>
              </a:cxn>
              <a:cxn ang="0">
                <a:pos x="3" y="28"/>
              </a:cxn>
              <a:cxn ang="0">
                <a:pos x="2" y="25"/>
              </a:cxn>
              <a:cxn ang="0">
                <a:pos x="2" y="22"/>
              </a:cxn>
              <a:cxn ang="0">
                <a:pos x="2" y="19"/>
              </a:cxn>
              <a:cxn ang="0">
                <a:pos x="2" y="15"/>
              </a:cxn>
              <a:cxn ang="0">
                <a:pos x="0" y="14"/>
              </a:cxn>
              <a:cxn ang="0">
                <a:pos x="0" y="6"/>
              </a:cxn>
              <a:cxn ang="0">
                <a:pos x="2" y="4"/>
              </a:cxn>
              <a:cxn ang="0">
                <a:pos x="4" y="3"/>
              </a:cxn>
              <a:cxn ang="0">
                <a:pos x="6" y="1"/>
              </a:cxn>
              <a:cxn ang="0">
                <a:pos x="8" y="1"/>
              </a:cxn>
              <a:cxn ang="0">
                <a:pos x="11" y="1"/>
              </a:cxn>
              <a:cxn ang="0">
                <a:pos x="12" y="1"/>
              </a:cxn>
              <a:cxn ang="0">
                <a:pos x="16" y="1"/>
              </a:cxn>
              <a:cxn ang="0">
                <a:pos x="18" y="1"/>
              </a:cxn>
              <a:cxn ang="0">
                <a:pos x="22" y="1"/>
              </a:cxn>
              <a:cxn ang="0">
                <a:pos x="27" y="0"/>
              </a:cxn>
              <a:cxn ang="0">
                <a:pos x="29" y="1"/>
              </a:cxn>
              <a:cxn ang="0">
                <a:pos x="31" y="1"/>
              </a:cxn>
              <a:cxn ang="0">
                <a:pos x="32" y="3"/>
              </a:cxn>
            </a:cxnLst>
            <a:rect l="0" t="0" r="r" b="b"/>
            <a:pathLst>
              <a:path w="32" h="30">
                <a:moveTo>
                  <a:pt x="32" y="3"/>
                </a:moveTo>
                <a:lnTo>
                  <a:pt x="32" y="11"/>
                </a:lnTo>
                <a:lnTo>
                  <a:pt x="32" y="12"/>
                </a:lnTo>
                <a:lnTo>
                  <a:pt x="27" y="22"/>
                </a:lnTo>
                <a:lnTo>
                  <a:pt x="23" y="25"/>
                </a:lnTo>
                <a:lnTo>
                  <a:pt x="20" y="26"/>
                </a:lnTo>
                <a:lnTo>
                  <a:pt x="12" y="30"/>
                </a:lnTo>
                <a:lnTo>
                  <a:pt x="11" y="28"/>
                </a:lnTo>
                <a:lnTo>
                  <a:pt x="6" y="28"/>
                </a:lnTo>
                <a:lnTo>
                  <a:pt x="3" y="28"/>
                </a:lnTo>
                <a:lnTo>
                  <a:pt x="2" y="25"/>
                </a:lnTo>
                <a:lnTo>
                  <a:pt x="2" y="22"/>
                </a:lnTo>
                <a:lnTo>
                  <a:pt x="2" y="19"/>
                </a:lnTo>
                <a:lnTo>
                  <a:pt x="2" y="15"/>
                </a:lnTo>
                <a:lnTo>
                  <a:pt x="0" y="14"/>
                </a:lnTo>
                <a:lnTo>
                  <a:pt x="0" y="6"/>
                </a:lnTo>
                <a:lnTo>
                  <a:pt x="2" y="4"/>
                </a:lnTo>
                <a:lnTo>
                  <a:pt x="4" y="3"/>
                </a:lnTo>
                <a:lnTo>
                  <a:pt x="6" y="1"/>
                </a:lnTo>
                <a:lnTo>
                  <a:pt x="8" y="1"/>
                </a:lnTo>
                <a:lnTo>
                  <a:pt x="11" y="1"/>
                </a:lnTo>
                <a:lnTo>
                  <a:pt x="12" y="1"/>
                </a:lnTo>
                <a:lnTo>
                  <a:pt x="16" y="1"/>
                </a:lnTo>
                <a:lnTo>
                  <a:pt x="18" y="1"/>
                </a:lnTo>
                <a:lnTo>
                  <a:pt x="22" y="1"/>
                </a:lnTo>
                <a:lnTo>
                  <a:pt x="27" y="0"/>
                </a:lnTo>
                <a:lnTo>
                  <a:pt x="29" y="1"/>
                </a:lnTo>
                <a:lnTo>
                  <a:pt x="31" y="1"/>
                </a:lnTo>
                <a:lnTo>
                  <a:pt x="32" y="3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45" name="Freeform 344"/>
          <p:cNvSpPr>
            <a:spLocks/>
          </p:cNvSpPr>
          <p:nvPr/>
        </p:nvSpPr>
        <p:spPr bwMode="auto">
          <a:xfrm>
            <a:off x="4203069" y="4346407"/>
            <a:ext cx="15591" cy="25772"/>
          </a:xfrm>
          <a:custGeom>
            <a:avLst/>
            <a:gdLst/>
            <a:ahLst/>
            <a:cxnLst>
              <a:cxn ang="0">
                <a:pos x="8" y="5"/>
              </a:cxn>
              <a:cxn ang="0">
                <a:pos x="7" y="8"/>
              </a:cxn>
              <a:cxn ang="0">
                <a:pos x="4" y="11"/>
              </a:cxn>
              <a:cxn ang="0">
                <a:pos x="2" y="13"/>
              </a:cxn>
              <a:cxn ang="0">
                <a:pos x="2" y="10"/>
              </a:cxn>
              <a:cxn ang="0">
                <a:pos x="0" y="10"/>
              </a:cxn>
              <a:cxn ang="0">
                <a:pos x="0" y="8"/>
              </a:cxn>
              <a:cxn ang="0">
                <a:pos x="0" y="6"/>
              </a:cxn>
              <a:cxn ang="0">
                <a:pos x="3" y="5"/>
              </a:cxn>
              <a:cxn ang="0">
                <a:pos x="3" y="3"/>
              </a:cxn>
              <a:cxn ang="0">
                <a:pos x="3" y="2"/>
              </a:cxn>
              <a:cxn ang="0">
                <a:pos x="4" y="2"/>
              </a:cxn>
              <a:cxn ang="0">
                <a:pos x="7" y="0"/>
              </a:cxn>
              <a:cxn ang="0">
                <a:pos x="8" y="0"/>
              </a:cxn>
              <a:cxn ang="0">
                <a:pos x="7" y="2"/>
              </a:cxn>
              <a:cxn ang="0">
                <a:pos x="6" y="3"/>
              </a:cxn>
              <a:cxn ang="0">
                <a:pos x="8" y="3"/>
              </a:cxn>
              <a:cxn ang="0">
                <a:pos x="8" y="5"/>
              </a:cxn>
            </a:cxnLst>
            <a:rect l="0" t="0" r="r" b="b"/>
            <a:pathLst>
              <a:path w="8" h="13">
                <a:moveTo>
                  <a:pt x="8" y="5"/>
                </a:moveTo>
                <a:lnTo>
                  <a:pt x="7" y="8"/>
                </a:lnTo>
                <a:lnTo>
                  <a:pt x="4" y="11"/>
                </a:lnTo>
                <a:lnTo>
                  <a:pt x="2" y="13"/>
                </a:lnTo>
                <a:lnTo>
                  <a:pt x="2" y="10"/>
                </a:lnTo>
                <a:lnTo>
                  <a:pt x="0" y="10"/>
                </a:lnTo>
                <a:lnTo>
                  <a:pt x="0" y="8"/>
                </a:lnTo>
                <a:lnTo>
                  <a:pt x="0" y="6"/>
                </a:lnTo>
                <a:lnTo>
                  <a:pt x="3" y="5"/>
                </a:lnTo>
                <a:lnTo>
                  <a:pt x="3" y="3"/>
                </a:lnTo>
                <a:lnTo>
                  <a:pt x="3" y="2"/>
                </a:lnTo>
                <a:lnTo>
                  <a:pt x="4" y="2"/>
                </a:lnTo>
                <a:lnTo>
                  <a:pt x="7" y="0"/>
                </a:lnTo>
                <a:lnTo>
                  <a:pt x="8" y="0"/>
                </a:lnTo>
                <a:lnTo>
                  <a:pt x="7" y="2"/>
                </a:lnTo>
                <a:lnTo>
                  <a:pt x="6" y="3"/>
                </a:lnTo>
                <a:lnTo>
                  <a:pt x="8" y="3"/>
                </a:lnTo>
                <a:lnTo>
                  <a:pt x="8" y="5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46" name="Freeform 345"/>
          <p:cNvSpPr>
            <a:spLocks/>
          </p:cNvSpPr>
          <p:nvPr/>
        </p:nvSpPr>
        <p:spPr bwMode="auto">
          <a:xfrm>
            <a:off x="4203069" y="4346407"/>
            <a:ext cx="15591" cy="25772"/>
          </a:xfrm>
          <a:custGeom>
            <a:avLst/>
            <a:gdLst/>
            <a:ahLst/>
            <a:cxnLst>
              <a:cxn ang="0">
                <a:pos x="8" y="5"/>
              </a:cxn>
              <a:cxn ang="0">
                <a:pos x="7" y="8"/>
              </a:cxn>
              <a:cxn ang="0">
                <a:pos x="4" y="11"/>
              </a:cxn>
              <a:cxn ang="0">
                <a:pos x="2" y="13"/>
              </a:cxn>
              <a:cxn ang="0">
                <a:pos x="2" y="10"/>
              </a:cxn>
              <a:cxn ang="0">
                <a:pos x="0" y="10"/>
              </a:cxn>
              <a:cxn ang="0">
                <a:pos x="0" y="8"/>
              </a:cxn>
              <a:cxn ang="0">
                <a:pos x="0" y="6"/>
              </a:cxn>
              <a:cxn ang="0">
                <a:pos x="3" y="5"/>
              </a:cxn>
              <a:cxn ang="0">
                <a:pos x="3" y="3"/>
              </a:cxn>
              <a:cxn ang="0">
                <a:pos x="3" y="2"/>
              </a:cxn>
              <a:cxn ang="0">
                <a:pos x="4" y="2"/>
              </a:cxn>
              <a:cxn ang="0">
                <a:pos x="7" y="0"/>
              </a:cxn>
              <a:cxn ang="0">
                <a:pos x="8" y="0"/>
              </a:cxn>
              <a:cxn ang="0">
                <a:pos x="7" y="2"/>
              </a:cxn>
              <a:cxn ang="0">
                <a:pos x="6" y="3"/>
              </a:cxn>
              <a:cxn ang="0">
                <a:pos x="8" y="3"/>
              </a:cxn>
              <a:cxn ang="0">
                <a:pos x="8" y="5"/>
              </a:cxn>
            </a:cxnLst>
            <a:rect l="0" t="0" r="r" b="b"/>
            <a:pathLst>
              <a:path w="8" h="13">
                <a:moveTo>
                  <a:pt x="8" y="5"/>
                </a:moveTo>
                <a:lnTo>
                  <a:pt x="7" y="8"/>
                </a:lnTo>
                <a:lnTo>
                  <a:pt x="4" y="11"/>
                </a:lnTo>
                <a:lnTo>
                  <a:pt x="2" y="13"/>
                </a:lnTo>
                <a:lnTo>
                  <a:pt x="2" y="10"/>
                </a:lnTo>
                <a:lnTo>
                  <a:pt x="0" y="10"/>
                </a:lnTo>
                <a:lnTo>
                  <a:pt x="0" y="8"/>
                </a:lnTo>
                <a:lnTo>
                  <a:pt x="0" y="6"/>
                </a:lnTo>
                <a:lnTo>
                  <a:pt x="3" y="5"/>
                </a:lnTo>
                <a:lnTo>
                  <a:pt x="3" y="3"/>
                </a:lnTo>
                <a:lnTo>
                  <a:pt x="3" y="2"/>
                </a:lnTo>
                <a:lnTo>
                  <a:pt x="4" y="2"/>
                </a:lnTo>
                <a:lnTo>
                  <a:pt x="7" y="0"/>
                </a:lnTo>
                <a:lnTo>
                  <a:pt x="8" y="0"/>
                </a:lnTo>
                <a:lnTo>
                  <a:pt x="7" y="2"/>
                </a:lnTo>
                <a:lnTo>
                  <a:pt x="6" y="3"/>
                </a:lnTo>
                <a:lnTo>
                  <a:pt x="8" y="3"/>
                </a:lnTo>
                <a:lnTo>
                  <a:pt x="8" y="5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47" name="Rectangle 346"/>
          <p:cNvSpPr>
            <a:spLocks noChangeArrowheads="1"/>
          </p:cNvSpPr>
          <p:nvPr/>
        </p:nvSpPr>
        <p:spPr bwMode="auto">
          <a:xfrm>
            <a:off x="4234251" y="4329227"/>
            <a:ext cx="3898" cy="2148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 w="3175">
            <a:solidFill>
              <a:sysClr val="window" lastClr="FFFFFF">
                <a:lumMod val="95000"/>
              </a:sysClr>
            </a:solidFill>
            <a:miter lim="800000"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48" name="Freeform 347"/>
          <p:cNvSpPr>
            <a:spLocks/>
          </p:cNvSpPr>
          <p:nvPr/>
        </p:nvSpPr>
        <p:spPr bwMode="auto">
          <a:xfrm>
            <a:off x="4224507" y="4344260"/>
            <a:ext cx="5846" cy="2146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3" y="0"/>
              </a:cxn>
              <a:cxn ang="0">
                <a:pos x="3" y="1"/>
              </a:cxn>
              <a:cxn ang="0">
                <a:pos x="0" y="1"/>
              </a:cxn>
              <a:cxn ang="0">
                <a:pos x="0" y="0"/>
              </a:cxn>
              <a:cxn ang="0">
                <a:pos x="1" y="0"/>
              </a:cxn>
            </a:cxnLst>
            <a:rect l="0" t="0" r="r" b="b"/>
            <a:pathLst>
              <a:path w="3" h="1">
                <a:moveTo>
                  <a:pt x="1" y="0"/>
                </a:moveTo>
                <a:lnTo>
                  <a:pt x="3" y="0"/>
                </a:lnTo>
                <a:lnTo>
                  <a:pt x="3" y="1"/>
                </a:ln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49" name="Freeform 348"/>
          <p:cNvSpPr>
            <a:spLocks/>
          </p:cNvSpPr>
          <p:nvPr/>
        </p:nvSpPr>
        <p:spPr bwMode="auto">
          <a:xfrm>
            <a:off x="4224507" y="4344260"/>
            <a:ext cx="5846" cy="2146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3" y="0"/>
              </a:cxn>
              <a:cxn ang="0">
                <a:pos x="3" y="1"/>
              </a:cxn>
              <a:cxn ang="0">
                <a:pos x="0" y="1"/>
              </a:cxn>
              <a:cxn ang="0">
                <a:pos x="0" y="0"/>
              </a:cxn>
              <a:cxn ang="0">
                <a:pos x="1" y="0"/>
              </a:cxn>
            </a:cxnLst>
            <a:rect l="0" t="0" r="r" b="b"/>
            <a:pathLst>
              <a:path w="3" h="1">
                <a:moveTo>
                  <a:pt x="1" y="0"/>
                </a:moveTo>
                <a:lnTo>
                  <a:pt x="3" y="0"/>
                </a:lnTo>
                <a:lnTo>
                  <a:pt x="3" y="1"/>
                </a:ln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50" name="Freeform 349"/>
          <p:cNvSpPr>
            <a:spLocks/>
          </p:cNvSpPr>
          <p:nvPr/>
        </p:nvSpPr>
        <p:spPr bwMode="auto">
          <a:xfrm>
            <a:off x="5473696" y="2280408"/>
            <a:ext cx="25335" cy="25772"/>
          </a:xfrm>
          <a:custGeom>
            <a:avLst/>
            <a:gdLst/>
            <a:ahLst/>
            <a:cxnLst>
              <a:cxn ang="0">
                <a:pos x="12" y="0"/>
              </a:cxn>
              <a:cxn ang="0">
                <a:pos x="11" y="0"/>
              </a:cxn>
              <a:cxn ang="0">
                <a:pos x="7" y="2"/>
              </a:cxn>
              <a:cxn ang="0">
                <a:pos x="4" y="3"/>
              </a:cxn>
              <a:cxn ang="0">
                <a:pos x="4" y="5"/>
              </a:cxn>
              <a:cxn ang="0">
                <a:pos x="3" y="5"/>
              </a:cxn>
              <a:cxn ang="0">
                <a:pos x="0" y="5"/>
              </a:cxn>
              <a:cxn ang="0">
                <a:pos x="0" y="6"/>
              </a:cxn>
              <a:cxn ang="0">
                <a:pos x="0" y="8"/>
              </a:cxn>
              <a:cxn ang="0">
                <a:pos x="1" y="9"/>
              </a:cxn>
              <a:cxn ang="0">
                <a:pos x="0" y="11"/>
              </a:cxn>
              <a:cxn ang="0">
                <a:pos x="0" y="13"/>
              </a:cxn>
              <a:cxn ang="0">
                <a:pos x="3" y="11"/>
              </a:cxn>
              <a:cxn ang="0">
                <a:pos x="4" y="11"/>
              </a:cxn>
              <a:cxn ang="0">
                <a:pos x="5" y="9"/>
              </a:cxn>
              <a:cxn ang="0">
                <a:pos x="7" y="9"/>
              </a:cxn>
              <a:cxn ang="0">
                <a:pos x="9" y="8"/>
              </a:cxn>
              <a:cxn ang="0">
                <a:pos x="9" y="6"/>
              </a:cxn>
              <a:cxn ang="0">
                <a:pos x="9" y="5"/>
              </a:cxn>
              <a:cxn ang="0">
                <a:pos x="12" y="5"/>
              </a:cxn>
              <a:cxn ang="0">
                <a:pos x="13" y="5"/>
              </a:cxn>
              <a:cxn ang="0">
                <a:pos x="12" y="5"/>
              </a:cxn>
              <a:cxn ang="0">
                <a:pos x="11" y="3"/>
              </a:cxn>
              <a:cxn ang="0">
                <a:pos x="12" y="0"/>
              </a:cxn>
            </a:cxnLst>
            <a:rect l="0" t="0" r="r" b="b"/>
            <a:pathLst>
              <a:path w="13" h="13">
                <a:moveTo>
                  <a:pt x="12" y="0"/>
                </a:moveTo>
                <a:lnTo>
                  <a:pt x="11" y="0"/>
                </a:lnTo>
                <a:lnTo>
                  <a:pt x="7" y="2"/>
                </a:lnTo>
                <a:lnTo>
                  <a:pt x="4" y="3"/>
                </a:lnTo>
                <a:lnTo>
                  <a:pt x="4" y="5"/>
                </a:lnTo>
                <a:lnTo>
                  <a:pt x="3" y="5"/>
                </a:lnTo>
                <a:lnTo>
                  <a:pt x="0" y="5"/>
                </a:lnTo>
                <a:lnTo>
                  <a:pt x="0" y="6"/>
                </a:lnTo>
                <a:lnTo>
                  <a:pt x="0" y="8"/>
                </a:lnTo>
                <a:lnTo>
                  <a:pt x="1" y="9"/>
                </a:lnTo>
                <a:lnTo>
                  <a:pt x="0" y="11"/>
                </a:lnTo>
                <a:lnTo>
                  <a:pt x="0" y="13"/>
                </a:lnTo>
                <a:lnTo>
                  <a:pt x="3" y="11"/>
                </a:lnTo>
                <a:lnTo>
                  <a:pt x="4" y="11"/>
                </a:lnTo>
                <a:lnTo>
                  <a:pt x="5" y="9"/>
                </a:lnTo>
                <a:lnTo>
                  <a:pt x="7" y="9"/>
                </a:lnTo>
                <a:lnTo>
                  <a:pt x="9" y="8"/>
                </a:lnTo>
                <a:lnTo>
                  <a:pt x="9" y="6"/>
                </a:lnTo>
                <a:lnTo>
                  <a:pt x="9" y="5"/>
                </a:lnTo>
                <a:lnTo>
                  <a:pt x="12" y="5"/>
                </a:lnTo>
                <a:lnTo>
                  <a:pt x="13" y="5"/>
                </a:lnTo>
                <a:lnTo>
                  <a:pt x="12" y="5"/>
                </a:lnTo>
                <a:lnTo>
                  <a:pt x="11" y="3"/>
                </a:lnTo>
                <a:lnTo>
                  <a:pt x="12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51" name="Freeform 350"/>
          <p:cNvSpPr>
            <a:spLocks/>
          </p:cNvSpPr>
          <p:nvPr/>
        </p:nvSpPr>
        <p:spPr bwMode="auto">
          <a:xfrm>
            <a:off x="5473696" y="2280408"/>
            <a:ext cx="25335" cy="25772"/>
          </a:xfrm>
          <a:custGeom>
            <a:avLst/>
            <a:gdLst/>
            <a:ahLst/>
            <a:cxnLst>
              <a:cxn ang="0">
                <a:pos x="12" y="0"/>
              </a:cxn>
              <a:cxn ang="0">
                <a:pos x="11" y="0"/>
              </a:cxn>
              <a:cxn ang="0">
                <a:pos x="7" y="2"/>
              </a:cxn>
              <a:cxn ang="0">
                <a:pos x="4" y="3"/>
              </a:cxn>
              <a:cxn ang="0">
                <a:pos x="4" y="5"/>
              </a:cxn>
              <a:cxn ang="0">
                <a:pos x="3" y="5"/>
              </a:cxn>
              <a:cxn ang="0">
                <a:pos x="0" y="5"/>
              </a:cxn>
              <a:cxn ang="0">
                <a:pos x="0" y="6"/>
              </a:cxn>
              <a:cxn ang="0">
                <a:pos x="0" y="8"/>
              </a:cxn>
              <a:cxn ang="0">
                <a:pos x="1" y="9"/>
              </a:cxn>
              <a:cxn ang="0">
                <a:pos x="0" y="11"/>
              </a:cxn>
              <a:cxn ang="0">
                <a:pos x="0" y="13"/>
              </a:cxn>
              <a:cxn ang="0">
                <a:pos x="3" y="11"/>
              </a:cxn>
              <a:cxn ang="0">
                <a:pos x="4" y="11"/>
              </a:cxn>
              <a:cxn ang="0">
                <a:pos x="5" y="9"/>
              </a:cxn>
              <a:cxn ang="0">
                <a:pos x="7" y="9"/>
              </a:cxn>
              <a:cxn ang="0">
                <a:pos x="9" y="8"/>
              </a:cxn>
              <a:cxn ang="0">
                <a:pos x="9" y="6"/>
              </a:cxn>
              <a:cxn ang="0">
                <a:pos x="9" y="5"/>
              </a:cxn>
              <a:cxn ang="0">
                <a:pos x="12" y="5"/>
              </a:cxn>
              <a:cxn ang="0">
                <a:pos x="13" y="5"/>
              </a:cxn>
              <a:cxn ang="0">
                <a:pos x="12" y="5"/>
              </a:cxn>
              <a:cxn ang="0">
                <a:pos x="11" y="3"/>
              </a:cxn>
              <a:cxn ang="0">
                <a:pos x="12" y="0"/>
              </a:cxn>
            </a:cxnLst>
            <a:rect l="0" t="0" r="r" b="b"/>
            <a:pathLst>
              <a:path w="13" h="13">
                <a:moveTo>
                  <a:pt x="12" y="0"/>
                </a:moveTo>
                <a:lnTo>
                  <a:pt x="11" y="0"/>
                </a:lnTo>
                <a:lnTo>
                  <a:pt x="7" y="2"/>
                </a:lnTo>
                <a:lnTo>
                  <a:pt x="4" y="3"/>
                </a:lnTo>
                <a:lnTo>
                  <a:pt x="4" y="5"/>
                </a:lnTo>
                <a:lnTo>
                  <a:pt x="3" y="5"/>
                </a:lnTo>
                <a:lnTo>
                  <a:pt x="0" y="5"/>
                </a:lnTo>
                <a:lnTo>
                  <a:pt x="0" y="6"/>
                </a:lnTo>
                <a:lnTo>
                  <a:pt x="0" y="8"/>
                </a:lnTo>
                <a:lnTo>
                  <a:pt x="1" y="9"/>
                </a:lnTo>
                <a:lnTo>
                  <a:pt x="0" y="11"/>
                </a:lnTo>
                <a:lnTo>
                  <a:pt x="0" y="13"/>
                </a:lnTo>
                <a:lnTo>
                  <a:pt x="3" y="11"/>
                </a:lnTo>
                <a:lnTo>
                  <a:pt x="4" y="11"/>
                </a:lnTo>
                <a:lnTo>
                  <a:pt x="5" y="9"/>
                </a:lnTo>
                <a:lnTo>
                  <a:pt x="7" y="9"/>
                </a:lnTo>
                <a:lnTo>
                  <a:pt x="9" y="8"/>
                </a:lnTo>
                <a:lnTo>
                  <a:pt x="9" y="6"/>
                </a:lnTo>
                <a:lnTo>
                  <a:pt x="9" y="5"/>
                </a:lnTo>
                <a:lnTo>
                  <a:pt x="12" y="5"/>
                </a:lnTo>
                <a:lnTo>
                  <a:pt x="13" y="5"/>
                </a:lnTo>
                <a:lnTo>
                  <a:pt x="12" y="5"/>
                </a:lnTo>
                <a:lnTo>
                  <a:pt x="11" y="3"/>
                </a:lnTo>
                <a:lnTo>
                  <a:pt x="12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52" name="Freeform 351"/>
          <p:cNvSpPr>
            <a:spLocks/>
          </p:cNvSpPr>
          <p:nvPr/>
        </p:nvSpPr>
        <p:spPr bwMode="auto">
          <a:xfrm>
            <a:off x="5460056" y="2310477"/>
            <a:ext cx="13640" cy="4295"/>
          </a:xfrm>
          <a:custGeom>
            <a:avLst/>
            <a:gdLst/>
            <a:ahLst/>
            <a:cxnLst>
              <a:cxn ang="0">
                <a:pos x="6" y="2"/>
              </a:cxn>
              <a:cxn ang="0">
                <a:pos x="7" y="0"/>
              </a:cxn>
              <a:cxn ang="0">
                <a:pos x="4" y="0"/>
              </a:cxn>
              <a:cxn ang="0">
                <a:pos x="0" y="0"/>
              </a:cxn>
              <a:cxn ang="0">
                <a:pos x="0" y="2"/>
              </a:cxn>
              <a:cxn ang="0">
                <a:pos x="2" y="3"/>
              </a:cxn>
              <a:cxn ang="0">
                <a:pos x="6" y="3"/>
              </a:cxn>
              <a:cxn ang="0">
                <a:pos x="6" y="2"/>
              </a:cxn>
            </a:cxnLst>
            <a:rect l="0" t="0" r="r" b="b"/>
            <a:pathLst>
              <a:path w="7" h="3">
                <a:moveTo>
                  <a:pt x="6" y="2"/>
                </a:moveTo>
                <a:lnTo>
                  <a:pt x="7" y="0"/>
                </a:lnTo>
                <a:lnTo>
                  <a:pt x="4" y="0"/>
                </a:lnTo>
                <a:lnTo>
                  <a:pt x="0" y="0"/>
                </a:lnTo>
                <a:lnTo>
                  <a:pt x="0" y="2"/>
                </a:lnTo>
                <a:lnTo>
                  <a:pt x="2" y="3"/>
                </a:lnTo>
                <a:lnTo>
                  <a:pt x="6" y="3"/>
                </a:lnTo>
                <a:lnTo>
                  <a:pt x="6" y="2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53" name="Freeform 352"/>
          <p:cNvSpPr>
            <a:spLocks/>
          </p:cNvSpPr>
          <p:nvPr/>
        </p:nvSpPr>
        <p:spPr bwMode="auto">
          <a:xfrm>
            <a:off x="5460056" y="2310477"/>
            <a:ext cx="13640" cy="4295"/>
          </a:xfrm>
          <a:custGeom>
            <a:avLst/>
            <a:gdLst/>
            <a:ahLst/>
            <a:cxnLst>
              <a:cxn ang="0">
                <a:pos x="6" y="2"/>
              </a:cxn>
              <a:cxn ang="0">
                <a:pos x="7" y="0"/>
              </a:cxn>
              <a:cxn ang="0">
                <a:pos x="4" y="0"/>
              </a:cxn>
              <a:cxn ang="0">
                <a:pos x="0" y="0"/>
              </a:cxn>
              <a:cxn ang="0">
                <a:pos x="0" y="2"/>
              </a:cxn>
              <a:cxn ang="0">
                <a:pos x="2" y="3"/>
              </a:cxn>
              <a:cxn ang="0">
                <a:pos x="6" y="3"/>
              </a:cxn>
              <a:cxn ang="0">
                <a:pos x="6" y="2"/>
              </a:cxn>
            </a:cxnLst>
            <a:rect l="0" t="0" r="r" b="b"/>
            <a:pathLst>
              <a:path w="7" h="3">
                <a:moveTo>
                  <a:pt x="6" y="2"/>
                </a:moveTo>
                <a:lnTo>
                  <a:pt x="7" y="0"/>
                </a:lnTo>
                <a:lnTo>
                  <a:pt x="4" y="0"/>
                </a:lnTo>
                <a:lnTo>
                  <a:pt x="0" y="0"/>
                </a:lnTo>
                <a:lnTo>
                  <a:pt x="0" y="2"/>
                </a:lnTo>
                <a:lnTo>
                  <a:pt x="2" y="3"/>
                </a:lnTo>
                <a:lnTo>
                  <a:pt x="6" y="3"/>
                </a:lnTo>
                <a:lnTo>
                  <a:pt x="6" y="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54" name="Freeform 353"/>
          <p:cNvSpPr>
            <a:spLocks/>
          </p:cNvSpPr>
          <p:nvPr/>
        </p:nvSpPr>
        <p:spPr bwMode="auto">
          <a:xfrm>
            <a:off x="5576985" y="2267523"/>
            <a:ext cx="5846" cy="2148"/>
          </a:xfrm>
          <a:custGeom>
            <a:avLst/>
            <a:gdLst/>
            <a:ahLst/>
            <a:cxnLst>
              <a:cxn ang="0">
                <a:pos x="3" y="2"/>
              </a:cxn>
              <a:cxn ang="0">
                <a:pos x="3" y="0"/>
              </a:cxn>
              <a:cxn ang="0">
                <a:pos x="2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3" y="2"/>
              </a:cxn>
            </a:cxnLst>
            <a:rect l="0" t="0" r="r" b="b"/>
            <a:pathLst>
              <a:path w="3" h="2">
                <a:moveTo>
                  <a:pt x="3" y="2"/>
                </a:moveTo>
                <a:lnTo>
                  <a:pt x="3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3" y="2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55" name="Freeform 354"/>
          <p:cNvSpPr>
            <a:spLocks/>
          </p:cNvSpPr>
          <p:nvPr/>
        </p:nvSpPr>
        <p:spPr bwMode="auto">
          <a:xfrm>
            <a:off x="5576985" y="2267523"/>
            <a:ext cx="5846" cy="2148"/>
          </a:xfrm>
          <a:custGeom>
            <a:avLst/>
            <a:gdLst/>
            <a:ahLst/>
            <a:cxnLst>
              <a:cxn ang="0">
                <a:pos x="3" y="2"/>
              </a:cxn>
              <a:cxn ang="0">
                <a:pos x="3" y="0"/>
              </a:cxn>
              <a:cxn ang="0">
                <a:pos x="2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3" y="2"/>
              </a:cxn>
            </a:cxnLst>
            <a:rect l="0" t="0" r="r" b="b"/>
            <a:pathLst>
              <a:path w="3" h="2">
                <a:moveTo>
                  <a:pt x="3" y="2"/>
                </a:moveTo>
                <a:lnTo>
                  <a:pt x="3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3" y="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56" name="Freeform 355"/>
          <p:cNvSpPr>
            <a:spLocks/>
          </p:cNvSpPr>
          <p:nvPr/>
        </p:nvSpPr>
        <p:spPr bwMode="auto">
          <a:xfrm>
            <a:off x="5499033" y="2276114"/>
            <a:ext cx="226062" cy="307109"/>
          </a:xfrm>
          <a:custGeom>
            <a:avLst/>
            <a:gdLst/>
            <a:ahLst/>
            <a:cxnLst>
              <a:cxn ang="0">
                <a:pos x="61" y="143"/>
              </a:cxn>
              <a:cxn ang="0">
                <a:pos x="72" y="140"/>
              </a:cxn>
              <a:cxn ang="0">
                <a:pos x="79" y="140"/>
              </a:cxn>
              <a:cxn ang="0">
                <a:pos x="108" y="137"/>
              </a:cxn>
              <a:cxn ang="0">
                <a:pos x="104" y="130"/>
              </a:cxn>
              <a:cxn ang="0">
                <a:pos x="105" y="124"/>
              </a:cxn>
              <a:cxn ang="0">
                <a:pos x="112" y="121"/>
              </a:cxn>
              <a:cxn ang="0">
                <a:pos x="119" y="111"/>
              </a:cxn>
              <a:cxn ang="0">
                <a:pos x="111" y="100"/>
              </a:cxn>
              <a:cxn ang="0">
                <a:pos x="95" y="104"/>
              </a:cxn>
              <a:cxn ang="0">
                <a:pos x="99" y="96"/>
              </a:cxn>
              <a:cxn ang="0">
                <a:pos x="88" y="88"/>
              </a:cxn>
              <a:cxn ang="0">
                <a:pos x="95" y="86"/>
              </a:cxn>
              <a:cxn ang="0">
                <a:pos x="85" y="75"/>
              </a:cxn>
              <a:cxn ang="0">
                <a:pos x="75" y="69"/>
              </a:cxn>
              <a:cxn ang="0">
                <a:pos x="67" y="53"/>
              </a:cxn>
              <a:cxn ang="0">
                <a:pos x="48" y="47"/>
              </a:cxn>
              <a:cxn ang="0">
                <a:pos x="48" y="44"/>
              </a:cxn>
              <a:cxn ang="0">
                <a:pos x="48" y="39"/>
              </a:cxn>
              <a:cxn ang="0">
                <a:pos x="59" y="31"/>
              </a:cxn>
              <a:cxn ang="0">
                <a:pos x="65" y="19"/>
              </a:cxn>
              <a:cxn ang="0">
                <a:pos x="47" y="17"/>
              </a:cxn>
              <a:cxn ang="0">
                <a:pos x="31" y="19"/>
              </a:cxn>
              <a:cxn ang="0">
                <a:pos x="35" y="16"/>
              </a:cxn>
              <a:cxn ang="0">
                <a:pos x="39" y="9"/>
              </a:cxn>
              <a:cxn ang="0">
                <a:pos x="39" y="1"/>
              </a:cxn>
              <a:cxn ang="0">
                <a:pos x="19" y="1"/>
              </a:cxn>
              <a:cxn ang="0">
                <a:pos x="11" y="11"/>
              </a:cxn>
              <a:cxn ang="0">
                <a:pos x="8" y="20"/>
              </a:cxn>
              <a:cxn ang="0">
                <a:pos x="10" y="23"/>
              </a:cxn>
              <a:cxn ang="0">
                <a:pos x="8" y="28"/>
              </a:cxn>
              <a:cxn ang="0">
                <a:pos x="6" y="33"/>
              </a:cxn>
              <a:cxn ang="0">
                <a:pos x="7" y="39"/>
              </a:cxn>
              <a:cxn ang="0">
                <a:pos x="10" y="42"/>
              </a:cxn>
              <a:cxn ang="0">
                <a:pos x="8" y="50"/>
              </a:cxn>
              <a:cxn ang="0">
                <a:pos x="6" y="60"/>
              </a:cxn>
              <a:cxn ang="0">
                <a:pos x="12" y="49"/>
              </a:cxn>
              <a:cxn ang="0">
                <a:pos x="14" y="50"/>
              </a:cxn>
              <a:cxn ang="0">
                <a:pos x="19" y="49"/>
              </a:cxn>
              <a:cxn ang="0">
                <a:pos x="20" y="49"/>
              </a:cxn>
              <a:cxn ang="0">
                <a:pos x="23" y="56"/>
              </a:cxn>
              <a:cxn ang="0">
                <a:pos x="18" y="66"/>
              </a:cxn>
              <a:cxn ang="0">
                <a:pos x="19" y="67"/>
              </a:cxn>
              <a:cxn ang="0">
                <a:pos x="27" y="67"/>
              </a:cxn>
              <a:cxn ang="0">
                <a:pos x="47" y="66"/>
              </a:cxn>
              <a:cxn ang="0">
                <a:pos x="37" y="74"/>
              </a:cxn>
              <a:cxn ang="0">
                <a:pos x="44" y="82"/>
              </a:cxn>
              <a:cxn ang="0">
                <a:pos x="49" y="83"/>
              </a:cxn>
              <a:cxn ang="0">
                <a:pos x="47" y="91"/>
              </a:cxn>
              <a:cxn ang="0">
                <a:pos x="36" y="94"/>
              </a:cxn>
              <a:cxn ang="0">
                <a:pos x="28" y="102"/>
              </a:cxn>
              <a:cxn ang="0">
                <a:pos x="33" y="108"/>
              </a:cxn>
              <a:cxn ang="0">
                <a:pos x="15" y="122"/>
              </a:cxn>
              <a:cxn ang="0">
                <a:pos x="23" y="122"/>
              </a:cxn>
              <a:cxn ang="0">
                <a:pos x="32" y="126"/>
              </a:cxn>
              <a:cxn ang="0">
                <a:pos x="44" y="129"/>
              </a:cxn>
              <a:cxn ang="0">
                <a:pos x="55" y="124"/>
              </a:cxn>
              <a:cxn ang="0">
                <a:pos x="44" y="132"/>
              </a:cxn>
              <a:cxn ang="0">
                <a:pos x="26" y="140"/>
              </a:cxn>
              <a:cxn ang="0">
                <a:pos x="10" y="152"/>
              </a:cxn>
              <a:cxn ang="0">
                <a:pos x="16" y="152"/>
              </a:cxn>
              <a:cxn ang="0">
                <a:pos x="36" y="149"/>
              </a:cxn>
              <a:cxn ang="0">
                <a:pos x="44" y="143"/>
              </a:cxn>
            </a:cxnLst>
            <a:rect l="0" t="0" r="r" b="b"/>
            <a:pathLst>
              <a:path w="119" h="154">
                <a:moveTo>
                  <a:pt x="55" y="144"/>
                </a:moveTo>
                <a:lnTo>
                  <a:pt x="56" y="144"/>
                </a:lnTo>
                <a:lnTo>
                  <a:pt x="56" y="143"/>
                </a:lnTo>
                <a:lnTo>
                  <a:pt x="59" y="143"/>
                </a:lnTo>
                <a:lnTo>
                  <a:pt x="61" y="143"/>
                </a:lnTo>
                <a:lnTo>
                  <a:pt x="63" y="143"/>
                </a:lnTo>
                <a:lnTo>
                  <a:pt x="63" y="141"/>
                </a:lnTo>
                <a:lnTo>
                  <a:pt x="69" y="141"/>
                </a:lnTo>
                <a:lnTo>
                  <a:pt x="71" y="141"/>
                </a:lnTo>
                <a:lnTo>
                  <a:pt x="72" y="140"/>
                </a:lnTo>
                <a:lnTo>
                  <a:pt x="72" y="138"/>
                </a:lnTo>
                <a:lnTo>
                  <a:pt x="75" y="138"/>
                </a:lnTo>
                <a:lnTo>
                  <a:pt x="76" y="140"/>
                </a:lnTo>
                <a:lnTo>
                  <a:pt x="79" y="138"/>
                </a:lnTo>
                <a:lnTo>
                  <a:pt x="79" y="140"/>
                </a:lnTo>
                <a:lnTo>
                  <a:pt x="80" y="140"/>
                </a:lnTo>
                <a:lnTo>
                  <a:pt x="91" y="140"/>
                </a:lnTo>
                <a:lnTo>
                  <a:pt x="93" y="140"/>
                </a:lnTo>
                <a:lnTo>
                  <a:pt x="107" y="137"/>
                </a:lnTo>
                <a:lnTo>
                  <a:pt x="108" y="137"/>
                </a:lnTo>
                <a:lnTo>
                  <a:pt x="113" y="133"/>
                </a:lnTo>
                <a:lnTo>
                  <a:pt x="115" y="130"/>
                </a:lnTo>
                <a:lnTo>
                  <a:pt x="113" y="130"/>
                </a:lnTo>
                <a:lnTo>
                  <a:pt x="107" y="130"/>
                </a:lnTo>
                <a:lnTo>
                  <a:pt x="104" y="130"/>
                </a:lnTo>
                <a:lnTo>
                  <a:pt x="103" y="129"/>
                </a:lnTo>
                <a:lnTo>
                  <a:pt x="101" y="127"/>
                </a:lnTo>
                <a:lnTo>
                  <a:pt x="105" y="126"/>
                </a:lnTo>
                <a:lnTo>
                  <a:pt x="107" y="124"/>
                </a:lnTo>
                <a:lnTo>
                  <a:pt x="105" y="124"/>
                </a:lnTo>
                <a:lnTo>
                  <a:pt x="104" y="122"/>
                </a:lnTo>
                <a:lnTo>
                  <a:pt x="107" y="122"/>
                </a:lnTo>
                <a:lnTo>
                  <a:pt x="108" y="121"/>
                </a:lnTo>
                <a:lnTo>
                  <a:pt x="109" y="122"/>
                </a:lnTo>
                <a:lnTo>
                  <a:pt x="112" y="121"/>
                </a:lnTo>
                <a:lnTo>
                  <a:pt x="112" y="119"/>
                </a:lnTo>
                <a:lnTo>
                  <a:pt x="113" y="119"/>
                </a:lnTo>
                <a:lnTo>
                  <a:pt x="115" y="118"/>
                </a:lnTo>
                <a:lnTo>
                  <a:pt x="117" y="116"/>
                </a:lnTo>
                <a:lnTo>
                  <a:pt x="119" y="111"/>
                </a:lnTo>
                <a:lnTo>
                  <a:pt x="119" y="108"/>
                </a:lnTo>
                <a:lnTo>
                  <a:pt x="117" y="105"/>
                </a:lnTo>
                <a:lnTo>
                  <a:pt x="116" y="104"/>
                </a:lnTo>
                <a:lnTo>
                  <a:pt x="113" y="102"/>
                </a:lnTo>
                <a:lnTo>
                  <a:pt x="111" y="100"/>
                </a:lnTo>
                <a:lnTo>
                  <a:pt x="107" y="100"/>
                </a:lnTo>
                <a:lnTo>
                  <a:pt x="101" y="102"/>
                </a:lnTo>
                <a:lnTo>
                  <a:pt x="99" y="105"/>
                </a:lnTo>
                <a:lnTo>
                  <a:pt x="97" y="104"/>
                </a:lnTo>
                <a:lnTo>
                  <a:pt x="95" y="104"/>
                </a:lnTo>
                <a:lnTo>
                  <a:pt x="93" y="104"/>
                </a:lnTo>
                <a:lnTo>
                  <a:pt x="95" y="102"/>
                </a:lnTo>
                <a:lnTo>
                  <a:pt x="97" y="99"/>
                </a:lnTo>
                <a:lnTo>
                  <a:pt x="99" y="97"/>
                </a:lnTo>
                <a:lnTo>
                  <a:pt x="99" y="96"/>
                </a:lnTo>
                <a:lnTo>
                  <a:pt x="96" y="93"/>
                </a:lnTo>
                <a:lnTo>
                  <a:pt x="93" y="93"/>
                </a:lnTo>
                <a:lnTo>
                  <a:pt x="93" y="91"/>
                </a:lnTo>
                <a:lnTo>
                  <a:pt x="92" y="91"/>
                </a:lnTo>
                <a:lnTo>
                  <a:pt x="88" y="88"/>
                </a:lnTo>
                <a:lnTo>
                  <a:pt x="89" y="88"/>
                </a:lnTo>
                <a:lnTo>
                  <a:pt x="92" y="89"/>
                </a:lnTo>
                <a:lnTo>
                  <a:pt x="95" y="89"/>
                </a:lnTo>
                <a:lnTo>
                  <a:pt x="96" y="89"/>
                </a:lnTo>
                <a:lnTo>
                  <a:pt x="95" y="86"/>
                </a:lnTo>
                <a:lnTo>
                  <a:pt x="93" y="85"/>
                </a:lnTo>
                <a:lnTo>
                  <a:pt x="91" y="83"/>
                </a:lnTo>
                <a:lnTo>
                  <a:pt x="89" y="80"/>
                </a:lnTo>
                <a:lnTo>
                  <a:pt x="88" y="78"/>
                </a:lnTo>
                <a:lnTo>
                  <a:pt x="85" y="75"/>
                </a:lnTo>
                <a:lnTo>
                  <a:pt x="84" y="74"/>
                </a:lnTo>
                <a:lnTo>
                  <a:pt x="80" y="72"/>
                </a:lnTo>
                <a:lnTo>
                  <a:pt x="76" y="72"/>
                </a:lnTo>
                <a:lnTo>
                  <a:pt x="76" y="71"/>
                </a:lnTo>
                <a:lnTo>
                  <a:pt x="75" y="69"/>
                </a:lnTo>
                <a:lnTo>
                  <a:pt x="72" y="67"/>
                </a:lnTo>
                <a:lnTo>
                  <a:pt x="71" y="64"/>
                </a:lnTo>
                <a:lnTo>
                  <a:pt x="69" y="63"/>
                </a:lnTo>
                <a:lnTo>
                  <a:pt x="69" y="55"/>
                </a:lnTo>
                <a:lnTo>
                  <a:pt x="67" y="53"/>
                </a:lnTo>
                <a:lnTo>
                  <a:pt x="64" y="52"/>
                </a:lnTo>
                <a:lnTo>
                  <a:pt x="61" y="50"/>
                </a:lnTo>
                <a:lnTo>
                  <a:pt x="53" y="47"/>
                </a:lnTo>
                <a:lnTo>
                  <a:pt x="52" y="47"/>
                </a:lnTo>
                <a:lnTo>
                  <a:pt x="48" y="47"/>
                </a:lnTo>
                <a:lnTo>
                  <a:pt x="44" y="47"/>
                </a:lnTo>
                <a:lnTo>
                  <a:pt x="43" y="47"/>
                </a:lnTo>
                <a:lnTo>
                  <a:pt x="44" y="45"/>
                </a:lnTo>
                <a:lnTo>
                  <a:pt x="45" y="44"/>
                </a:lnTo>
                <a:lnTo>
                  <a:pt x="48" y="44"/>
                </a:lnTo>
                <a:lnTo>
                  <a:pt x="51" y="44"/>
                </a:lnTo>
                <a:lnTo>
                  <a:pt x="53" y="42"/>
                </a:lnTo>
                <a:lnTo>
                  <a:pt x="51" y="41"/>
                </a:lnTo>
                <a:lnTo>
                  <a:pt x="49" y="39"/>
                </a:lnTo>
                <a:lnTo>
                  <a:pt x="48" y="39"/>
                </a:lnTo>
                <a:lnTo>
                  <a:pt x="51" y="39"/>
                </a:lnTo>
                <a:lnTo>
                  <a:pt x="52" y="38"/>
                </a:lnTo>
                <a:lnTo>
                  <a:pt x="55" y="36"/>
                </a:lnTo>
                <a:lnTo>
                  <a:pt x="55" y="34"/>
                </a:lnTo>
                <a:lnTo>
                  <a:pt x="59" y="31"/>
                </a:lnTo>
                <a:lnTo>
                  <a:pt x="59" y="30"/>
                </a:lnTo>
                <a:lnTo>
                  <a:pt x="60" y="28"/>
                </a:lnTo>
                <a:lnTo>
                  <a:pt x="61" y="25"/>
                </a:lnTo>
                <a:lnTo>
                  <a:pt x="65" y="22"/>
                </a:lnTo>
                <a:lnTo>
                  <a:pt x="65" y="19"/>
                </a:lnTo>
                <a:lnTo>
                  <a:pt x="64" y="17"/>
                </a:lnTo>
                <a:lnTo>
                  <a:pt x="59" y="17"/>
                </a:lnTo>
                <a:lnTo>
                  <a:pt x="56" y="17"/>
                </a:lnTo>
                <a:lnTo>
                  <a:pt x="49" y="17"/>
                </a:lnTo>
                <a:lnTo>
                  <a:pt x="47" y="17"/>
                </a:lnTo>
                <a:lnTo>
                  <a:pt x="43" y="17"/>
                </a:lnTo>
                <a:lnTo>
                  <a:pt x="33" y="19"/>
                </a:lnTo>
                <a:lnTo>
                  <a:pt x="31" y="20"/>
                </a:lnTo>
                <a:lnTo>
                  <a:pt x="30" y="19"/>
                </a:lnTo>
                <a:lnTo>
                  <a:pt x="31" y="19"/>
                </a:lnTo>
                <a:lnTo>
                  <a:pt x="31" y="17"/>
                </a:lnTo>
                <a:lnTo>
                  <a:pt x="28" y="19"/>
                </a:lnTo>
                <a:lnTo>
                  <a:pt x="28" y="17"/>
                </a:lnTo>
                <a:lnTo>
                  <a:pt x="32" y="17"/>
                </a:lnTo>
                <a:lnTo>
                  <a:pt x="35" y="16"/>
                </a:lnTo>
                <a:lnTo>
                  <a:pt x="30" y="14"/>
                </a:lnTo>
                <a:lnTo>
                  <a:pt x="31" y="12"/>
                </a:lnTo>
                <a:lnTo>
                  <a:pt x="31" y="14"/>
                </a:lnTo>
                <a:lnTo>
                  <a:pt x="33" y="11"/>
                </a:lnTo>
                <a:lnTo>
                  <a:pt x="39" y="9"/>
                </a:lnTo>
                <a:lnTo>
                  <a:pt x="41" y="6"/>
                </a:lnTo>
                <a:lnTo>
                  <a:pt x="44" y="5"/>
                </a:lnTo>
                <a:lnTo>
                  <a:pt x="45" y="1"/>
                </a:lnTo>
                <a:lnTo>
                  <a:pt x="43" y="0"/>
                </a:lnTo>
                <a:lnTo>
                  <a:pt x="39" y="1"/>
                </a:lnTo>
                <a:lnTo>
                  <a:pt x="35" y="1"/>
                </a:lnTo>
                <a:lnTo>
                  <a:pt x="32" y="1"/>
                </a:lnTo>
                <a:lnTo>
                  <a:pt x="27" y="1"/>
                </a:lnTo>
                <a:lnTo>
                  <a:pt x="22" y="1"/>
                </a:lnTo>
                <a:lnTo>
                  <a:pt x="19" y="1"/>
                </a:lnTo>
                <a:lnTo>
                  <a:pt x="16" y="5"/>
                </a:lnTo>
                <a:lnTo>
                  <a:pt x="15" y="8"/>
                </a:lnTo>
                <a:lnTo>
                  <a:pt x="12" y="8"/>
                </a:lnTo>
                <a:lnTo>
                  <a:pt x="12" y="9"/>
                </a:lnTo>
                <a:lnTo>
                  <a:pt x="11" y="11"/>
                </a:lnTo>
                <a:lnTo>
                  <a:pt x="14" y="12"/>
                </a:lnTo>
                <a:lnTo>
                  <a:pt x="6" y="16"/>
                </a:lnTo>
                <a:lnTo>
                  <a:pt x="7" y="19"/>
                </a:lnTo>
                <a:lnTo>
                  <a:pt x="8" y="19"/>
                </a:lnTo>
                <a:lnTo>
                  <a:pt x="8" y="20"/>
                </a:lnTo>
                <a:lnTo>
                  <a:pt x="6" y="20"/>
                </a:lnTo>
                <a:lnTo>
                  <a:pt x="6" y="22"/>
                </a:lnTo>
                <a:lnTo>
                  <a:pt x="7" y="22"/>
                </a:lnTo>
                <a:lnTo>
                  <a:pt x="10" y="22"/>
                </a:lnTo>
                <a:lnTo>
                  <a:pt x="10" y="23"/>
                </a:lnTo>
                <a:lnTo>
                  <a:pt x="8" y="23"/>
                </a:lnTo>
                <a:lnTo>
                  <a:pt x="10" y="23"/>
                </a:lnTo>
                <a:lnTo>
                  <a:pt x="8" y="25"/>
                </a:lnTo>
                <a:lnTo>
                  <a:pt x="8" y="27"/>
                </a:lnTo>
                <a:lnTo>
                  <a:pt x="8" y="28"/>
                </a:lnTo>
                <a:lnTo>
                  <a:pt x="7" y="28"/>
                </a:lnTo>
                <a:lnTo>
                  <a:pt x="7" y="30"/>
                </a:lnTo>
                <a:lnTo>
                  <a:pt x="6" y="30"/>
                </a:lnTo>
                <a:lnTo>
                  <a:pt x="6" y="31"/>
                </a:lnTo>
                <a:lnTo>
                  <a:pt x="6" y="33"/>
                </a:lnTo>
                <a:lnTo>
                  <a:pt x="2" y="34"/>
                </a:lnTo>
                <a:lnTo>
                  <a:pt x="0" y="34"/>
                </a:lnTo>
                <a:lnTo>
                  <a:pt x="3" y="34"/>
                </a:lnTo>
                <a:lnTo>
                  <a:pt x="4" y="38"/>
                </a:lnTo>
                <a:lnTo>
                  <a:pt x="7" y="39"/>
                </a:lnTo>
                <a:lnTo>
                  <a:pt x="10" y="38"/>
                </a:lnTo>
                <a:lnTo>
                  <a:pt x="12" y="36"/>
                </a:lnTo>
                <a:lnTo>
                  <a:pt x="14" y="36"/>
                </a:lnTo>
                <a:lnTo>
                  <a:pt x="14" y="38"/>
                </a:lnTo>
                <a:lnTo>
                  <a:pt x="10" y="42"/>
                </a:lnTo>
                <a:lnTo>
                  <a:pt x="10" y="44"/>
                </a:lnTo>
                <a:lnTo>
                  <a:pt x="10" y="45"/>
                </a:lnTo>
                <a:lnTo>
                  <a:pt x="8" y="47"/>
                </a:lnTo>
                <a:lnTo>
                  <a:pt x="8" y="49"/>
                </a:lnTo>
                <a:lnTo>
                  <a:pt x="8" y="50"/>
                </a:lnTo>
                <a:lnTo>
                  <a:pt x="10" y="50"/>
                </a:lnTo>
                <a:lnTo>
                  <a:pt x="10" y="52"/>
                </a:lnTo>
                <a:lnTo>
                  <a:pt x="8" y="55"/>
                </a:lnTo>
                <a:lnTo>
                  <a:pt x="6" y="58"/>
                </a:lnTo>
                <a:lnTo>
                  <a:pt x="6" y="60"/>
                </a:lnTo>
                <a:lnTo>
                  <a:pt x="8" y="60"/>
                </a:lnTo>
                <a:lnTo>
                  <a:pt x="8" y="58"/>
                </a:lnTo>
                <a:lnTo>
                  <a:pt x="10" y="56"/>
                </a:lnTo>
                <a:lnTo>
                  <a:pt x="12" y="52"/>
                </a:lnTo>
                <a:lnTo>
                  <a:pt x="12" y="49"/>
                </a:lnTo>
                <a:lnTo>
                  <a:pt x="11" y="47"/>
                </a:lnTo>
                <a:lnTo>
                  <a:pt x="16" y="44"/>
                </a:lnTo>
                <a:lnTo>
                  <a:pt x="15" y="44"/>
                </a:lnTo>
                <a:lnTo>
                  <a:pt x="14" y="47"/>
                </a:lnTo>
                <a:lnTo>
                  <a:pt x="14" y="50"/>
                </a:lnTo>
                <a:lnTo>
                  <a:pt x="14" y="49"/>
                </a:lnTo>
                <a:lnTo>
                  <a:pt x="15" y="49"/>
                </a:lnTo>
                <a:lnTo>
                  <a:pt x="16" y="47"/>
                </a:lnTo>
                <a:lnTo>
                  <a:pt x="18" y="49"/>
                </a:lnTo>
                <a:lnTo>
                  <a:pt x="19" y="49"/>
                </a:lnTo>
                <a:lnTo>
                  <a:pt x="19" y="45"/>
                </a:lnTo>
                <a:lnTo>
                  <a:pt x="20" y="47"/>
                </a:lnTo>
                <a:lnTo>
                  <a:pt x="23" y="49"/>
                </a:lnTo>
                <a:lnTo>
                  <a:pt x="22" y="49"/>
                </a:lnTo>
                <a:lnTo>
                  <a:pt x="20" y="49"/>
                </a:lnTo>
                <a:lnTo>
                  <a:pt x="20" y="50"/>
                </a:lnTo>
                <a:lnTo>
                  <a:pt x="19" y="53"/>
                </a:lnTo>
                <a:lnTo>
                  <a:pt x="20" y="53"/>
                </a:lnTo>
                <a:lnTo>
                  <a:pt x="22" y="55"/>
                </a:lnTo>
                <a:lnTo>
                  <a:pt x="23" y="56"/>
                </a:lnTo>
                <a:lnTo>
                  <a:pt x="22" y="58"/>
                </a:lnTo>
                <a:lnTo>
                  <a:pt x="20" y="61"/>
                </a:lnTo>
                <a:lnTo>
                  <a:pt x="18" y="63"/>
                </a:lnTo>
                <a:lnTo>
                  <a:pt x="18" y="64"/>
                </a:lnTo>
                <a:lnTo>
                  <a:pt x="18" y="66"/>
                </a:lnTo>
                <a:lnTo>
                  <a:pt x="15" y="66"/>
                </a:lnTo>
                <a:lnTo>
                  <a:pt x="18" y="71"/>
                </a:lnTo>
                <a:lnTo>
                  <a:pt x="19" y="71"/>
                </a:lnTo>
                <a:lnTo>
                  <a:pt x="19" y="69"/>
                </a:lnTo>
                <a:lnTo>
                  <a:pt x="19" y="67"/>
                </a:lnTo>
                <a:lnTo>
                  <a:pt x="20" y="67"/>
                </a:lnTo>
                <a:lnTo>
                  <a:pt x="24" y="71"/>
                </a:lnTo>
                <a:lnTo>
                  <a:pt x="26" y="71"/>
                </a:lnTo>
                <a:lnTo>
                  <a:pt x="27" y="69"/>
                </a:lnTo>
                <a:lnTo>
                  <a:pt x="27" y="67"/>
                </a:lnTo>
                <a:lnTo>
                  <a:pt x="33" y="69"/>
                </a:lnTo>
                <a:lnTo>
                  <a:pt x="37" y="67"/>
                </a:lnTo>
                <a:lnTo>
                  <a:pt x="39" y="66"/>
                </a:lnTo>
                <a:lnTo>
                  <a:pt x="40" y="66"/>
                </a:lnTo>
                <a:lnTo>
                  <a:pt x="47" y="66"/>
                </a:lnTo>
                <a:lnTo>
                  <a:pt x="45" y="66"/>
                </a:lnTo>
                <a:lnTo>
                  <a:pt x="44" y="66"/>
                </a:lnTo>
                <a:lnTo>
                  <a:pt x="41" y="67"/>
                </a:lnTo>
                <a:lnTo>
                  <a:pt x="39" y="72"/>
                </a:lnTo>
                <a:lnTo>
                  <a:pt x="37" y="74"/>
                </a:lnTo>
                <a:lnTo>
                  <a:pt x="39" y="75"/>
                </a:lnTo>
                <a:lnTo>
                  <a:pt x="40" y="77"/>
                </a:lnTo>
                <a:lnTo>
                  <a:pt x="41" y="78"/>
                </a:lnTo>
                <a:lnTo>
                  <a:pt x="43" y="78"/>
                </a:lnTo>
                <a:lnTo>
                  <a:pt x="44" y="82"/>
                </a:lnTo>
                <a:lnTo>
                  <a:pt x="48" y="80"/>
                </a:lnTo>
                <a:lnTo>
                  <a:pt x="51" y="78"/>
                </a:lnTo>
                <a:lnTo>
                  <a:pt x="52" y="78"/>
                </a:lnTo>
                <a:lnTo>
                  <a:pt x="51" y="80"/>
                </a:lnTo>
                <a:lnTo>
                  <a:pt x="49" y="83"/>
                </a:lnTo>
                <a:lnTo>
                  <a:pt x="48" y="85"/>
                </a:lnTo>
                <a:lnTo>
                  <a:pt x="48" y="86"/>
                </a:lnTo>
                <a:lnTo>
                  <a:pt x="51" y="88"/>
                </a:lnTo>
                <a:lnTo>
                  <a:pt x="48" y="88"/>
                </a:lnTo>
                <a:lnTo>
                  <a:pt x="47" y="91"/>
                </a:lnTo>
                <a:lnTo>
                  <a:pt x="48" y="93"/>
                </a:lnTo>
                <a:lnTo>
                  <a:pt x="49" y="93"/>
                </a:lnTo>
                <a:lnTo>
                  <a:pt x="48" y="94"/>
                </a:lnTo>
                <a:lnTo>
                  <a:pt x="47" y="96"/>
                </a:lnTo>
                <a:lnTo>
                  <a:pt x="36" y="94"/>
                </a:lnTo>
                <a:lnTo>
                  <a:pt x="32" y="96"/>
                </a:lnTo>
                <a:lnTo>
                  <a:pt x="28" y="99"/>
                </a:lnTo>
                <a:lnTo>
                  <a:pt x="23" y="104"/>
                </a:lnTo>
                <a:lnTo>
                  <a:pt x="24" y="104"/>
                </a:lnTo>
                <a:lnTo>
                  <a:pt x="28" y="102"/>
                </a:lnTo>
                <a:lnTo>
                  <a:pt x="31" y="102"/>
                </a:lnTo>
                <a:lnTo>
                  <a:pt x="31" y="104"/>
                </a:lnTo>
                <a:lnTo>
                  <a:pt x="31" y="107"/>
                </a:lnTo>
                <a:lnTo>
                  <a:pt x="32" y="108"/>
                </a:lnTo>
                <a:lnTo>
                  <a:pt x="33" y="108"/>
                </a:lnTo>
                <a:lnTo>
                  <a:pt x="31" y="113"/>
                </a:lnTo>
                <a:lnTo>
                  <a:pt x="23" y="118"/>
                </a:lnTo>
                <a:lnTo>
                  <a:pt x="14" y="121"/>
                </a:lnTo>
                <a:lnTo>
                  <a:pt x="15" y="121"/>
                </a:lnTo>
                <a:lnTo>
                  <a:pt x="15" y="122"/>
                </a:lnTo>
                <a:lnTo>
                  <a:pt x="16" y="124"/>
                </a:lnTo>
                <a:lnTo>
                  <a:pt x="18" y="126"/>
                </a:lnTo>
                <a:lnTo>
                  <a:pt x="19" y="126"/>
                </a:lnTo>
                <a:lnTo>
                  <a:pt x="20" y="124"/>
                </a:lnTo>
                <a:lnTo>
                  <a:pt x="23" y="122"/>
                </a:lnTo>
                <a:lnTo>
                  <a:pt x="26" y="122"/>
                </a:lnTo>
                <a:lnTo>
                  <a:pt x="27" y="122"/>
                </a:lnTo>
                <a:lnTo>
                  <a:pt x="27" y="126"/>
                </a:lnTo>
                <a:lnTo>
                  <a:pt x="28" y="126"/>
                </a:lnTo>
                <a:lnTo>
                  <a:pt x="32" y="126"/>
                </a:lnTo>
                <a:lnTo>
                  <a:pt x="33" y="124"/>
                </a:lnTo>
                <a:lnTo>
                  <a:pt x="35" y="124"/>
                </a:lnTo>
                <a:lnTo>
                  <a:pt x="40" y="129"/>
                </a:lnTo>
                <a:lnTo>
                  <a:pt x="41" y="129"/>
                </a:lnTo>
                <a:lnTo>
                  <a:pt x="44" y="129"/>
                </a:lnTo>
                <a:lnTo>
                  <a:pt x="45" y="129"/>
                </a:lnTo>
                <a:lnTo>
                  <a:pt x="47" y="127"/>
                </a:lnTo>
                <a:lnTo>
                  <a:pt x="49" y="126"/>
                </a:lnTo>
                <a:lnTo>
                  <a:pt x="55" y="122"/>
                </a:lnTo>
                <a:lnTo>
                  <a:pt x="55" y="124"/>
                </a:lnTo>
                <a:lnTo>
                  <a:pt x="53" y="126"/>
                </a:lnTo>
                <a:lnTo>
                  <a:pt x="48" y="130"/>
                </a:lnTo>
                <a:lnTo>
                  <a:pt x="48" y="132"/>
                </a:lnTo>
                <a:lnTo>
                  <a:pt x="47" y="132"/>
                </a:lnTo>
                <a:lnTo>
                  <a:pt x="44" y="132"/>
                </a:lnTo>
                <a:lnTo>
                  <a:pt x="35" y="132"/>
                </a:lnTo>
                <a:lnTo>
                  <a:pt x="31" y="133"/>
                </a:lnTo>
                <a:lnTo>
                  <a:pt x="30" y="135"/>
                </a:lnTo>
                <a:lnTo>
                  <a:pt x="27" y="137"/>
                </a:lnTo>
                <a:lnTo>
                  <a:pt x="26" y="140"/>
                </a:lnTo>
                <a:lnTo>
                  <a:pt x="14" y="149"/>
                </a:lnTo>
                <a:lnTo>
                  <a:pt x="10" y="151"/>
                </a:lnTo>
                <a:lnTo>
                  <a:pt x="8" y="152"/>
                </a:lnTo>
                <a:lnTo>
                  <a:pt x="8" y="154"/>
                </a:lnTo>
                <a:lnTo>
                  <a:pt x="10" y="152"/>
                </a:lnTo>
                <a:lnTo>
                  <a:pt x="11" y="152"/>
                </a:lnTo>
                <a:lnTo>
                  <a:pt x="14" y="154"/>
                </a:lnTo>
                <a:lnTo>
                  <a:pt x="15" y="152"/>
                </a:lnTo>
                <a:lnTo>
                  <a:pt x="15" y="154"/>
                </a:lnTo>
                <a:lnTo>
                  <a:pt x="16" y="152"/>
                </a:lnTo>
                <a:lnTo>
                  <a:pt x="18" y="151"/>
                </a:lnTo>
                <a:lnTo>
                  <a:pt x="20" y="149"/>
                </a:lnTo>
                <a:lnTo>
                  <a:pt x="22" y="147"/>
                </a:lnTo>
                <a:lnTo>
                  <a:pt x="31" y="147"/>
                </a:lnTo>
                <a:lnTo>
                  <a:pt x="36" y="149"/>
                </a:lnTo>
                <a:lnTo>
                  <a:pt x="37" y="149"/>
                </a:lnTo>
                <a:lnTo>
                  <a:pt x="40" y="147"/>
                </a:lnTo>
                <a:lnTo>
                  <a:pt x="40" y="143"/>
                </a:lnTo>
                <a:lnTo>
                  <a:pt x="41" y="143"/>
                </a:lnTo>
                <a:lnTo>
                  <a:pt x="44" y="143"/>
                </a:lnTo>
                <a:lnTo>
                  <a:pt x="47" y="141"/>
                </a:lnTo>
                <a:lnTo>
                  <a:pt x="51" y="140"/>
                </a:lnTo>
                <a:lnTo>
                  <a:pt x="55" y="144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57" name="Freeform 356"/>
          <p:cNvSpPr>
            <a:spLocks/>
          </p:cNvSpPr>
          <p:nvPr/>
        </p:nvSpPr>
        <p:spPr bwMode="auto">
          <a:xfrm>
            <a:off x="5499033" y="2276114"/>
            <a:ext cx="226062" cy="285632"/>
          </a:xfrm>
          <a:custGeom>
            <a:avLst/>
            <a:gdLst/>
            <a:ahLst/>
            <a:cxnLst>
              <a:cxn ang="0">
                <a:pos x="59" y="143"/>
              </a:cxn>
              <a:cxn ang="0">
                <a:pos x="69" y="141"/>
              </a:cxn>
              <a:cxn ang="0">
                <a:pos x="75" y="138"/>
              </a:cxn>
              <a:cxn ang="0">
                <a:pos x="80" y="140"/>
              </a:cxn>
              <a:cxn ang="0">
                <a:pos x="108" y="137"/>
              </a:cxn>
              <a:cxn ang="0">
                <a:pos x="107" y="130"/>
              </a:cxn>
              <a:cxn ang="0">
                <a:pos x="105" y="126"/>
              </a:cxn>
              <a:cxn ang="0">
                <a:pos x="107" y="122"/>
              </a:cxn>
              <a:cxn ang="0">
                <a:pos x="112" y="119"/>
              </a:cxn>
              <a:cxn ang="0">
                <a:pos x="119" y="111"/>
              </a:cxn>
              <a:cxn ang="0">
                <a:pos x="113" y="102"/>
              </a:cxn>
              <a:cxn ang="0">
                <a:pos x="99" y="105"/>
              </a:cxn>
              <a:cxn ang="0">
                <a:pos x="95" y="102"/>
              </a:cxn>
              <a:cxn ang="0">
                <a:pos x="96" y="93"/>
              </a:cxn>
              <a:cxn ang="0">
                <a:pos x="88" y="88"/>
              </a:cxn>
              <a:cxn ang="0">
                <a:pos x="96" y="89"/>
              </a:cxn>
              <a:cxn ang="0">
                <a:pos x="89" y="80"/>
              </a:cxn>
              <a:cxn ang="0">
                <a:pos x="80" y="72"/>
              </a:cxn>
              <a:cxn ang="0">
                <a:pos x="72" y="67"/>
              </a:cxn>
              <a:cxn ang="0">
                <a:pos x="67" y="53"/>
              </a:cxn>
              <a:cxn ang="0">
                <a:pos x="52" y="47"/>
              </a:cxn>
              <a:cxn ang="0">
                <a:pos x="44" y="45"/>
              </a:cxn>
              <a:cxn ang="0">
                <a:pos x="53" y="42"/>
              </a:cxn>
              <a:cxn ang="0">
                <a:pos x="51" y="39"/>
              </a:cxn>
              <a:cxn ang="0">
                <a:pos x="59" y="31"/>
              </a:cxn>
              <a:cxn ang="0">
                <a:pos x="65" y="22"/>
              </a:cxn>
              <a:cxn ang="0">
                <a:pos x="56" y="17"/>
              </a:cxn>
              <a:cxn ang="0">
                <a:pos x="33" y="19"/>
              </a:cxn>
              <a:cxn ang="0">
                <a:pos x="31" y="17"/>
              </a:cxn>
              <a:cxn ang="0">
                <a:pos x="35" y="16"/>
              </a:cxn>
              <a:cxn ang="0">
                <a:pos x="33" y="11"/>
              </a:cxn>
              <a:cxn ang="0">
                <a:pos x="45" y="1"/>
              </a:cxn>
              <a:cxn ang="0">
                <a:pos x="32" y="1"/>
              </a:cxn>
              <a:cxn ang="0">
                <a:pos x="16" y="5"/>
              </a:cxn>
              <a:cxn ang="0">
                <a:pos x="11" y="11"/>
              </a:cxn>
              <a:cxn ang="0">
                <a:pos x="8" y="19"/>
              </a:cxn>
              <a:cxn ang="0">
                <a:pos x="7" y="22"/>
              </a:cxn>
              <a:cxn ang="0">
                <a:pos x="10" y="23"/>
              </a:cxn>
              <a:cxn ang="0">
                <a:pos x="7" y="28"/>
              </a:cxn>
              <a:cxn ang="0">
                <a:pos x="6" y="33"/>
              </a:cxn>
              <a:cxn ang="0">
                <a:pos x="4" y="38"/>
              </a:cxn>
              <a:cxn ang="0">
                <a:pos x="14" y="36"/>
              </a:cxn>
              <a:cxn ang="0">
                <a:pos x="10" y="45"/>
              </a:cxn>
              <a:cxn ang="0">
                <a:pos x="10" y="50"/>
              </a:cxn>
              <a:cxn ang="0">
                <a:pos x="6" y="60"/>
              </a:cxn>
              <a:cxn ang="0">
                <a:pos x="12" y="52"/>
              </a:cxn>
              <a:cxn ang="0">
                <a:pos x="15" y="44"/>
              </a:cxn>
              <a:cxn ang="0">
                <a:pos x="15" y="49"/>
              </a:cxn>
              <a:cxn ang="0">
                <a:pos x="19" y="45"/>
              </a:cxn>
            </a:cxnLst>
            <a:rect l="0" t="0" r="r" b="b"/>
            <a:pathLst>
              <a:path w="119" h="144">
                <a:moveTo>
                  <a:pt x="55" y="144"/>
                </a:moveTo>
                <a:lnTo>
                  <a:pt x="56" y="144"/>
                </a:lnTo>
                <a:lnTo>
                  <a:pt x="56" y="143"/>
                </a:lnTo>
                <a:lnTo>
                  <a:pt x="59" y="143"/>
                </a:lnTo>
                <a:lnTo>
                  <a:pt x="61" y="143"/>
                </a:lnTo>
                <a:lnTo>
                  <a:pt x="63" y="143"/>
                </a:lnTo>
                <a:lnTo>
                  <a:pt x="63" y="141"/>
                </a:lnTo>
                <a:lnTo>
                  <a:pt x="69" y="141"/>
                </a:lnTo>
                <a:lnTo>
                  <a:pt x="71" y="141"/>
                </a:lnTo>
                <a:lnTo>
                  <a:pt x="72" y="140"/>
                </a:lnTo>
                <a:lnTo>
                  <a:pt x="72" y="138"/>
                </a:lnTo>
                <a:lnTo>
                  <a:pt x="75" y="138"/>
                </a:lnTo>
                <a:lnTo>
                  <a:pt x="76" y="140"/>
                </a:lnTo>
                <a:lnTo>
                  <a:pt x="79" y="138"/>
                </a:lnTo>
                <a:lnTo>
                  <a:pt x="79" y="140"/>
                </a:lnTo>
                <a:lnTo>
                  <a:pt x="80" y="140"/>
                </a:lnTo>
                <a:lnTo>
                  <a:pt x="91" y="140"/>
                </a:lnTo>
                <a:lnTo>
                  <a:pt x="93" y="140"/>
                </a:lnTo>
                <a:lnTo>
                  <a:pt x="107" y="137"/>
                </a:lnTo>
                <a:lnTo>
                  <a:pt x="108" y="137"/>
                </a:lnTo>
                <a:lnTo>
                  <a:pt x="113" y="133"/>
                </a:lnTo>
                <a:lnTo>
                  <a:pt x="115" y="130"/>
                </a:lnTo>
                <a:lnTo>
                  <a:pt x="113" y="130"/>
                </a:lnTo>
                <a:lnTo>
                  <a:pt x="107" y="130"/>
                </a:lnTo>
                <a:lnTo>
                  <a:pt x="104" y="130"/>
                </a:lnTo>
                <a:lnTo>
                  <a:pt x="103" y="129"/>
                </a:lnTo>
                <a:lnTo>
                  <a:pt x="101" y="127"/>
                </a:lnTo>
                <a:lnTo>
                  <a:pt x="105" y="126"/>
                </a:lnTo>
                <a:lnTo>
                  <a:pt x="107" y="124"/>
                </a:lnTo>
                <a:lnTo>
                  <a:pt x="105" y="124"/>
                </a:lnTo>
                <a:lnTo>
                  <a:pt x="104" y="122"/>
                </a:lnTo>
                <a:lnTo>
                  <a:pt x="107" y="122"/>
                </a:lnTo>
                <a:lnTo>
                  <a:pt x="108" y="121"/>
                </a:lnTo>
                <a:lnTo>
                  <a:pt x="109" y="122"/>
                </a:lnTo>
                <a:lnTo>
                  <a:pt x="112" y="121"/>
                </a:lnTo>
                <a:lnTo>
                  <a:pt x="112" y="119"/>
                </a:lnTo>
                <a:lnTo>
                  <a:pt x="113" y="119"/>
                </a:lnTo>
                <a:lnTo>
                  <a:pt x="115" y="118"/>
                </a:lnTo>
                <a:lnTo>
                  <a:pt x="117" y="116"/>
                </a:lnTo>
                <a:lnTo>
                  <a:pt x="119" y="111"/>
                </a:lnTo>
                <a:lnTo>
                  <a:pt x="119" y="108"/>
                </a:lnTo>
                <a:lnTo>
                  <a:pt x="117" y="105"/>
                </a:lnTo>
                <a:lnTo>
                  <a:pt x="116" y="104"/>
                </a:lnTo>
                <a:lnTo>
                  <a:pt x="113" y="102"/>
                </a:lnTo>
                <a:lnTo>
                  <a:pt x="111" y="100"/>
                </a:lnTo>
                <a:lnTo>
                  <a:pt x="107" y="100"/>
                </a:lnTo>
                <a:lnTo>
                  <a:pt x="101" y="102"/>
                </a:lnTo>
                <a:lnTo>
                  <a:pt x="99" y="105"/>
                </a:lnTo>
                <a:lnTo>
                  <a:pt x="97" y="104"/>
                </a:lnTo>
                <a:lnTo>
                  <a:pt x="95" y="104"/>
                </a:lnTo>
                <a:lnTo>
                  <a:pt x="93" y="104"/>
                </a:lnTo>
                <a:lnTo>
                  <a:pt x="95" y="102"/>
                </a:lnTo>
                <a:lnTo>
                  <a:pt x="97" y="99"/>
                </a:lnTo>
                <a:lnTo>
                  <a:pt x="99" y="97"/>
                </a:lnTo>
                <a:lnTo>
                  <a:pt x="99" y="96"/>
                </a:lnTo>
                <a:lnTo>
                  <a:pt x="96" y="93"/>
                </a:lnTo>
                <a:lnTo>
                  <a:pt x="93" y="93"/>
                </a:lnTo>
                <a:lnTo>
                  <a:pt x="93" y="91"/>
                </a:lnTo>
                <a:lnTo>
                  <a:pt x="92" y="91"/>
                </a:lnTo>
                <a:lnTo>
                  <a:pt x="88" y="88"/>
                </a:lnTo>
                <a:lnTo>
                  <a:pt x="89" y="88"/>
                </a:lnTo>
                <a:lnTo>
                  <a:pt x="92" y="89"/>
                </a:lnTo>
                <a:lnTo>
                  <a:pt x="95" y="89"/>
                </a:lnTo>
                <a:lnTo>
                  <a:pt x="96" y="89"/>
                </a:lnTo>
                <a:lnTo>
                  <a:pt x="95" y="86"/>
                </a:lnTo>
                <a:lnTo>
                  <a:pt x="93" y="85"/>
                </a:lnTo>
                <a:lnTo>
                  <a:pt x="91" y="83"/>
                </a:lnTo>
                <a:lnTo>
                  <a:pt x="89" y="80"/>
                </a:lnTo>
                <a:lnTo>
                  <a:pt x="88" y="78"/>
                </a:lnTo>
                <a:lnTo>
                  <a:pt x="85" y="75"/>
                </a:lnTo>
                <a:lnTo>
                  <a:pt x="84" y="74"/>
                </a:lnTo>
                <a:lnTo>
                  <a:pt x="80" y="72"/>
                </a:lnTo>
                <a:lnTo>
                  <a:pt x="76" y="72"/>
                </a:lnTo>
                <a:lnTo>
                  <a:pt x="76" y="71"/>
                </a:lnTo>
                <a:lnTo>
                  <a:pt x="75" y="69"/>
                </a:lnTo>
                <a:lnTo>
                  <a:pt x="72" y="67"/>
                </a:lnTo>
                <a:lnTo>
                  <a:pt x="71" y="64"/>
                </a:lnTo>
                <a:lnTo>
                  <a:pt x="69" y="63"/>
                </a:lnTo>
                <a:lnTo>
                  <a:pt x="69" y="55"/>
                </a:lnTo>
                <a:lnTo>
                  <a:pt x="67" y="53"/>
                </a:lnTo>
                <a:lnTo>
                  <a:pt x="64" y="52"/>
                </a:lnTo>
                <a:lnTo>
                  <a:pt x="61" y="50"/>
                </a:lnTo>
                <a:lnTo>
                  <a:pt x="53" y="47"/>
                </a:lnTo>
                <a:lnTo>
                  <a:pt x="52" y="47"/>
                </a:lnTo>
                <a:lnTo>
                  <a:pt x="48" y="47"/>
                </a:lnTo>
                <a:lnTo>
                  <a:pt x="44" y="47"/>
                </a:lnTo>
                <a:lnTo>
                  <a:pt x="43" y="47"/>
                </a:lnTo>
                <a:lnTo>
                  <a:pt x="44" y="45"/>
                </a:lnTo>
                <a:lnTo>
                  <a:pt x="45" y="44"/>
                </a:lnTo>
                <a:lnTo>
                  <a:pt x="48" y="44"/>
                </a:lnTo>
                <a:lnTo>
                  <a:pt x="51" y="44"/>
                </a:lnTo>
                <a:lnTo>
                  <a:pt x="53" y="42"/>
                </a:lnTo>
                <a:lnTo>
                  <a:pt x="51" y="41"/>
                </a:lnTo>
                <a:lnTo>
                  <a:pt x="49" y="39"/>
                </a:lnTo>
                <a:lnTo>
                  <a:pt x="48" y="39"/>
                </a:lnTo>
                <a:lnTo>
                  <a:pt x="51" y="39"/>
                </a:lnTo>
                <a:lnTo>
                  <a:pt x="52" y="38"/>
                </a:lnTo>
                <a:lnTo>
                  <a:pt x="55" y="36"/>
                </a:lnTo>
                <a:lnTo>
                  <a:pt x="55" y="34"/>
                </a:lnTo>
                <a:lnTo>
                  <a:pt x="59" y="31"/>
                </a:lnTo>
                <a:lnTo>
                  <a:pt x="59" y="30"/>
                </a:lnTo>
                <a:lnTo>
                  <a:pt x="60" y="28"/>
                </a:lnTo>
                <a:lnTo>
                  <a:pt x="61" y="25"/>
                </a:lnTo>
                <a:lnTo>
                  <a:pt x="65" y="22"/>
                </a:lnTo>
                <a:lnTo>
                  <a:pt x="65" y="19"/>
                </a:lnTo>
                <a:lnTo>
                  <a:pt x="64" y="17"/>
                </a:lnTo>
                <a:lnTo>
                  <a:pt x="59" y="17"/>
                </a:lnTo>
                <a:lnTo>
                  <a:pt x="56" y="17"/>
                </a:lnTo>
                <a:lnTo>
                  <a:pt x="49" y="17"/>
                </a:lnTo>
                <a:lnTo>
                  <a:pt x="47" y="17"/>
                </a:lnTo>
                <a:lnTo>
                  <a:pt x="43" y="17"/>
                </a:lnTo>
                <a:lnTo>
                  <a:pt x="33" y="19"/>
                </a:lnTo>
                <a:lnTo>
                  <a:pt x="31" y="20"/>
                </a:lnTo>
                <a:lnTo>
                  <a:pt x="30" y="19"/>
                </a:lnTo>
                <a:lnTo>
                  <a:pt x="31" y="19"/>
                </a:lnTo>
                <a:lnTo>
                  <a:pt x="31" y="17"/>
                </a:lnTo>
                <a:lnTo>
                  <a:pt x="28" y="19"/>
                </a:lnTo>
                <a:lnTo>
                  <a:pt x="28" y="17"/>
                </a:lnTo>
                <a:lnTo>
                  <a:pt x="32" y="17"/>
                </a:lnTo>
                <a:lnTo>
                  <a:pt x="35" y="16"/>
                </a:lnTo>
                <a:lnTo>
                  <a:pt x="30" y="14"/>
                </a:lnTo>
                <a:lnTo>
                  <a:pt x="31" y="12"/>
                </a:lnTo>
                <a:lnTo>
                  <a:pt x="31" y="14"/>
                </a:lnTo>
                <a:lnTo>
                  <a:pt x="33" y="11"/>
                </a:lnTo>
                <a:lnTo>
                  <a:pt x="39" y="9"/>
                </a:lnTo>
                <a:lnTo>
                  <a:pt x="41" y="6"/>
                </a:lnTo>
                <a:lnTo>
                  <a:pt x="44" y="5"/>
                </a:lnTo>
                <a:lnTo>
                  <a:pt x="45" y="1"/>
                </a:lnTo>
                <a:lnTo>
                  <a:pt x="43" y="0"/>
                </a:lnTo>
                <a:lnTo>
                  <a:pt x="39" y="1"/>
                </a:lnTo>
                <a:lnTo>
                  <a:pt x="35" y="1"/>
                </a:lnTo>
                <a:lnTo>
                  <a:pt x="32" y="1"/>
                </a:lnTo>
                <a:lnTo>
                  <a:pt x="27" y="1"/>
                </a:lnTo>
                <a:lnTo>
                  <a:pt x="22" y="1"/>
                </a:lnTo>
                <a:lnTo>
                  <a:pt x="19" y="1"/>
                </a:lnTo>
                <a:lnTo>
                  <a:pt x="16" y="5"/>
                </a:lnTo>
                <a:lnTo>
                  <a:pt x="15" y="8"/>
                </a:lnTo>
                <a:lnTo>
                  <a:pt x="12" y="8"/>
                </a:lnTo>
                <a:lnTo>
                  <a:pt x="12" y="9"/>
                </a:lnTo>
                <a:lnTo>
                  <a:pt x="11" y="11"/>
                </a:lnTo>
                <a:lnTo>
                  <a:pt x="14" y="12"/>
                </a:lnTo>
                <a:lnTo>
                  <a:pt x="6" y="16"/>
                </a:lnTo>
                <a:lnTo>
                  <a:pt x="7" y="19"/>
                </a:lnTo>
                <a:lnTo>
                  <a:pt x="8" y="19"/>
                </a:lnTo>
                <a:lnTo>
                  <a:pt x="8" y="20"/>
                </a:lnTo>
                <a:lnTo>
                  <a:pt x="6" y="20"/>
                </a:lnTo>
                <a:lnTo>
                  <a:pt x="6" y="22"/>
                </a:lnTo>
                <a:lnTo>
                  <a:pt x="7" y="22"/>
                </a:lnTo>
                <a:lnTo>
                  <a:pt x="10" y="22"/>
                </a:lnTo>
                <a:lnTo>
                  <a:pt x="10" y="23"/>
                </a:lnTo>
                <a:lnTo>
                  <a:pt x="8" y="23"/>
                </a:lnTo>
                <a:lnTo>
                  <a:pt x="10" y="23"/>
                </a:lnTo>
                <a:lnTo>
                  <a:pt x="8" y="25"/>
                </a:lnTo>
                <a:lnTo>
                  <a:pt x="8" y="27"/>
                </a:lnTo>
                <a:lnTo>
                  <a:pt x="8" y="28"/>
                </a:lnTo>
                <a:lnTo>
                  <a:pt x="7" y="28"/>
                </a:lnTo>
                <a:lnTo>
                  <a:pt x="7" y="30"/>
                </a:lnTo>
                <a:lnTo>
                  <a:pt x="6" y="30"/>
                </a:lnTo>
                <a:lnTo>
                  <a:pt x="6" y="31"/>
                </a:lnTo>
                <a:lnTo>
                  <a:pt x="6" y="33"/>
                </a:lnTo>
                <a:lnTo>
                  <a:pt x="2" y="34"/>
                </a:lnTo>
                <a:lnTo>
                  <a:pt x="0" y="34"/>
                </a:lnTo>
                <a:lnTo>
                  <a:pt x="3" y="34"/>
                </a:lnTo>
                <a:lnTo>
                  <a:pt x="4" y="38"/>
                </a:lnTo>
                <a:lnTo>
                  <a:pt x="7" y="39"/>
                </a:lnTo>
                <a:lnTo>
                  <a:pt x="10" y="38"/>
                </a:lnTo>
                <a:lnTo>
                  <a:pt x="12" y="36"/>
                </a:lnTo>
                <a:lnTo>
                  <a:pt x="14" y="36"/>
                </a:lnTo>
                <a:lnTo>
                  <a:pt x="14" y="38"/>
                </a:lnTo>
                <a:lnTo>
                  <a:pt x="10" y="42"/>
                </a:lnTo>
                <a:lnTo>
                  <a:pt x="10" y="44"/>
                </a:lnTo>
                <a:lnTo>
                  <a:pt x="10" y="45"/>
                </a:lnTo>
                <a:lnTo>
                  <a:pt x="8" y="47"/>
                </a:lnTo>
                <a:lnTo>
                  <a:pt x="8" y="49"/>
                </a:lnTo>
                <a:lnTo>
                  <a:pt x="8" y="50"/>
                </a:lnTo>
                <a:lnTo>
                  <a:pt x="10" y="50"/>
                </a:lnTo>
                <a:lnTo>
                  <a:pt x="10" y="52"/>
                </a:lnTo>
                <a:lnTo>
                  <a:pt x="8" y="55"/>
                </a:lnTo>
                <a:lnTo>
                  <a:pt x="6" y="58"/>
                </a:lnTo>
                <a:lnTo>
                  <a:pt x="6" y="60"/>
                </a:lnTo>
                <a:lnTo>
                  <a:pt x="8" y="60"/>
                </a:lnTo>
                <a:lnTo>
                  <a:pt x="8" y="58"/>
                </a:lnTo>
                <a:lnTo>
                  <a:pt x="10" y="56"/>
                </a:lnTo>
                <a:lnTo>
                  <a:pt x="12" y="52"/>
                </a:lnTo>
                <a:lnTo>
                  <a:pt x="12" y="49"/>
                </a:lnTo>
                <a:lnTo>
                  <a:pt x="11" y="47"/>
                </a:lnTo>
                <a:lnTo>
                  <a:pt x="16" y="44"/>
                </a:lnTo>
                <a:lnTo>
                  <a:pt x="15" y="44"/>
                </a:lnTo>
                <a:lnTo>
                  <a:pt x="14" y="47"/>
                </a:lnTo>
                <a:lnTo>
                  <a:pt x="14" y="50"/>
                </a:lnTo>
                <a:lnTo>
                  <a:pt x="14" y="49"/>
                </a:lnTo>
                <a:lnTo>
                  <a:pt x="15" y="49"/>
                </a:lnTo>
                <a:lnTo>
                  <a:pt x="16" y="47"/>
                </a:lnTo>
                <a:lnTo>
                  <a:pt x="18" y="49"/>
                </a:lnTo>
                <a:lnTo>
                  <a:pt x="19" y="49"/>
                </a:lnTo>
                <a:lnTo>
                  <a:pt x="19" y="45"/>
                </a:lnTo>
                <a:lnTo>
                  <a:pt x="20" y="47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58" name="Freeform 357"/>
          <p:cNvSpPr>
            <a:spLocks/>
          </p:cNvSpPr>
          <p:nvPr/>
        </p:nvSpPr>
        <p:spPr bwMode="auto">
          <a:xfrm>
            <a:off x="5514624" y="2368462"/>
            <a:ext cx="89645" cy="214760"/>
          </a:xfrm>
          <a:custGeom>
            <a:avLst/>
            <a:gdLst/>
            <a:ahLst/>
            <a:cxnLst>
              <a:cxn ang="0">
                <a:pos x="15" y="2"/>
              </a:cxn>
              <a:cxn ang="0">
                <a:pos x="12" y="2"/>
              </a:cxn>
              <a:cxn ang="0">
                <a:pos x="11" y="6"/>
              </a:cxn>
              <a:cxn ang="0">
                <a:pos x="14" y="8"/>
              </a:cxn>
              <a:cxn ang="0">
                <a:pos x="14" y="11"/>
              </a:cxn>
              <a:cxn ang="0">
                <a:pos x="10" y="16"/>
              </a:cxn>
              <a:cxn ang="0">
                <a:pos x="10" y="19"/>
              </a:cxn>
              <a:cxn ang="0">
                <a:pos x="10" y="24"/>
              </a:cxn>
              <a:cxn ang="0">
                <a:pos x="11" y="22"/>
              </a:cxn>
              <a:cxn ang="0">
                <a:pos x="12" y="20"/>
              </a:cxn>
              <a:cxn ang="0">
                <a:pos x="18" y="24"/>
              </a:cxn>
              <a:cxn ang="0">
                <a:pos x="19" y="20"/>
              </a:cxn>
              <a:cxn ang="0">
                <a:pos x="29" y="20"/>
              </a:cxn>
              <a:cxn ang="0">
                <a:pos x="32" y="19"/>
              </a:cxn>
              <a:cxn ang="0">
                <a:pos x="37" y="19"/>
              </a:cxn>
              <a:cxn ang="0">
                <a:pos x="33" y="20"/>
              </a:cxn>
              <a:cxn ang="0">
                <a:pos x="29" y="27"/>
              </a:cxn>
              <a:cxn ang="0">
                <a:pos x="32" y="30"/>
              </a:cxn>
              <a:cxn ang="0">
                <a:pos x="35" y="31"/>
              </a:cxn>
              <a:cxn ang="0">
                <a:pos x="40" y="33"/>
              </a:cxn>
              <a:cxn ang="0">
                <a:pos x="44" y="31"/>
              </a:cxn>
              <a:cxn ang="0">
                <a:pos x="41" y="36"/>
              </a:cxn>
              <a:cxn ang="0">
                <a:pos x="40" y="39"/>
              </a:cxn>
              <a:cxn ang="0">
                <a:pos x="40" y="41"/>
              </a:cxn>
              <a:cxn ang="0">
                <a:pos x="40" y="46"/>
              </a:cxn>
              <a:cxn ang="0">
                <a:pos x="40" y="47"/>
              </a:cxn>
              <a:cxn ang="0">
                <a:pos x="28" y="47"/>
              </a:cxn>
              <a:cxn ang="0">
                <a:pos x="20" y="52"/>
              </a:cxn>
              <a:cxn ang="0">
                <a:pos x="16" y="57"/>
              </a:cxn>
              <a:cxn ang="0">
                <a:pos x="23" y="55"/>
              </a:cxn>
              <a:cxn ang="0">
                <a:pos x="23" y="60"/>
              </a:cxn>
              <a:cxn ang="0">
                <a:pos x="25" y="61"/>
              </a:cxn>
              <a:cxn ang="0">
                <a:pos x="15" y="71"/>
              </a:cxn>
              <a:cxn ang="0">
                <a:pos x="7" y="74"/>
              </a:cxn>
              <a:cxn ang="0">
                <a:pos x="8" y="77"/>
              </a:cxn>
              <a:cxn ang="0">
                <a:pos x="11" y="79"/>
              </a:cxn>
              <a:cxn ang="0">
                <a:pos x="15" y="75"/>
              </a:cxn>
              <a:cxn ang="0">
                <a:pos x="19" y="75"/>
              </a:cxn>
              <a:cxn ang="0">
                <a:pos x="20" y="79"/>
              </a:cxn>
              <a:cxn ang="0">
                <a:pos x="25" y="77"/>
              </a:cxn>
              <a:cxn ang="0">
                <a:pos x="32" y="82"/>
              </a:cxn>
              <a:cxn ang="0">
                <a:pos x="36" y="82"/>
              </a:cxn>
              <a:cxn ang="0">
                <a:pos x="39" y="80"/>
              </a:cxn>
              <a:cxn ang="0">
                <a:pos x="47" y="75"/>
              </a:cxn>
              <a:cxn ang="0">
                <a:pos x="45" y="79"/>
              </a:cxn>
              <a:cxn ang="0">
                <a:pos x="40" y="85"/>
              </a:cxn>
              <a:cxn ang="0">
                <a:pos x="36" y="85"/>
              </a:cxn>
              <a:cxn ang="0">
                <a:pos x="23" y="86"/>
              </a:cxn>
              <a:cxn ang="0">
                <a:pos x="19" y="90"/>
              </a:cxn>
              <a:cxn ang="0">
                <a:pos x="6" y="102"/>
              </a:cxn>
              <a:cxn ang="0">
                <a:pos x="0" y="105"/>
              </a:cxn>
              <a:cxn ang="0">
                <a:pos x="2" y="105"/>
              </a:cxn>
              <a:cxn ang="0">
                <a:pos x="6" y="107"/>
              </a:cxn>
              <a:cxn ang="0">
                <a:pos x="7" y="107"/>
              </a:cxn>
              <a:cxn ang="0">
                <a:pos x="10" y="104"/>
              </a:cxn>
              <a:cxn ang="0">
                <a:pos x="14" y="100"/>
              </a:cxn>
              <a:cxn ang="0">
                <a:pos x="28" y="102"/>
              </a:cxn>
              <a:cxn ang="0">
                <a:pos x="32" y="100"/>
              </a:cxn>
              <a:cxn ang="0">
                <a:pos x="33" y="96"/>
              </a:cxn>
              <a:cxn ang="0">
                <a:pos x="39" y="94"/>
              </a:cxn>
              <a:cxn ang="0">
                <a:pos x="47" y="97"/>
              </a:cxn>
            </a:cxnLst>
            <a:rect l="0" t="0" r="r" b="b"/>
            <a:pathLst>
              <a:path w="47" h="107">
                <a:moveTo>
                  <a:pt x="12" y="0"/>
                </a:moveTo>
                <a:lnTo>
                  <a:pt x="15" y="2"/>
                </a:lnTo>
                <a:lnTo>
                  <a:pt x="14" y="2"/>
                </a:lnTo>
                <a:lnTo>
                  <a:pt x="12" y="2"/>
                </a:lnTo>
                <a:lnTo>
                  <a:pt x="12" y="3"/>
                </a:lnTo>
                <a:lnTo>
                  <a:pt x="11" y="6"/>
                </a:lnTo>
                <a:lnTo>
                  <a:pt x="12" y="6"/>
                </a:lnTo>
                <a:lnTo>
                  <a:pt x="14" y="8"/>
                </a:lnTo>
                <a:lnTo>
                  <a:pt x="15" y="9"/>
                </a:lnTo>
                <a:lnTo>
                  <a:pt x="14" y="11"/>
                </a:lnTo>
                <a:lnTo>
                  <a:pt x="12" y="14"/>
                </a:lnTo>
                <a:lnTo>
                  <a:pt x="10" y="16"/>
                </a:lnTo>
                <a:lnTo>
                  <a:pt x="10" y="17"/>
                </a:lnTo>
                <a:lnTo>
                  <a:pt x="10" y="19"/>
                </a:lnTo>
                <a:lnTo>
                  <a:pt x="7" y="19"/>
                </a:lnTo>
                <a:lnTo>
                  <a:pt x="10" y="24"/>
                </a:lnTo>
                <a:lnTo>
                  <a:pt x="11" y="24"/>
                </a:lnTo>
                <a:lnTo>
                  <a:pt x="11" y="22"/>
                </a:lnTo>
                <a:lnTo>
                  <a:pt x="11" y="20"/>
                </a:lnTo>
                <a:lnTo>
                  <a:pt x="12" y="20"/>
                </a:lnTo>
                <a:lnTo>
                  <a:pt x="16" y="24"/>
                </a:lnTo>
                <a:lnTo>
                  <a:pt x="18" y="24"/>
                </a:lnTo>
                <a:lnTo>
                  <a:pt x="19" y="22"/>
                </a:lnTo>
                <a:lnTo>
                  <a:pt x="19" y="20"/>
                </a:lnTo>
                <a:lnTo>
                  <a:pt x="25" y="22"/>
                </a:lnTo>
                <a:lnTo>
                  <a:pt x="29" y="20"/>
                </a:lnTo>
                <a:lnTo>
                  <a:pt x="31" y="19"/>
                </a:lnTo>
                <a:lnTo>
                  <a:pt x="32" y="19"/>
                </a:lnTo>
                <a:lnTo>
                  <a:pt x="39" y="19"/>
                </a:lnTo>
                <a:lnTo>
                  <a:pt x="37" y="19"/>
                </a:lnTo>
                <a:lnTo>
                  <a:pt x="36" y="19"/>
                </a:lnTo>
                <a:lnTo>
                  <a:pt x="33" y="20"/>
                </a:lnTo>
                <a:lnTo>
                  <a:pt x="31" y="25"/>
                </a:lnTo>
                <a:lnTo>
                  <a:pt x="29" y="27"/>
                </a:lnTo>
                <a:lnTo>
                  <a:pt x="31" y="28"/>
                </a:lnTo>
                <a:lnTo>
                  <a:pt x="32" y="30"/>
                </a:lnTo>
                <a:lnTo>
                  <a:pt x="33" y="31"/>
                </a:lnTo>
                <a:lnTo>
                  <a:pt x="35" y="31"/>
                </a:lnTo>
                <a:lnTo>
                  <a:pt x="36" y="35"/>
                </a:lnTo>
                <a:lnTo>
                  <a:pt x="40" y="33"/>
                </a:lnTo>
                <a:lnTo>
                  <a:pt x="43" y="31"/>
                </a:lnTo>
                <a:lnTo>
                  <a:pt x="44" y="31"/>
                </a:lnTo>
                <a:lnTo>
                  <a:pt x="43" y="33"/>
                </a:lnTo>
                <a:lnTo>
                  <a:pt x="41" y="36"/>
                </a:lnTo>
                <a:lnTo>
                  <a:pt x="40" y="38"/>
                </a:lnTo>
                <a:lnTo>
                  <a:pt x="40" y="39"/>
                </a:lnTo>
                <a:lnTo>
                  <a:pt x="43" y="41"/>
                </a:lnTo>
                <a:lnTo>
                  <a:pt x="40" y="41"/>
                </a:lnTo>
                <a:lnTo>
                  <a:pt x="39" y="44"/>
                </a:lnTo>
                <a:lnTo>
                  <a:pt x="40" y="46"/>
                </a:lnTo>
                <a:lnTo>
                  <a:pt x="41" y="46"/>
                </a:lnTo>
                <a:lnTo>
                  <a:pt x="40" y="47"/>
                </a:lnTo>
                <a:lnTo>
                  <a:pt x="39" y="49"/>
                </a:lnTo>
                <a:lnTo>
                  <a:pt x="28" y="47"/>
                </a:lnTo>
                <a:lnTo>
                  <a:pt x="24" y="49"/>
                </a:lnTo>
                <a:lnTo>
                  <a:pt x="20" y="52"/>
                </a:lnTo>
                <a:lnTo>
                  <a:pt x="15" y="57"/>
                </a:lnTo>
                <a:lnTo>
                  <a:pt x="16" y="57"/>
                </a:lnTo>
                <a:lnTo>
                  <a:pt x="20" y="55"/>
                </a:lnTo>
                <a:lnTo>
                  <a:pt x="23" y="55"/>
                </a:lnTo>
                <a:lnTo>
                  <a:pt x="23" y="57"/>
                </a:lnTo>
                <a:lnTo>
                  <a:pt x="23" y="60"/>
                </a:lnTo>
                <a:lnTo>
                  <a:pt x="24" y="61"/>
                </a:lnTo>
                <a:lnTo>
                  <a:pt x="25" y="61"/>
                </a:lnTo>
                <a:lnTo>
                  <a:pt x="23" y="66"/>
                </a:lnTo>
                <a:lnTo>
                  <a:pt x="15" y="71"/>
                </a:lnTo>
                <a:lnTo>
                  <a:pt x="6" y="74"/>
                </a:lnTo>
                <a:lnTo>
                  <a:pt x="7" y="74"/>
                </a:lnTo>
                <a:lnTo>
                  <a:pt x="7" y="75"/>
                </a:lnTo>
                <a:lnTo>
                  <a:pt x="8" y="77"/>
                </a:lnTo>
                <a:lnTo>
                  <a:pt x="10" y="79"/>
                </a:lnTo>
                <a:lnTo>
                  <a:pt x="11" y="79"/>
                </a:lnTo>
                <a:lnTo>
                  <a:pt x="12" y="77"/>
                </a:lnTo>
                <a:lnTo>
                  <a:pt x="15" y="75"/>
                </a:lnTo>
                <a:lnTo>
                  <a:pt x="18" y="75"/>
                </a:lnTo>
                <a:lnTo>
                  <a:pt x="19" y="75"/>
                </a:lnTo>
                <a:lnTo>
                  <a:pt x="19" y="79"/>
                </a:lnTo>
                <a:lnTo>
                  <a:pt x="20" y="79"/>
                </a:lnTo>
                <a:lnTo>
                  <a:pt x="24" y="79"/>
                </a:lnTo>
                <a:lnTo>
                  <a:pt x="25" y="77"/>
                </a:lnTo>
                <a:lnTo>
                  <a:pt x="27" y="77"/>
                </a:lnTo>
                <a:lnTo>
                  <a:pt x="32" y="82"/>
                </a:lnTo>
                <a:lnTo>
                  <a:pt x="33" y="82"/>
                </a:lnTo>
                <a:lnTo>
                  <a:pt x="36" y="82"/>
                </a:lnTo>
                <a:lnTo>
                  <a:pt x="37" y="82"/>
                </a:lnTo>
                <a:lnTo>
                  <a:pt x="39" y="80"/>
                </a:lnTo>
                <a:lnTo>
                  <a:pt x="41" y="79"/>
                </a:lnTo>
                <a:lnTo>
                  <a:pt x="47" y="75"/>
                </a:lnTo>
                <a:lnTo>
                  <a:pt x="47" y="77"/>
                </a:lnTo>
                <a:lnTo>
                  <a:pt x="45" y="79"/>
                </a:lnTo>
                <a:lnTo>
                  <a:pt x="40" y="83"/>
                </a:lnTo>
                <a:lnTo>
                  <a:pt x="40" y="85"/>
                </a:lnTo>
                <a:lnTo>
                  <a:pt x="39" y="85"/>
                </a:lnTo>
                <a:lnTo>
                  <a:pt x="36" y="85"/>
                </a:lnTo>
                <a:lnTo>
                  <a:pt x="27" y="85"/>
                </a:lnTo>
                <a:lnTo>
                  <a:pt x="23" y="86"/>
                </a:lnTo>
                <a:lnTo>
                  <a:pt x="22" y="88"/>
                </a:lnTo>
                <a:lnTo>
                  <a:pt x="19" y="90"/>
                </a:lnTo>
                <a:lnTo>
                  <a:pt x="18" y="93"/>
                </a:lnTo>
                <a:lnTo>
                  <a:pt x="6" y="102"/>
                </a:lnTo>
                <a:lnTo>
                  <a:pt x="2" y="104"/>
                </a:lnTo>
                <a:lnTo>
                  <a:pt x="0" y="105"/>
                </a:lnTo>
                <a:lnTo>
                  <a:pt x="0" y="107"/>
                </a:lnTo>
                <a:lnTo>
                  <a:pt x="2" y="105"/>
                </a:lnTo>
                <a:lnTo>
                  <a:pt x="3" y="105"/>
                </a:lnTo>
                <a:lnTo>
                  <a:pt x="6" y="107"/>
                </a:lnTo>
                <a:lnTo>
                  <a:pt x="7" y="105"/>
                </a:lnTo>
                <a:lnTo>
                  <a:pt x="7" y="107"/>
                </a:lnTo>
                <a:lnTo>
                  <a:pt x="8" y="105"/>
                </a:lnTo>
                <a:lnTo>
                  <a:pt x="10" y="104"/>
                </a:lnTo>
                <a:lnTo>
                  <a:pt x="12" y="102"/>
                </a:lnTo>
                <a:lnTo>
                  <a:pt x="14" y="100"/>
                </a:lnTo>
                <a:lnTo>
                  <a:pt x="23" y="100"/>
                </a:lnTo>
                <a:lnTo>
                  <a:pt x="28" y="102"/>
                </a:lnTo>
                <a:lnTo>
                  <a:pt x="29" y="102"/>
                </a:lnTo>
                <a:lnTo>
                  <a:pt x="32" y="100"/>
                </a:lnTo>
                <a:lnTo>
                  <a:pt x="32" y="96"/>
                </a:lnTo>
                <a:lnTo>
                  <a:pt x="33" y="96"/>
                </a:lnTo>
                <a:lnTo>
                  <a:pt x="36" y="96"/>
                </a:lnTo>
                <a:lnTo>
                  <a:pt x="39" y="94"/>
                </a:lnTo>
                <a:lnTo>
                  <a:pt x="43" y="93"/>
                </a:lnTo>
                <a:lnTo>
                  <a:pt x="47" y="97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59" name="Freeform 358"/>
          <p:cNvSpPr>
            <a:spLocks/>
          </p:cNvSpPr>
          <p:nvPr/>
        </p:nvSpPr>
        <p:spPr bwMode="auto">
          <a:xfrm>
            <a:off x="5635450" y="2555303"/>
            <a:ext cx="7795" cy="4295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1" y="0"/>
              </a:cxn>
              <a:cxn ang="0">
                <a:pos x="0" y="2"/>
              </a:cxn>
              <a:cxn ang="0">
                <a:pos x="1" y="2"/>
              </a:cxn>
              <a:cxn ang="0">
                <a:pos x="2" y="2"/>
              </a:cxn>
              <a:cxn ang="0">
                <a:pos x="5" y="2"/>
              </a:cxn>
              <a:cxn ang="0">
                <a:pos x="5" y="0"/>
              </a:cxn>
              <a:cxn ang="0">
                <a:pos x="4" y="0"/>
              </a:cxn>
            </a:cxnLst>
            <a:rect l="0" t="0" r="r" b="b"/>
            <a:pathLst>
              <a:path w="5" h="2">
                <a:moveTo>
                  <a:pt x="4" y="0"/>
                </a:moveTo>
                <a:lnTo>
                  <a:pt x="1" y="0"/>
                </a:lnTo>
                <a:lnTo>
                  <a:pt x="0" y="2"/>
                </a:lnTo>
                <a:lnTo>
                  <a:pt x="1" y="2"/>
                </a:lnTo>
                <a:lnTo>
                  <a:pt x="2" y="2"/>
                </a:lnTo>
                <a:lnTo>
                  <a:pt x="5" y="2"/>
                </a:lnTo>
                <a:lnTo>
                  <a:pt x="5" y="0"/>
                </a:lnTo>
                <a:lnTo>
                  <a:pt x="4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60" name="Freeform 359"/>
          <p:cNvSpPr>
            <a:spLocks/>
          </p:cNvSpPr>
          <p:nvPr/>
        </p:nvSpPr>
        <p:spPr bwMode="auto">
          <a:xfrm>
            <a:off x="5635450" y="2555303"/>
            <a:ext cx="7795" cy="4295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1" y="0"/>
              </a:cxn>
              <a:cxn ang="0">
                <a:pos x="0" y="2"/>
              </a:cxn>
              <a:cxn ang="0">
                <a:pos x="1" y="2"/>
              </a:cxn>
              <a:cxn ang="0">
                <a:pos x="2" y="2"/>
              </a:cxn>
              <a:cxn ang="0">
                <a:pos x="5" y="2"/>
              </a:cxn>
              <a:cxn ang="0">
                <a:pos x="5" y="0"/>
              </a:cxn>
              <a:cxn ang="0">
                <a:pos x="4" y="0"/>
              </a:cxn>
            </a:cxnLst>
            <a:rect l="0" t="0" r="r" b="b"/>
            <a:pathLst>
              <a:path w="5" h="2">
                <a:moveTo>
                  <a:pt x="4" y="0"/>
                </a:moveTo>
                <a:lnTo>
                  <a:pt x="1" y="0"/>
                </a:lnTo>
                <a:lnTo>
                  <a:pt x="0" y="2"/>
                </a:lnTo>
                <a:lnTo>
                  <a:pt x="1" y="2"/>
                </a:lnTo>
                <a:lnTo>
                  <a:pt x="2" y="2"/>
                </a:lnTo>
                <a:lnTo>
                  <a:pt x="5" y="2"/>
                </a:lnTo>
                <a:lnTo>
                  <a:pt x="5" y="0"/>
                </a:lnTo>
                <a:lnTo>
                  <a:pt x="4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61" name="Freeform 360"/>
          <p:cNvSpPr>
            <a:spLocks/>
          </p:cNvSpPr>
          <p:nvPr/>
        </p:nvSpPr>
        <p:spPr bwMode="auto">
          <a:xfrm>
            <a:off x="5551650" y="2458661"/>
            <a:ext cx="7795" cy="8591"/>
          </a:xfrm>
          <a:custGeom>
            <a:avLst/>
            <a:gdLst/>
            <a:ahLst/>
            <a:cxnLst>
              <a:cxn ang="0">
                <a:pos x="3" y="3"/>
              </a:cxn>
              <a:cxn ang="0">
                <a:pos x="4" y="3"/>
              </a:cxn>
              <a:cxn ang="0">
                <a:pos x="1" y="0"/>
              </a:cxn>
              <a:cxn ang="0">
                <a:pos x="0" y="0"/>
              </a:cxn>
              <a:cxn ang="0">
                <a:pos x="3" y="3"/>
              </a:cxn>
            </a:cxnLst>
            <a:rect l="0" t="0" r="r" b="b"/>
            <a:pathLst>
              <a:path w="4" h="3">
                <a:moveTo>
                  <a:pt x="3" y="3"/>
                </a:moveTo>
                <a:lnTo>
                  <a:pt x="4" y="3"/>
                </a:lnTo>
                <a:lnTo>
                  <a:pt x="1" y="0"/>
                </a:lnTo>
                <a:lnTo>
                  <a:pt x="0" y="0"/>
                </a:lnTo>
                <a:lnTo>
                  <a:pt x="3" y="3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62" name="Freeform 361"/>
          <p:cNvSpPr>
            <a:spLocks/>
          </p:cNvSpPr>
          <p:nvPr/>
        </p:nvSpPr>
        <p:spPr bwMode="auto">
          <a:xfrm>
            <a:off x="5551650" y="2458661"/>
            <a:ext cx="7795" cy="8591"/>
          </a:xfrm>
          <a:custGeom>
            <a:avLst/>
            <a:gdLst/>
            <a:ahLst/>
            <a:cxnLst>
              <a:cxn ang="0">
                <a:pos x="3" y="3"/>
              </a:cxn>
              <a:cxn ang="0">
                <a:pos x="4" y="3"/>
              </a:cxn>
              <a:cxn ang="0">
                <a:pos x="1" y="0"/>
              </a:cxn>
              <a:cxn ang="0">
                <a:pos x="0" y="0"/>
              </a:cxn>
              <a:cxn ang="0">
                <a:pos x="3" y="3"/>
              </a:cxn>
            </a:cxnLst>
            <a:rect l="0" t="0" r="r" b="b"/>
            <a:pathLst>
              <a:path w="4" h="3">
                <a:moveTo>
                  <a:pt x="3" y="3"/>
                </a:moveTo>
                <a:lnTo>
                  <a:pt x="4" y="3"/>
                </a:lnTo>
                <a:lnTo>
                  <a:pt x="1" y="0"/>
                </a:lnTo>
                <a:lnTo>
                  <a:pt x="0" y="0"/>
                </a:lnTo>
                <a:lnTo>
                  <a:pt x="3" y="3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63" name="Freeform 362"/>
          <p:cNvSpPr>
            <a:spLocks/>
          </p:cNvSpPr>
          <p:nvPr/>
        </p:nvSpPr>
        <p:spPr bwMode="auto">
          <a:xfrm>
            <a:off x="5539957" y="2424300"/>
            <a:ext cx="13642" cy="12885"/>
          </a:xfrm>
          <a:custGeom>
            <a:avLst/>
            <a:gdLst/>
            <a:ahLst/>
            <a:cxnLst>
              <a:cxn ang="0">
                <a:pos x="5" y="0"/>
              </a:cxn>
              <a:cxn ang="0">
                <a:pos x="1" y="3"/>
              </a:cxn>
              <a:cxn ang="0">
                <a:pos x="0" y="7"/>
              </a:cxn>
              <a:cxn ang="0">
                <a:pos x="1" y="7"/>
              </a:cxn>
              <a:cxn ang="0">
                <a:pos x="5" y="5"/>
              </a:cxn>
              <a:cxn ang="0">
                <a:pos x="6" y="3"/>
              </a:cxn>
              <a:cxn ang="0">
                <a:pos x="6" y="2"/>
              </a:cxn>
              <a:cxn ang="0">
                <a:pos x="5" y="0"/>
              </a:cxn>
            </a:cxnLst>
            <a:rect l="0" t="0" r="r" b="b"/>
            <a:pathLst>
              <a:path w="6" h="7">
                <a:moveTo>
                  <a:pt x="5" y="0"/>
                </a:moveTo>
                <a:lnTo>
                  <a:pt x="1" y="3"/>
                </a:lnTo>
                <a:lnTo>
                  <a:pt x="0" y="7"/>
                </a:lnTo>
                <a:lnTo>
                  <a:pt x="1" y="7"/>
                </a:lnTo>
                <a:lnTo>
                  <a:pt x="5" y="5"/>
                </a:lnTo>
                <a:lnTo>
                  <a:pt x="6" y="3"/>
                </a:lnTo>
                <a:lnTo>
                  <a:pt x="6" y="2"/>
                </a:lnTo>
                <a:lnTo>
                  <a:pt x="5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64" name="Freeform 363"/>
          <p:cNvSpPr>
            <a:spLocks/>
          </p:cNvSpPr>
          <p:nvPr/>
        </p:nvSpPr>
        <p:spPr bwMode="auto">
          <a:xfrm>
            <a:off x="5539957" y="2424300"/>
            <a:ext cx="13642" cy="12885"/>
          </a:xfrm>
          <a:custGeom>
            <a:avLst/>
            <a:gdLst/>
            <a:ahLst/>
            <a:cxnLst>
              <a:cxn ang="0">
                <a:pos x="5" y="0"/>
              </a:cxn>
              <a:cxn ang="0">
                <a:pos x="1" y="3"/>
              </a:cxn>
              <a:cxn ang="0">
                <a:pos x="0" y="7"/>
              </a:cxn>
              <a:cxn ang="0">
                <a:pos x="1" y="7"/>
              </a:cxn>
              <a:cxn ang="0">
                <a:pos x="5" y="5"/>
              </a:cxn>
              <a:cxn ang="0">
                <a:pos x="6" y="3"/>
              </a:cxn>
              <a:cxn ang="0">
                <a:pos x="6" y="2"/>
              </a:cxn>
              <a:cxn ang="0">
                <a:pos x="5" y="0"/>
              </a:cxn>
            </a:cxnLst>
            <a:rect l="0" t="0" r="r" b="b"/>
            <a:pathLst>
              <a:path w="6" h="7">
                <a:moveTo>
                  <a:pt x="5" y="0"/>
                </a:moveTo>
                <a:lnTo>
                  <a:pt x="1" y="3"/>
                </a:lnTo>
                <a:lnTo>
                  <a:pt x="0" y="7"/>
                </a:lnTo>
                <a:lnTo>
                  <a:pt x="1" y="7"/>
                </a:lnTo>
                <a:lnTo>
                  <a:pt x="5" y="5"/>
                </a:lnTo>
                <a:lnTo>
                  <a:pt x="6" y="3"/>
                </a:lnTo>
                <a:lnTo>
                  <a:pt x="6" y="2"/>
                </a:lnTo>
                <a:lnTo>
                  <a:pt x="5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65" name="Freeform 364"/>
          <p:cNvSpPr>
            <a:spLocks/>
          </p:cNvSpPr>
          <p:nvPr/>
        </p:nvSpPr>
        <p:spPr bwMode="auto">
          <a:xfrm>
            <a:off x="5522419" y="2381347"/>
            <a:ext cx="7795" cy="85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"/>
              </a:cxn>
              <a:cxn ang="0">
                <a:pos x="2" y="5"/>
              </a:cxn>
              <a:cxn ang="0">
                <a:pos x="3" y="3"/>
              </a:cxn>
              <a:cxn ang="0">
                <a:pos x="4" y="2"/>
              </a:cxn>
              <a:cxn ang="0">
                <a:pos x="3" y="0"/>
              </a:cxn>
              <a:cxn ang="0">
                <a:pos x="0" y="0"/>
              </a:cxn>
            </a:cxnLst>
            <a:rect l="0" t="0" r="r" b="b"/>
            <a:pathLst>
              <a:path w="4" h="5">
                <a:moveTo>
                  <a:pt x="0" y="0"/>
                </a:moveTo>
                <a:lnTo>
                  <a:pt x="0" y="3"/>
                </a:lnTo>
                <a:lnTo>
                  <a:pt x="2" y="5"/>
                </a:lnTo>
                <a:lnTo>
                  <a:pt x="3" y="3"/>
                </a:lnTo>
                <a:lnTo>
                  <a:pt x="4" y="2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66" name="Freeform 365"/>
          <p:cNvSpPr>
            <a:spLocks/>
          </p:cNvSpPr>
          <p:nvPr/>
        </p:nvSpPr>
        <p:spPr bwMode="auto">
          <a:xfrm>
            <a:off x="5522419" y="2381347"/>
            <a:ext cx="7795" cy="85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"/>
              </a:cxn>
              <a:cxn ang="0">
                <a:pos x="2" y="5"/>
              </a:cxn>
              <a:cxn ang="0">
                <a:pos x="3" y="3"/>
              </a:cxn>
              <a:cxn ang="0">
                <a:pos x="4" y="2"/>
              </a:cxn>
              <a:cxn ang="0">
                <a:pos x="3" y="0"/>
              </a:cxn>
              <a:cxn ang="0">
                <a:pos x="0" y="0"/>
              </a:cxn>
            </a:cxnLst>
            <a:rect l="0" t="0" r="r" b="b"/>
            <a:pathLst>
              <a:path w="4" h="5">
                <a:moveTo>
                  <a:pt x="0" y="0"/>
                </a:moveTo>
                <a:lnTo>
                  <a:pt x="0" y="3"/>
                </a:lnTo>
                <a:lnTo>
                  <a:pt x="2" y="5"/>
                </a:lnTo>
                <a:lnTo>
                  <a:pt x="3" y="3"/>
                </a:lnTo>
                <a:lnTo>
                  <a:pt x="4" y="2"/>
                </a:lnTo>
                <a:lnTo>
                  <a:pt x="3" y="0"/>
                </a:lnTo>
                <a:lnTo>
                  <a:pt x="0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67" name="Freeform 366"/>
          <p:cNvSpPr>
            <a:spLocks/>
          </p:cNvSpPr>
          <p:nvPr/>
        </p:nvSpPr>
        <p:spPr bwMode="auto">
          <a:xfrm>
            <a:off x="5489287" y="2370608"/>
            <a:ext cx="13642" cy="10739"/>
          </a:xfrm>
          <a:custGeom>
            <a:avLst/>
            <a:gdLst/>
            <a:ahLst/>
            <a:cxnLst>
              <a:cxn ang="0">
                <a:pos x="5" y="0"/>
              </a:cxn>
              <a:cxn ang="0">
                <a:pos x="4" y="1"/>
              </a:cxn>
              <a:cxn ang="0">
                <a:pos x="1" y="1"/>
              </a:cxn>
              <a:cxn ang="0">
                <a:pos x="0" y="3"/>
              </a:cxn>
              <a:cxn ang="0">
                <a:pos x="0" y="4"/>
              </a:cxn>
              <a:cxn ang="0">
                <a:pos x="3" y="3"/>
              </a:cxn>
              <a:cxn ang="0">
                <a:pos x="4" y="4"/>
              </a:cxn>
              <a:cxn ang="0">
                <a:pos x="7" y="4"/>
              </a:cxn>
              <a:cxn ang="0">
                <a:pos x="7" y="3"/>
              </a:cxn>
              <a:cxn ang="0">
                <a:pos x="5" y="0"/>
              </a:cxn>
            </a:cxnLst>
            <a:rect l="0" t="0" r="r" b="b"/>
            <a:pathLst>
              <a:path w="7" h="4">
                <a:moveTo>
                  <a:pt x="5" y="0"/>
                </a:moveTo>
                <a:lnTo>
                  <a:pt x="4" y="1"/>
                </a:lnTo>
                <a:lnTo>
                  <a:pt x="1" y="1"/>
                </a:lnTo>
                <a:lnTo>
                  <a:pt x="0" y="3"/>
                </a:lnTo>
                <a:lnTo>
                  <a:pt x="0" y="4"/>
                </a:lnTo>
                <a:lnTo>
                  <a:pt x="3" y="3"/>
                </a:lnTo>
                <a:lnTo>
                  <a:pt x="4" y="4"/>
                </a:lnTo>
                <a:lnTo>
                  <a:pt x="7" y="4"/>
                </a:lnTo>
                <a:lnTo>
                  <a:pt x="7" y="3"/>
                </a:lnTo>
                <a:lnTo>
                  <a:pt x="5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68" name="Freeform 367"/>
          <p:cNvSpPr>
            <a:spLocks/>
          </p:cNvSpPr>
          <p:nvPr/>
        </p:nvSpPr>
        <p:spPr bwMode="auto">
          <a:xfrm>
            <a:off x="5489287" y="2370608"/>
            <a:ext cx="13642" cy="10739"/>
          </a:xfrm>
          <a:custGeom>
            <a:avLst/>
            <a:gdLst/>
            <a:ahLst/>
            <a:cxnLst>
              <a:cxn ang="0">
                <a:pos x="5" y="0"/>
              </a:cxn>
              <a:cxn ang="0">
                <a:pos x="4" y="1"/>
              </a:cxn>
              <a:cxn ang="0">
                <a:pos x="1" y="1"/>
              </a:cxn>
              <a:cxn ang="0">
                <a:pos x="0" y="3"/>
              </a:cxn>
              <a:cxn ang="0">
                <a:pos x="0" y="4"/>
              </a:cxn>
              <a:cxn ang="0">
                <a:pos x="3" y="3"/>
              </a:cxn>
              <a:cxn ang="0">
                <a:pos x="4" y="4"/>
              </a:cxn>
              <a:cxn ang="0">
                <a:pos x="7" y="4"/>
              </a:cxn>
              <a:cxn ang="0">
                <a:pos x="7" y="3"/>
              </a:cxn>
              <a:cxn ang="0">
                <a:pos x="5" y="0"/>
              </a:cxn>
            </a:cxnLst>
            <a:rect l="0" t="0" r="r" b="b"/>
            <a:pathLst>
              <a:path w="7" h="4">
                <a:moveTo>
                  <a:pt x="5" y="0"/>
                </a:moveTo>
                <a:lnTo>
                  <a:pt x="4" y="1"/>
                </a:lnTo>
                <a:lnTo>
                  <a:pt x="1" y="1"/>
                </a:lnTo>
                <a:lnTo>
                  <a:pt x="0" y="3"/>
                </a:lnTo>
                <a:lnTo>
                  <a:pt x="0" y="4"/>
                </a:lnTo>
                <a:lnTo>
                  <a:pt x="3" y="3"/>
                </a:lnTo>
                <a:lnTo>
                  <a:pt x="4" y="4"/>
                </a:lnTo>
                <a:lnTo>
                  <a:pt x="7" y="4"/>
                </a:lnTo>
                <a:lnTo>
                  <a:pt x="7" y="3"/>
                </a:lnTo>
                <a:lnTo>
                  <a:pt x="5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69" name="Freeform 368"/>
          <p:cNvSpPr>
            <a:spLocks/>
          </p:cNvSpPr>
          <p:nvPr/>
        </p:nvSpPr>
        <p:spPr bwMode="auto">
          <a:xfrm>
            <a:off x="5502929" y="2366313"/>
            <a:ext cx="9744" cy="10739"/>
          </a:xfrm>
          <a:custGeom>
            <a:avLst/>
            <a:gdLst/>
            <a:ahLst/>
            <a:cxnLst>
              <a:cxn ang="0">
                <a:pos x="5" y="0"/>
              </a:cxn>
              <a:cxn ang="0">
                <a:pos x="2" y="2"/>
              </a:cxn>
              <a:cxn ang="0">
                <a:pos x="1" y="2"/>
              </a:cxn>
              <a:cxn ang="0">
                <a:pos x="1" y="4"/>
              </a:cxn>
              <a:cxn ang="0">
                <a:pos x="0" y="5"/>
              </a:cxn>
              <a:cxn ang="0">
                <a:pos x="1" y="5"/>
              </a:cxn>
              <a:cxn ang="0">
                <a:pos x="2" y="4"/>
              </a:cxn>
              <a:cxn ang="0">
                <a:pos x="4" y="2"/>
              </a:cxn>
              <a:cxn ang="0">
                <a:pos x="5" y="0"/>
              </a:cxn>
            </a:cxnLst>
            <a:rect l="0" t="0" r="r" b="b"/>
            <a:pathLst>
              <a:path w="5" h="5">
                <a:moveTo>
                  <a:pt x="5" y="0"/>
                </a:moveTo>
                <a:lnTo>
                  <a:pt x="2" y="2"/>
                </a:lnTo>
                <a:lnTo>
                  <a:pt x="1" y="2"/>
                </a:lnTo>
                <a:lnTo>
                  <a:pt x="1" y="4"/>
                </a:lnTo>
                <a:lnTo>
                  <a:pt x="0" y="5"/>
                </a:lnTo>
                <a:lnTo>
                  <a:pt x="1" y="5"/>
                </a:lnTo>
                <a:lnTo>
                  <a:pt x="2" y="4"/>
                </a:lnTo>
                <a:lnTo>
                  <a:pt x="4" y="2"/>
                </a:lnTo>
                <a:lnTo>
                  <a:pt x="5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70" name="Freeform 369"/>
          <p:cNvSpPr>
            <a:spLocks/>
          </p:cNvSpPr>
          <p:nvPr/>
        </p:nvSpPr>
        <p:spPr bwMode="auto">
          <a:xfrm>
            <a:off x="5502929" y="2366313"/>
            <a:ext cx="9744" cy="10739"/>
          </a:xfrm>
          <a:custGeom>
            <a:avLst/>
            <a:gdLst/>
            <a:ahLst/>
            <a:cxnLst>
              <a:cxn ang="0">
                <a:pos x="5" y="0"/>
              </a:cxn>
              <a:cxn ang="0">
                <a:pos x="2" y="2"/>
              </a:cxn>
              <a:cxn ang="0">
                <a:pos x="1" y="2"/>
              </a:cxn>
              <a:cxn ang="0">
                <a:pos x="1" y="4"/>
              </a:cxn>
              <a:cxn ang="0">
                <a:pos x="0" y="5"/>
              </a:cxn>
              <a:cxn ang="0">
                <a:pos x="1" y="5"/>
              </a:cxn>
              <a:cxn ang="0">
                <a:pos x="2" y="4"/>
              </a:cxn>
              <a:cxn ang="0">
                <a:pos x="4" y="2"/>
              </a:cxn>
              <a:cxn ang="0">
                <a:pos x="5" y="0"/>
              </a:cxn>
            </a:cxnLst>
            <a:rect l="0" t="0" r="r" b="b"/>
            <a:pathLst>
              <a:path w="5" h="5">
                <a:moveTo>
                  <a:pt x="5" y="0"/>
                </a:moveTo>
                <a:lnTo>
                  <a:pt x="2" y="2"/>
                </a:lnTo>
                <a:lnTo>
                  <a:pt x="1" y="2"/>
                </a:lnTo>
                <a:lnTo>
                  <a:pt x="1" y="4"/>
                </a:lnTo>
                <a:lnTo>
                  <a:pt x="0" y="5"/>
                </a:lnTo>
                <a:lnTo>
                  <a:pt x="1" y="5"/>
                </a:lnTo>
                <a:lnTo>
                  <a:pt x="2" y="4"/>
                </a:lnTo>
                <a:lnTo>
                  <a:pt x="4" y="2"/>
                </a:lnTo>
                <a:lnTo>
                  <a:pt x="5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71" name="Freeform 370"/>
          <p:cNvSpPr>
            <a:spLocks/>
          </p:cNvSpPr>
          <p:nvPr/>
        </p:nvSpPr>
        <p:spPr bwMode="auto">
          <a:xfrm>
            <a:off x="5491236" y="2346986"/>
            <a:ext cx="21437" cy="12885"/>
          </a:xfrm>
          <a:custGeom>
            <a:avLst/>
            <a:gdLst/>
            <a:ahLst/>
            <a:cxnLst>
              <a:cxn ang="0">
                <a:pos x="2" y="6"/>
              </a:cxn>
              <a:cxn ang="0">
                <a:pos x="0" y="5"/>
              </a:cxn>
              <a:cxn ang="0">
                <a:pos x="2" y="6"/>
              </a:cxn>
              <a:cxn ang="0">
                <a:pos x="3" y="6"/>
              </a:cxn>
              <a:cxn ang="0">
                <a:pos x="6" y="6"/>
              </a:cxn>
              <a:cxn ang="0">
                <a:pos x="8" y="5"/>
              </a:cxn>
              <a:cxn ang="0">
                <a:pos x="11" y="5"/>
              </a:cxn>
              <a:cxn ang="0">
                <a:pos x="10" y="3"/>
              </a:cxn>
              <a:cxn ang="0">
                <a:pos x="6" y="2"/>
              </a:cxn>
              <a:cxn ang="0">
                <a:pos x="6" y="0"/>
              </a:cxn>
              <a:cxn ang="0">
                <a:pos x="3" y="0"/>
              </a:cxn>
              <a:cxn ang="0">
                <a:pos x="3" y="2"/>
              </a:cxn>
              <a:cxn ang="0">
                <a:pos x="4" y="3"/>
              </a:cxn>
              <a:cxn ang="0">
                <a:pos x="4" y="5"/>
              </a:cxn>
              <a:cxn ang="0">
                <a:pos x="6" y="5"/>
              </a:cxn>
              <a:cxn ang="0">
                <a:pos x="4" y="5"/>
              </a:cxn>
              <a:cxn ang="0">
                <a:pos x="3" y="6"/>
              </a:cxn>
              <a:cxn ang="0">
                <a:pos x="2" y="6"/>
              </a:cxn>
            </a:cxnLst>
            <a:rect l="0" t="0" r="r" b="b"/>
            <a:pathLst>
              <a:path w="11" h="6">
                <a:moveTo>
                  <a:pt x="2" y="6"/>
                </a:moveTo>
                <a:lnTo>
                  <a:pt x="0" y="5"/>
                </a:lnTo>
                <a:lnTo>
                  <a:pt x="2" y="6"/>
                </a:lnTo>
                <a:lnTo>
                  <a:pt x="3" y="6"/>
                </a:lnTo>
                <a:lnTo>
                  <a:pt x="6" y="6"/>
                </a:lnTo>
                <a:lnTo>
                  <a:pt x="8" y="5"/>
                </a:lnTo>
                <a:lnTo>
                  <a:pt x="11" y="5"/>
                </a:lnTo>
                <a:lnTo>
                  <a:pt x="10" y="3"/>
                </a:lnTo>
                <a:lnTo>
                  <a:pt x="6" y="2"/>
                </a:lnTo>
                <a:lnTo>
                  <a:pt x="6" y="0"/>
                </a:lnTo>
                <a:lnTo>
                  <a:pt x="3" y="0"/>
                </a:lnTo>
                <a:lnTo>
                  <a:pt x="3" y="2"/>
                </a:lnTo>
                <a:lnTo>
                  <a:pt x="4" y="3"/>
                </a:lnTo>
                <a:lnTo>
                  <a:pt x="4" y="5"/>
                </a:lnTo>
                <a:lnTo>
                  <a:pt x="6" y="5"/>
                </a:lnTo>
                <a:lnTo>
                  <a:pt x="4" y="5"/>
                </a:lnTo>
                <a:lnTo>
                  <a:pt x="3" y="6"/>
                </a:lnTo>
                <a:lnTo>
                  <a:pt x="2" y="6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72" name="Freeform 371"/>
          <p:cNvSpPr>
            <a:spLocks/>
          </p:cNvSpPr>
          <p:nvPr/>
        </p:nvSpPr>
        <p:spPr bwMode="auto">
          <a:xfrm>
            <a:off x="5491236" y="2346986"/>
            <a:ext cx="21437" cy="12885"/>
          </a:xfrm>
          <a:custGeom>
            <a:avLst/>
            <a:gdLst/>
            <a:ahLst/>
            <a:cxnLst>
              <a:cxn ang="0">
                <a:pos x="2" y="6"/>
              </a:cxn>
              <a:cxn ang="0">
                <a:pos x="0" y="5"/>
              </a:cxn>
              <a:cxn ang="0">
                <a:pos x="2" y="6"/>
              </a:cxn>
              <a:cxn ang="0">
                <a:pos x="3" y="6"/>
              </a:cxn>
              <a:cxn ang="0">
                <a:pos x="6" y="6"/>
              </a:cxn>
              <a:cxn ang="0">
                <a:pos x="8" y="5"/>
              </a:cxn>
              <a:cxn ang="0">
                <a:pos x="11" y="5"/>
              </a:cxn>
              <a:cxn ang="0">
                <a:pos x="10" y="3"/>
              </a:cxn>
              <a:cxn ang="0">
                <a:pos x="6" y="2"/>
              </a:cxn>
              <a:cxn ang="0">
                <a:pos x="6" y="0"/>
              </a:cxn>
              <a:cxn ang="0">
                <a:pos x="3" y="0"/>
              </a:cxn>
              <a:cxn ang="0">
                <a:pos x="3" y="2"/>
              </a:cxn>
              <a:cxn ang="0">
                <a:pos x="4" y="3"/>
              </a:cxn>
              <a:cxn ang="0">
                <a:pos x="4" y="5"/>
              </a:cxn>
              <a:cxn ang="0">
                <a:pos x="6" y="5"/>
              </a:cxn>
              <a:cxn ang="0">
                <a:pos x="4" y="5"/>
              </a:cxn>
              <a:cxn ang="0">
                <a:pos x="3" y="6"/>
              </a:cxn>
              <a:cxn ang="0">
                <a:pos x="2" y="6"/>
              </a:cxn>
            </a:cxnLst>
            <a:rect l="0" t="0" r="r" b="b"/>
            <a:pathLst>
              <a:path w="11" h="6">
                <a:moveTo>
                  <a:pt x="2" y="6"/>
                </a:moveTo>
                <a:lnTo>
                  <a:pt x="0" y="5"/>
                </a:lnTo>
                <a:lnTo>
                  <a:pt x="2" y="6"/>
                </a:lnTo>
                <a:lnTo>
                  <a:pt x="3" y="6"/>
                </a:lnTo>
                <a:lnTo>
                  <a:pt x="6" y="6"/>
                </a:lnTo>
                <a:lnTo>
                  <a:pt x="8" y="5"/>
                </a:lnTo>
                <a:lnTo>
                  <a:pt x="11" y="5"/>
                </a:lnTo>
                <a:lnTo>
                  <a:pt x="10" y="3"/>
                </a:lnTo>
                <a:lnTo>
                  <a:pt x="6" y="2"/>
                </a:lnTo>
                <a:lnTo>
                  <a:pt x="6" y="0"/>
                </a:lnTo>
                <a:lnTo>
                  <a:pt x="3" y="0"/>
                </a:lnTo>
                <a:lnTo>
                  <a:pt x="3" y="2"/>
                </a:lnTo>
                <a:lnTo>
                  <a:pt x="4" y="3"/>
                </a:lnTo>
                <a:lnTo>
                  <a:pt x="4" y="5"/>
                </a:lnTo>
                <a:lnTo>
                  <a:pt x="6" y="5"/>
                </a:lnTo>
                <a:lnTo>
                  <a:pt x="4" y="5"/>
                </a:lnTo>
                <a:lnTo>
                  <a:pt x="3" y="6"/>
                </a:lnTo>
                <a:lnTo>
                  <a:pt x="2" y="6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73" name="Freeform 372"/>
          <p:cNvSpPr>
            <a:spLocks/>
          </p:cNvSpPr>
          <p:nvPr/>
        </p:nvSpPr>
        <p:spPr bwMode="auto">
          <a:xfrm>
            <a:off x="5481493" y="2310477"/>
            <a:ext cx="31181" cy="21476"/>
          </a:xfrm>
          <a:custGeom>
            <a:avLst/>
            <a:gdLst/>
            <a:ahLst/>
            <a:cxnLst>
              <a:cxn ang="0">
                <a:pos x="7" y="0"/>
              </a:cxn>
              <a:cxn ang="0">
                <a:pos x="5" y="0"/>
              </a:cxn>
              <a:cxn ang="0">
                <a:pos x="5" y="3"/>
              </a:cxn>
              <a:cxn ang="0">
                <a:pos x="3" y="2"/>
              </a:cxn>
              <a:cxn ang="0">
                <a:pos x="1" y="3"/>
              </a:cxn>
              <a:cxn ang="0">
                <a:pos x="0" y="5"/>
              </a:cxn>
              <a:cxn ang="0">
                <a:pos x="1" y="6"/>
              </a:cxn>
              <a:cxn ang="0">
                <a:pos x="4" y="6"/>
              </a:cxn>
              <a:cxn ang="0">
                <a:pos x="5" y="8"/>
              </a:cxn>
              <a:cxn ang="0">
                <a:pos x="7" y="8"/>
              </a:cxn>
              <a:cxn ang="0">
                <a:pos x="7" y="10"/>
              </a:cxn>
              <a:cxn ang="0">
                <a:pos x="12" y="10"/>
              </a:cxn>
              <a:cxn ang="0">
                <a:pos x="12" y="11"/>
              </a:cxn>
              <a:cxn ang="0">
                <a:pos x="13" y="11"/>
              </a:cxn>
              <a:cxn ang="0">
                <a:pos x="16" y="8"/>
              </a:cxn>
              <a:cxn ang="0">
                <a:pos x="12" y="8"/>
              </a:cxn>
              <a:cxn ang="0">
                <a:pos x="11" y="6"/>
              </a:cxn>
              <a:cxn ang="0">
                <a:pos x="11" y="5"/>
              </a:cxn>
              <a:cxn ang="0">
                <a:pos x="9" y="3"/>
              </a:cxn>
              <a:cxn ang="0">
                <a:pos x="8" y="2"/>
              </a:cxn>
              <a:cxn ang="0">
                <a:pos x="7" y="0"/>
              </a:cxn>
            </a:cxnLst>
            <a:rect l="0" t="0" r="r" b="b"/>
            <a:pathLst>
              <a:path w="16" h="11">
                <a:moveTo>
                  <a:pt x="7" y="0"/>
                </a:moveTo>
                <a:lnTo>
                  <a:pt x="5" y="0"/>
                </a:lnTo>
                <a:lnTo>
                  <a:pt x="5" y="3"/>
                </a:lnTo>
                <a:lnTo>
                  <a:pt x="3" y="2"/>
                </a:lnTo>
                <a:lnTo>
                  <a:pt x="1" y="3"/>
                </a:lnTo>
                <a:lnTo>
                  <a:pt x="0" y="5"/>
                </a:lnTo>
                <a:lnTo>
                  <a:pt x="1" y="6"/>
                </a:lnTo>
                <a:lnTo>
                  <a:pt x="4" y="6"/>
                </a:lnTo>
                <a:lnTo>
                  <a:pt x="5" y="8"/>
                </a:lnTo>
                <a:lnTo>
                  <a:pt x="7" y="8"/>
                </a:lnTo>
                <a:lnTo>
                  <a:pt x="7" y="10"/>
                </a:lnTo>
                <a:lnTo>
                  <a:pt x="12" y="10"/>
                </a:lnTo>
                <a:lnTo>
                  <a:pt x="12" y="11"/>
                </a:lnTo>
                <a:lnTo>
                  <a:pt x="13" y="11"/>
                </a:lnTo>
                <a:lnTo>
                  <a:pt x="16" y="8"/>
                </a:lnTo>
                <a:lnTo>
                  <a:pt x="12" y="8"/>
                </a:lnTo>
                <a:lnTo>
                  <a:pt x="11" y="6"/>
                </a:lnTo>
                <a:lnTo>
                  <a:pt x="11" y="5"/>
                </a:lnTo>
                <a:lnTo>
                  <a:pt x="9" y="3"/>
                </a:lnTo>
                <a:lnTo>
                  <a:pt x="8" y="2"/>
                </a:lnTo>
                <a:lnTo>
                  <a:pt x="7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74" name="Freeform 373"/>
          <p:cNvSpPr>
            <a:spLocks/>
          </p:cNvSpPr>
          <p:nvPr/>
        </p:nvSpPr>
        <p:spPr bwMode="auto">
          <a:xfrm>
            <a:off x="5481493" y="2310477"/>
            <a:ext cx="31181" cy="21476"/>
          </a:xfrm>
          <a:custGeom>
            <a:avLst/>
            <a:gdLst/>
            <a:ahLst/>
            <a:cxnLst>
              <a:cxn ang="0">
                <a:pos x="7" y="0"/>
              </a:cxn>
              <a:cxn ang="0">
                <a:pos x="5" y="0"/>
              </a:cxn>
              <a:cxn ang="0">
                <a:pos x="5" y="3"/>
              </a:cxn>
              <a:cxn ang="0">
                <a:pos x="3" y="2"/>
              </a:cxn>
              <a:cxn ang="0">
                <a:pos x="1" y="3"/>
              </a:cxn>
              <a:cxn ang="0">
                <a:pos x="0" y="5"/>
              </a:cxn>
              <a:cxn ang="0">
                <a:pos x="1" y="6"/>
              </a:cxn>
              <a:cxn ang="0">
                <a:pos x="4" y="6"/>
              </a:cxn>
              <a:cxn ang="0">
                <a:pos x="5" y="8"/>
              </a:cxn>
              <a:cxn ang="0">
                <a:pos x="7" y="8"/>
              </a:cxn>
              <a:cxn ang="0">
                <a:pos x="7" y="10"/>
              </a:cxn>
              <a:cxn ang="0">
                <a:pos x="12" y="10"/>
              </a:cxn>
              <a:cxn ang="0">
                <a:pos x="12" y="11"/>
              </a:cxn>
              <a:cxn ang="0">
                <a:pos x="13" y="11"/>
              </a:cxn>
              <a:cxn ang="0">
                <a:pos x="16" y="8"/>
              </a:cxn>
              <a:cxn ang="0">
                <a:pos x="12" y="8"/>
              </a:cxn>
              <a:cxn ang="0">
                <a:pos x="11" y="6"/>
              </a:cxn>
              <a:cxn ang="0">
                <a:pos x="11" y="5"/>
              </a:cxn>
              <a:cxn ang="0">
                <a:pos x="9" y="3"/>
              </a:cxn>
              <a:cxn ang="0">
                <a:pos x="8" y="2"/>
              </a:cxn>
              <a:cxn ang="0">
                <a:pos x="7" y="0"/>
              </a:cxn>
            </a:cxnLst>
            <a:rect l="0" t="0" r="r" b="b"/>
            <a:pathLst>
              <a:path w="16" h="11">
                <a:moveTo>
                  <a:pt x="7" y="0"/>
                </a:moveTo>
                <a:lnTo>
                  <a:pt x="5" y="0"/>
                </a:lnTo>
                <a:lnTo>
                  <a:pt x="5" y="3"/>
                </a:lnTo>
                <a:lnTo>
                  <a:pt x="3" y="2"/>
                </a:lnTo>
                <a:lnTo>
                  <a:pt x="1" y="3"/>
                </a:lnTo>
                <a:lnTo>
                  <a:pt x="0" y="5"/>
                </a:lnTo>
                <a:lnTo>
                  <a:pt x="1" y="6"/>
                </a:lnTo>
                <a:lnTo>
                  <a:pt x="4" y="6"/>
                </a:lnTo>
                <a:lnTo>
                  <a:pt x="5" y="8"/>
                </a:lnTo>
                <a:lnTo>
                  <a:pt x="7" y="8"/>
                </a:lnTo>
                <a:lnTo>
                  <a:pt x="7" y="10"/>
                </a:lnTo>
                <a:lnTo>
                  <a:pt x="12" y="10"/>
                </a:lnTo>
                <a:lnTo>
                  <a:pt x="12" y="11"/>
                </a:lnTo>
                <a:lnTo>
                  <a:pt x="13" y="11"/>
                </a:lnTo>
                <a:lnTo>
                  <a:pt x="16" y="8"/>
                </a:lnTo>
                <a:lnTo>
                  <a:pt x="12" y="8"/>
                </a:lnTo>
                <a:lnTo>
                  <a:pt x="11" y="6"/>
                </a:lnTo>
                <a:lnTo>
                  <a:pt x="11" y="5"/>
                </a:lnTo>
                <a:lnTo>
                  <a:pt x="9" y="3"/>
                </a:lnTo>
                <a:lnTo>
                  <a:pt x="8" y="2"/>
                </a:lnTo>
                <a:lnTo>
                  <a:pt x="7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75" name="Freeform 374"/>
          <p:cNvSpPr>
            <a:spLocks/>
          </p:cNvSpPr>
          <p:nvPr/>
        </p:nvSpPr>
        <p:spPr bwMode="auto">
          <a:xfrm>
            <a:off x="6083678" y="1908873"/>
            <a:ext cx="66259" cy="30067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23" y="0"/>
              </a:cxn>
              <a:cxn ang="0">
                <a:pos x="24" y="2"/>
              </a:cxn>
              <a:cxn ang="0">
                <a:pos x="23" y="3"/>
              </a:cxn>
              <a:cxn ang="0">
                <a:pos x="24" y="3"/>
              </a:cxn>
              <a:cxn ang="0">
                <a:pos x="25" y="5"/>
              </a:cxn>
              <a:cxn ang="0">
                <a:pos x="24" y="5"/>
              </a:cxn>
              <a:cxn ang="0">
                <a:pos x="23" y="6"/>
              </a:cxn>
              <a:cxn ang="0">
                <a:pos x="25" y="6"/>
              </a:cxn>
              <a:cxn ang="0">
                <a:pos x="27" y="5"/>
              </a:cxn>
              <a:cxn ang="0">
                <a:pos x="29" y="3"/>
              </a:cxn>
              <a:cxn ang="0">
                <a:pos x="28" y="3"/>
              </a:cxn>
              <a:cxn ang="0">
                <a:pos x="29" y="2"/>
              </a:cxn>
              <a:cxn ang="0">
                <a:pos x="32" y="2"/>
              </a:cxn>
              <a:cxn ang="0">
                <a:pos x="35" y="3"/>
              </a:cxn>
              <a:cxn ang="0">
                <a:pos x="35" y="5"/>
              </a:cxn>
              <a:cxn ang="0">
                <a:pos x="33" y="6"/>
              </a:cxn>
              <a:cxn ang="0">
                <a:pos x="32" y="6"/>
              </a:cxn>
              <a:cxn ang="0">
                <a:pos x="29" y="8"/>
              </a:cxn>
              <a:cxn ang="0">
                <a:pos x="27" y="8"/>
              </a:cxn>
              <a:cxn ang="0">
                <a:pos x="27" y="10"/>
              </a:cxn>
              <a:cxn ang="0">
                <a:pos x="25" y="8"/>
              </a:cxn>
              <a:cxn ang="0">
                <a:pos x="21" y="10"/>
              </a:cxn>
              <a:cxn ang="0">
                <a:pos x="21" y="11"/>
              </a:cxn>
              <a:cxn ang="0">
                <a:pos x="20" y="11"/>
              </a:cxn>
              <a:cxn ang="0">
                <a:pos x="19" y="11"/>
              </a:cxn>
              <a:cxn ang="0">
                <a:pos x="19" y="10"/>
              </a:cxn>
              <a:cxn ang="0">
                <a:pos x="16" y="11"/>
              </a:cxn>
              <a:cxn ang="0">
                <a:pos x="13" y="13"/>
              </a:cxn>
              <a:cxn ang="0">
                <a:pos x="8" y="14"/>
              </a:cxn>
              <a:cxn ang="0">
                <a:pos x="9" y="13"/>
              </a:cxn>
              <a:cxn ang="0">
                <a:pos x="7" y="13"/>
              </a:cxn>
              <a:cxn ang="0">
                <a:pos x="5" y="13"/>
              </a:cxn>
              <a:cxn ang="0">
                <a:pos x="0" y="14"/>
              </a:cxn>
              <a:cxn ang="0">
                <a:pos x="0" y="13"/>
              </a:cxn>
              <a:cxn ang="0">
                <a:pos x="1" y="11"/>
              </a:cxn>
              <a:cxn ang="0">
                <a:pos x="3" y="11"/>
              </a:cxn>
              <a:cxn ang="0">
                <a:pos x="4" y="11"/>
              </a:cxn>
              <a:cxn ang="0">
                <a:pos x="7" y="10"/>
              </a:cxn>
              <a:cxn ang="0">
                <a:pos x="8" y="10"/>
              </a:cxn>
              <a:cxn ang="0">
                <a:pos x="9" y="10"/>
              </a:cxn>
              <a:cxn ang="0">
                <a:pos x="15" y="8"/>
              </a:cxn>
              <a:cxn ang="0">
                <a:pos x="17" y="6"/>
              </a:cxn>
              <a:cxn ang="0">
                <a:pos x="17" y="5"/>
              </a:cxn>
              <a:cxn ang="0">
                <a:pos x="19" y="5"/>
              </a:cxn>
              <a:cxn ang="0">
                <a:pos x="19" y="3"/>
              </a:cxn>
              <a:cxn ang="0">
                <a:pos x="20" y="2"/>
              </a:cxn>
              <a:cxn ang="0">
                <a:pos x="20" y="0"/>
              </a:cxn>
            </a:cxnLst>
            <a:rect l="0" t="0" r="r" b="b"/>
            <a:pathLst>
              <a:path w="35" h="14">
                <a:moveTo>
                  <a:pt x="20" y="0"/>
                </a:moveTo>
                <a:lnTo>
                  <a:pt x="23" y="0"/>
                </a:lnTo>
                <a:lnTo>
                  <a:pt x="24" y="2"/>
                </a:lnTo>
                <a:lnTo>
                  <a:pt x="23" y="3"/>
                </a:lnTo>
                <a:lnTo>
                  <a:pt x="24" y="3"/>
                </a:lnTo>
                <a:lnTo>
                  <a:pt x="25" y="5"/>
                </a:lnTo>
                <a:lnTo>
                  <a:pt x="24" y="5"/>
                </a:lnTo>
                <a:lnTo>
                  <a:pt x="23" y="6"/>
                </a:lnTo>
                <a:lnTo>
                  <a:pt x="25" y="6"/>
                </a:lnTo>
                <a:lnTo>
                  <a:pt x="27" y="5"/>
                </a:lnTo>
                <a:lnTo>
                  <a:pt x="29" y="3"/>
                </a:lnTo>
                <a:lnTo>
                  <a:pt x="28" y="3"/>
                </a:lnTo>
                <a:lnTo>
                  <a:pt x="29" y="2"/>
                </a:lnTo>
                <a:lnTo>
                  <a:pt x="32" y="2"/>
                </a:lnTo>
                <a:lnTo>
                  <a:pt x="35" y="3"/>
                </a:lnTo>
                <a:lnTo>
                  <a:pt x="35" y="5"/>
                </a:lnTo>
                <a:lnTo>
                  <a:pt x="33" y="6"/>
                </a:lnTo>
                <a:lnTo>
                  <a:pt x="32" y="6"/>
                </a:lnTo>
                <a:lnTo>
                  <a:pt x="29" y="8"/>
                </a:lnTo>
                <a:lnTo>
                  <a:pt x="27" y="8"/>
                </a:lnTo>
                <a:lnTo>
                  <a:pt x="27" y="10"/>
                </a:lnTo>
                <a:lnTo>
                  <a:pt x="25" y="8"/>
                </a:lnTo>
                <a:lnTo>
                  <a:pt x="21" y="10"/>
                </a:lnTo>
                <a:lnTo>
                  <a:pt x="21" y="11"/>
                </a:lnTo>
                <a:lnTo>
                  <a:pt x="20" y="11"/>
                </a:lnTo>
                <a:lnTo>
                  <a:pt x="19" y="11"/>
                </a:lnTo>
                <a:lnTo>
                  <a:pt x="19" y="10"/>
                </a:lnTo>
                <a:lnTo>
                  <a:pt x="16" y="11"/>
                </a:lnTo>
                <a:lnTo>
                  <a:pt x="13" y="13"/>
                </a:lnTo>
                <a:lnTo>
                  <a:pt x="8" y="14"/>
                </a:lnTo>
                <a:lnTo>
                  <a:pt x="9" y="13"/>
                </a:lnTo>
                <a:lnTo>
                  <a:pt x="7" y="13"/>
                </a:lnTo>
                <a:lnTo>
                  <a:pt x="5" y="13"/>
                </a:lnTo>
                <a:lnTo>
                  <a:pt x="0" y="14"/>
                </a:lnTo>
                <a:lnTo>
                  <a:pt x="0" y="13"/>
                </a:lnTo>
                <a:lnTo>
                  <a:pt x="1" y="11"/>
                </a:lnTo>
                <a:lnTo>
                  <a:pt x="3" y="11"/>
                </a:lnTo>
                <a:lnTo>
                  <a:pt x="4" y="11"/>
                </a:lnTo>
                <a:lnTo>
                  <a:pt x="7" y="10"/>
                </a:lnTo>
                <a:lnTo>
                  <a:pt x="8" y="10"/>
                </a:lnTo>
                <a:lnTo>
                  <a:pt x="9" y="10"/>
                </a:lnTo>
                <a:lnTo>
                  <a:pt x="15" y="8"/>
                </a:lnTo>
                <a:lnTo>
                  <a:pt x="17" y="6"/>
                </a:lnTo>
                <a:lnTo>
                  <a:pt x="17" y="5"/>
                </a:lnTo>
                <a:lnTo>
                  <a:pt x="19" y="5"/>
                </a:lnTo>
                <a:lnTo>
                  <a:pt x="19" y="3"/>
                </a:lnTo>
                <a:lnTo>
                  <a:pt x="20" y="2"/>
                </a:lnTo>
                <a:lnTo>
                  <a:pt x="2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76" name="Freeform 375"/>
          <p:cNvSpPr>
            <a:spLocks/>
          </p:cNvSpPr>
          <p:nvPr/>
        </p:nvSpPr>
        <p:spPr bwMode="auto">
          <a:xfrm>
            <a:off x="6083678" y="1908873"/>
            <a:ext cx="66259" cy="30067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23" y="0"/>
              </a:cxn>
              <a:cxn ang="0">
                <a:pos x="24" y="2"/>
              </a:cxn>
              <a:cxn ang="0">
                <a:pos x="23" y="3"/>
              </a:cxn>
              <a:cxn ang="0">
                <a:pos x="24" y="3"/>
              </a:cxn>
              <a:cxn ang="0">
                <a:pos x="25" y="5"/>
              </a:cxn>
              <a:cxn ang="0">
                <a:pos x="24" y="5"/>
              </a:cxn>
              <a:cxn ang="0">
                <a:pos x="23" y="6"/>
              </a:cxn>
              <a:cxn ang="0">
                <a:pos x="25" y="6"/>
              </a:cxn>
              <a:cxn ang="0">
                <a:pos x="27" y="5"/>
              </a:cxn>
              <a:cxn ang="0">
                <a:pos x="29" y="3"/>
              </a:cxn>
              <a:cxn ang="0">
                <a:pos x="28" y="3"/>
              </a:cxn>
              <a:cxn ang="0">
                <a:pos x="29" y="2"/>
              </a:cxn>
              <a:cxn ang="0">
                <a:pos x="32" y="2"/>
              </a:cxn>
              <a:cxn ang="0">
                <a:pos x="35" y="3"/>
              </a:cxn>
              <a:cxn ang="0">
                <a:pos x="35" y="5"/>
              </a:cxn>
              <a:cxn ang="0">
                <a:pos x="33" y="6"/>
              </a:cxn>
              <a:cxn ang="0">
                <a:pos x="32" y="6"/>
              </a:cxn>
              <a:cxn ang="0">
                <a:pos x="29" y="8"/>
              </a:cxn>
              <a:cxn ang="0">
                <a:pos x="27" y="8"/>
              </a:cxn>
              <a:cxn ang="0">
                <a:pos x="27" y="10"/>
              </a:cxn>
              <a:cxn ang="0">
                <a:pos x="25" y="8"/>
              </a:cxn>
              <a:cxn ang="0">
                <a:pos x="21" y="10"/>
              </a:cxn>
              <a:cxn ang="0">
                <a:pos x="21" y="11"/>
              </a:cxn>
              <a:cxn ang="0">
                <a:pos x="20" y="11"/>
              </a:cxn>
              <a:cxn ang="0">
                <a:pos x="19" y="11"/>
              </a:cxn>
              <a:cxn ang="0">
                <a:pos x="19" y="10"/>
              </a:cxn>
              <a:cxn ang="0">
                <a:pos x="16" y="11"/>
              </a:cxn>
              <a:cxn ang="0">
                <a:pos x="13" y="13"/>
              </a:cxn>
              <a:cxn ang="0">
                <a:pos x="8" y="14"/>
              </a:cxn>
              <a:cxn ang="0">
                <a:pos x="9" y="13"/>
              </a:cxn>
              <a:cxn ang="0">
                <a:pos x="7" y="13"/>
              </a:cxn>
              <a:cxn ang="0">
                <a:pos x="5" y="13"/>
              </a:cxn>
              <a:cxn ang="0">
                <a:pos x="0" y="14"/>
              </a:cxn>
              <a:cxn ang="0">
                <a:pos x="0" y="13"/>
              </a:cxn>
              <a:cxn ang="0">
                <a:pos x="1" y="11"/>
              </a:cxn>
              <a:cxn ang="0">
                <a:pos x="3" y="11"/>
              </a:cxn>
              <a:cxn ang="0">
                <a:pos x="4" y="11"/>
              </a:cxn>
              <a:cxn ang="0">
                <a:pos x="7" y="10"/>
              </a:cxn>
              <a:cxn ang="0">
                <a:pos x="8" y="10"/>
              </a:cxn>
              <a:cxn ang="0">
                <a:pos x="9" y="10"/>
              </a:cxn>
              <a:cxn ang="0">
                <a:pos x="15" y="8"/>
              </a:cxn>
              <a:cxn ang="0">
                <a:pos x="17" y="6"/>
              </a:cxn>
              <a:cxn ang="0">
                <a:pos x="17" y="5"/>
              </a:cxn>
              <a:cxn ang="0">
                <a:pos x="19" y="5"/>
              </a:cxn>
              <a:cxn ang="0">
                <a:pos x="19" y="3"/>
              </a:cxn>
              <a:cxn ang="0">
                <a:pos x="20" y="2"/>
              </a:cxn>
              <a:cxn ang="0">
                <a:pos x="20" y="0"/>
              </a:cxn>
            </a:cxnLst>
            <a:rect l="0" t="0" r="r" b="b"/>
            <a:pathLst>
              <a:path w="35" h="14">
                <a:moveTo>
                  <a:pt x="20" y="0"/>
                </a:moveTo>
                <a:lnTo>
                  <a:pt x="23" y="0"/>
                </a:lnTo>
                <a:lnTo>
                  <a:pt x="24" y="2"/>
                </a:lnTo>
                <a:lnTo>
                  <a:pt x="23" y="3"/>
                </a:lnTo>
                <a:lnTo>
                  <a:pt x="24" y="3"/>
                </a:lnTo>
                <a:lnTo>
                  <a:pt x="25" y="5"/>
                </a:lnTo>
                <a:lnTo>
                  <a:pt x="24" y="5"/>
                </a:lnTo>
                <a:lnTo>
                  <a:pt x="23" y="6"/>
                </a:lnTo>
                <a:lnTo>
                  <a:pt x="25" y="6"/>
                </a:lnTo>
                <a:lnTo>
                  <a:pt x="27" y="5"/>
                </a:lnTo>
                <a:lnTo>
                  <a:pt x="29" y="3"/>
                </a:lnTo>
                <a:lnTo>
                  <a:pt x="28" y="3"/>
                </a:lnTo>
                <a:lnTo>
                  <a:pt x="29" y="2"/>
                </a:lnTo>
                <a:lnTo>
                  <a:pt x="32" y="2"/>
                </a:lnTo>
                <a:lnTo>
                  <a:pt x="35" y="3"/>
                </a:lnTo>
                <a:lnTo>
                  <a:pt x="35" y="5"/>
                </a:lnTo>
                <a:lnTo>
                  <a:pt x="33" y="6"/>
                </a:lnTo>
                <a:lnTo>
                  <a:pt x="32" y="6"/>
                </a:lnTo>
                <a:lnTo>
                  <a:pt x="29" y="8"/>
                </a:lnTo>
                <a:lnTo>
                  <a:pt x="27" y="8"/>
                </a:lnTo>
                <a:lnTo>
                  <a:pt x="27" y="10"/>
                </a:lnTo>
                <a:lnTo>
                  <a:pt x="25" y="8"/>
                </a:lnTo>
                <a:lnTo>
                  <a:pt x="21" y="10"/>
                </a:lnTo>
                <a:lnTo>
                  <a:pt x="21" y="11"/>
                </a:lnTo>
                <a:lnTo>
                  <a:pt x="20" y="11"/>
                </a:lnTo>
                <a:lnTo>
                  <a:pt x="19" y="11"/>
                </a:lnTo>
                <a:lnTo>
                  <a:pt x="19" y="10"/>
                </a:lnTo>
                <a:lnTo>
                  <a:pt x="16" y="11"/>
                </a:lnTo>
                <a:lnTo>
                  <a:pt x="13" y="13"/>
                </a:lnTo>
                <a:lnTo>
                  <a:pt x="8" y="14"/>
                </a:lnTo>
                <a:lnTo>
                  <a:pt x="9" y="13"/>
                </a:lnTo>
                <a:lnTo>
                  <a:pt x="7" y="13"/>
                </a:lnTo>
                <a:lnTo>
                  <a:pt x="5" y="13"/>
                </a:lnTo>
                <a:lnTo>
                  <a:pt x="0" y="14"/>
                </a:lnTo>
                <a:lnTo>
                  <a:pt x="0" y="13"/>
                </a:lnTo>
                <a:lnTo>
                  <a:pt x="1" y="11"/>
                </a:lnTo>
                <a:lnTo>
                  <a:pt x="3" y="11"/>
                </a:lnTo>
                <a:lnTo>
                  <a:pt x="4" y="11"/>
                </a:lnTo>
                <a:lnTo>
                  <a:pt x="7" y="10"/>
                </a:lnTo>
                <a:lnTo>
                  <a:pt x="8" y="10"/>
                </a:lnTo>
                <a:lnTo>
                  <a:pt x="9" y="10"/>
                </a:lnTo>
                <a:lnTo>
                  <a:pt x="15" y="8"/>
                </a:lnTo>
                <a:lnTo>
                  <a:pt x="17" y="6"/>
                </a:lnTo>
                <a:lnTo>
                  <a:pt x="17" y="5"/>
                </a:lnTo>
                <a:lnTo>
                  <a:pt x="19" y="5"/>
                </a:lnTo>
                <a:lnTo>
                  <a:pt x="19" y="3"/>
                </a:lnTo>
                <a:lnTo>
                  <a:pt x="20" y="2"/>
                </a:lnTo>
                <a:lnTo>
                  <a:pt x="2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77" name="Freeform 376"/>
          <p:cNvSpPr>
            <a:spLocks/>
          </p:cNvSpPr>
          <p:nvPr/>
        </p:nvSpPr>
        <p:spPr bwMode="auto">
          <a:xfrm>
            <a:off x="6089522" y="1908873"/>
            <a:ext cx="23386" cy="12885"/>
          </a:xfrm>
          <a:custGeom>
            <a:avLst/>
            <a:gdLst/>
            <a:ahLst/>
            <a:cxnLst>
              <a:cxn ang="0">
                <a:pos x="0" y="5"/>
              </a:cxn>
              <a:cxn ang="0">
                <a:pos x="1" y="5"/>
              </a:cxn>
              <a:cxn ang="0">
                <a:pos x="1" y="3"/>
              </a:cxn>
              <a:cxn ang="0">
                <a:pos x="1" y="5"/>
              </a:cxn>
              <a:cxn ang="0">
                <a:pos x="2" y="3"/>
              </a:cxn>
              <a:cxn ang="0">
                <a:pos x="4" y="3"/>
              </a:cxn>
              <a:cxn ang="0">
                <a:pos x="5" y="3"/>
              </a:cxn>
              <a:cxn ang="0">
                <a:pos x="5" y="2"/>
              </a:cxn>
              <a:cxn ang="0">
                <a:pos x="6" y="3"/>
              </a:cxn>
              <a:cxn ang="0">
                <a:pos x="9" y="3"/>
              </a:cxn>
              <a:cxn ang="0">
                <a:pos x="9" y="0"/>
              </a:cxn>
              <a:cxn ang="0">
                <a:pos x="12" y="3"/>
              </a:cxn>
              <a:cxn ang="0">
                <a:pos x="13" y="6"/>
              </a:cxn>
              <a:cxn ang="0">
                <a:pos x="10" y="6"/>
              </a:cxn>
              <a:cxn ang="0">
                <a:pos x="9" y="6"/>
              </a:cxn>
              <a:cxn ang="0">
                <a:pos x="6" y="6"/>
              </a:cxn>
              <a:cxn ang="0">
                <a:pos x="8" y="5"/>
              </a:cxn>
              <a:cxn ang="0">
                <a:pos x="9" y="5"/>
              </a:cxn>
              <a:cxn ang="0">
                <a:pos x="6" y="5"/>
              </a:cxn>
              <a:cxn ang="0">
                <a:pos x="5" y="5"/>
              </a:cxn>
              <a:cxn ang="0">
                <a:pos x="1" y="6"/>
              </a:cxn>
              <a:cxn ang="0">
                <a:pos x="0" y="6"/>
              </a:cxn>
              <a:cxn ang="0">
                <a:pos x="0" y="5"/>
              </a:cxn>
            </a:cxnLst>
            <a:rect l="0" t="0" r="r" b="b"/>
            <a:pathLst>
              <a:path w="13" h="6">
                <a:moveTo>
                  <a:pt x="0" y="5"/>
                </a:moveTo>
                <a:lnTo>
                  <a:pt x="1" y="5"/>
                </a:lnTo>
                <a:lnTo>
                  <a:pt x="1" y="3"/>
                </a:lnTo>
                <a:lnTo>
                  <a:pt x="1" y="5"/>
                </a:lnTo>
                <a:lnTo>
                  <a:pt x="2" y="3"/>
                </a:lnTo>
                <a:lnTo>
                  <a:pt x="4" y="3"/>
                </a:lnTo>
                <a:lnTo>
                  <a:pt x="5" y="3"/>
                </a:lnTo>
                <a:lnTo>
                  <a:pt x="5" y="2"/>
                </a:lnTo>
                <a:lnTo>
                  <a:pt x="6" y="3"/>
                </a:lnTo>
                <a:lnTo>
                  <a:pt x="9" y="3"/>
                </a:lnTo>
                <a:lnTo>
                  <a:pt x="9" y="0"/>
                </a:lnTo>
                <a:lnTo>
                  <a:pt x="12" y="3"/>
                </a:lnTo>
                <a:lnTo>
                  <a:pt x="13" y="6"/>
                </a:lnTo>
                <a:lnTo>
                  <a:pt x="10" y="6"/>
                </a:lnTo>
                <a:lnTo>
                  <a:pt x="9" y="6"/>
                </a:lnTo>
                <a:lnTo>
                  <a:pt x="6" y="6"/>
                </a:lnTo>
                <a:lnTo>
                  <a:pt x="8" y="5"/>
                </a:lnTo>
                <a:lnTo>
                  <a:pt x="9" y="5"/>
                </a:lnTo>
                <a:lnTo>
                  <a:pt x="6" y="5"/>
                </a:lnTo>
                <a:lnTo>
                  <a:pt x="5" y="5"/>
                </a:lnTo>
                <a:lnTo>
                  <a:pt x="1" y="6"/>
                </a:lnTo>
                <a:lnTo>
                  <a:pt x="0" y="6"/>
                </a:lnTo>
                <a:lnTo>
                  <a:pt x="0" y="5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78" name="Freeform 377"/>
          <p:cNvSpPr>
            <a:spLocks/>
          </p:cNvSpPr>
          <p:nvPr/>
        </p:nvSpPr>
        <p:spPr bwMode="auto">
          <a:xfrm>
            <a:off x="6089522" y="1908873"/>
            <a:ext cx="23386" cy="12885"/>
          </a:xfrm>
          <a:custGeom>
            <a:avLst/>
            <a:gdLst/>
            <a:ahLst/>
            <a:cxnLst>
              <a:cxn ang="0">
                <a:pos x="0" y="5"/>
              </a:cxn>
              <a:cxn ang="0">
                <a:pos x="1" y="5"/>
              </a:cxn>
              <a:cxn ang="0">
                <a:pos x="1" y="3"/>
              </a:cxn>
              <a:cxn ang="0">
                <a:pos x="1" y="5"/>
              </a:cxn>
              <a:cxn ang="0">
                <a:pos x="2" y="3"/>
              </a:cxn>
              <a:cxn ang="0">
                <a:pos x="4" y="3"/>
              </a:cxn>
              <a:cxn ang="0">
                <a:pos x="5" y="3"/>
              </a:cxn>
              <a:cxn ang="0">
                <a:pos x="5" y="2"/>
              </a:cxn>
              <a:cxn ang="0">
                <a:pos x="6" y="3"/>
              </a:cxn>
              <a:cxn ang="0">
                <a:pos x="9" y="3"/>
              </a:cxn>
              <a:cxn ang="0">
                <a:pos x="9" y="0"/>
              </a:cxn>
              <a:cxn ang="0">
                <a:pos x="12" y="3"/>
              </a:cxn>
              <a:cxn ang="0">
                <a:pos x="13" y="6"/>
              </a:cxn>
              <a:cxn ang="0">
                <a:pos x="10" y="6"/>
              </a:cxn>
              <a:cxn ang="0">
                <a:pos x="9" y="6"/>
              </a:cxn>
              <a:cxn ang="0">
                <a:pos x="6" y="6"/>
              </a:cxn>
              <a:cxn ang="0">
                <a:pos x="8" y="5"/>
              </a:cxn>
              <a:cxn ang="0">
                <a:pos x="9" y="5"/>
              </a:cxn>
              <a:cxn ang="0">
                <a:pos x="6" y="5"/>
              </a:cxn>
              <a:cxn ang="0">
                <a:pos x="5" y="5"/>
              </a:cxn>
              <a:cxn ang="0">
                <a:pos x="1" y="6"/>
              </a:cxn>
              <a:cxn ang="0">
                <a:pos x="0" y="6"/>
              </a:cxn>
              <a:cxn ang="0">
                <a:pos x="0" y="5"/>
              </a:cxn>
            </a:cxnLst>
            <a:rect l="0" t="0" r="r" b="b"/>
            <a:pathLst>
              <a:path w="13" h="6">
                <a:moveTo>
                  <a:pt x="0" y="5"/>
                </a:moveTo>
                <a:lnTo>
                  <a:pt x="1" y="5"/>
                </a:lnTo>
                <a:lnTo>
                  <a:pt x="1" y="3"/>
                </a:lnTo>
                <a:lnTo>
                  <a:pt x="1" y="5"/>
                </a:lnTo>
                <a:lnTo>
                  <a:pt x="2" y="3"/>
                </a:lnTo>
                <a:lnTo>
                  <a:pt x="4" y="3"/>
                </a:lnTo>
                <a:lnTo>
                  <a:pt x="5" y="3"/>
                </a:lnTo>
                <a:lnTo>
                  <a:pt x="5" y="2"/>
                </a:lnTo>
                <a:lnTo>
                  <a:pt x="6" y="3"/>
                </a:lnTo>
                <a:lnTo>
                  <a:pt x="9" y="3"/>
                </a:lnTo>
                <a:lnTo>
                  <a:pt x="9" y="0"/>
                </a:lnTo>
                <a:lnTo>
                  <a:pt x="12" y="3"/>
                </a:lnTo>
                <a:lnTo>
                  <a:pt x="13" y="6"/>
                </a:lnTo>
                <a:lnTo>
                  <a:pt x="10" y="6"/>
                </a:lnTo>
                <a:lnTo>
                  <a:pt x="9" y="6"/>
                </a:lnTo>
                <a:lnTo>
                  <a:pt x="6" y="6"/>
                </a:lnTo>
                <a:lnTo>
                  <a:pt x="8" y="5"/>
                </a:lnTo>
                <a:lnTo>
                  <a:pt x="9" y="5"/>
                </a:lnTo>
                <a:lnTo>
                  <a:pt x="6" y="5"/>
                </a:lnTo>
                <a:lnTo>
                  <a:pt x="5" y="5"/>
                </a:lnTo>
                <a:lnTo>
                  <a:pt x="1" y="6"/>
                </a:lnTo>
                <a:lnTo>
                  <a:pt x="0" y="6"/>
                </a:lnTo>
                <a:lnTo>
                  <a:pt x="0" y="5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79" name="Freeform 378"/>
          <p:cNvSpPr>
            <a:spLocks/>
          </p:cNvSpPr>
          <p:nvPr/>
        </p:nvSpPr>
        <p:spPr bwMode="auto">
          <a:xfrm>
            <a:off x="6120703" y="1898135"/>
            <a:ext cx="17540" cy="10739"/>
          </a:xfrm>
          <a:custGeom>
            <a:avLst/>
            <a:gdLst/>
            <a:ahLst/>
            <a:cxnLst>
              <a:cxn ang="0">
                <a:pos x="4" y="1"/>
              </a:cxn>
              <a:cxn ang="0">
                <a:pos x="5" y="1"/>
              </a:cxn>
              <a:cxn ang="0">
                <a:pos x="6" y="0"/>
              </a:cxn>
              <a:cxn ang="0">
                <a:pos x="8" y="0"/>
              </a:cxn>
              <a:cxn ang="0">
                <a:pos x="10" y="1"/>
              </a:cxn>
              <a:cxn ang="0">
                <a:pos x="9" y="1"/>
              </a:cxn>
              <a:cxn ang="0">
                <a:pos x="9" y="3"/>
              </a:cxn>
              <a:cxn ang="0">
                <a:pos x="6" y="5"/>
              </a:cxn>
              <a:cxn ang="0">
                <a:pos x="4" y="6"/>
              </a:cxn>
              <a:cxn ang="0">
                <a:pos x="2" y="6"/>
              </a:cxn>
              <a:cxn ang="0">
                <a:pos x="1" y="6"/>
              </a:cxn>
              <a:cxn ang="0">
                <a:pos x="0" y="5"/>
              </a:cxn>
              <a:cxn ang="0">
                <a:pos x="1" y="3"/>
              </a:cxn>
              <a:cxn ang="0">
                <a:pos x="4" y="3"/>
              </a:cxn>
              <a:cxn ang="0">
                <a:pos x="4" y="1"/>
              </a:cxn>
            </a:cxnLst>
            <a:rect l="0" t="0" r="r" b="b"/>
            <a:pathLst>
              <a:path w="10" h="6">
                <a:moveTo>
                  <a:pt x="4" y="1"/>
                </a:moveTo>
                <a:lnTo>
                  <a:pt x="5" y="1"/>
                </a:lnTo>
                <a:lnTo>
                  <a:pt x="6" y="0"/>
                </a:lnTo>
                <a:lnTo>
                  <a:pt x="8" y="0"/>
                </a:lnTo>
                <a:lnTo>
                  <a:pt x="10" y="1"/>
                </a:lnTo>
                <a:lnTo>
                  <a:pt x="9" y="1"/>
                </a:lnTo>
                <a:lnTo>
                  <a:pt x="9" y="3"/>
                </a:lnTo>
                <a:lnTo>
                  <a:pt x="6" y="5"/>
                </a:lnTo>
                <a:lnTo>
                  <a:pt x="4" y="6"/>
                </a:lnTo>
                <a:lnTo>
                  <a:pt x="2" y="6"/>
                </a:lnTo>
                <a:lnTo>
                  <a:pt x="1" y="6"/>
                </a:lnTo>
                <a:lnTo>
                  <a:pt x="0" y="5"/>
                </a:lnTo>
                <a:lnTo>
                  <a:pt x="1" y="3"/>
                </a:lnTo>
                <a:lnTo>
                  <a:pt x="4" y="3"/>
                </a:lnTo>
                <a:lnTo>
                  <a:pt x="4" y="1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80" name="Freeform 379"/>
          <p:cNvSpPr>
            <a:spLocks/>
          </p:cNvSpPr>
          <p:nvPr/>
        </p:nvSpPr>
        <p:spPr bwMode="auto">
          <a:xfrm>
            <a:off x="6120703" y="1898135"/>
            <a:ext cx="17540" cy="10739"/>
          </a:xfrm>
          <a:custGeom>
            <a:avLst/>
            <a:gdLst/>
            <a:ahLst/>
            <a:cxnLst>
              <a:cxn ang="0">
                <a:pos x="4" y="1"/>
              </a:cxn>
              <a:cxn ang="0">
                <a:pos x="5" y="1"/>
              </a:cxn>
              <a:cxn ang="0">
                <a:pos x="6" y="0"/>
              </a:cxn>
              <a:cxn ang="0">
                <a:pos x="8" y="0"/>
              </a:cxn>
              <a:cxn ang="0">
                <a:pos x="10" y="1"/>
              </a:cxn>
              <a:cxn ang="0">
                <a:pos x="9" y="1"/>
              </a:cxn>
              <a:cxn ang="0">
                <a:pos x="9" y="3"/>
              </a:cxn>
              <a:cxn ang="0">
                <a:pos x="6" y="5"/>
              </a:cxn>
              <a:cxn ang="0">
                <a:pos x="4" y="6"/>
              </a:cxn>
              <a:cxn ang="0">
                <a:pos x="2" y="6"/>
              </a:cxn>
              <a:cxn ang="0">
                <a:pos x="1" y="6"/>
              </a:cxn>
              <a:cxn ang="0">
                <a:pos x="0" y="5"/>
              </a:cxn>
              <a:cxn ang="0">
                <a:pos x="1" y="3"/>
              </a:cxn>
              <a:cxn ang="0">
                <a:pos x="4" y="3"/>
              </a:cxn>
              <a:cxn ang="0">
                <a:pos x="4" y="1"/>
              </a:cxn>
            </a:cxnLst>
            <a:rect l="0" t="0" r="r" b="b"/>
            <a:pathLst>
              <a:path w="10" h="6">
                <a:moveTo>
                  <a:pt x="4" y="1"/>
                </a:moveTo>
                <a:lnTo>
                  <a:pt x="5" y="1"/>
                </a:lnTo>
                <a:lnTo>
                  <a:pt x="6" y="0"/>
                </a:lnTo>
                <a:lnTo>
                  <a:pt x="8" y="0"/>
                </a:lnTo>
                <a:lnTo>
                  <a:pt x="10" y="1"/>
                </a:lnTo>
                <a:lnTo>
                  <a:pt x="9" y="1"/>
                </a:lnTo>
                <a:lnTo>
                  <a:pt x="9" y="3"/>
                </a:lnTo>
                <a:lnTo>
                  <a:pt x="6" y="5"/>
                </a:lnTo>
                <a:lnTo>
                  <a:pt x="4" y="6"/>
                </a:lnTo>
                <a:lnTo>
                  <a:pt x="2" y="6"/>
                </a:lnTo>
                <a:lnTo>
                  <a:pt x="1" y="6"/>
                </a:lnTo>
                <a:lnTo>
                  <a:pt x="0" y="5"/>
                </a:lnTo>
                <a:lnTo>
                  <a:pt x="1" y="3"/>
                </a:lnTo>
                <a:lnTo>
                  <a:pt x="4" y="3"/>
                </a:lnTo>
                <a:lnTo>
                  <a:pt x="4" y="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81" name="Freeform 380"/>
          <p:cNvSpPr>
            <a:spLocks/>
          </p:cNvSpPr>
          <p:nvPr/>
        </p:nvSpPr>
        <p:spPr bwMode="auto">
          <a:xfrm>
            <a:off x="6095369" y="1949677"/>
            <a:ext cx="17539" cy="10739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1" y="0"/>
              </a:cxn>
              <a:cxn ang="0">
                <a:pos x="4" y="2"/>
              </a:cxn>
              <a:cxn ang="0">
                <a:pos x="5" y="2"/>
              </a:cxn>
              <a:cxn ang="0">
                <a:pos x="8" y="0"/>
              </a:cxn>
              <a:cxn ang="0">
                <a:pos x="9" y="2"/>
              </a:cxn>
              <a:cxn ang="0">
                <a:pos x="6" y="2"/>
              </a:cxn>
              <a:cxn ang="0">
                <a:pos x="5" y="3"/>
              </a:cxn>
              <a:cxn ang="0">
                <a:pos x="2" y="5"/>
              </a:cxn>
              <a:cxn ang="0">
                <a:pos x="1" y="5"/>
              </a:cxn>
              <a:cxn ang="0">
                <a:pos x="0" y="3"/>
              </a:cxn>
              <a:cxn ang="0">
                <a:pos x="1" y="3"/>
              </a:cxn>
              <a:cxn ang="0">
                <a:pos x="4" y="3"/>
              </a:cxn>
              <a:cxn ang="0">
                <a:pos x="2" y="2"/>
              </a:cxn>
            </a:cxnLst>
            <a:rect l="0" t="0" r="r" b="b"/>
            <a:pathLst>
              <a:path w="9" h="5">
                <a:moveTo>
                  <a:pt x="2" y="2"/>
                </a:moveTo>
                <a:lnTo>
                  <a:pt x="1" y="0"/>
                </a:lnTo>
                <a:lnTo>
                  <a:pt x="4" y="2"/>
                </a:lnTo>
                <a:lnTo>
                  <a:pt x="5" y="2"/>
                </a:lnTo>
                <a:lnTo>
                  <a:pt x="8" y="0"/>
                </a:lnTo>
                <a:lnTo>
                  <a:pt x="9" y="2"/>
                </a:lnTo>
                <a:lnTo>
                  <a:pt x="6" y="2"/>
                </a:lnTo>
                <a:lnTo>
                  <a:pt x="5" y="3"/>
                </a:lnTo>
                <a:lnTo>
                  <a:pt x="2" y="5"/>
                </a:lnTo>
                <a:lnTo>
                  <a:pt x="1" y="5"/>
                </a:lnTo>
                <a:lnTo>
                  <a:pt x="0" y="3"/>
                </a:lnTo>
                <a:lnTo>
                  <a:pt x="1" y="3"/>
                </a:lnTo>
                <a:lnTo>
                  <a:pt x="4" y="3"/>
                </a:lnTo>
                <a:lnTo>
                  <a:pt x="2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82" name="Freeform 381"/>
          <p:cNvSpPr>
            <a:spLocks/>
          </p:cNvSpPr>
          <p:nvPr/>
        </p:nvSpPr>
        <p:spPr bwMode="auto">
          <a:xfrm>
            <a:off x="6095369" y="1949677"/>
            <a:ext cx="17539" cy="10739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1" y="0"/>
              </a:cxn>
              <a:cxn ang="0">
                <a:pos x="4" y="2"/>
              </a:cxn>
              <a:cxn ang="0">
                <a:pos x="5" y="2"/>
              </a:cxn>
              <a:cxn ang="0">
                <a:pos x="8" y="0"/>
              </a:cxn>
              <a:cxn ang="0">
                <a:pos x="9" y="2"/>
              </a:cxn>
              <a:cxn ang="0">
                <a:pos x="6" y="2"/>
              </a:cxn>
              <a:cxn ang="0">
                <a:pos x="5" y="3"/>
              </a:cxn>
              <a:cxn ang="0">
                <a:pos x="2" y="5"/>
              </a:cxn>
              <a:cxn ang="0">
                <a:pos x="1" y="5"/>
              </a:cxn>
              <a:cxn ang="0">
                <a:pos x="0" y="3"/>
              </a:cxn>
              <a:cxn ang="0">
                <a:pos x="1" y="3"/>
              </a:cxn>
              <a:cxn ang="0">
                <a:pos x="4" y="3"/>
              </a:cxn>
              <a:cxn ang="0">
                <a:pos x="2" y="2"/>
              </a:cxn>
            </a:cxnLst>
            <a:rect l="0" t="0" r="r" b="b"/>
            <a:pathLst>
              <a:path w="9" h="5">
                <a:moveTo>
                  <a:pt x="2" y="2"/>
                </a:moveTo>
                <a:lnTo>
                  <a:pt x="1" y="0"/>
                </a:lnTo>
                <a:lnTo>
                  <a:pt x="4" y="2"/>
                </a:lnTo>
                <a:lnTo>
                  <a:pt x="5" y="2"/>
                </a:lnTo>
                <a:lnTo>
                  <a:pt x="8" y="0"/>
                </a:lnTo>
                <a:lnTo>
                  <a:pt x="9" y="2"/>
                </a:lnTo>
                <a:lnTo>
                  <a:pt x="6" y="2"/>
                </a:lnTo>
                <a:lnTo>
                  <a:pt x="5" y="3"/>
                </a:lnTo>
                <a:lnTo>
                  <a:pt x="2" y="5"/>
                </a:lnTo>
                <a:lnTo>
                  <a:pt x="1" y="5"/>
                </a:lnTo>
                <a:lnTo>
                  <a:pt x="0" y="3"/>
                </a:lnTo>
                <a:lnTo>
                  <a:pt x="1" y="3"/>
                </a:lnTo>
                <a:lnTo>
                  <a:pt x="4" y="3"/>
                </a:lnTo>
                <a:lnTo>
                  <a:pt x="2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83" name="Freeform 382"/>
          <p:cNvSpPr>
            <a:spLocks/>
          </p:cNvSpPr>
          <p:nvPr/>
        </p:nvSpPr>
        <p:spPr bwMode="auto">
          <a:xfrm>
            <a:off x="6157732" y="1887397"/>
            <a:ext cx="33130" cy="21476"/>
          </a:xfrm>
          <a:custGeom>
            <a:avLst/>
            <a:gdLst/>
            <a:ahLst/>
            <a:cxnLst>
              <a:cxn ang="0">
                <a:pos x="1" y="6"/>
              </a:cxn>
              <a:cxn ang="0">
                <a:pos x="0" y="6"/>
              </a:cxn>
              <a:cxn ang="0">
                <a:pos x="1" y="6"/>
              </a:cxn>
              <a:cxn ang="0">
                <a:pos x="2" y="6"/>
              </a:cxn>
              <a:cxn ang="0">
                <a:pos x="2" y="5"/>
              </a:cxn>
              <a:cxn ang="0">
                <a:pos x="1" y="5"/>
              </a:cxn>
              <a:cxn ang="0">
                <a:pos x="2" y="5"/>
              </a:cxn>
              <a:cxn ang="0">
                <a:pos x="1" y="5"/>
              </a:cxn>
              <a:cxn ang="0">
                <a:pos x="4" y="3"/>
              </a:cxn>
              <a:cxn ang="0">
                <a:pos x="5" y="3"/>
              </a:cxn>
              <a:cxn ang="0">
                <a:pos x="8" y="3"/>
              </a:cxn>
              <a:cxn ang="0">
                <a:pos x="5" y="2"/>
              </a:cxn>
              <a:cxn ang="0">
                <a:pos x="8" y="2"/>
              </a:cxn>
              <a:cxn ang="0">
                <a:pos x="9" y="2"/>
              </a:cxn>
              <a:cxn ang="0">
                <a:pos x="10" y="2"/>
              </a:cxn>
              <a:cxn ang="0">
                <a:pos x="9" y="0"/>
              </a:cxn>
              <a:cxn ang="0">
                <a:pos x="10" y="2"/>
              </a:cxn>
              <a:cxn ang="0">
                <a:pos x="12" y="0"/>
              </a:cxn>
              <a:cxn ang="0">
                <a:pos x="13" y="0"/>
              </a:cxn>
              <a:cxn ang="0">
                <a:pos x="14" y="2"/>
              </a:cxn>
              <a:cxn ang="0">
                <a:pos x="16" y="3"/>
              </a:cxn>
              <a:cxn ang="0">
                <a:pos x="17" y="5"/>
              </a:cxn>
              <a:cxn ang="0">
                <a:pos x="16" y="5"/>
              </a:cxn>
              <a:cxn ang="0">
                <a:pos x="16" y="8"/>
              </a:cxn>
              <a:cxn ang="0">
                <a:pos x="10" y="8"/>
              </a:cxn>
              <a:cxn ang="0">
                <a:pos x="10" y="6"/>
              </a:cxn>
              <a:cxn ang="0">
                <a:pos x="9" y="8"/>
              </a:cxn>
              <a:cxn ang="0">
                <a:pos x="6" y="10"/>
              </a:cxn>
              <a:cxn ang="0">
                <a:pos x="2" y="10"/>
              </a:cxn>
              <a:cxn ang="0">
                <a:pos x="0" y="10"/>
              </a:cxn>
              <a:cxn ang="0">
                <a:pos x="2" y="8"/>
              </a:cxn>
              <a:cxn ang="0">
                <a:pos x="1" y="6"/>
              </a:cxn>
            </a:cxnLst>
            <a:rect l="0" t="0" r="r" b="b"/>
            <a:pathLst>
              <a:path w="17" h="10">
                <a:moveTo>
                  <a:pt x="1" y="6"/>
                </a:moveTo>
                <a:lnTo>
                  <a:pt x="0" y="6"/>
                </a:lnTo>
                <a:lnTo>
                  <a:pt x="1" y="6"/>
                </a:lnTo>
                <a:lnTo>
                  <a:pt x="2" y="6"/>
                </a:lnTo>
                <a:lnTo>
                  <a:pt x="2" y="5"/>
                </a:lnTo>
                <a:lnTo>
                  <a:pt x="1" y="5"/>
                </a:lnTo>
                <a:lnTo>
                  <a:pt x="2" y="5"/>
                </a:lnTo>
                <a:lnTo>
                  <a:pt x="1" y="5"/>
                </a:lnTo>
                <a:lnTo>
                  <a:pt x="4" y="3"/>
                </a:lnTo>
                <a:lnTo>
                  <a:pt x="5" y="3"/>
                </a:lnTo>
                <a:lnTo>
                  <a:pt x="8" y="3"/>
                </a:lnTo>
                <a:lnTo>
                  <a:pt x="5" y="2"/>
                </a:lnTo>
                <a:lnTo>
                  <a:pt x="8" y="2"/>
                </a:lnTo>
                <a:lnTo>
                  <a:pt x="9" y="2"/>
                </a:lnTo>
                <a:lnTo>
                  <a:pt x="10" y="2"/>
                </a:lnTo>
                <a:lnTo>
                  <a:pt x="9" y="0"/>
                </a:lnTo>
                <a:lnTo>
                  <a:pt x="10" y="2"/>
                </a:lnTo>
                <a:lnTo>
                  <a:pt x="12" y="0"/>
                </a:lnTo>
                <a:lnTo>
                  <a:pt x="13" y="0"/>
                </a:lnTo>
                <a:lnTo>
                  <a:pt x="14" y="2"/>
                </a:lnTo>
                <a:lnTo>
                  <a:pt x="16" y="3"/>
                </a:lnTo>
                <a:lnTo>
                  <a:pt x="17" y="5"/>
                </a:lnTo>
                <a:lnTo>
                  <a:pt x="16" y="5"/>
                </a:lnTo>
                <a:lnTo>
                  <a:pt x="16" y="8"/>
                </a:lnTo>
                <a:lnTo>
                  <a:pt x="10" y="8"/>
                </a:lnTo>
                <a:lnTo>
                  <a:pt x="10" y="6"/>
                </a:lnTo>
                <a:lnTo>
                  <a:pt x="9" y="8"/>
                </a:lnTo>
                <a:lnTo>
                  <a:pt x="6" y="10"/>
                </a:lnTo>
                <a:lnTo>
                  <a:pt x="2" y="10"/>
                </a:lnTo>
                <a:lnTo>
                  <a:pt x="0" y="10"/>
                </a:lnTo>
                <a:lnTo>
                  <a:pt x="2" y="8"/>
                </a:lnTo>
                <a:lnTo>
                  <a:pt x="1" y="6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84" name="Freeform 383"/>
          <p:cNvSpPr>
            <a:spLocks/>
          </p:cNvSpPr>
          <p:nvPr/>
        </p:nvSpPr>
        <p:spPr bwMode="auto">
          <a:xfrm>
            <a:off x="6157732" y="1887397"/>
            <a:ext cx="33130" cy="21476"/>
          </a:xfrm>
          <a:custGeom>
            <a:avLst/>
            <a:gdLst/>
            <a:ahLst/>
            <a:cxnLst>
              <a:cxn ang="0">
                <a:pos x="1" y="6"/>
              </a:cxn>
              <a:cxn ang="0">
                <a:pos x="0" y="6"/>
              </a:cxn>
              <a:cxn ang="0">
                <a:pos x="1" y="6"/>
              </a:cxn>
              <a:cxn ang="0">
                <a:pos x="2" y="6"/>
              </a:cxn>
              <a:cxn ang="0">
                <a:pos x="2" y="5"/>
              </a:cxn>
              <a:cxn ang="0">
                <a:pos x="1" y="5"/>
              </a:cxn>
              <a:cxn ang="0">
                <a:pos x="2" y="5"/>
              </a:cxn>
              <a:cxn ang="0">
                <a:pos x="1" y="5"/>
              </a:cxn>
              <a:cxn ang="0">
                <a:pos x="4" y="3"/>
              </a:cxn>
              <a:cxn ang="0">
                <a:pos x="5" y="3"/>
              </a:cxn>
              <a:cxn ang="0">
                <a:pos x="8" y="3"/>
              </a:cxn>
              <a:cxn ang="0">
                <a:pos x="5" y="2"/>
              </a:cxn>
              <a:cxn ang="0">
                <a:pos x="8" y="2"/>
              </a:cxn>
              <a:cxn ang="0">
                <a:pos x="9" y="2"/>
              </a:cxn>
              <a:cxn ang="0">
                <a:pos x="10" y="2"/>
              </a:cxn>
              <a:cxn ang="0">
                <a:pos x="9" y="0"/>
              </a:cxn>
              <a:cxn ang="0">
                <a:pos x="10" y="2"/>
              </a:cxn>
              <a:cxn ang="0">
                <a:pos x="12" y="0"/>
              </a:cxn>
              <a:cxn ang="0">
                <a:pos x="13" y="0"/>
              </a:cxn>
              <a:cxn ang="0">
                <a:pos x="14" y="2"/>
              </a:cxn>
              <a:cxn ang="0">
                <a:pos x="16" y="3"/>
              </a:cxn>
              <a:cxn ang="0">
                <a:pos x="17" y="5"/>
              </a:cxn>
              <a:cxn ang="0">
                <a:pos x="16" y="5"/>
              </a:cxn>
              <a:cxn ang="0">
                <a:pos x="16" y="8"/>
              </a:cxn>
              <a:cxn ang="0">
                <a:pos x="10" y="8"/>
              </a:cxn>
              <a:cxn ang="0">
                <a:pos x="10" y="6"/>
              </a:cxn>
              <a:cxn ang="0">
                <a:pos x="9" y="8"/>
              </a:cxn>
              <a:cxn ang="0">
                <a:pos x="6" y="10"/>
              </a:cxn>
              <a:cxn ang="0">
                <a:pos x="2" y="10"/>
              </a:cxn>
              <a:cxn ang="0">
                <a:pos x="0" y="10"/>
              </a:cxn>
              <a:cxn ang="0">
                <a:pos x="2" y="8"/>
              </a:cxn>
              <a:cxn ang="0">
                <a:pos x="1" y="6"/>
              </a:cxn>
            </a:cxnLst>
            <a:rect l="0" t="0" r="r" b="b"/>
            <a:pathLst>
              <a:path w="17" h="10">
                <a:moveTo>
                  <a:pt x="1" y="6"/>
                </a:moveTo>
                <a:lnTo>
                  <a:pt x="0" y="6"/>
                </a:lnTo>
                <a:lnTo>
                  <a:pt x="1" y="6"/>
                </a:lnTo>
                <a:lnTo>
                  <a:pt x="2" y="6"/>
                </a:lnTo>
                <a:lnTo>
                  <a:pt x="2" y="5"/>
                </a:lnTo>
                <a:lnTo>
                  <a:pt x="1" y="5"/>
                </a:lnTo>
                <a:lnTo>
                  <a:pt x="2" y="5"/>
                </a:lnTo>
                <a:lnTo>
                  <a:pt x="1" y="5"/>
                </a:lnTo>
                <a:lnTo>
                  <a:pt x="4" y="3"/>
                </a:lnTo>
                <a:lnTo>
                  <a:pt x="5" y="3"/>
                </a:lnTo>
                <a:lnTo>
                  <a:pt x="8" y="3"/>
                </a:lnTo>
                <a:lnTo>
                  <a:pt x="5" y="2"/>
                </a:lnTo>
                <a:lnTo>
                  <a:pt x="8" y="2"/>
                </a:lnTo>
                <a:lnTo>
                  <a:pt x="9" y="2"/>
                </a:lnTo>
                <a:lnTo>
                  <a:pt x="10" y="2"/>
                </a:lnTo>
                <a:lnTo>
                  <a:pt x="9" y="0"/>
                </a:lnTo>
                <a:lnTo>
                  <a:pt x="10" y="2"/>
                </a:lnTo>
                <a:lnTo>
                  <a:pt x="12" y="0"/>
                </a:lnTo>
                <a:lnTo>
                  <a:pt x="13" y="0"/>
                </a:lnTo>
                <a:lnTo>
                  <a:pt x="14" y="2"/>
                </a:lnTo>
                <a:lnTo>
                  <a:pt x="16" y="3"/>
                </a:lnTo>
                <a:lnTo>
                  <a:pt x="17" y="5"/>
                </a:lnTo>
                <a:lnTo>
                  <a:pt x="16" y="5"/>
                </a:lnTo>
                <a:lnTo>
                  <a:pt x="16" y="8"/>
                </a:lnTo>
                <a:lnTo>
                  <a:pt x="10" y="8"/>
                </a:lnTo>
                <a:lnTo>
                  <a:pt x="10" y="6"/>
                </a:lnTo>
                <a:lnTo>
                  <a:pt x="9" y="8"/>
                </a:lnTo>
                <a:lnTo>
                  <a:pt x="6" y="10"/>
                </a:lnTo>
                <a:lnTo>
                  <a:pt x="2" y="10"/>
                </a:lnTo>
                <a:lnTo>
                  <a:pt x="0" y="10"/>
                </a:lnTo>
                <a:lnTo>
                  <a:pt x="2" y="8"/>
                </a:lnTo>
                <a:lnTo>
                  <a:pt x="1" y="6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85" name="Freeform 384"/>
          <p:cNvSpPr>
            <a:spLocks/>
          </p:cNvSpPr>
          <p:nvPr/>
        </p:nvSpPr>
        <p:spPr bwMode="auto">
          <a:xfrm>
            <a:off x="6192809" y="1878807"/>
            <a:ext cx="23386" cy="8591"/>
          </a:xfrm>
          <a:custGeom>
            <a:avLst/>
            <a:gdLst/>
            <a:ahLst/>
            <a:cxnLst>
              <a:cxn ang="0">
                <a:pos x="3" y="4"/>
              </a:cxn>
              <a:cxn ang="0">
                <a:pos x="7" y="4"/>
              </a:cxn>
              <a:cxn ang="0">
                <a:pos x="7" y="2"/>
              </a:cxn>
              <a:cxn ang="0">
                <a:pos x="8" y="2"/>
              </a:cxn>
              <a:cxn ang="0">
                <a:pos x="9" y="2"/>
              </a:cxn>
              <a:cxn ang="0">
                <a:pos x="11" y="2"/>
              </a:cxn>
              <a:cxn ang="0">
                <a:pos x="11" y="0"/>
              </a:cxn>
              <a:cxn ang="0">
                <a:pos x="13" y="0"/>
              </a:cxn>
              <a:cxn ang="0">
                <a:pos x="13" y="2"/>
              </a:cxn>
              <a:cxn ang="0">
                <a:pos x="12" y="4"/>
              </a:cxn>
              <a:cxn ang="0">
                <a:pos x="12" y="5"/>
              </a:cxn>
              <a:cxn ang="0">
                <a:pos x="4" y="5"/>
              </a:cxn>
              <a:cxn ang="0">
                <a:pos x="0" y="5"/>
              </a:cxn>
              <a:cxn ang="0">
                <a:pos x="3" y="5"/>
              </a:cxn>
              <a:cxn ang="0">
                <a:pos x="3" y="4"/>
              </a:cxn>
            </a:cxnLst>
            <a:rect l="0" t="0" r="r" b="b"/>
            <a:pathLst>
              <a:path w="13" h="5">
                <a:moveTo>
                  <a:pt x="3" y="4"/>
                </a:moveTo>
                <a:lnTo>
                  <a:pt x="7" y="4"/>
                </a:lnTo>
                <a:lnTo>
                  <a:pt x="7" y="2"/>
                </a:lnTo>
                <a:lnTo>
                  <a:pt x="8" y="2"/>
                </a:lnTo>
                <a:lnTo>
                  <a:pt x="9" y="2"/>
                </a:lnTo>
                <a:lnTo>
                  <a:pt x="11" y="2"/>
                </a:lnTo>
                <a:lnTo>
                  <a:pt x="11" y="0"/>
                </a:lnTo>
                <a:lnTo>
                  <a:pt x="13" y="0"/>
                </a:lnTo>
                <a:lnTo>
                  <a:pt x="13" y="2"/>
                </a:lnTo>
                <a:lnTo>
                  <a:pt x="12" y="4"/>
                </a:lnTo>
                <a:lnTo>
                  <a:pt x="12" y="5"/>
                </a:lnTo>
                <a:lnTo>
                  <a:pt x="4" y="5"/>
                </a:lnTo>
                <a:lnTo>
                  <a:pt x="0" y="5"/>
                </a:lnTo>
                <a:lnTo>
                  <a:pt x="3" y="5"/>
                </a:lnTo>
                <a:lnTo>
                  <a:pt x="3" y="4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86" name="Freeform 385"/>
          <p:cNvSpPr>
            <a:spLocks/>
          </p:cNvSpPr>
          <p:nvPr/>
        </p:nvSpPr>
        <p:spPr bwMode="auto">
          <a:xfrm>
            <a:off x="6192809" y="1878807"/>
            <a:ext cx="23386" cy="8591"/>
          </a:xfrm>
          <a:custGeom>
            <a:avLst/>
            <a:gdLst/>
            <a:ahLst/>
            <a:cxnLst>
              <a:cxn ang="0">
                <a:pos x="3" y="4"/>
              </a:cxn>
              <a:cxn ang="0">
                <a:pos x="7" y="4"/>
              </a:cxn>
              <a:cxn ang="0">
                <a:pos x="7" y="2"/>
              </a:cxn>
              <a:cxn ang="0">
                <a:pos x="8" y="2"/>
              </a:cxn>
              <a:cxn ang="0">
                <a:pos x="9" y="2"/>
              </a:cxn>
              <a:cxn ang="0">
                <a:pos x="11" y="2"/>
              </a:cxn>
              <a:cxn ang="0">
                <a:pos x="11" y="0"/>
              </a:cxn>
              <a:cxn ang="0">
                <a:pos x="13" y="0"/>
              </a:cxn>
              <a:cxn ang="0">
                <a:pos x="13" y="2"/>
              </a:cxn>
              <a:cxn ang="0">
                <a:pos x="12" y="4"/>
              </a:cxn>
              <a:cxn ang="0">
                <a:pos x="12" y="5"/>
              </a:cxn>
              <a:cxn ang="0">
                <a:pos x="4" y="5"/>
              </a:cxn>
              <a:cxn ang="0">
                <a:pos x="0" y="5"/>
              </a:cxn>
              <a:cxn ang="0">
                <a:pos x="3" y="5"/>
              </a:cxn>
              <a:cxn ang="0">
                <a:pos x="3" y="4"/>
              </a:cxn>
            </a:cxnLst>
            <a:rect l="0" t="0" r="r" b="b"/>
            <a:pathLst>
              <a:path w="13" h="5">
                <a:moveTo>
                  <a:pt x="3" y="4"/>
                </a:moveTo>
                <a:lnTo>
                  <a:pt x="7" y="4"/>
                </a:lnTo>
                <a:lnTo>
                  <a:pt x="7" y="2"/>
                </a:lnTo>
                <a:lnTo>
                  <a:pt x="8" y="2"/>
                </a:lnTo>
                <a:lnTo>
                  <a:pt x="9" y="2"/>
                </a:lnTo>
                <a:lnTo>
                  <a:pt x="11" y="2"/>
                </a:lnTo>
                <a:lnTo>
                  <a:pt x="11" y="0"/>
                </a:lnTo>
                <a:lnTo>
                  <a:pt x="13" y="0"/>
                </a:lnTo>
                <a:lnTo>
                  <a:pt x="13" y="2"/>
                </a:lnTo>
                <a:lnTo>
                  <a:pt x="12" y="4"/>
                </a:lnTo>
                <a:lnTo>
                  <a:pt x="12" y="5"/>
                </a:lnTo>
                <a:lnTo>
                  <a:pt x="4" y="5"/>
                </a:lnTo>
                <a:lnTo>
                  <a:pt x="0" y="5"/>
                </a:lnTo>
                <a:lnTo>
                  <a:pt x="3" y="5"/>
                </a:lnTo>
                <a:lnTo>
                  <a:pt x="3" y="4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87" name="Freeform 386"/>
          <p:cNvSpPr>
            <a:spLocks/>
          </p:cNvSpPr>
          <p:nvPr/>
        </p:nvSpPr>
        <p:spPr bwMode="auto">
          <a:xfrm>
            <a:off x="6210350" y="1872363"/>
            <a:ext cx="25335" cy="10739"/>
          </a:xfrm>
          <a:custGeom>
            <a:avLst/>
            <a:gdLst/>
            <a:ahLst/>
            <a:cxnLst>
              <a:cxn ang="0">
                <a:pos x="3" y="1"/>
              </a:cxn>
              <a:cxn ang="0">
                <a:pos x="2" y="1"/>
              </a:cxn>
              <a:cxn ang="0">
                <a:pos x="0" y="1"/>
              </a:cxn>
              <a:cxn ang="0">
                <a:pos x="2" y="0"/>
              </a:cxn>
              <a:cxn ang="0">
                <a:pos x="3" y="1"/>
              </a:cxn>
              <a:cxn ang="0">
                <a:pos x="6" y="1"/>
              </a:cxn>
              <a:cxn ang="0">
                <a:pos x="7" y="1"/>
              </a:cxn>
              <a:cxn ang="0">
                <a:pos x="7" y="3"/>
              </a:cxn>
              <a:cxn ang="0">
                <a:pos x="8" y="3"/>
              </a:cxn>
              <a:cxn ang="0">
                <a:pos x="8" y="1"/>
              </a:cxn>
              <a:cxn ang="0">
                <a:pos x="11" y="1"/>
              </a:cxn>
              <a:cxn ang="0">
                <a:pos x="14" y="3"/>
              </a:cxn>
              <a:cxn ang="0">
                <a:pos x="11" y="4"/>
              </a:cxn>
              <a:cxn ang="0">
                <a:pos x="8" y="6"/>
              </a:cxn>
              <a:cxn ang="0">
                <a:pos x="3" y="3"/>
              </a:cxn>
              <a:cxn ang="0">
                <a:pos x="2" y="3"/>
              </a:cxn>
              <a:cxn ang="0">
                <a:pos x="3" y="3"/>
              </a:cxn>
              <a:cxn ang="0">
                <a:pos x="4" y="1"/>
              </a:cxn>
              <a:cxn ang="0">
                <a:pos x="3" y="1"/>
              </a:cxn>
            </a:cxnLst>
            <a:rect l="0" t="0" r="r" b="b"/>
            <a:pathLst>
              <a:path w="14" h="6">
                <a:moveTo>
                  <a:pt x="3" y="1"/>
                </a:moveTo>
                <a:lnTo>
                  <a:pt x="2" y="1"/>
                </a:lnTo>
                <a:lnTo>
                  <a:pt x="0" y="1"/>
                </a:lnTo>
                <a:lnTo>
                  <a:pt x="2" y="0"/>
                </a:lnTo>
                <a:lnTo>
                  <a:pt x="3" y="1"/>
                </a:lnTo>
                <a:lnTo>
                  <a:pt x="6" y="1"/>
                </a:lnTo>
                <a:lnTo>
                  <a:pt x="7" y="1"/>
                </a:lnTo>
                <a:lnTo>
                  <a:pt x="7" y="3"/>
                </a:lnTo>
                <a:lnTo>
                  <a:pt x="8" y="3"/>
                </a:lnTo>
                <a:lnTo>
                  <a:pt x="8" y="1"/>
                </a:lnTo>
                <a:lnTo>
                  <a:pt x="11" y="1"/>
                </a:lnTo>
                <a:lnTo>
                  <a:pt x="14" y="3"/>
                </a:lnTo>
                <a:lnTo>
                  <a:pt x="11" y="4"/>
                </a:lnTo>
                <a:lnTo>
                  <a:pt x="8" y="6"/>
                </a:lnTo>
                <a:lnTo>
                  <a:pt x="3" y="3"/>
                </a:lnTo>
                <a:lnTo>
                  <a:pt x="2" y="3"/>
                </a:lnTo>
                <a:lnTo>
                  <a:pt x="3" y="3"/>
                </a:lnTo>
                <a:lnTo>
                  <a:pt x="4" y="1"/>
                </a:lnTo>
                <a:lnTo>
                  <a:pt x="3" y="1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88" name="Freeform 387"/>
          <p:cNvSpPr>
            <a:spLocks/>
          </p:cNvSpPr>
          <p:nvPr/>
        </p:nvSpPr>
        <p:spPr bwMode="auto">
          <a:xfrm>
            <a:off x="6210350" y="1872363"/>
            <a:ext cx="25335" cy="10739"/>
          </a:xfrm>
          <a:custGeom>
            <a:avLst/>
            <a:gdLst/>
            <a:ahLst/>
            <a:cxnLst>
              <a:cxn ang="0">
                <a:pos x="3" y="1"/>
              </a:cxn>
              <a:cxn ang="0">
                <a:pos x="2" y="1"/>
              </a:cxn>
              <a:cxn ang="0">
                <a:pos x="0" y="1"/>
              </a:cxn>
              <a:cxn ang="0">
                <a:pos x="2" y="0"/>
              </a:cxn>
              <a:cxn ang="0">
                <a:pos x="3" y="1"/>
              </a:cxn>
              <a:cxn ang="0">
                <a:pos x="6" y="1"/>
              </a:cxn>
              <a:cxn ang="0">
                <a:pos x="7" y="1"/>
              </a:cxn>
              <a:cxn ang="0">
                <a:pos x="7" y="3"/>
              </a:cxn>
              <a:cxn ang="0">
                <a:pos x="8" y="3"/>
              </a:cxn>
              <a:cxn ang="0">
                <a:pos x="8" y="1"/>
              </a:cxn>
              <a:cxn ang="0">
                <a:pos x="11" y="1"/>
              </a:cxn>
              <a:cxn ang="0">
                <a:pos x="14" y="3"/>
              </a:cxn>
              <a:cxn ang="0">
                <a:pos x="11" y="4"/>
              </a:cxn>
              <a:cxn ang="0">
                <a:pos x="8" y="6"/>
              </a:cxn>
              <a:cxn ang="0">
                <a:pos x="3" y="3"/>
              </a:cxn>
              <a:cxn ang="0">
                <a:pos x="2" y="3"/>
              </a:cxn>
              <a:cxn ang="0">
                <a:pos x="3" y="3"/>
              </a:cxn>
              <a:cxn ang="0">
                <a:pos x="4" y="1"/>
              </a:cxn>
              <a:cxn ang="0">
                <a:pos x="3" y="1"/>
              </a:cxn>
            </a:cxnLst>
            <a:rect l="0" t="0" r="r" b="b"/>
            <a:pathLst>
              <a:path w="14" h="6">
                <a:moveTo>
                  <a:pt x="3" y="1"/>
                </a:moveTo>
                <a:lnTo>
                  <a:pt x="2" y="1"/>
                </a:lnTo>
                <a:lnTo>
                  <a:pt x="0" y="1"/>
                </a:lnTo>
                <a:lnTo>
                  <a:pt x="2" y="0"/>
                </a:lnTo>
                <a:lnTo>
                  <a:pt x="3" y="1"/>
                </a:lnTo>
                <a:lnTo>
                  <a:pt x="6" y="1"/>
                </a:lnTo>
                <a:lnTo>
                  <a:pt x="7" y="1"/>
                </a:lnTo>
                <a:lnTo>
                  <a:pt x="7" y="3"/>
                </a:lnTo>
                <a:lnTo>
                  <a:pt x="8" y="3"/>
                </a:lnTo>
                <a:lnTo>
                  <a:pt x="8" y="1"/>
                </a:lnTo>
                <a:lnTo>
                  <a:pt x="11" y="1"/>
                </a:lnTo>
                <a:lnTo>
                  <a:pt x="14" y="3"/>
                </a:lnTo>
                <a:lnTo>
                  <a:pt x="11" y="4"/>
                </a:lnTo>
                <a:lnTo>
                  <a:pt x="8" y="6"/>
                </a:lnTo>
                <a:lnTo>
                  <a:pt x="3" y="3"/>
                </a:lnTo>
                <a:lnTo>
                  <a:pt x="2" y="3"/>
                </a:lnTo>
                <a:lnTo>
                  <a:pt x="3" y="3"/>
                </a:lnTo>
                <a:lnTo>
                  <a:pt x="4" y="1"/>
                </a:lnTo>
                <a:lnTo>
                  <a:pt x="3" y="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89" name="Freeform 388"/>
          <p:cNvSpPr>
            <a:spLocks/>
          </p:cNvSpPr>
          <p:nvPr/>
        </p:nvSpPr>
        <p:spPr bwMode="auto">
          <a:xfrm>
            <a:off x="6235685" y="1868068"/>
            <a:ext cx="17539" cy="6444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5" y="2"/>
              </a:cxn>
              <a:cxn ang="0">
                <a:pos x="8" y="2"/>
              </a:cxn>
              <a:cxn ang="0">
                <a:pos x="6" y="3"/>
              </a:cxn>
              <a:cxn ang="0">
                <a:pos x="2" y="3"/>
              </a:cxn>
              <a:cxn ang="0">
                <a:pos x="1" y="0"/>
              </a:cxn>
              <a:cxn ang="0">
                <a:pos x="0" y="0"/>
              </a:cxn>
              <a:cxn ang="0">
                <a:pos x="1" y="0"/>
              </a:cxn>
              <a:cxn ang="0">
                <a:pos x="2" y="2"/>
              </a:cxn>
              <a:cxn ang="0">
                <a:pos x="4" y="0"/>
              </a:cxn>
            </a:cxnLst>
            <a:rect l="0" t="0" r="r" b="b"/>
            <a:pathLst>
              <a:path w="8" h="3">
                <a:moveTo>
                  <a:pt x="4" y="0"/>
                </a:moveTo>
                <a:lnTo>
                  <a:pt x="5" y="2"/>
                </a:lnTo>
                <a:lnTo>
                  <a:pt x="8" y="2"/>
                </a:lnTo>
                <a:lnTo>
                  <a:pt x="6" y="3"/>
                </a:lnTo>
                <a:lnTo>
                  <a:pt x="2" y="3"/>
                </a:lnTo>
                <a:lnTo>
                  <a:pt x="1" y="0"/>
                </a:lnTo>
                <a:lnTo>
                  <a:pt x="0" y="0"/>
                </a:lnTo>
                <a:lnTo>
                  <a:pt x="1" y="0"/>
                </a:lnTo>
                <a:lnTo>
                  <a:pt x="2" y="2"/>
                </a:lnTo>
                <a:lnTo>
                  <a:pt x="4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90" name="Freeform 389"/>
          <p:cNvSpPr>
            <a:spLocks/>
          </p:cNvSpPr>
          <p:nvPr/>
        </p:nvSpPr>
        <p:spPr bwMode="auto">
          <a:xfrm>
            <a:off x="6235685" y="1868068"/>
            <a:ext cx="17539" cy="6444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5" y="2"/>
              </a:cxn>
              <a:cxn ang="0">
                <a:pos x="8" y="2"/>
              </a:cxn>
              <a:cxn ang="0">
                <a:pos x="6" y="3"/>
              </a:cxn>
              <a:cxn ang="0">
                <a:pos x="2" y="3"/>
              </a:cxn>
              <a:cxn ang="0">
                <a:pos x="1" y="0"/>
              </a:cxn>
              <a:cxn ang="0">
                <a:pos x="0" y="0"/>
              </a:cxn>
              <a:cxn ang="0">
                <a:pos x="1" y="0"/>
              </a:cxn>
              <a:cxn ang="0">
                <a:pos x="2" y="2"/>
              </a:cxn>
              <a:cxn ang="0">
                <a:pos x="4" y="0"/>
              </a:cxn>
            </a:cxnLst>
            <a:rect l="0" t="0" r="r" b="b"/>
            <a:pathLst>
              <a:path w="8" h="3">
                <a:moveTo>
                  <a:pt x="4" y="0"/>
                </a:moveTo>
                <a:lnTo>
                  <a:pt x="5" y="2"/>
                </a:lnTo>
                <a:lnTo>
                  <a:pt x="8" y="2"/>
                </a:lnTo>
                <a:lnTo>
                  <a:pt x="6" y="3"/>
                </a:lnTo>
                <a:lnTo>
                  <a:pt x="2" y="3"/>
                </a:lnTo>
                <a:lnTo>
                  <a:pt x="1" y="0"/>
                </a:lnTo>
                <a:lnTo>
                  <a:pt x="0" y="0"/>
                </a:lnTo>
                <a:lnTo>
                  <a:pt x="1" y="0"/>
                </a:lnTo>
                <a:lnTo>
                  <a:pt x="2" y="2"/>
                </a:lnTo>
                <a:lnTo>
                  <a:pt x="4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91" name="Freeform 390"/>
          <p:cNvSpPr>
            <a:spLocks/>
          </p:cNvSpPr>
          <p:nvPr/>
        </p:nvSpPr>
        <p:spPr bwMode="auto">
          <a:xfrm>
            <a:off x="6261018" y="1868068"/>
            <a:ext cx="9745" cy="6444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5" y="0"/>
              </a:cxn>
              <a:cxn ang="0">
                <a:pos x="5" y="2"/>
              </a:cxn>
              <a:cxn ang="0">
                <a:pos x="4" y="3"/>
              </a:cxn>
              <a:cxn ang="0">
                <a:pos x="3" y="3"/>
              </a:cxn>
              <a:cxn ang="0">
                <a:pos x="3" y="2"/>
              </a:cxn>
              <a:cxn ang="0">
                <a:pos x="1" y="3"/>
              </a:cxn>
              <a:cxn ang="0">
                <a:pos x="0" y="2"/>
              </a:cxn>
              <a:cxn ang="0">
                <a:pos x="1" y="0"/>
              </a:cxn>
              <a:cxn ang="0">
                <a:pos x="4" y="0"/>
              </a:cxn>
            </a:cxnLst>
            <a:rect l="0" t="0" r="r" b="b"/>
            <a:pathLst>
              <a:path w="5" h="3">
                <a:moveTo>
                  <a:pt x="4" y="0"/>
                </a:moveTo>
                <a:lnTo>
                  <a:pt x="5" y="0"/>
                </a:lnTo>
                <a:lnTo>
                  <a:pt x="5" y="2"/>
                </a:lnTo>
                <a:lnTo>
                  <a:pt x="4" y="3"/>
                </a:lnTo>
                <a:lnTo>
                  <a:pt x="3" y="3"/>
                </a:lnTo>
                <a:lnTo>
                  <a:pt x="3" y="2"/>
                </a:lnTo>
                <a:lnTo>
                  <a:pt x="1" y="3"/>
                </a:lnTo>
                <a:lnTo>
                  <a:pt x="0" y="2"/>
                </a:lnTo>
                <a:lnTo>
                  <a:pt x="1" y="0"/>
                </a:lnTo>
                <a:lnTo>
                  <a:pt x="4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92" name="Freeform 391"/>
          <p:cNvSpPr>
            <a:spLocks/>
          </p:cNvSpPr>
          <p:nvPr/>
        </p:nvSpPr>
        <p:spPr bwMode="auto">
          <a:xfrm>
            <a:off x="6261018" y="1868068"/>
            <a:ext cx="9745" cy="6444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5" y="0"/>
              </a:cxn>
              <a:cxn ang="0">
                <a:pos x="5" y="2"/>
              </a:cxn>
              <a:cxn ang="0">
                <a:pos x="4" y="3"/>
              </a:cxn>
              <a:cxn ang="0">
                <a:pos x="3" y="3"/>
              </a:cxn>
              <a:cxn ang="0">
                <a:pos x="3" y="2"/>
              </a:cxn>
              <a:cxn ang="0">
                <a:pos x="1" y="3"/>
              </a:cxn>
              <a:cxn ang="0">
                <a:pos x="0" y="2"/>
              </a:cxn>
              <a:cxn ang="0">
                <a:pos x="1" y="0"/>
              </a:cxn>
              <a:cxn ang="0">
                <a:pos x="4" y="0"/>
              </a:cxn>
            </a:cxnLst>
            <a:rect l="0" t="0" r="r" b="b"/>
            <a:pathLst>
              <a:path w="5" h="3">
                <a:moveTo>
                  <a:pt x="4" y="0"/>
                </a:moveTo>
                <a:lnTo>
                  <a:pt x="5" y="0"/>
                </a:lnTo>
                <a:lnTo>
                  <a:pt x="5" y="2"/>
                </a:lnTo>
                <a:lnTo>
                  <a:pt x="4" y="3"/>
                </a:lnTo>
                <a:lnTo>
                  <a:pt x="3" y="3"/>
                </a:lnTo>
                <a:lnTo>
                  <a:pt x="3" y="2"/>
                </a:lnTo>
                <a:lnTo>
                  <a:pt x="1" y="3"/>
                </a:lnTo>
                <a:lnTo>
                  <a:pt x="0" y="2"/>
                </a:lnTo>
                <a:lnTo>
                  <a:pt x="1" y="0"/>
                </a:lnTo>
                <a:lnTo>
                  <a:pt x="4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93" name="Freeform 392"/>
          <p:cNvSpPr>
            <a:spLocks/>
          </p:cNvSpPr>
          <p:nvPr/>
        </p:nvSpPr>
        <p:spPr bwMode="auto">
          <a:xfrm>
            <a:off x="6319483" y="1861625"/>
            <a:ext cx="13642" cy="6443"/>
          </a:xfrm>
          <a:custGeom>
            <a:avLst/>
            <a:gdLst/>
            <a:ahLst/>
            <a:cxnLst>
              <a:cxn ang="0">
                <a:pos x="4" y="3"/>
              </a:cxn>
              <a:cxn ang="0">
                <a:pos x="0" y="2"/>
              </a:cxn>
              <a:cxn ang="0">
                <a:pos x="0" y="0"/>
              </a:cxn>
              <a:cxn ang="0">
                <a:pos x="5" y="2"/>
              </a:cxn>
              <a:cxn ang="0">
                <a:pos x="6" y="2"/>
              </a:cxn>
              <a:cxn ang="0">
                <a:pos x="6" y="3"/>
              </a:cxn>
              <a:cxn ang="0">
                <a:pos x="4" y="3"/>
              </a:cxn>
            </a:cxnLst>
            <a:rect l="0" t="0" r="r" b="b"/>
            <a:pathLst>
              <a:path w="6" h="3">
                <a:moveTo>
                  <a:pt x="4" y="3"/>
                </a:moveTo>
                <a:lnTo>
                  <a:pt x="0" y="2"/>
                </a:lnTo>
                <a:lnTo>
                  <a:pt x="0" y="0"/>
                </a:lnTo>
                <a:lnTo>
                  <a:pt x="5" y="2"/>
                </a:lnTo>
                <a:lnTo>
                  <a:pt x="6" y="2"/>
                </a:lnTo>
                <a:lnTo>
                  <a:pt x="6" y="3"/>
                </a:lnTo>
                <a:lnTo>
                  <a:pt x="4" y="3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94" name="Freeform 393"/>
          <p:cNvSpPr>
            <a:spLocks/>
          </p:cNvSpPr>
          <p:nvPr/>
        </p:nvSpPr>
        <p:spPr bwMode="auto">
          <a:xfrm>
            <a:off x="6319483" y="1861625"/>
            <a:ext cx="13642" cy="6443"/>
          </a:xfrm>
          <a:custGeom>
            <a:avLst/>
            <a:gdLst/>
            <a:ahLst/>
            <a:cxnLst>
              <a:cxn ang="0">
                <a:pos x="4" y="3"/>
              </a:cxn>
              <a:cxn ang="0">
                <a:pos x="0" y="2"/>
              </a:cxn>
              <a:cxn ang="0">
                <a:pos x="0" y="0"/>
              </a:cxn>
              <a:cxn ang="0">
                <a:pos x="5" y="2"/>
              </a:cxn>
              <a:cxn ang="0">
                <a:pos x="6" y="2"/>
              </a:cxn>
              <a:cxn ang="0">
                <a:pos x="6" y="3"/>
              </a:cxn>
              <a:cxn ang="0">
                <a:pos x="4" y="3"/>
              </a:cxn>
            </a:cxnLst>
            <a:rect l="0" t="0" r="r" b="b"/>
            <a:pathLst>
              <a:path w="6" h="3">
                <a:moveTo>
                  <a:pt x="4" y="3"/>
                </a:moveTo>
                <a:lnTo>
                  <a:pt x="0" y="2"/>
                </a:lnTo>
                <a:lnTo>
                  <a:pt x="0" y="0"/>
                </a:lnTo>
                <a:lnTo>
                  <a:pt x="5" y="2"/>
                </a:lnTo>
                <a:lnTo>
                  <a:pt x="6" y="2"/>
                </a:lnTo>
                <a:lnTo>
                  <a:pt x="6" y="3"/>
                </a:lnTo>
                <a:lnTo>
                  <a:pt x="4" y="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95" name="Freeform 394"/>
          <p:cNvSpPr>
            <a:spLocks/>
          </p:cNvSpPr>
          <p:nvPr/>
        </p:nvSpPr>
        <p:spPr bwMode="auto">
          <a:xfrm>
            <a:off x="6305842" y="1850887"/>
            <a:ext cx="31181" cy="6444"/>
          </a:xfrm>
          <a:custGeom>
            <a:avLst/>
            <a:gdLst/>
            <a:ahLst/>
            <a:cxnLst>
              <a:cxn ang="0">
                <a:pos x="5" y="1"/>
              </a:cxn>
              <a:cxn ang="0">
                <a:pos x="7" y="1"/>
              </a:cxn>
              <a:cxn ang="0">
                <a:pos x="8" y="0"/>
              </a:cxn>
              <a:cxn ang="0">
                <a:pos x="8" y="1"/>
              </a:cxn>
              <a:cxn ang="0">
                <a:pos x="11" y="1"/>
              </a:cxn>
              <a:cxn ang="0">
                <a:pos x="11" y="0"/>
              </a:cxn>
              <a:cxn ang="0">
                <a:pos x="13" y="0"/>
              </a:cxn>
              <a:cxn ang="0">
                <a:pos x="13" y="1"/>
              </a:cxn>
              <a:cxn ang="0">
                <a:pos x="15" y="1"/>
              </a:cxn>
              <a:cxn ang="0">
                <a:pos x="16" y="1"/>
              </a:cxn>
              <a:cxn ang="0">
                <a:pos x="16" y="3"/>
              </a:cxn>
              <a:cxn ang="0">
                <a:pos x="15" y="3"/>
              </a:cxn>
              <a:cxn ang="0">
                <a:pos x="13" y="4"/>
              </a:cxn>
              <a:cxn ang="0">
                <a:pos x="11" y="3"/>
              </a:cxn>
              <a:cxn ang="0">
                <a:pos x="9" y="4"/>
              </a:cxn>
              <a:cxn ang="0">
                <a:pos x="8" y="4"/>
              </a:cxn>
              <a:cxn ang="0">
                <a:pos x="7" y="3"/>
              </a:cxn>
              <a:cxn ang="0">
                <a:pos x="5" y="4"/>
              </a:cxn>
              <a:cxn ang="0">
                <a:pos x="4" y="3"/>
              </a:cxn>
              <a:cxn ang="0">
                <a:pos x="3" y="4"/>
              </a:cxn>
              <a:cxn ang="0">
                <a:pos x="3" y="3"/>
              </a:cxn>
              <a:cxn ang="0">
                <a:pos x="0" y="3"/>
              </a:cxn>
              <a:cxn ang="0">
                <a:pos x="3" y="1"/>
              </a:cxn>
              <a:cxn ang="0">
                <a:pos x="4" y="1"/>
              </a:cxn>
              <a:cxn ang="0">
                <a:pos x="5" y="1"/>
              </a:cxn>
            </a:cxnLst>
            <a:rect l="0" t="0" r="r" b="b"/>
            <a:pathLst>
              <a:path w="16" h="4">
                <a:moveTo>
                  <a:pt x="5" y="1"/>
                </a:moveTo>
                <a:lnTo>
                  <a:pt x="7" y="1"/>
                </a:lnTo>
                <a:lnTo>
                  <a:pt x="8" y="0"/>
                </a:lnTo>
                <a:lnTo>
                  <a:pt x="8" y="1"/>
                </a:lnTo>
                <a:lnTo>
                  <a:pt x="11" y="1"/>
                </a:lnTo>
                <a:lnTo>
                  <a:pt x="11" y="0"/>
                </a:lnTo>
                <a:lnTo>
                  <a:pt x="13" y="0"/>
                </a:lnTo>
                <a:lnTo>
                  <a:pt x="13" y="1"/>
                </a:lnTo>
                <a:lnTo>
                  <a:pt x="15" y="1"/>
                </a:lnTo>
                <a:lnTo>
                  <a:pt x="16" y="1"/>
                </a:lnTo>
                <a:lnTo>
                  <a:pt x="16" y="3"/>
                </a:lnTo>
                <a:lnTo>
                  <a:pt x="15" y="3"/>
                </a:lnTo>
                <a:lnTo>
                  <a:pt x="13" y="4"/>
                </a:lnTo>
                <a:lnTo>
                  <a:pt x="11" y="3"/>
                </a:lnTo>
                <a:lnTo>
                  <a:pt x="9" y="4"/>
                </a:lnTo>
                <a:lnTo>
                  <a:pt x="8" y="4"/>
                </a:lnTo>
                <a:lnTo>
                  <a:pt x="7" y="3"/>
                </a:lnTo>
                <a:lnTo>
                  <a:pt x="5" y="4"/>
                </a:lnTo>
                <a:lnTo>
                  <a:pt x="4" y="3"/>
                </a:lnTo>
                <a:lnTo>
                  <a:pt x="3" y="4"/>
                </a:lnTo>
                <a:lnTo>
                  <a:pt x="3" y="3"/>
                </a:lnTo>
                <a:lnTo>
                  <a:pt x="0" y="3"/>
                </a:lnTo>
                <a:lnTo>
                  <a:pt x="3" y="1"/>
                </a:lnTo>
                <a:lnTo>
                  <a:pt x="4" y="1"/>
                </a:lnTo>
                <a:lnTo>
                  <a:pt x="5" y="1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96" name="Freeform 395"/>
          <p:cNvSpPr>
            <a:spLocks/>
          </p:cNvSpPr>
          <p:nvPr/>
        </p:nvSpPr>
        <p:spPr bwMode="auto">
          <a:xfrm>
            <a:off x="6305842" y="1850887"/>
            <a:ext cx="31181" cy="6444"/>
          </a:xfrm>
          <a:custGeom>
            <a:avLst/>
            <a:gdLst/>
            <a:ahLst/>
            <a:cxnLst>
              <a:cxn ang="0">
                <a:pos x="5" y="1"/>
              </a:cxn>
              <a:cxn ang="0">
                <a:pos x="7" y="1"/>
              </a:cxn>
              <a:cxn ang="0">
                <a:pos x="8" y="0"/>
              </a:cxn>
              <a:cxn ang="0">
                <a:pos x="8" y="1"/>
              </a:cxn>
              <a:cxn ang="0">
                <a:pos x="11" y="1"/>
              </a:cxn>
              <a:cxn ang="0">
                <a:pos x="11" y="0"/>
              </a:cxn>
              <a:cxn ang="0">
                <a:pos x="13" y="0"/>
              </a:cxn>
              <a:cxn ang="0">
                <a:pos x="13" y="1"/>
              </a:cxn>
              <a:cxn ang="0">
                <a:pos x="15" y="1"/>
              </a:cxn>
              <a:cxn ang="0">
                <a:pos x="16" y="1"/>
              </a:cxn>
              <a:cxn ang="0">
                <a:pos x="16" y="3"/>
              </a:cxn>
              <a:cxn ang="0">
                <a:pos x="15" y="3"/>
              </a:cxn>
              <a:cxn ang="0">
                <a:pos x="13" y="4"/>
              </a:cxn>
              <a:cxn ang="0">
                <a:pos x="11" y="3"/>
              </a:cxn>
              <a:cxn ang="0">
                <a:pos x="9" y="4"/>
              </a:cxn>
              <a:cxn ang="0">
                <a:pos x="8" y="4"/>
              </a:cxn>
              <a:cxn ang="0">
                <a:pos x="7" y="3"/>
              </a:cxn>
              <a:cxn ang="0">
                <a:pos x="5" y="4"/>
              </a:cxn>
              <a:cxn ang="0">
                <a:pos x="4" y="3"/>
              </a:cxn>
              <a:cxn ang="0">
                <a:pos x="3" y="4"/>
              </a:cxn>
              <a:cxn ang="0">
                <a:pos x="3" y="3"/>
              </a:cxn>
              <a:cxn ang="0">
                <a:pos x="0" y="3"/>
              </a:cxn>
              <a:cxn ang="0">
                <a:pos x="3" y="1"/>
              </a:cxn>
              <a:cxn ang="0">
                <a:pos x="4" y="1"/>
              </a:cxn>
              <a:cxn ang="0">
                <a:pos x="5" y="1"/>
              </a:cxn>
            </a:cxnLst>
            <a:rect l="0" t="0" r="r" b="b"/>
            <a:pathLst>
              <a:path w="16" h="4">
                <a:moveTo>
                  <a:pt x="5" y="1"/>
                </a:moveTo>
                <a:lnTo>
                  <a:pt x="7" y="1"/>
                </a:lnTo>
                <a:lnTo>
                  <a:pt x="8" y="0"/>
                </a:lnTo>
                <a:lnTo>
                  <a:pt x="8" y="1"/>
                </a:lnTo>
                <a:lnTo>
                  <a:pt x="11" y="1"/>
                </a:lnTo>
                <a:lnTo>
                  <a:pt x="11" y="0"/>
                </a:lnTo>
                <a:lnTo>
                  <a:pt x="13" y="0"/>
                </a:lnTo>
                <a:lnTo>
                  <a:pt x="13" y="1"/>
                </a:lnTo>
                <a:lnTo>
                  <a:pt x="15" y="1"/>
                </a:lnTo>
                <a:lnTo>
                  <a:pt x="16" y="1"/>
                </a:lnTo>
                <a:lnTo>
                  <a:pt x="16" y="3"/>
                </a:lnTo>
                <a:lnTo>
                  <a:pt x="15" y="3"/>
                </a:lnTo>
                <a:lnTo>
                  <a:pt x="13" y="4"/>
                </a:lnTo>
                <a:lnTo>
                  <a:pt x="11" y="3"/>
                </a:lnTo>
                <a:lnTo>
                  <a:pt x="9" y="4"/>
                </a:lnTo>
                <a:lnTo>
                  <a:pt x="8" y="4"/>
                </a:lnTo>
                <a:lnTo>
                  <a:pt x="7" y="3"/>
                </a:lnTo>
                <a:lnTo>
                  <a:pt x="5" y="4"/>
                </a:lnTo>
                <a:lnTo>
                  <a:pt x="4" y="3"/>
                </a:lnTo>
                <a:lnTo>
                  <a:pt x="3" y="4"/>
                </a:lnTo>
                <a:lnTo>
                  <a:pt x="3" y="3"/>
                </a:lnTo>
                <a:lnTo>
                  <a:pt x="0" y="3"/>
                </a:lnTo>
                <a:lnTo>
                  <a:pt x="3" y="1"/>
                </a:lnTo>
                <a:lnTo>
                  <a:pt x="4" y="1"/>
                </a:lnTo>
                <a:lnTo>
                  <a:pt x="5" y="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97" name="Freeform 396"/>
          <p:cNvSpPr>
            <a:spLocks/>
          </p:cNvSpPr>
          <p:nvPr/>
        </p:nvSpPr>
        <p:spPr bwMode="auto">
          <a:xfrm>
            <a:off x="6333125" y="1855183"/>
            <a:ext cx="17539" cy="8591"/>
          </a:xfrm>
          <a:custGeom>
            <a:avLst/>
            <a:gdLst/>
            <a:ahLst/>
            <a:cxnLst>
              <a:cxn ang="0">
                <a:pos x="7" y="5"/>
              </a:cxn>
              <a:cxn ang="0">
                <a:pos x="7" y="3"/>
              </a:cxn>
              <a:cxn ang="0">
                <a:pos x="7" y="5"/>
              </a:cxn>
              <a:cxn ang="0">
                <a:pos x="6" y="5"/>
              </a:cxn>
              <a:cxn ang="0">
                <a:pos x="3" y="5"/>
              </a:cxn>
              <a:cxn ang="0">
                <a:pos x="2" y="5"/>
              </a:cxn>
              <a:cxn ang="0">
                <a:pos x="2" y="3"/>
              </a:cxn>
              <a:cxn ang="0">
                <a:pos x="0" y="1"/>
              </a:cxn>
              <a:cxn ang="0">
                <a:pos x="2" y="1"/>
              </a:cxn>
              <a:cxn ang="0">
                <a:pos x="3" y="1"/>
              </a:cxn>
              <a:cxn ang="0">
                <a:pos x="4" y="0"/>
              </a:cxn>
              <a:cxn ang="0">
                <a:pos x="7" y="1"/>
              </a:cxn>
              <a:cxn ang="0">
                <a:pos x="8" y="0"/>
              </a:cxn>
              <a:cxn ang="0">
                <a:pos x="10" y="1"/>
              </a:cxn>
              <a:cxn ang="0">
                <a:pos x="10" y="3"/>
              </a:cxn>
              <a:cxn ang="0">
                <a:pos x="7" y="5"/>
              </a:cxn>
            </a:cxnLst>
            <a:rect l="0" t="0" r="r" b="b"/>
            <a:pathLst>
              <a:path w="10" h="5">
                <a:moveTo>
                  <a:pt x="7" y="5"/>
                </a:moveTo>
                <a:lnTo>
                  <a:pt x="7" y="3"/>
                </a:lnTo>
                <a:lnTo>
                  <a:pt x="7" y="5"/>
                </a:lnTo>
                <a:lnTo>
                  <a:pt x="6" y="5"/>
                </a:lnTo>
                <a:lnTo>
                  <a:pt x="3" y="5"/>
                </a:lnTo>
                <a:lnTo>
                  <a:pt x="2" y="5"/>
                </a:lnTo>
                <a:lnTo>
                  <a:pt x="2" y="3"/>
                </a:lnTo>
                <a:lnTo>
                  <a:pt x="0" y="1"/>
                </a:lnTo>
                <a:lnTo>
                  <a:pt x="2" y="1"/>
                </a:lnTo>
                <a:lnTo>
                  <a:pt x="3" y="1"/>
                </a:lnTo>
                <a:lnTo>
                  <a:pt x="4" y="0"/>
                </a:lnTo>
                <a:lnTo>
                  <a:pt x="7" y="1"/>
                </a:lnTo>
                <a:lnTo>
                  <a:pt x="8" y="0"/>
                </a:lnTo>
                <a:lnTo>
                  <a:pt x="10" y="1"/>
                </a:lnTo>
                <a:lnTo>
                  <a:pt x="10" y="3"/>
                </a:lnTo>
                <a:lnTo>
                  <a:pt x="7" y="5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98" name="Freeform 397"/>
          <p:cNvSpPr>
            <a:spLocks/>
          </p:cNvSpPr>
          <p:nvPr/>
        </p:nvSpPr>
        <p:spPr bwMode="auto">
          <a:xfrm>
            <a:off x="6333125" y="1855183"/>
            <a:ext cx="17539" cy="8591"/>
          </a:xfrm>
          <a:custGeom>
            <a:avLst/>
            <a:gdLst/>
            <a:ahLst/>
            <a:cxnLst>
              <a:cxn ang="0">
                <a:pos x="7" y="5"/>
              </a:cxn>
              <a:cxn ang="0">
                <a:pos x="7" y="3"/>
              </a:cxn>
              <a:cxn ang="0">
                <a:pos x="7" y="5"/>
              </a:cxn>
              <a:cxn ang="0">
                <a:pos x="6" y="5"/>
              </a:cxn>
              <a:cxn ang="0">
                <a:pos x="3" y="5"/>
              </a:cxn>
              <a:cxn ang="0">
                <a:pos x="2" y="5"/>
              </a:cxn>
              <a:cxn ang="0">
                <a:pos x="2" y="3"/>
              </a:cxn>
              <a:cxn ang="0">
                <a:pos x="0" y="1"/>
              </a:cxn>
              <a:cxn ang="0">
                <a:pos x="2" y="1"/>
              </a:cxn>
              <a:cxn ang="0">
                <a:pos x="3" y="1"/>
              </a:cxn>
              <a:cxn ang="0">
                <a:pos x="4" y="0"/>
              </a:cxn>
              <a:cxn ang="0">
                <a:pos x="7" y="1"/>
              </a:cxn>
              <a:cxn ang="0">
                <a:pos x="8" y="0"/>
              </a:cxn>
              <a:cxn ang="0">
                <a:pos x="10" y="1"/>
              </a:cxn>
              <a:cxn ang="0">
                <a:pos x="10" y="3"/>
              </a:cxn>
              <a:cxn ang="0">
                <a:pos x="7" y="5"/>
              </a:cxn>
            </a:cxnLst>
            <a:rect l="0" t="0" r="r" b="b"/>
            <a:pathLst>
              <a:path w="10" h="5">
                <a:moveTo>
                  <a:pt x="7" y="5"/>
                </a:moveTo>
                <a:lnTo>
                  <a:pt x="7" y="3"/>
                </a:lnTo>
                <a:lnTo>
                  <a:pt x="7" y="5"/>
                </a:lnTo>
                <a:lnTo>
                  <a:pt x="6" y="5"/>
                </a:lnTo>
                <a:lnTo>
                  <a:pt x="3" y="5"/>
                </a:lnTo>
                <a:lnTo>
                  <a:pt x="2" y="5"/>
                </a:lnTo>
                <a:lnTo>
                  <a:pt x="2" y="3"/>
                </a:lnTo>
                <a:lnTo>
                  <a:pt x="0" y="1"/>
                </a:lnTo>
                <a:lnTo>
                  <a:pt x="2" y="1"/>
                </a:lnTo>
                <a:lnTo>
                  <a:pt x="3" y="1"/>
                </a:lnTo>
                <a:lnTo>
                  <a:pt x="4" y="0"/>
                </a:lnTo>
                <a:lnTo>
                  <a:pt x="7" y="1"/>
                </a:lnTo>
                <a:lnTo>
                  <a:pt x="8" y="0"/>
                </a:lnTo>
                <a:lnTo>
                  <a:pt x="10" y="1"/>
                </a:lnTo>
                <a:lnTo>
                  <a:pt x="10" y="3"/>
                </a:lnTo>
                <a:lnTo>
                  <a:pt x="7" y="5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99" name="Freeform 398"/>
          <p:cNvSpPr>
            <a:spLocks/>
          </p:cNvSpPr>
          <p:nvPr/>
        </p:nvSpPr>
        <p:spPr bwMode="auto">
          <a:xfrm>
            <a:off x="6356511" y="1850887"/>
            <a:ext cx="9744" cy="6444"/>
          </a:xfrm>
          <a:custGeom>
            <a:avLst/>
            <a:gdLst/>
            <a:ahLst/>
            <a:cxnLst>
              <a:cxn ang="0">
                <a:pos x="4" y="3"/>
              </a:cxn>
              <a:cxn ang="0">
                <a:pos x="3" y="4"/>
              </a:cxn>
              <a:cxn ang="0">
                <a:pos x="0" y="1"/>
              </a:cxn>
              <a:cxn ang="0">
                <a:pos x="0" y="0"/>
              </a:cxn>
              <a:cxn ang="0">
                <a:pos x="2" y="1"/>
              </a:cxn>
              <a:cxn ang="0">
                <a:pos x="3" y="0"/>
              </a:cxn>
              <a:cxn ang="0">
                <a:pos x="4" y="1"/>
              </a:cxn>
              <a:cxn ang="0">
                <a:pos x="6" y="3"/>
              </a:cxn>
              <a:cxn ang="0">
                <a:pos x="4" y="3"/>
              </a:cxn>
            </a:cxnLst>
            <a:rect l="0" t="0" r="r" b="b"/>
            <a:pathLst>
              <a:path w="6" h="4">
                <a:moveTo>
                  <a:pt x="4" y="3"/>
                </a:moveTo>
                <a:lnTo>
                  <a:pt x="3" y="4"/>
                </a:lnTo>
                <a:lnTo>
                  <a:pt x="0" y="1"/>
                </a:lnTo>
                <a:lnTo>
                  <a:pt x="0" y="0"/>
                </a:lnTo>
                <a:lnTo>
                  <a:pt x="2" y="1"/>
                </a:lnTo>
                <a:lnTo>
                  <a:pt x="3" y="0"/>
                </a:lnTo>
                <a:lnTo>
                  <a:pt x="4" y="1"/>
                </a:lnTo>
                <a:lnTo>
                  <a:pt x="6" y="3"/>
                </a:lnTo>
                <a:lnTo>
                  <a:pt x="4" y="3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00" name="Freeform 399"/>
          <p:cNvSpPr>
            <a:spLocks/>
          </p:cNvSpPr>
          <p:nvPr/>
        </p:nvSpPr>
        <p:spPr bwMode="auto">
          <a:xfrm>
            <a:off x="6356511" y="1850887"/>
            <a:ext cx="9744" cy="6444"/>
          </a:xfrm>
          <a:custGeom>
            <a:avLst/>
            <a:gdLst/>
            <a:ahLst/>
            <a:cxnLst>
              <a:cxn ang="0">
                <a:pos x="4" y="3"/>
              </a:cxn>
              <a:cxn ang="0">
                <a:pos x="3" y="4"/>
              </a:cxn>
              <a:cxn ang="0">
                <a:pos x="0" y="1"/>
              </a:cxn>
              <a:cxn ang="0">
                <a:pos x="0" y="0"/>
              </a:cxn>
              <a:cxn ang="0">
                <a:pos x="2" y="1"/>
              </a:cxn>
              <a:cxn ang="0">
                <a:pos x="3" y="0"/>
              </a:cxn>
              <a:cxn ang="0">
                <a:pos x="4" y="1"/>
              </a:cxn>
              <a:cxn ang="0">
                <a:pos x="6" y="3"/>
              </a:cxn>
              <a:cxn ang="0">
                <a:pos x="4" y="3"/>
              </a:cxn>
            </a:cxnLst>
            <a:rect l="0" t="0" r="r" b="b"/>
            <a:pathLst>
              <a:path w="6" h="4">
                <a:moveTo>
                  <a:pt x="4" y="3"/>
                </a:moveTo>
                <a:lnTo>
                  <a:pt x="3" y="4"/>
                </a:lnTo>
                <a:lnTo>
                  <a:pt x="0" y="1"/>
                </a:lnTo>
                <a:lnTo>
                  <a:pt x="0" y="0"/>
                </a:lnTo>
                <a:lnTo>
                  <a:pt x="2" y="1"/>
                </a:lnTo>
                <a:lnTo>
                  <a:pt x="3" y="0"/>
                </a:lnTo>
                <a:lnTo>
                  <a:pt x="4" y="1"/>
                </a:lnTo>
                <a:lnTo>
                  <a:pt x="6" y="3"/>
                </a:lnTo>
                <a:lnTo>
                  <a:pt x="4" y="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01" name="Freeform 400"/>
          <p:cNvSpPr>
            <a:spLocks/>
          </p:cNvSpPr>
          <p:nvPr/>
        </p:nvSpPr>
        <p:spPr bwMode="auto">
          <a:xfrm>
            <a:off x="6401333" y="1835854"/>
            <a:ext cx="21438" cy="6443"/>
          </a:xfrm>
          <a:custGeom>
            <a:avLst/>
            <a:gdLst/>
            <a:ahLst/>
            <a:cxnLst>
              <a:cxn ang="0">
                <a:pos x="8" y="0"/>
              </a:cxn>
              <a:cxn ang="0">
                <a:pos x="11" y="2"/>
              </a:cxn>
              <a:cxn ang="0">
                <a:pos x="11" y="4"/>
              </a:cxn>
              <a:cxn ang="0">
                <a:pos x="8" y="2"/>
              </a:cxn>
              <a:cxn ang="0">
                <a:pos x="7" y="4"/>
              </a:cxn>
              <a:cxn ang="0">
                <a:pos x="6" y="4"/>
              </a:cxn>
              <a:cxn ang="0">
                <a:pos x="2" y="4"/>
              </a:cxn>
              <a:cxn ang="0">
                <a:pos x="2" y="2"/>
              </a:cxn>
              <a:cxn ang="0">
                <a:pos x="3" y="2"/>
              </a:cxn>
              <a:cxn ang="0">
                <a:pos x="4" y="2"/>
              </a:cxn>
              <a:cxn ang="0">
                <a:pos x="0" y="2"/>
              </a:cxn>
              <a:cxn ang="0">
                <a:pos x="0" y="0"/>
              </a:cxn>
              <a:cxn ang="0">
                <a:pos x="3" y="0"/>
              </a:cxn>
              <a:cxn ang="0">
                <a:pos x="4" y="2"/>
              </a:cxn>
              <a:cxn ang="0">
                <a:pos x="6" y="0"/>
              </a:cxn>
              <a:cxn ang="0">
                <a:pos x="8" y="0"/>
              </a:cxn>
            </a:cxnLst>
            <a:rect l="0" t="0" r="r" b="b"/>
            <a:pathLst>
              <a:path w="11" h="4">
                <a:moveTo>
                  <a:pt x="8" y="0"/>
                </a:moveTo>
                <a:lnTo>
                  <a:pt x="11" y="2"/>
                </a:lnTo>
                <a:lnTo>
                  <a:pt x="11" y="4"/>
                </a:lnTo>
                <a:lnTo>
                  <a:pt x="8" y="2"/>
                </a:lnTo>
                <a:lnTo>
                  <a:pt x="7" y="4"/>
                </a:lnTo>
                <a:lnTo>
                  <a:pt x="6" y="4"/>
                </a:lnTo>
                <a:lnTo>
                  <a:pt x="2" y="4"/>
                </a:lnTo>
                <a:lnTo>
                  <a:pt x="2" y="2"/>
                </a:lnTo>
                <a:lnTo>
                  <a:pt x="3" y="2"/>
                </a:lnTo>
                <a:lnTo>
                  <a:pt x="4" y="2"/>
                </a:lnTo>
                <a:lnTo>
                  <a:pt x="0" y="2"/>
                </a:lnTo>
                <a:lnTo>
                  <a:pt x="0" y="0"/>
                </a:lnTo>
                <a:lnTo>
                  <a:pt x="3" y="0"/>
                </a:lnTo>
                <a:lnTo>
                  <a:pt x="4" y="2"/>
                </a:lnTo>
                <a:lnTo>
                  <a:pt x="6" y="0"/>
                </a:lnTo>
                <a:lnTo>
                  <a:pt x="8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02" name="Freeform 401"/>
          <p:cNvSpPr>
            <a:spLocks/>
          </p:cNvSpPr>
          <p:nvPr/>
        </p:nvSpPr>
        <p:spPr bwMode="auto">
          <a:xfrm>
            <a:off x="6401333" y="1835854"/>
            <a:ext cx="21438" cy="6443"/>
          </a:xfrm>
          <a:custGeom>
            <a:avLst/>
            <a:gdLst/>
            <a:ahLst/>
            <a:cxnLst>
              <a:cxn ang="0">
                <a:pos x="8" y="0"/>
              </a:cxn>
              <a:cxn ang="0">
                <a:pos x="11" y="2"/>
              </a:cxn>
              <a:cxn ang="0">
                <a:pos x="11" y="4"/>
              </a:cxn>
              <a:cxn ang="0">
                <a:pos x="8" y="2"/>
              </a:cxn>
              <a:cxn ang="0">
                <a:pos x="7" y="4"/>
              </a:cxn>
              <a:cxn ang="0">
                <a:pos x="6" y="4"/>
              </a:cxn>
              <a:cxn ang="0">
                <a:pos x="2" y="4"/>
              </a:cxn>
              <a:cxn ang="0">
                <a:pos x="2" y="2"/>
              </a:cxn>
              <a:cxn ang="0">
                <a:pos x="3" y="2"/>
              </a:cxn>
              <a:cxn ang="0">
                <a:pos x="4" y="2"/>
              </a:cxn>
              <a:cxn ang="0">
                <a:pos x="0" y="2"/>
              </a:cxn>
              <a:cxn ang="0">
                <a:pos x="0" y="0"/>
              </a:cxn>
              <a:cxn ang="0">
                <a:pos x="3" y="0"/>
              </a:cxn>
              <a:cxn ang="0">
                <a:pos x="4" y="2"/>
              </a:cxn>
              <a:cxn ang="0">
                <a:pos x="6" y="0"/>
              </a:cxn>
              <a:cxn ang="0">
                <a:pos x="8" y="0"/>
              </a:cxn>
            </a:cxnLst>
            <a:rect l="0" t="0" r="r" b="b"/>
            <a:pathLst>
              <a:path w="11" h="4">
                <a:moveTo>
                  <a:pt x="8" y="0"/>
                </a:moveTo>
                <a:lnTo>
                  <a:pt x="11" y="2"/>
                </a:lnTo>
                <a:lnTo>
                  <a:pt x="11" y="4"/>
                </a:lnTo>
                <a:lnTo>
                  <a:pt x="8" y="2"/>
                </a:lnTo>
                <a:lnTo>
                  <a:pt x="7" y="4"/>
                </a:lnTo>
                <a:lnTo>
                  <a:pt x="6" y="4"/>
                </a:lnTo>
                <a:lnTo>
                  <a:pt x="2" y="4"/>
                </a:lnTo>
                <a:lnTo>
                  <a:pt x="2" y="2"/>
                </a:lnTo>
                <a:lnTo>
                  <a:pt x="3" y="2"/>
                </a:lnTo>
                <a:lnTo>
                  <a:pt x="4" y="2"/>
                </a:lnTo>
                <a:lnTo>
                  <a:pt x="0" y="2"/>
                </a:lnTo>
                <a:lnTo>
                  <a:pt x="0" y="0"/>
                </a:lnTo>
                <a:lnTo>
                  <a:pt x="3" y="0"/>
                </a:lnTo>
                <a:lnTo>
                  <a:pt x="4" y="2"/>
                </a:lnTo>
                <a:lnTo>
                  <a:pt x="6" y="0"/>
                </a:lnTo>
                <a:lnTo>
                  <a:pt x="8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03" name="Freeform 402"/>
          <p:cNvSpPr>
            <a:spLocks/>
          </p:cNvSpPr>
          <p:nvPr/>
        </p:nvSpPr>
        <p:spPr bwMode="auto">
          <a:xfrm>
            <a:off x="5916079" y="2097863"/>
            <a:ext cx="21437" cy="6443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3" y="2"/>
              </a:cxn>
              <a:cxn ang="0">
                <a:pos x="4" y="2"/>
              </a:cxn>
              <a:cxn ang="0">
                <a:pos x="4" y="0"/>
              </a:cxn>
              <a:cxn ang="0">
                <a:pos x="8" y="0"/>
              </a:cxn>
              <a:cxn ang="0">
                <a:pos x="11" y="0"/>
              </a:cxn>
              <a:cxn ang="0">
                <a:pos x="10" y="0"/>
              </a:cxn>
              <a:cxn ang="0">
                <a:pos x="11" y="0"/>
              </a:cxn>
              <a:cxn ang="0">
                <a:pos x="12" y="2"/>
              </a:cxn>
              <a:cxn ang="0">
                <a:pos x="6" y="4"/>
              </a:cxn>
              <a:cxn ang="0">
                <a:pos x="3" y="4"/>
              </a:cxn>
              <a:cxn ang="0">
                <a:pos x="2" y="4"/>
              </a:cxn>
              <a:cxn ang="0">
                <a:pos x="0" y="2"/>
              </a:cxn>
            </a:cxnLst>
            <a:rect l="0" t="0" r="r" b="b"/>
            <a:pathLst>
              <a:path w="12" h="4">
                <a:moveTo>
                  <a:pt x="0" y="2"/>
                </a:moveTo>
                <a:lnTo>
                  <a:pt x="2" y="2"/>
                </a:lnTo>
                <a:lnTo>
                  <a:pt x="3" y="2"/>
                </a:lnTo>
                <a:lnTo>
                  <a:pt x="4" y="2"/>
                </a:lnTo>
                <a:lnTo>
                  <a:pt x="4" y="0"/>
                </a:lnTo>
                <a:lnTo>
                  <a:pt x="8" y="0"/>
                </a:lnTo>
                <a:lnTo>
                  <a:pt x="11" y="0"/>
                </a:lnTo>
                <a:lnTo>
                  <a:pt x="10" y="0"/>
                </a:lnTo>
                <a:lnTo>
                  <a:pt x="11" y="0"/>
                </a:lnTo>
                <a:lnTo>
                  <a:pt x="12" y="2"/>
                </a:lnTo>
                <a:lnTo>
                  <a:pt x="6" y="4"/>
                </a:lnTo>
                <a:lnTo>
                  <a:pt x="3" y="4"/>
                </a:lnTo>
                <a:lnTo>
                  <a:pt x="2" y="4"/>
                </a:lnTo>
                <a:lnTo>
                  <a:pt x="0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04" name="Freeform 403"/>
          <p:cNvSpPr>
            <a:spLocks/>
          </p:cNvSpPr>
          <p:nvPr/>
        </p:nvSpPr>
        <p:spPr bwMode="auto">
          <a:xfrm>
            <a:off x="5916079" y="2097863"/>
            <a:ext cx="21437" cy="6443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3" y="2"/>
              </a:cxn>
              <a:cxn ang="0">
                <a:pos x="4" y="2"/>
              </a:cxn>
              <a:cxn ang="0">
                <a:pos x="4" y="0"/>
              </a:cxn>
              <a:cxn ang="0">
                <a:pos x="8" y="0"/>
              </a:cxn>
              <a:cxn ang="0">
                <a:pos x="11" y="0"/>
              </a:cxn>
              <a:cxn ang="0">
                <a:pos x="10" y="0"/>
              </a:cxn>
              <a:cxn ang="0">
                <a:pos x="11" y="0"/>
              </a:cxn>
              <a:cxn ang="0">
                <a:pos x="12" y="2"/>
              </a:cxn>
              <a:cxn ang="0">
                <a:pos x="6" y="4"/>
              </a:cxn>
              <a:cxn ang="0">
                <a:pos x="3" y="4"/>
              </a:cxn>
              <a:cxn ang="0">
                <a:pos x="2" y="4"/>
              </a:cxn>
              <a:cxn ang="0">
                <a:pos x="0" y="2"/>
              </a:cxn>
            </a:cxnLst>
            <a:rect l="0" t="0" r="r" b="b"/>
            <a:pathLst>
              <a:path w="12" h="4">
                <a:moveTo>
                  <a:pt x="0" y="2"/>
                </a:moveTo>
                <a:lnTo>
                  <a:pt x="2" y="2"/>
                </a:lnTo>
                <a:lnTo>
                  <a:pt x="3" y="2"/>
                </a:lnTo>
                <a:lnTo>
                  <a:pt x="4" y="2"/>
                </a:lnTo>
                <a:lnTo>
                  <a:pt x="4" y="0"/>
                </a:lnTo>
                <a:lnTo>
                  <a:pt x="8" y="0"/>
                </a:lnTo>
                <a:lnTo>
                  <a:pt x="11" y="0"/>
                </a:lnTo>
                <a:lnTo>
                  <a:pt x="10" y="0"/>
                </a:lnTo>
                <a:lnTo>
                  <a:pt x="11" y="0"/>
                </a:lnTo>
                <a:lnTo>
                  <a:pt x="12" y="2"/>
                </a:lnTo>
                <a:lnTo>
                  <a:pt x="6" y="4"/>
                </a:lnTo>
                <a:lnTo>
                  <a:pt x="3" y="4"/>
                </a:lnTo>
                <a:lnTo>
                  <a:pt x="2" y="4"/>
                </a:lnTo>
                <a:lnTo>
                  <a:pt x="0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05" name="Freeform 404"/>
          <p:cNvSpPr>
            <a:spLocks/>
          </p:cNvSpPr>
          <p:nvPr/>
        </p:nvSpPr>
        <p:spPr bwMode="auto">
          <a:xfrm>
            <a:off x="5808893" y="2188063"/>
            <a:ext cx="5847" cy="2146"/>
          </a:xfrm>
          <a:custGeom>
            <a:avLst/>
            <a:gdLst/>
            <a:ahLst/>
            <a:cxnLst>
              <a:cxn ang="0">
                <a:pos x="3" y="0"/>
              </a:cxn>
              <a:cxn ang="0">
                <a:pos x="4" y="0"/>
              </a:cxn>
              <a:cxn ang="0">
                <a:pos x="2" y="1"/>
              </a:cxn>
              <a:cxn ang="0">
                <a:pos x="0" y="1"/>
              </a:cxn>
              <a:cxn ang="0">
                <a:pos x="2" y="1"/>
              </a:cxn>
              <a:cxn ang="0">
                <a:pos x="3" y="1"/>
              </a:cxn>
              <a:cxn ang="0">
                <a:pos x="3" y="0"/>
              </a:cxn>
            </a:cxnLst>
            <a:rect l="0" t="0" r="r" b="b"/>
            <a:pathLst>
              <a:path w="4" h="1">
                <a:moveTo>
                  <a:pt x="3" y="0"/>
                </a:moveTo>
                <a:lnTo>
                  <a:pt x="4" y="0"/>
                </a:lnTo>
                <a:lnTo>
                  <a:pt x="2" y="1"/>
                </a:lnTo>
                <a:lnTo>
                  <a:pt x="0" y="1"/>
                </a:lnTo>
                <a:lnTo>
                  <a:pt x="2" y="1"/>
                </a:lnTo>
                <a:lnTo>
                  <a:pt x="3" y="1"/>
                </a:lnTo>
                <a:lnTo>
                  <a:pt x="3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06" name="Freeform 405"/>
          <p:cNvSpPr>
            <a:spLocks/>
          </p:cNvSpPr>
          <p:nvPr/>
        </p:nvSpPr>
        <p:spPr bwMode="auto">
          <a:xfrm>
            <a:off x="5808893" y="2188063"/>
            <a:ext cx="5847" cy="2146"/>
          </a:xfrm>
          <a:custGeom>
            <a:avLst/>
            <a:gdLst/>
            <a:ahLst/>
            <a:cxnLst>
              <a:cxn ang="0">
                <a:pos x="3" y="0"/>
              </a:cxn>
              <a:cxn ang="0">
                <a:pos x="4" y="0"/>
              </a:cxn>
              <a:cxn ang="0">
                <a:pos x="2" y="1"/>
              </a:cxn>
              <a:cxn ang="0">
                <a:pos x="0" y="1"/>
              </a:cxn>
              <a:cxn ang="0">
                <a:pos x="2" y="1"/>
              </a:cxn>
              <a:cxn ang="0">
                <a:pos x="3" y="1"/>
              </a:cxn>
              <a:cxn ang="0">
                <a:pos x="3" y="0"/>
              </a:cxn>
            </a:cxnLst>
            <a:rect l="0" t="0" r="r" b="b"/>
            <a:pathLst>
              <a:path w="4" h="1">
                <a:moveTo>
                  <a:pt x="3" y="0"/>
                </a:moveTo>
                <a:lnTo>
                  <a:pt x="4" y="0"/>
                </a:lnTo>
                <a:lnTo>
                  <a:pt x="2" y="1"/>
                </a:lnTo>
                <a:lnTo>
                  <a:pt x="0" y="1"/>
                </a:lnTo>
                <a:lnTo>
                  <a:pt x="2" y="1"/>
                </a:lnTo>
                <a:lnTo>
                  <a:pt x="3" y="1"/>
                </a:lnTo>
                <a:lnTo>
                  <a:pt x="3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07" name="Freeform 406"/>
          <p:cNvSpPr>
            <a:spLocks/>
          </p:cNvSpPr>
          <p:nvPr/>
        </p:nvSpPr>
        <p:spPr bwMode="auto">
          <a:xfrm>
            <a:off x="5838126" y="2140815"/>
            <a:ext cx="9744" cy="8591"/>
          </a:xfrm>
          <a:custGeom>
            <a:avLst/>
            <a:gdLst/>
            <a:ahLst/>
            <a:cxnLst>
              <a:cxn ang="0">
                <a:pos x="2" y="4"/>
              </a:cxn>
              <a:cxn ang="0">
                <a:pos x="4" y="2"/>
              </a:cxn>
              <a:cxn ang="0">
                <a:pos x="3" y="2"/>
              </a:cxn>
              <a:cxn ang="0">
                <a:pos x="2" y="0"/>
              </a:cxn>
              <a:cxn ang="0">
                <a:pos x="0" y="2"/>
              </a:cxn>
              <a:cxn ang="0">
                <a:pos x="2" y="4"/>
              </a:cxn>
            </a:cxnLst>
            <a:rect l="0" t="0" r="r" b="b"/>
            <a:pathLst>
              <a:path w="4" h="4">
                <a:moveTo>
                  <a:pt x="2" y="4"/>
                </a:moveTo>
                <a:lnTo>
                  <a:pt x="4" y="2"/>
                </a:lnTo>
                <a:lnTo>
                  <a:pt x="3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08" name="Freeform 407"/>
          <p:cNvSpPr>
            <a:spLocks/>
          </p:cNvSpPr>
          <p:nvPr/>
        </p:nvSpPr>
        <p:spPr bwMode="auto">
          <a:xfrm>
            <a:off x="5838126" y="2140815"/>
            <a:ext cx="9744" cy="8591"/>
          </a:xfrm>
          <a:custGeom>
            <a:avLst/>
            <a:gdLst/>
            <a:ahLst/>
            <a:cxnLst>
              <a:cxn ang="0">
                <a:pos x="2" y="4"/>
              </a:cxn>
              <a:cxn ang="0">
                <a:pos x="4" y="2"/>
              </a:cxn>
              <a:cxn ang="0">
                <a:pos x="3" y="2"/>
              </a:cxn>
              <a:cxn ang="0">
                <a:pos x="2" y="0"/>
              </a:cxn>
              <a:cxn ang="0">
                <a:pos x="0" y="2"/>
              </a:cxn>
              <a:cxn ang="0">
                <a:pos x="2" y="4"/>
              </a:cxn>
            </a:cxnLst>
            <a:rect l="0" t="0" r="r" b="b"/>
            <a:pathLst>
              <a:path w="4" h="4">
                <a:moveTo>
                  <a:pt x="2" y="4"/>
                </a:moveTo>
                <a:lnTo>
                  <a:pt x="4" y="2"/>
                </a:lnTo>
                <a:lnTo>
                  <a:pt x="3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09" name="Freeform 408"/>
          <p:cNvSpPr>
            <a:spLocks/>
          </p:cNvSpPr>
          <p:nvPr/>
        </p:nvSpPr>
        <p:spPr bwMode="auto">
          <a:xfrm>
            <a:off x="5814740" y="2160142"/>
            <a:ext cx="5846" cy="6444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1"/>
              </a:cxn>
              <a:cxn ang="0">
                <a:pos x="3" y="1"/>
              </a:cxn>
              <a:cxn ang="0">
                <a:pos x="0" y="0"/>
              </a:cxn>
              <a:cxn ang="0">
                <a:pos x="0" y="3"/>
              </a:cxn>
            </a:cxnLst>
            <a:rect l="0" t="0" r="r" b="b"/>
            <a:pathLst>
              <a:path w="3" h="3">
                <a:moveTo>
                  <a:pt x="0" y="3"/>
                </a:moveTo>
                <a:lnTo>
                  <a:pt x="0" y="1"/>
                </a:lnTo>
                <a:lnTo>
                  <a:pt x="3" y="1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10" name="Freeform 409"/>
          <p:cNvSpPr>
            <a:spLocks/>
          </p:cNvSpPr>
          <p:nvPr/>
        </p:nvSpPr>
        <p:spPr bwMode="auto">
          <a:xfrm>
            <a:off x="5814740" y="2160142"/>
            <a:ext cx="5846" cy="6444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1"/>
              </a:cxn>
              <a:cxn ang="0">
                <a:pos x="3" y="1"/>
              </a:cxn>
              <a:cxn ang="0">
                <a:pos x="0" y="0"/>
              </a:cxn>
              <a:cxn ang="0">
                <a:pos x="0" y="3"/>
              </a:cxn>
            </a:cxnLst>
            <a:rect l="0" t="0" r="r" b="b"/>
            <a:pathLst>
              <a:path w="3" h="3">
                <a:moveTo>
                  <a:pt x="0" y="3"/>
                </a:moveTo>
                <a:lnTo>
                  <a:pt x="0" y="1"/>
                </a:lnTo>
                <a:lnTo>
                  <a:pt x="3" y="1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11" name="Freeform 410"/>
          <p:cNvSpPr>
            <a:spLocks/>
          </p:cNvSpPr>
          <p:nvPr/>
        </p:nvSpPr>
        <p:spPr bwMode="auto">
          <a:xfrm>
            <a:off x="5824484" y="2228866"/>
            <a:ext cx="3898" cy="6444"/>
          </a:xfrm>
          <a:custGeom>
            <a:avLst/>
            <a:gdLst/>
            <a:ahLst/>
            <a:cxnLst>
              <a:cxn ang="0">
                <a:pos x="3" y="3"/>
              </a:cxn>
              <a:cxn ang="0">
                <a:pos x="3" y="2"/>
              </a:cxn>
              <a:cxn ang="0">
                <a:pos x="2" y="0"/>
              </a:cxn>
              <a:cxn ang="0">
                <a:pos x="0" y="2"/>
              </a:cxn>
              <a:cxn ang="0">
                <a:pos x="0" y="3"/>
              </a:cxn>
              <a:cxn ang="0">
                <a:pos x="3" y="3"/>
              </a:cxn>
            </a:cxnLst>
            <a:rect l="0" t="0" r="r" b="b"/>
            <a:pathLst>
              <a:path w="3" h="3">
                <a:moveTo>
                  <a:pt x="3" y="3"/>
                </a:moveTo>
                <a:lnTo>
                  <a:pt x="3" y="2"/>
                </a:lnTo>
                <a:lnTo>
                  <a:pt x="2" y="0"/>
                </a:lnTo>
                <a:lnTo>
                  <a:pt x="0" y="2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12" name="Freeform 411"/>
          <p:cNvSpPr>
            <a:spLocks/>
          </p:cNvSpPr>
          <p:nvPr/>
        </p:nvSpPr>
        <p:spPr bwMode="auto">
          <a:xfrm>
            <a:off x="5824484" y="2228866"/>
            <a:ext cx="3898" cy="6444"/>
          </a:xfrm>
          <a:custGeom>
            <a:avLst/>
            <a:gdLst/>
            <a:ahLst/>
            <a:cxnLst>
              <a:cxn ang="0">
                <a:pos x="3" y="3"/>
              </a:cxn>
              <a:cxn ang="0">
                <a:pos x="3" y="2"/>
              </a:cxn>
              <a:cxn ang="0">
                <a:pos x="2" y="0"/>
              </a:cxn>
              <a:cxn ang="0">
                <a:pos x="0" y="2"/>
              </a:cxn>
              <a:cxn ang="0">
                <a:pos x="0" y="3"/>
              </a:cxn>
              <a:cxn ang="0">
                <a:pos x="3" y="3"/>
              </a:cxn>
            </a:cxnLst>
            <a:rect l="0" t="0" r="r" b="b"/>
            <a:pathLst>
              <a:path w="3" h="3">
                <a:moveTo>
                  <a:pt x="3" y="3"/>
                </a:moveTo>
                <a:lnTo>
                  <a:pt x="3" y="2"/>
                </a:lnTo>
                <a:lnTo>
                  <a:pt x="2" y="0"/>
                </a:lnTo>
                <a:lnTo>
                  <a:pt x="0" y="2"/>
                </a:lnTo>
                <a:lnTo>
                  <a:pt x="0" y="3"/>
                </a:lnTo>
                <a:lnTo>
                  <a:pt x="3" y="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13" name="Rectangle 412"/>
          <p:cNvSpPr>
            <a:spLocks noChangeArrowheads="1"/>
          </p:cNvSpPr>
          <p:nvPr/>
        </p:nvSpPr>
        <p:spPr bwMode="auto">
          <a:xfrm>
            <a:off x="5820586" y="2250342"/>
            <a:ext cx="3898" cy="6444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 w="3175">
            <a:solidFill>
              <a:sysClr val="window" lastClr="FFFFFF">
                <a:lumMod val="95000"/>
              </a:sysClr>
            </a:solidFill>
            <a:miter lim="800000"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14" name="Rectangle 413"/>
          <p:cNvSpPr>
            <a:spLocks noChangeArrowheads="1"/>
          </p:cNvSpPr>
          <p:nvPr/>
        </p:nvSpPr>
        <p:spPr bwMode="auto">
          <a:xfrm>
            <a:off x="5820586" y="2250342"/>
            <a:ext cx="3898" cy="6444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 w="3175">
            <a:solidFill>
              <a:sysClr val="window" lastClr="FFFFFF">
                <a:lumMod val="95000"/>
              </a:sysClr>
            </a:solidFill>
            <a:miter lim="800000"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15" name="Freeform 414"/>
          <p:cNvSpPr>
            <a:spLocks/>
          </p:cNvSpPr>
          <p:nvPr/>
        </p:nvSpPr>
        <p:spPr bwMode="auto">
          <a:xfrm>
            <a:off x="5711453" y="2965497"/>
            <a:ext cx="11693" cy="10737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5" y="1"/>
              </a:cxn>
              <a:cxn ang="0">
                <a:pos x="3" y="3"/>
              </a:cxn>
              <a:cxn ang="0">
                <a:pos x="1" y="5"/>
              </a:cxn>
              <a:cxn ang="0">
                <a:pos x="0" y="3"/>
              </a:cxn>
              <a:cxn ang="0">
                <a:pos x="1" y="1"/>
              </a:cxn>
              <a:cxn ang="0">
                <a:pos x="4" y="0"/>
              </a:cxn>
            </a:cxnLst>
            <a:rect l="0" t="0" r="r" b="b"/>
            <a:pathLst>
              <a:path w="5" h="5">
                <a:moveTo>
                  <a:pt x="4" y="0"/>
                </a:moveTo>
                <a:lnTo>
                  <a:pt x="5" y="1"/>
                </a:lnTo>
                <a:lnTo>
                  <a:pt x="3" y="3"/>
                </a:lnTo>
                <a:lnTo>
                  <a:pt x="1" y="5"/>
                </a:lnTo>
                <a:lnTo>
                  <a:pt x="0" y="3"/>
                </a:lnTo>
                <a:lnTo>
                  <a:pt x="1" y="1"/>
                </a:lnTo>
                <a:lnTo>
                  <a:pt x="4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16" name="Freeform 415"/>
          <p:cNvSpPr>
            <a:spLocks/>
          </p:cNvSpPr>
          <p:nvPr/>
        </p:nvSpPr>
        <p:spPr bwMode="auto">
          <a:xfrm>
            <a:off x="5711453" y="2965497"/>
            <a:ext cx="11693" cy="10737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5" y="1"/>
              </a:cxn>
              <a:cxn ang="0">
                <a:pos x="3" y="3"/>
              </a:cxn>
              <a:cxn ang="0">
                <a:pos x="1" y="5"/>
              </a:cxn>
              <a:cxn ang="0">
                <a:pos x="0" y="3"/>
              </a:cxn>
              <a:cxn ang="0">
                <a:pos x="1" y="1"/>
              </a:cxn>
              <a:cxn ang="0">
                <a:pos x="4" y="0"/>
              </a:cxn>
            </a:cxnLst>
            <a:rect l="0" t="0" r="r" b="b"/>
            <a:pathLst>
              <a:path w="5" h="5">
                <a:moveTo>
                  <a:pt x="4" y="0"/>
                </a:moveTo>
                <a:lnTo>
                  <a:pt x="5" y="1"/>
                </a:lnTo>
                <a:lnTo>
                  <a:pt x="3" y="3"/>
                </a:lnTo>
                <a:lnTo>
                  <a:pt x="1" y="5"/>
                </a:lnTo>
                <a:lnTo>
                  <a:pt x="0" y="3"/>
                </a:lnTo>
                <a:lnTo>
                  <a:pt x="1" y="1"/>
                </a:lnTo>
                <a:lnTo>
                  <a:pt x="4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17" name="Freeform 416"/>
          <p:cNvSpPr>
            <a:spLocks/>
          </p:cNvSpPr>
          <p:nvPr/>
        </p:nvSpPr>
        <p:spPr bwMode="auto">
          <a:xfrm>
            <a:off x="5746532" y="2933281"/>
            <a:ext cx="27284" cy="25772"/>
          </a:xfrm>
          <a:custGeom>
            <a:avLst/>
            <a:gdLst/>
            <a:ahLst/>
            <a:cxnLst>
              <a:cxn ang="0">
                <a:pos x="12" y="2"/>
              </a:cxn>
              <a:cxn ang="0">
                <a:pos x="11" y="3"/>
              </a:cxn>
              <a:cxn ang="0">
                <a:pos x="11" y="5"/>
              </a:cxn>
              <a:cxn ang="0">
                <a:pos x="14" y="5"/>
              </a:cxn>
              <a:cxn ang="0">
                <a:pos x="15" y="7"/>
              </a:cxn>
              <a:cxn ang="0">
                <a:pos x="14" y="10"/>
              </a:cxn>
              <a:cxn ang="0">
                <a:pos x="11" y="13"/>
              </a:cxn>
              <a:cxn ang="0">
                <a:pos x="7" y="11"/>
              </a:cxn>
              <a:cxn ang="0">
                <a:pos x="6" y="8"/>
              </a:cxn>
              <a:cxn ang="0">
                <a:pos x="3" y="8"/>
              </a:cxn>
              <a:cxn ang="0">
                <a:pos x="2" y="10"/>
              </a:cxn>
              <a:cxn ang="0">
                <a:pos x="0" y="8"/>
              </a:cxn>
              <a:cxn ang="0">
                <a:pos x="3" y="5"/>
              </a:cxn>
              <a:cxn ang="0">
                <a:pos x="12" y="0"/>
              </a:cxn>
              <a:cxn ang="0">
                <a:pos x="12" y="2"/>
              </a:cxn>
            </a:cxnLst>
            <a:rect l="0" t="0" r="r" b="b"/>
            <a:pathLst>
              <a:path w="15" h="13">
                <a:moveTo>
                  <a:pt x="12" y="2"/>
                </a:moveTo>
                <a:lnTo>
                  <a:pt x="11" y="3"/>
                </a:lnTo>
                <a:lnTo>
                  <a:pt x="11" y="5"/>
                </a:lnTo>
                <a:lnTo>
                  <a:pt x="14" y="5"/>
                </a:lnTo>
                <a:lnTo>
                  <a:pt x="15" y="7"/>
                </a:lnTo>
                <a:lnTo>
                  <a:pt x="14" y="10"/>
                </a:lnTo>
                <a:lnTo>
                  <a:pt x="11" y="13"/>
                </a:lnTo>
                <a:lnTo>
                  <a:pt x="7" y="11"/>
                </a:lnTo>
                <a:lnTo>
                  <a:pt x="6" y="8"/>
                </a:lnTo>
                <a:lnTo>
                  <a:pt x="3" y="8"/>
                </a:lnTo>
                <a:lnTo>
                  <a:pt x="2" y="10"/>
                </a:lnTo>
                <a:lnTo>
                  <a:pt x="0" y="8"/>
                </a:lnTo>
                <a:lnTo>
                  <a:pt x="3" y="5"/>
                </a:lnTo>
                <a:lnTo>
                  <a:pt x="12" y="0"/>
                </a:lnTo>
                <a:lnTo>
                  <a:pt x="12" y="2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18" name="Freeform 417"/>
          <p:cNvSpPr>
            <a:spLocks/>
          </p:cNvSpPr>
          <p:nvPr/>
        </p:nvSpPr>
        <p:spPr bwMode="auto">
          <a:xfrm>
            <a:off x="5746532" y="2933281"/>
            <a:ext cx="27284" cy="25772"/>
          </a:xfrm>
          <a:custGeom>
            <a:avLst/>
            <a:gdLst/>
            <a:ahLst/>
            <a:cxnLst>
              <a:cxn ang="0">
                <a:pos x="12" y="2"/>
              </a:cxn>
              <a:cxn ang="0">
                <a:pos x="11" y="3"/>
              </a:cxn>
              <a:cxn ang="0">
                <a:pos x="11" y="5"/>
              </a:cxn>
              <a:cxn ang="0">
                <a:pos x="14" y="5"/>
              </a:cxn>
              <a:cxn ang="0">
                <a:pos x="15" y="7"/>
              </a:cxn>
              <a:cxn ang="0">
                <a:pos x="14" y="10"/>
              </a:cxn>
              <a:cxn ang="0">
                <a:pos x="11" y="13"/>
              </a:cxn>
              <a:cxn ang="0">
                <a:pos x="7" y="11"/>
              </a:cxn>
              <a:cxn ang="0">
                <a:pos x="6" y="8"/>
              </a:cxn>
              <a:cxn ang="0">
                <a:pos x="3" y="8"/>
              </a:cxn>
              <a:cxn ang="0">
                <a:pos x="2" y="10"/>
              </a:cxn>
              <a:cxn ang="0">
                <a:pos x="0" y="8"/>
              </a:cxn>
              <a:cxn ang="0">
                <a:pos x="3" y="5"/>
              </a:cxn>
              <a:cxn ang="0">
                <a:pos x="12" y="0"/>
              </a:cxn>
              <a:cxn ang="0">
                <a:pos x="12" y="2"/>
              </a:cxn>
            </a:cxnLst>
            <a:rect l="0" t="0" r="r" b="b"/>
            <a:pathLst>
              <a:path w="15" h="13">
                <a:moveTo>
                  <a:pt x="12" y="2"/>
                </a:moveTo>
                <a:lnTo>
                  <a:pt x="11" y="3"/>
                </a:lnTo>
                <a:lnTo>
                  <a:pt x="11" y="5"/>
                </a:lnTo>
                <a:lnTo>
                  <a:pt x="14" y="5"/>
                </a:lnTo>
                <a:lnTo>
                  <a:pt x="15" y="7"/>
                </a:lnTo>
                <a:lnTo>
                  <a:pt x="14" y="10"/>
                </a:lnTo>
                <a:lnTo>
                  <a:pt x="11" y="13"/>
                </a:lnTo>
                <a:lnTo>
                  <a:pt x="7" y="11"/>
                </a:lnTo>
                <a:lnTo>
                  <a:pt x="6" y="8"/>
                </a:lnTo>
                <a:lnTo>
                  <a:pt x="3" y="8"/>
                </a:lnTo>
                <a:lnTo>
                  <a:pt x="2" y="10"/>
                </a:lnTo>
                <a:lnTo>
                  <a:pt x="0" y="8"/>
                </a:lnTo>
                <a:lnTo>
                  <a:pt x="3" y="5"/>
                </a:lnTo>
                <a:lnTo>
                  <a:pt x="12" y="0"/>
                </a:lnTo>
                <a:lnTo>
                  <a:pt x="12" y="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19" name="Freeform 418"/>
          <p:cNvSpPr>
            <a:spLocks/>
          </p:cNvSpPr>
          <p:nvPr/>
        </p:nvSpPr>
        <p:spPr bwMode="auto">
          <a:xfrm>
            <a:off x="5785507" y="2931134"/>
            <a:ext cx="11693" cy="6443"/>
          </a:xfrm>
          <a:custGeom>
            <a:avLst/>
            <a:gdLst/>
            <a:ahLst/>
            <a:cxnLst>
              <a:cxn ang="0">
                <a:pos x="6" y="1"/>
              </a:cxn>
              <a:cxn ang="0">
                <a:pos x="7" y="1"/>
              </a:cxn>
              <a:cxn ang="0">
                <a:pos x="7" y="4"/>
              </a:cxn>
              <a:cxn ang="0">
                <a:pos x="6" y="4"/>
              </a:cxn>
              <a:cxn ang="0">
                <a:pos x="3" y="3"/>
              </a:cxn>
              <a:cxn ang="0">
                <a:pos x="0" y="1"/>
              </a:cxn>
              <a:cxn ang="0">
                <a:pos x="2" y="0"/>
              </a:cxn>
              <a:cxn ang="0">
                <a:pos x="4" y="0"/>
              </a:cxn>
              <a:cxn ang="0">
                <a:pos x="6" y="0"/>
              </a:cxn>
              <a:cxn ang="0">
                <a:pos x="6" y="1"/>
              </a:cxn>
            </a:cxnLst>
            <a:rect l="0" t="0" r="r" b="b"/>
            <a:pathLst>
              <a:path w="7" h="4">
                <a:moveTo>
                  <a:pt x="6" y="1"/>
                </a:moveTo>
                <a:lnTo>
                  <a:pt x="7" y="1"/>
                </a:lnTo>
                <a:lnTo>
                  <a:pt x="7" y="4"/>
                </a:lnTo>
                <a:lnTo>
                  <a:pt x="6" y="4"/>
                </a:lnTo>
                <a:lnTo>
                  <a:pt x="3" y="3"/>
                </a:lnTo>
                <a:lnTo>
                  <a:pt x="0" y="1"/>
                </a:lnTo>
                <a:lnTo>
                  <a:pt x="2" y="0"/>
                </a:lnTo>
                <a:lnTo>
                  <a:pt x="4" y="0"/>
                </a:lnTo>
                <a:lnTo>
                  <a:pt x="6" y="0"/>
                </a:lnTo>
                <a:lnTo>
                  <a:pt x="6" y="1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20" name="Freeform 419"/>
          <p:cNvSpPr>
            <a:spLocks/>
          </p:cNvSpPr>
          <p:nvPr/>
        </p:nvSpPr>
        <p:spPr bwMode="auto">
          <a:xfrm>
            <a:off x="5785507" y="2931134"/>
            <a:ext cx="11693" cy="6443"/>
          </a:xfrm>
          <a:custGeom>
            <a:avLst/>
            <a:gdLst/>
            <a:ahLst/>
            <a:cxnLst>
              <a:cxn ang="0">
                <a:pos x="6" y="1"/>
              </a:cxn>
              <a:cxn ang="0">
                <a:pos x="7" y="1"/>
              </a:cxn>
              <a:cxn ang="0">
                <a:pos x="7" y="4"/>
              </a:cxn>
              <a:cxn ang="0">
                <a:pos x="6" y="4"/>
              </a:cxn>
              <a:cxn ang="0">
                <a:pos x="3" y="3"/>
              </a:cxn>
              <a:cxn ang="0">
                <a:pos x="0" y="1"/>
              </a:cxn>
              <a:cxn ang="0">
                <a:pos x="2" y="0"/>
              </a:cxn>
              <a:cxn ang="0">
                <a:pos x="4" y="0"/>
              </a:cxn>
              <a:cxn ang="0">
                <a:pos x="6" y="0"/>
              </a:cxn>
              <a:cxn ang="0">
                <a:pos x="6" y="1"/>
              </a:cxn>
            </a:cxnLst>
            <a:rect l="0" t="0" r="r" b="b"/>
            <a:pathLst>
              <a:path w="7" h="4">
                <a:moveTo>
                  <a:pt x="6" y="1"/>
                </a:moveTo>
                <a:lnTo>
                  <a:pt x="7" y="1"/>
                </a:lnTo>
                <a:lnTo>
                  <a:pt x="7" y="4"/>
                </a:lnTo>
                <a:lnTo>
                  <a:pt x="6" y="4"/>
                </a:lnTo>
                <a:lnTo>
                  <a:pt x="3" y="3"/>
                </a:lnTo>
                <a:lnTo>
                  <a:pt x="0" y="1"/>
                </a:lnTo>
                <a:lnTo>
                  <a:pt x="2" y="0"/>
                </a:lnTo>
                <a:lnTo>
                  <a:pt x="4" y="0"/>
                </a:lnTo>
                <a:lnTo>
                  <a:pt x="6" y="0"/>
                </a:lnTo>
                <a:lnTo>
                  <a:pt x="6" y="1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21" name="Freeform 420"/>
          <p:cNvSpPr>
            <a:spLocks/>
          </p:cNvSpPr>
          <p:nvPr/>
        </p:nvSpPr>
        <p:spPr bwMode="auto">
          <a:xfrm>
            <a:off x="8656113" y="4288423"/>
            <a:ext cx="9744" cy="10737"/>
          </a:xfrm>
          <a:custGeom>
            <a:avLst/>
            <a:gdLst/>
            <a:ahLst/>
            <a:cxnLst>
              <a:cxn ang="0">
                <a:pos x="5" y="3"/>
              </a:cxn>
              <a:cxn ang="0">
                <a:pos x="4" y="2"/>
              </a:cxn>
              <a:cxn ang="0">
                <a:pos x="2" y="0"/>
              </a:cxn>
              <a:cxn ang="0">
                <a:pos x="1" y="2"/>
              </a:cxn>
              <a:cxn ang="0">
                <a:pos x="0" y="5"/>
              </a:cxn>
              <a:cxn ang="0">
                <a:pos x="2" y="5"/>
              </a:cxn>
              <a:cxn ang="0">
                <a:pos x="4" y="5"/>
              </a:cxn>
              <a:cxn ang="0">
                <a:pos x="5" y="3"/>
              </a:cxn>
            </a:cxnLst>
            <a:rect l="0" t="0" r="r" b="b"/>
            <a:pathLst>
              <a:path w="5" h="5">
                <a:moveTo>
                  <a:pt x="5" y="3"/>
                </a:moveTo>
                <a:lnTo>
                  <a:pt x="4" y="2"/>
                </a:lnTo>
                <a:lnTo>
                  <a:pt x="2" y="0"/>
                </a:lnTo>
                <a:lnTo>
                  <a:pt x="1" y="2"/>
                </a:lnTo>
                <a:lnTo>
                  <a:pt x="0" y="5"/>
                </a:lnTo>
                <a:lnTo>
                  <a:pt x="2" y="5"/>
                </a:lnTo>
                <a:lnTo>
                  <a:pt x="4" y="5"/>
                </a:lnTo>
                <a:lnTo>
                  <a:pt x="5" y="3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22" name="Freeform 421"/>
          <p:cNvSpPr>
            <a:spLocks/>
          </p:cNvSpPr>
          <p:nvPr/>
        </p:nvSpPr>
        <p:spPr bwMode="auto">
          <a:xfrm>
            <a:off x="8656113" y="4288423"/>
            <a:ext cx="9744" cy="10737"/>
          </a:xfrm>
          <a:custGeom>
            <a:avLst/>
            <a:gdLst/>
            <a:ahLst/>
            <a:cxnLst>
              <a:cxn ang="0">
                <a:pos x="5" y="3"/>
              </a:cxn>
              <a:cxn ang="0">
                <a:pos x="4" y="2"/>
              </a:cxn>
              <a:cxn ang="0">
                <a:pos x="2" y="0"/>
              </a:cxn>
              <a:cxn ang="0">
                <a:pos x="1" y="2"/>
              </a:cxn>
              <a:cxn ang="0">
                <a:pos x="0" y="5"/>
              </a:cxn>
              <a:cxn ang="0">
                <a:pos x="2" y="5"/>
              </a:cxn>
              <a:cxn ang="0">
                <a:pos x="4" y="5"/>
              </a:cxn>
              <a:cxn ang="0">
                <a:pos x="5" y="3"/>
              </a:cxn>
            </a:cxnLst>
            <a:rect l="0" t="0" r="r" b="b"/>
            <a:pathLst>
              <a:path w="5" h="5">
                <a:moveTo>
                  <a:pt x="5" y="3"/>
                </a:moveTo>
                <a:lnTo>
                  <a:pt x="4" y="2"/>
                </a:lnTo>
                <a:lnTo>
                  <a:pt x="2" y="0"/>
                </a:lnTo>
                <a:lnTo>
                  <a:pt x="1" y="2"/>
                </a:lnTo>
                <a:lnTo>
                  <a:pt x="0" y="5"/>
                </a:lnTo>
                <a:lnTo>
                  <a:pt x="2" y="5"/>
                </a:lnTo>
                <a:lnTo>
                  <a:pt x="4" y="5"/>
                </a:lnTo>
                <a:lnTo>
                  <a:pt x="5" y="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23" name="Freeform 422"/>
          <p:cNvSpPr>
            <a:spLocks/>
          </p:cNvSpPr>
          <p:nvPr/>
        </p:nvSpPr>
        <p:spPr bwMode="auto">
          <a:xfrm>
            <a:off x="9891661" y="4412984"/>
            <a:ext cx="13640" cy="10737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1" y="0"/>
              </a:cxn>
              <a:cxn ang="0">
                <a:pos x="2" y="2"/>
              </a:cxn>
              <a:cxn ang="0">
                <a:pos x="5" y="2"/>
              </a:cxn>
              <a:cxn ang="0">
                <a:pos x="8" y="2"/>
              </a:cxn>
              <a:cxn ang="0">
                <a:pos x="6" y="5"/>
              </a:cxn>
              <a:cxn ang="0">
                <a:pos x="5" y="5"/>
              </a:cxn>
              <a:cxn ang="0">
                <a:pos x="4" y="3"/>
              </a:cxn>
              <a:cxn ang="0">
                <a:pos x="4" y="5"/>
              </a:cxn>
              <a:cxn ang="0">
                <a:pos x="1" y="6"/>
              </a:cxn>
              <a:cxn ang="0">
                <a:pos x="0" y="3"/>
              </a:cxn>
              <a:cxn ang="0">
                <a:pos x="1" y="2"/>
              </a:cxn>
              <a:cxn ang="0">
                <a:pos x="0" y="2"/>
              </a:cxn>
            </a:cxnLst>
            <a:rect l="0" t="0" r="r" b="b"/>
            <a:pathLst>
              <a:path w="8" h="6">
                <a:moveTo>
                  <a:pt x="0" y="2"/>
                </a:moveTo>
                <a:lnTo>
                  <a:pt x="1" y="0"/>
                </a:lnTo>
                <a:lnTo>
                  <a:pt x="2" y="2"/>
                </a:lnTo>
                <a:lnTo>
                  <a:pt x="5" y="2"/>
                </a:lnTo>
                <a:lnTo>
                  <a:pt x="8" y="2"/>
                </a:lnTo>
                <a:lnTo>
                  <a:pt x="6" y="5"/>
                </a:lnTo>
                <a:lnTo>
                  <a:pt x="5" y="5"/>
                </a:lnTo>
                <a:lnTo>
                  <a:pt x="4" y="3"/>
                </a:lnTo>
                <a:lnTo>
                  <a:pt x="4" y="5"/>
                </a:lnTo>
                <a:lnTo>
                  <a:pt x="1" y="6"/>
                </a:lnTo>
                <a:lnTo>
                  <a:pt x="0" y="3"/>
                </a:lnTo>
                <a:lnTo>
                  <a:pt x="1" y="2"/>
                </a:lnTo>
                <a:lnTo>
                  <a:pt x="0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24" name="Freeform 423"/>
          <p:cNvSpPr>
            <a:spLocks/>
          </p:cNvSpPr>
          <p:nvPr/>
        </p:nvSpPr>
        <p:spPr bwMode="auto">
          <a:xfrm>
            <a:off x="9891661" y="4412984"/>
            <a:ext cx="13640" cy="10737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1" y="0"/>
              </a:cxn>
              <a:cxn ang="0">
                <a:pos x="2" y="2"/>
              </a:cxn>
              <a:cxn ang="0">
                <a:pos x="5" y="2"/>
              </a:cxn>
              <a:cxn ang="0">
                <a:pos x="8" y="2"/>
              </a:cxn>
              <a:cxn ang="0">
                <a:pos x="6" y="5"/>
              </a:cxn>
              <a:cxn ang="0">
                <a:pos x="5" y="5"/>
              </a:cxn>
              <a:cxn ang="0">
                <a:pos x="4" y="3"/>
              </a:cxn>
              <a:cxn ang="0">
                <a:pos x="4" y="5"/>
              </a:cxn>
              <a:cxn ang="0">
                <a:pos x="1" y="6"/>
              </a:cxn>
              <a:cxn ang="0">
                <a:pos x="0" y="3"/>
              </a:cxn>
              <a:cxn ang="0">
                <a:pos x="1" y="2"/>
              </a:cxn>
              <a:cxn ang="0">
                <a:pos x="0" y="2"/>
              </a:cxn>
            </a:cxnLst>
            <a:rect l="0" t="0" r="r" b="b"/>
            <a:pathLst>
              <a:path w="8" h="6">
                <a:moveTo>
                  <a:pt x="0" y="2"/>
                </a:moveTo>
                <a:lnTo>
                  <a:pt x="1" y="0"/>
                </a:lnTo>
                <a:lnTo>
                  <a:pt x="2" y="2"/>
                </a:lnTo>
                <a:lnTo>
                  <a:pt x="5" y="2"/>
                </a:lnTo>
                <a:lnTo>
                  <a:pt x="8" y="2"/>
                </a:lnTo>
                <a:lnTo>
                  <a:pt x="6" y="5"/>
                </a:lnTo>
                <a:lnTo>
                  <a:pt x="5" y="5"/>
                </a:lnTo>
                <a:lnTo>
                  <a:pt x="4" y="3"/>
                </a:lnTo>
                <a:lnTo>
                  <a:pt x="4" y="5"/>
                </a:lnTo>
                <a:lnTo>
                  <a:pt x="1" y="6"/>
                </a:lnTo>
                <a:lnTo>
                  <a:pt x="0" y="3"/>
                </a:lnTo>
                <a:lnTo>
                  <a:pt x="1" y="2"/>
                </a:lnTo>
                <a:lnTo>
                  <a:pt x="0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25" name="Freeform 424"/>
          <p:cNvSpPr>
            <a:spLocks/>
          </p:cNvSpPr>
          <p:nvPr/>
        </p:nvSpPr>
        <p:spPr bwMode="auto">
          <a:xfrm>
            <a:off x="9977408" y="4389358"/>
            <a:ext cx="3898" cy="1073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0"/>
              </a:cxn>
              <a:cxn ang="0">
                <a:pos x="3" y="3"/>
              </a:cxn>
              <a:cxn ang="0">
                <a:pos x="1" y="5"/>
              </a:cxn>
              <a:cxn ang="0">
                <a:pos x="0" y="3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3" h="5">
                <a:moveTo>
                  <a:pt x="0" y="0"/>
                </a:moveTo>
                <a:lnTo>
                  <a:pt x="1" y="0"/>
                </a:lnTo>
                <a:lnTo>
                  <a:pt x="3" y="3"/>
                </a:lnTo>
                <a:lnTo>
                  <a:pt x="1" y="5"/>
                </a:lnTo>
                <a:lnTo>
                  <a:pt x="0" y="3"/>
                </a:ln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26" name="Freeform 425"/>
          <p:cNvSpPr>
            <a:spLocks/>
          </p:cNvSpPr>
          <p:nvPr/>
        </p:nvSpPr>
        <p:spPr bwMode="auto">
          <a:xfrm>
            <a:off x="9977408" y="4389358"/>
            <a:ext cx="3898" cy="1073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0"/>
              </a:cxn>
              <a:cxn ang="0">
                <a:pos x="3" y="3"/>
              </a:cxn>
              <a:cxn ang="0">
                <a:pos x="1" y="5"/>
              </a:cxn>
              <a:cxn ang="0">
                <a:pos x="0" y="3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3" h="5">
                <a:moveTo>
                  <a:pt x="0" y="0"/>
                </a:moveTo>
                <a:lnTo>
                  <a:pt x="1" y="0"/>
                </a:lnTo>
                <a:lnTo>
                  <a:pt x="3" y="3"/>
                </a:lnTo>
                <a:lnTo>
                  <a:pt x="1" y="5"/>
                </a:lnTo>
                <a:lnTo>
                  <a:pt x="0" y="3"/>
                </a:lnTo>
                <a:lnTo>
                  <a:pt x="0" y="2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27" name="Freeform 426"/>
          <p:cNvSpPr>
            <a:spLocks/>
          </p:cNvSpPr>
          <p:nvPr/>
        </p:nvSpPr>
        <p:spPr bwMode="auto">
          <a:xfrm>
            <a:off x="9989101" y="4430165"/>
            <a:ext cx="13640" cy="10737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0"/>
              </a:cxn>
              <a:cxn ang="0">
                <a:pos x="5" y="0"/>
              </a:cxn>
              <a:cxn ang="0">
                <a:pos x="6" y="3"/>
              </a:cxn>
              <a:cxn ang="0">
                <a:pos x="6" y="5"/>
              </a:cxn>
              <a:cxn ang="0">
                <a:pos x="2" y="6"/>
              </a:cxn>
              <a:cxn ang="0">
                <a:pos x="0" y="2"/>
              </a:cxn>
            </a:cxnLst>
            <a:rect l="0" t="0" r="r" b="b"/>
            <a:pathLst>
              <a:path w="6" h="6">
                <a:moveTo>
                  <a:pt x="0" y="2"/>
                </a:moveTo>
                <a:lnTo>
                  <a:pt x="2" y="0"/>
                </a:lnTo>
                <a:lnTo>
                  <a:pt x="5" y="0"/>
                </a:lnTo>
                <a:lnTo>
                  <a:pt x="6" y="3"/>
                </a:lnTo>
                <a:lnTo>
                  <a:pt x="6" y="5"/>
                </a:lnTo>
                <a:lnTo>
                  <a:pt x="2" y="6"/>
                </a:lnTo>
                <a:lnTo>
                  <a:pt x="0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28" name="Freeform 427"/>
          <p:cNvSpPr>
            <a:spLocks/>
          </p:cNvSpPr>
          <p:nvPr/>
        </p:nvSpPr>
        <p:spPr bwMode="auto">
          <a:xfrm>
            <a:off x="9989101" y="4430165"/>
            <a:ext cx="13640" cy="10737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0"/>
              </a:cxn>
              <a:cxn ang="0">
                <a:pos x="5" y="0"/>
              </a:cxn>
              <a:cxn ang="0">
                <a:pos x="6" y="3"/>
              </a:cxn>
              <a:cxn ang="0">
                <a:pos x="6" y="5"/>
              </a:cxn>
              <a:cxn ang="0">
                <a:pos x="2" y="6"/>
              </a:cxn>
              <a:cxn ang="0">
                <a:pos x="0" y="2"/>
              </a:cxn>
            </a:cxnLst>
            <a:rect l="0" t="0" r="r" b="b"/>
            <a:pathLst>
              <a:path w="6" h="6">
                <a:moveTo>
                  <a:pt x="0" y="2"/>
                </a:moveTo>
                <a:lnTo>
                  <a:pt x="2" y="0"/>
                </a:lnTo>
                <a:lnTo>
                  <a:pt x="5" y="0"/>
                </a:lnTo>
                <a:lnTo>
                  <a:pt x="6" y="3"/>
                </a:lnTo>
                <a:lnTo>
                  <a:pt x="6" y="5"/>
                </a:lnTo>
                <a:lnTo>
                  <a:pt x="2" y="6"/>
                </a:lnTo>
                <a:lnTo>
                  <a:pt x="0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29" name="Freeform 428"/>
          <p:cNvSpPr>
            <a:spLocks/>
          </p:cNvSpPr>
          <p:nvPr/>
        </p:nvSpPr>
        <p:spPr bwMode="auto">
          <a:xfrm>
            <a:off x="10016385" y="4434460"/>
            <a:ext cx="66259" cy="75166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4" y="5"/>
              </a:cxn>
              <a:cxn ang="0">
                <a:pos x="7" y="6"/>
              </a:cxn>
              <a:cxn ang="0">
                <a:pos x="9" y="8"/>
              </a:cxn>
              <a:cxn ang="0">
                <a:pos x="15" y="11"/>
              </a:cxn>
              <a:cxn ang="0">
                <a:pos x="17" y="13"/>
              </a:cxn>
              <a:cxn ang="0">
                <a:pos x="20" y="14"/>
              </a:cxn>
              <a:cxn ang="0">
                <a:pos x="21" y="17"/>
              </a:cxn>
              <a:cxn ang="0">
                <a:pos x="25" y="21"/>
              </a:cxn>
              <a:cxn ang="0">
                <a:pos x="27" y="22"/>
              </a:cxn>
              <a:cxn ang="0">
                <a:pos x="28" y="24"/>
              </a:cxn>
              <a:cxn ang="0">
                <a:pos x="32" y="25"/>
              </a:cxn>
              <a:cxn ang="0">
                <a:pos x="33" y="30"/>
              </a:cxn>
              <a:cxn ang="0">
                <a:pos x="35" y="32"/>
              </a:cxn>
              <a:cxn ang="0">
                <a:pos x="35" y="33"/>
              </a:cxn>
              <a:cxn ang="0">
                <a:pos x="33" y="36"/>
              </a:cxn>
              <a:cxn ang="0">
                <a:pos x="32" y="39"/>
              </a:cxn>
              <a:cxn ang="0">
                <a:pos x="29" y="39"/>
              </a:cxn>
              <a:cxn ang="0">
                <a:pos x="28" y="32"/>
              </a:cxn>
              <a:cxn ang="0">
                <a:pos x="25" y="24"/>
              </a:cxn>
              <a:cxn ang="0">
                <a:pos x="23" y="19"/>
              </a:cxn>
              <a:cxn ang="0">
                <a:pos x="21" y="16"/>
              </a:cxn>
              <a:cxn ang="0">
                <a:pos x="17" y="16"/>
              </a:cxn>
              <a:cxn ang="0">
                <a:pos x="15" y="14"/>
              </a:cxn>
              <a:cxn ang="0">
                <a:pos x="12" y="11"/>
              </a:cxn>
              <a:cxn ang="0">
                <a:pos x="11" y="11"/>
              </a:cxn>
              <a:cxn ang="0">
                <a:pos x="8" y="8"/>
              </a:cxn>
              <a:cxn ang="0">
                <a:pos x="7" y="8"/>
              </a:cxn>
              <a:cxn ang="0">
                <a:pos x="1" y="3"/>
              </a:cxn>
              <a:cxn ang="0">
                <a:pos x="0" y="3"/>
              </a:cxn>
              <a:cxn ang="0">
                <a:pos x="0" y="2"/>
              </a:cxn>
            </a:cxnLst>
            <a:rect l="0" t="0" r="r" b="b"/>
            <a:pathLst>
              <a:path w="35" h="39">
                <a:moveTo>
                  <a:pt x="0" y="2"/>
                </a:moveTo>
                <a:lnTo>
                  <a:pt x="0" y="0"/>
                </a:lnTo>
                <a:lnTo>
                  <a:pt x="4" y="5"/>
                </a:lnTo>
                <a:lnTo>
                  <a:pt x="7" y="6"/>
                </a:lnTo>
                <a:lnTo>
                  <a:pt x="9" y="8"/>
                </a:lnTo>
                <a:lnTo>
                  <a:pt x="15" y="11"/>
                </a:lnTo>
                <a:lnTo>
                  <a:pt x="17" y="13"/>
                </a:lnTo>
                <a:lnTo>
                  <a:pt x="20" y="14"/>
                </a:lnTo>
                <a:lnTo>
                  <a:pt x="21" y="17"/>
                </a:lnTo>
                <a:lnTo>
                  <a:pt x="25" y="21"/>
                </a:lnTo>
                <a:lnTo>
                  <a:pt x="27" y="22"/>
                </a:lnTo>
                <a:lnTo>
                  <a:pt x="28" y="24"/>
                </a:lnTo>
                <a:lnTo>
                  <a:pt x="32" y="25"/>
                </a:lnTo>
                <a:lnTo>
                  <a:pt x="33" y="30"/>
                </a:lnTo>
                <a:lnTo>
                  <a:pt x="35" y="32"/>
                </a:lnTo>
                <a:lnTo>
                  <a:pt x="35" y="33"/>
                </a:lnTo>
                <a:lnTo>
                  <a:pt x="33" y="36"/>
                </a:lnTo>
                <a:lnTo>
                  <a:pt x="32" y="39"/>
                </a:lnTo>
                <a:lnTo>
                  <a:pt x="29" y="39"/>
                </a:lnTo>
                <a:lnTo>
                  <a:pt x="28" y="32"/>
                </a:lnTo>
                <a:lnTo>
                  <a:pt x="25" y="24"/>
                </a:lnTo>
                <a:lnTo>
                  <a:pt x="23" y="19"/>
                </a:lnTo>
                <a:lnTo>
                  <a:pt x="21" y="16"/>
                </a:lnTo>
                <a:lnTo>
                  <a:pt x="17" y="16"/>
                </a:lnTo>
                <a:lnTo>
                  <a:pt x="15" y="14"/>
                </a:lnTo>
                <a:lnTo>
                  <a:pt x="12" y="11"/>
                </a:lnTo>
                <a:lnTo>
                  <a:pt x="11" y="11"/>
                </a:lnTo>
                <a:lnTo>
                  <a:pt x="8" y="8"/>
                </a:lnTo>
                <a:lnTo>
                  <a:pt x="7" y="8"/>
                </a:lnTo>
                <a:lnTo>
                  <a:pt x="1" y="3"/>
                </a:lnTo>
                <a:lnTo>
                  <a:pt x="0" y="3"/>
                </a:lnTo>
                <a:lnTo>
                  <a:pt x="0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30" name="Freeform 429"/>
          <p:cNvSpPr>
            <a:spLocks/>
          </p:cNvSpPr>
          <p:nvPr/>
        </p:nvSpPr>
        <p:spPr bwMode="auto">
          <a:xfrm>
            <a:off x="10016385" y="4434460"/>
            <a:ext cx="66259" cy="75166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4" y="5"/>
              </a:cxn>
              <a:cxn ang="0">
                <a:pos x="7" y="6"/>
              </a:cxn>
              <a:cxn ang="0">
                <a:pos x="9" y="8"/>
              </a:cxn>
              <a:cxn ang="0">
                <a:pos x="15" y="11"/>
              </a:cxn>
              <a:cxn ang="0">
                <a:pos x="17" y="13"/>
              </a:cxn>
              <a:cxn ang="0">
                <a:pos x="20" y="14"/>
              </a:cxn>
              <a:cxn ang="0">
                <a:pos x="21" y="17"/>
              </a:cxn>
              <a:cxn ang="0">
                <a:pos x="25" y="21"/>
              </a:cxn>
              <a:cxn ang="0">
                <a:pos x="27" y="22"/>
              </a:cxn>
              <a:cxn ang="0">
                <a:pos x="28" y="24"/>
              </a:cxn>
              <a:cxn ang="0">
                <a:pos x="32" y="25"/>
              </a:cxn>
              <a:cxn ang="0">
                <a:pos x="33" y="30"/>
              </a:cxn>
              <a:cxn ang="0">
                <a:pos x="35" y="32"/>
              </a:cxn>
              <a:cxn ang="0">
                <a:pos x="35" y="33"/>
              </a:cxn>
              <a:cxn ang="0">
                <a:pos x="33" y="36"/>
              </a:cxn>
              <a:cxn ang="0">
                <a:pos x="32" y="39"/>
              </a:cxn>
              <a:cxn ang="0">
                <a:pos x="29" y="39"/>
              </a:cxn>
              <a:cxn ang="0">
                <a:pos x="28" y="32"/>
              </a:cxn>
              <a:cxn ang="0">
                <a:pos x="25" y="24"/>
              </a:cxn>
              <a:cxn ang="0">
                <a:pos x="23" y="19"/>
              </a:cxn>
              <a:cxn ang="0">
                <a:pos x="21" y="16"/>
              </a:cxn>
              <a:cxn ang="0">
                <a:pos x="17" y="16"/>
              </a:cxn>
              <a:cxn ang="0">
                <a:pos x="15" y="14"/>
              </a:cxn>
              <a:cxn ang="0">
                <a:pos x="12" y="11"/>
              </a:cxn>
              <a:cxn ang="0">
                <a:pos x="11" y="11"/>
              </a:cxn>
              <a:cxn ang="0">
                <a:pos x="8" y="8"/>
              </a:cxn>
              <a:cxn ang="0">
                <a:pos x="7" y="8"/>
              </a:cxn>
              <a:cxn ang="0">
                <a:pos x="1" y="3"/>
              </a:cxn>
              <a:cxn ang="0">
                <a:pos x="0" y="3"/>
              </a:cxn>
              <a:cxn ang="0">
                <a:pos x="0" y="2"/>
              </a:cxn>
            </a:cxnLst>
            <a:rect l="0" t="0" r="r" b="b"/>
            <a:pathLst>
              <a:path w="35" h="39">
                <a:moveTo>
                  <a:pt x="0" y="2"/>
                </a:moveTo>
                <a:lnTo>
                  <a:pt x="0" y="0"/>
                </a:lnTo>
                <a:lnTo>
                  <a:pt x="4" y="5"/>
                </a:lnTo>
                <a:lnTo>
                  <a:pt x="7" y="6"/>
                </a:lnTo>
                <a:lnTo>
                  <a:pt x="9" y="8"/>
                </a:lnTo>
                <a:lnTo>
                  <a:pt x="15" y="11"/>
                </a:lnTo>
                <a:lnTo>
                  <a:pt x="17" y="13"/>
                </a:lnTo>
                <a:lnTo>
                  <a:pt x="20" y="14"/>
                </a:lnTo>
                <a:lnTo>
                  <a:pt x="21" y="17"/>
                </a:lnTo>
                <a:lnTo>
                  <a:pt x="25" y="21"/>
                </a:lnTo>
                <a:lnTo>
                  <a:pt x="27" y="22"/>
                </a:lnTo>
                <a:lnTo>
                  <a:pt x="28" y="24"/>
                </a:lnTo>
                <a:lnTo>
                  <a:pt x="32" y="25"/>
                </a:lnTo>
                <a:lnTo>
                  <a:pt x="33" y="30"/>
                </a:lnTo>
                <a:lnTo>
                  <a:pt x="35" y="32"/>
                </a:lnTo>
                <a:lnTo>
                  <a:pt x="35" y="33"/>
                </a:lnTo>
                <a:lnTo>
                  <a:pt x="33" y="36"/>
                </a:lnTo>
                <a:lnTo>
                  <a:pt x="32" y="39"/>
                </a:lnTo>
                <a:lnTo>
                  <a:pt x="29" y="39"/>
                </a:lnTo>
                <a:lnTo>
                  <a:pt x="28" y="32"/>
                </a:lnTo>
                <a:lnTo>
                  <a:pt x="25" y="24"/>
                </a:lnTo>
                <a:lnTo>
                  <a:pt x="23" y="19"/>
                </a:lnTo>
                <a:lnTo>
                  <a:pt x="21" y="16"/>
                </a:lnTo>
                <a:lnTo>
                  <a:pt x="17" y="16"/>
                </a:lnTo>
                <a:lnTo>
                  <a:pt x="15" y="14"/>
                </a:lnTo>
                <a:lnTo>
                  <a:pt x="12" y="11"/>
                </a:lnTo>
                <a:lnTo>
                  <a:pt x="11" y="11"/>
                </a:lnTo>
                <a:lnTo>
                  <a:pt x="8" y="8"/>
                </a:lnTo>
                <a:lnTo>
                  <a:pt x="7" y="8"/>
                </a:lnTo>
                <a:lnTo>
                  <a:pt x="1" y="3"/>
                </a:lnTo>
                <a:lnTo>
                  <a:pt x="0" y="3"/>
                </a:lnTo>
                <a:lnTo>
                  <a:pt x="0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31" name="Freeform 430"/>
          <p:cNvSpPr>
            <a:spLocks/>
          </p:cNvSpPr>
          <p:nvPr/>
        </p:nvSpPr>
        <p:spPr bwMode="auto">
          <a:xfrm>
            <a:off x="9905302" y="4531102"/>
            <a:ext cx="5847" cy="644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0"/>
              </a:cxn>
              <a:cxn ang="0">
                <a:pos x="2" y="1"/>
              </a:cxn>
              <a:cxn ang="0">
                <a:pos x="1" y="3"/>
              </a:cxn>
              <a:cxn ang="0">
                <a:pos x="0" y="3"/>
              </a:cxn>
              <a:cxn ang="0">
                <a:pos x="0" y="1"/>
              </a:cxn>
              <a:cxn ang="0">
                <a:pos x="0" y="0"/>
              </a:cxn>
            </a:cxnLst>
            <a:rect l="0" t="0" r="r" b="b"/>
            <a:pathLst>
              <a:path w="2" h="3">
                <a:moveTo>
                  <a:pt x="0" y="0"/>
                </a:moveTo>
                <a:lnTo>
                  <a:pt x="1" y="0"/>
                </a:lnTo>
                <a:lnTo>
                  <a:pt x="2" y="1"/>
                </a:lnTo>
                <a:lnTo>
                  <a:pt x="1" y="3"/>
                </a:lnTo>
                <a:lnTo>
                  <a:pt x="0" y="3"/>
                </a:ln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32" name="Freeform 431"/>
          <p:cNvSpPr>
            <a:spLocks/>
          </p:cNvSpPr>
          <p:nvPr/>
        </p:nvSpPr>
        <p:spPr bwMode="auto">
          <a:xfrm>
            <a:off x="9905302" y="4531102"/>
            <a:ext cx="5847" cy="644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0"/>
              </a:cxn>
              <a:cxn ang="0">
                <a:pos x="2" y="1"/>
              </a:cxn>
              <a:cxn ang="0">
                <a:pos x="1" y="3"/>
              </a:cxn>
              <a:cxn ang="0">
                <a:pos x="0" y="3"/>
              </a:cxn>
              <a:cxn ang="0">
                <a:pos x="0" y="1"/>
              </a:cxn>
              <a:cxn ang="0">
                <a:pos x="0" y="0"/>
              </a:cxn>
            </a:cxnLst>
            <a:rect l="0" t="0" r="r" b="b"/>
            <a:pathLst>
              <a:path w="2" h="3">
                <a:moveTo>
                  <a:pt x="0" y="0"/>
                </a:moveTo>
                <a:lnTo>
                  <a:pt x="1" y="0"/>
                </a:lnTo>
                <a:lnTo>
                  <a:pt x="2" y="1"/>
                </a:lnTo>
                <a:lnTo>
                  <a:pt x="1" y="3"/>
                </a:lnTo>
                <a:lnTo>
                  <a:pt x="0" y="3"/>
                </a:lnTo>
                <a:lnTo>
                  <a:pt x="0" y="1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33" name="Freeform 432"/>
          <p:cNvSpPr>
            <a:spLocks/>
          </p:cNvSpPr>
          <p:nvPr/>
        </p:nvSpPr>
        <p:spPr bwMode="auto">
          <a:xfrm>
            <a:off x="9924789" y="4541840"/>
            <a:ext cx="9745" cy="85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4" y="1"/>
              </a:cxn>
              <a:cxn ang="0">
                <a:pos x="4" y="4"/>
              </a:cxn>
              <a:cxn ang="0">
                <a:pos x="3" y="4"/>
              </a:cxn>
              <a:cxn ang="0">
                <a:pos x="2" y="3"/>
              </a:cxn>
              <a:cxn ang="0">
                <a:pos x="0" y="0"/>
              </a:cxn>
            </a:cxnLst>
            <a:rect l="0" t="0" r="r" b="b"/>
            <a:pathLst>
              <a:path w="4" h="4">
                <a:moveTo>
                  <a:pt x="0" y="0"/>
                </a:moveTo>
                <a:lnTo>
                  <a:pt x="2" y="0"/>
                </a:lnTo>
                <a:lnTo>
                  <a:pt x="4" y="1"/>
                </a:lnTo>
                <a:lnTo>
                  <a:pt x="4" y="4"/>
                </a:lnTo>
                <a:lnTo>
                  <a:pt x="3" y="4"/>
                </a:lnTo>
                <a:lnTo>
                  <a:pt x="2" y="3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34" name="Freeform 433"/>
          <p:cNvSpPr>
            <a:spLocks/>
          </p:cNvSpPr>
          <p:nvPr/>
        </p:nvSpPr>
        <p:spPr bwMode="auto">
          <a:xfrm>
            <a:off x="9924789" y="4541840"/>
            <a:ext cx="9745" cy="85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4" y="1"/>
              </a:cxn>
              <a:cxn ang="0">
                <a:pos x="4" y="4"/>
              </a:cxn>
              <a:cxn ang="0">
                <a:pos x="3" y="4"/>
              </a:cxn>
              <a:cxn ang="0">
                <a:pos x="2" y="3"/>
              </a:cxn>
              <a:cxn ang="0">
                <a:pos x="0" y="0"/>
              </a:cxn>
            </a:cxnLst>
            <a:rect l="0" t="0" r="r" b="b"/>
            <a:pathLst>
              <a:path w="4" h="4">
                <a:moveTo>
                  <a:pt x="0" y="0"/>
                </a:moveTo>
                <a:lnTo>
                  <a:pt x="2" y="0"/>
                </a:lnTo>
                <a:lnTo>
                  <a:pt x="4" y="1"/>
                </a:lnTo>
                <a:lnTo>
                  <a:pt x="4" y="4"/>
                </a:lnTo>
                <a:lnTo>
                  <a:pt x="3" y="4"/>
                </a:lnTo>
                <a:lnTo>
                  <a:pt x="2" y="3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35" name="Freeform 434"/>
          <p:cNvSpPr>
            <a:spLocks/>
          </p:cNvSpPr>
          <p:nvPr/>
        </p:nvSpPr>
        <p:spPr bwMode="auto">
          <a:xfrm>
            <a:off x="9940380" y="4494593"/>
            <a:ext cx="118878" cy="75166"/>
          </a:xfrm>
          <a:custGeom>
            <a:avLst/>
            <a:gdLst/>
            <a:ahLst/>
            <a:cxnLst>
              <a:cxn ang="0">
                <a:pos x="0" y="24"/>
              </a:cxn>
              <a:cxn ang="0">
                <a:pos x="2" y="22"/>
              </a:cxn>
              <a:cxn ang="0">
                <a:pos x="3" y="22"/>
              </a:cxn>
              <a:cxn ang="0">
                <a:pos x="15" y="24"/>
              </a:cxn>
              <a:cxn ang="0">
                <a:pos x="23" y="24"/>
              </a:cxn>
              <a:cxn ang="0">
                <a:pos x="24" y="22"/>
              </a:cxn>
              <a:cxn ang="0">
                <a:pos x="24" y="19"/>
              </a:cxn>
              <a:cxn ang="0">
                <a:pos x="26" y="17"/>
              </a:cxn>
              <a:cxn ang="0">
                <a:pos x="26" y="16"/>
              </a:cxn>
              <a:cxn ang="0">
                <a:pos x="27" y="14"/>
              </a:cxn>
              <a:cxn ang="0">
                <a:pos x="28" y="16"/>
              </a:cxn>
              <a:cxn ang="0">
                <a:pos x="27" y="19"/>
              </a:cxn>
              <a:cxn ang="0">
                <a:pos x="27" y="22"/>
              </a:cxn>
              <a:cxn ang="0">
                <a:pos x="28" y="22"/>
              </a:cxn>
              <a:cxn ang="0">
                <a:pos x="31" y="22"/>
              </a:cxn>
              <a:cxn ang="0">
                <a:pos x="34" y="22"/>
              </a:cxn>
              <a:cxn ang="0">
                <a:pos x="35" y="24"/>
              </a:cxn>
              <a:cxn ang="0">
                <a:pos x="38" y="22"/>
              </a:cxn>
              <a:cxn ang="0">
                <a:pos x="40" y="22"/>
              </a:cxn>
              <a:cxn ang="0">
                <a:pos x="44" y="14"/>
              </a:cxn>
              <a:cxn ang="0">
                <a:pos x="47" y="13"/>
              </a:cxn>
              <a:cxn ang="0">
                <a:pos x="48" y="13"/>
              </a:cxn>
              <a:cxn ang="0">
                <a:pos x="51" y="11"/>
              </a:cxn>
              <a:cxn ang="0">
                <a:pos x="51" y="8"/>
              </a:cxn>
              <a:cxn ang="0">
                <a:pos x="51" y="5"/>
              </a:cxn>
              <a:cxn ang="0">
                <a:pos x="50" y="2"/>
              </a:cxn>
              <a:cxn ang="0">
                <a:pos x="50" y="0"/>
              </a:cxn>
              <a:cxn ang="0">
                <a:pos x="52" y="0"/>
              </a:cxn>
              <a:cxn ang="0">
                <a:pos x="54" y="2"/>
              </a:cxn>
              <a:cxn ang="0">
                <a:pos x="56" y="2"/>
              </a:cxn>
              <a:cxn ang="0">
                <a:pos x="56" y="0"/>
              </a:cxn>
              <a:cxn ang="0">
                <a:pos x="58" y="0"/>
              </a:cxn>
              <a:cxn ang="0">
                <a:pos x="60" y="0"/>
              </a:cxn>
              <a:cxn ang="0">
                <a:pos x="62" y="3"/>
              </a:cxn>
              <a:cxn ang="0">
                <a:pos x="62" y="8"/>
              </a:cxn>
              <a:cxn ang="0">
                <a:pos x="62" y="11"/>
              </a:cxn>
              <a:cxn ang="0">
                <a:pos x="60" y="13"/>
              </a:cxn>
              <a:cxn ang="0">
                <a:pos x="58" y="14"/>
              </a:cxn>
              <a:cxn ang="0">
                <a:pos x="58" y="16"/>
              </a:cxn>
              <a:cxn ang="0">
                <a:pos x="58" y="19"/>
              </a:cxn>
              <a:cxn ang="0">
                <a:pos x="56" y="24"/>
              </a:cxn>
              <a:cxn ang="0">
                <a:pos x="54" y="24"/>
              </a:cxn>
              <a:cxn ang="0">
                <a:pos x="51" y="24"/>
              </a:cxn>
              <a:cxn ang="0">
                <a:pos x="50" y="25"/>
              </a:cxn>
              <a:cxn ang="0">
                <a:pos x="50" y="27"/>
              </a:cxn>
              <a:cxn ang="0">
                <a:pos x="47" y="31"/>
              </a:cxn>
              <a:cxn ang="0">
                <a:pos x="40" y="34"/>
              </a:cxn>
              <a:cxn ang="0">
                <a:pos x="36" y="36"/>
              </a:cxn>
              <a:cxn ang="0">
                <a:pos x="34" y="36"/>
              </a:cxn>
              <a:cxn ang="0">
                <a:pos x="28" y="36"/>
              </a:cxn>
              <a:cxn ang="0">
                <a:pos x="26" y="38"/>
              </a:cxn>
              <a:cxn ang="0">
                <a:pos x="22" y="38"/>
              </a:cxn>
              <a:cxn ang="0">
                <a:pos x="19" y="34"/>
              </a:cxn>
              <a:cxn ang="0">
                <a:pos x="16" y="34"/>
              </a:cxn>
              <a:cxn ang="0">
                <a:pos x="14" y="34"/>
              </a:cxn>
              <a:cxn ang="0">
                <a:pos x="8" y="30"/>
              </a:cxn>
              <a:cxn ang="0">
                <a:pos x="4" y="30"/>
              </a:cxn>
              <a:cxn ang="0">
                <a:pos x="2" y="27"/>
              </a:cxn>
              <a:cxn ang="0">
                <a:pos x="0" y="24"/>
              </a:cxn>
            </a:cxnLst>
            <a:rect l="0" t="0" r="r" b="b"/>
            <a:pathLst>
              <a:path w="62" h="38">
                <a:moveTo>
                  <a:pt x="0" y="24"/>
                </a:moveTo>
                <a:lnTo>
                  <a:pt x="2" y="22"/>
                </a:lnTo>
                <a:lnTo>
                  <a:pt x="3" y="22"/>
                </a:lnTo>
                <a:lnTo>
                  <a:pt x="15" y="24"/>
                </a:lnTo>
                <a:lnTo>
                  <a:pt x="23" y="24"/>
                </a:lnTo>
                <a:lnTo>
                  <a:pt x="24" y="22"/>
                </a:lnTo>
                <a:lnTo>
                  <a:pt x="24" y="19"/>
                </a:lnTo>
                <a:lnTo>
                  <a:pt x="26" y="17"/>
                </a:lnTo>
                <a:lnTo>
                  <a:pt x="26" y="16"/>
                </a:lnTo>
                <a:lnTo>
                  <a:pt x="27" y="14"/>
                </a:lnTo>
                <a:lnTo>
                  <a:pt x="28" y="16"/>
                </a:lnTo>
                <a:lnTo>
                  <a:pt x="27" y="19"/>
                </a:lnTo>
                <a:lnTo>
                  <a:pt x="27" y="22"/>
                </a:lnTo>
                <a:lnTo>
                  <a:pt x="28" y="22"/>
                </a:lnTo>
                <a:lnTo>
                  <a:pt x="31" y="22"/>
                </a:lnTo>
                <a:lnTo>
                  <a:pt x="34" y="22"/>
                </a:lnTo>
                <a:lnTo>
                  <a:pt x="35" y="24"/>
                </a:lnTo>
                <a:lnTo>
                  <a:pt x="38" y="22"/>
                </a:lnTo>
                <a:lnTo>
                  <a:pt x="40" y="22"/>
                </a:lnTo>
                <a:lnTo>
                  <a:pt x="44" y="14"/>
                </a:lnTo>
                <a:lnTo>
                  <a:pt x="47" y="13"/>
                </a:lnTo>
                <a:lnTo>
                  <a:pt x="48" y="13"/>
                </a:lnTo>
                <a:lnTo>
                  <a:pt x="51" y="11"/>
                </a:lnTo>
                <a:lnTo>
                  <a:pt x="51" y="8"/>
                </a:lnTo>
                <a:lnTo>
                  <a:pt x="51" y="5"/>
                </a:lnTo>
                <a:lnTo>
                  <a:pt x="50" y="2"/>
                </a:lnTo>
                <a:lnTo>
                  <a:pt x="50" y="0"/>
                </a:lnTo>
                <a:lnTo>
                  <a:pt x="52" y="0"/>
                </a:lnTo>
                <a:lnTo>
                  <a:pt x="54" y="2"/>
                </a:lnTo>
                <a:lnTo>
                  <a:pt x="56" y="2"/>
                </a:lnTo>
                <a:lnTo>
                  <a:pt x="56" y="0"/>
                </a:lnTo>
                <a:lnTo>
                  <a:pt x="58" y="0"/>
                </a:lnTo>
                <a:lnTo>
                  <a:pt x="60" y="0"/>
                </a:lnTo>
                <a:lnTo>
                  <a:pt x="62" y="3"/>
                </a:lnTo>
                <a:lnTo>
                  <a:pt x="62" y="8"/>
                </a:lnTo>
                <a:lnTo>
                  <a:pt x="62" y="11"/>
                </a:lnTo>
                <a:lnTo>
                  <a:pt x="60" y="13"/>
                </a:lnTo>
                <a:lnTo>
                  <a:pt x="58" y="14"/>
                </a:lnTo>
                <a:lnTo>
                  <a:pt x="58" y="16"/>
                </a:lnTo>
                <a:lnTo>
                  <a:pt x="58" y="19"/>
                </a:lnTo>
                <a:lnTo>
                  <a:pt x="56" y="24"/>
                </a:lnTo>
                <a:lnTo>
                  <a:pt x="54" y="24"/>
                </a:lnTo>
                <a:lnTo>
                  <a:pt x="51" y="24"/>
                </a:lnTo>
                <a:lnTo>
                  <a:pt x="50" y="25"/>
                </a:lnTo>
                <a:lnTo>
                  <a:pt x="50" y="27"/>
                </a:lnTo>
                <a:lnTo>
                  <a:pt x="47" y="31"/>
                </a:lnTo>
                <a:lnTo>
                  <a:pt x="40" y="34"/>
                </a:lnTo>
                <a:lnTo>
                  <a:pt x="36" y="36"/>
                </a:lnTo>
                <a:lnTo>
                  <a:pt x="34" y="36"/>
                </a:lnTo>
                <a:lnTo>
                  <a:pt x="28" y="36"/>
                </a:lnTo>
                <a:lnTo>
                  <a:pt x="26" y="38"/>
                </a:lnTo>
                <a:lnTo>
                  <a:pt x="22" y="38"/>
                </a:lnTo>
                <a:lnTo>
                  <a:pt x="19" y="34"/>
                </a:lnTo>
                <a:lnTo>
                  <a:pt x="16" y="34"/>
                </a:lnTo>
                <a:lnTo>
                  <a:pt x="14" y="34"/>
                </a:lnTo>
                <a:lnTo>
                  <a:pt x="8" y="30"/>
                </a:lnTo>
                <a:lnTo>
                  <a:pt x="4" y="30"/>
                </a:lnTo>
                <a:lnTo>
                  <a:pt x="2" y="27"/>
                </a:lnTo>
                <a:lnTo>
                  <a:pt x="0" y="24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36" name="Freeform 435"/>
          <p:cNvSpPr>
            <a:spLocks/>
          </p:cNvSpPr>
          <p:nvPr/>
        </p:nvSpPr>
        <p:spPr bwMode="auto">
          <a:xfrm>
            <a:off x="9940380" y="4494593"/>
            <a:ext cx="118878" cy="75166"/>
          </a:xfrm>
          <a:custGeom>
            <a:avLst/>
            <a:gdLst/>
            <a:ahLst/>
            <a:cxnLst>
              <a:cxn ang="0">
                <a:pos x="0" y="24"/>
              </a:cxn>
              <a:cxn ang="0">
                <a:pos x="2" y="22"/>
              </a:cxn>
              <a:cxn ang="0">
                <a:pos x="3" y="22"/>
              </a:cxn>
              <a:cxn ang="0">
                <a:pos x="15" y="24"/>
              </a:cxn>
              <a:cxn ang="0">
                <a:pos x="23" y="24"/>
              </a:cxn>
              <a:cxn ang="0">
                <a:pos x="24" y="22"/>
              </a:cxn>
              <a:cxn ang="0">
                <a:pos x="24" y="19"/>
              </a:cxn>
              <a:cxn ang="0">
                <a:pos x="26" y="17"/>
              </a:cxn>
              <a:cxn ang="0">
                <a:pos x="26" y="16"/>
              </a:cxn>
              <a:cxn ang="0">
                <a:pos x="27" y="14"/>
              </a:cxn>
              <a:cxn ang="0">
                <a:pos x="28" y="16"/>
              </a:cxn>
              <a:cxn ang="0">
                <a:pos x="27" y="19"/>
              </a:cxn>
              <a:cxn ang="0">
                <a:pos x="27" y="22"/>
              </a:cxn>
              <a:cxn ang="0">
                <a:pos x="28" y="22"/>
              </a:cxn>
              <a:cxn ang="0">
                <a:pos x="31" y="22"/>
              </a:cxn>
              <a:cxn ang="0">
                <a:pos x="34" y="22"/>
              </a:cxn>
              <a:cxn ang="0">
                <a:pos x="35" y="24"/>
              </a:cxn>
              <a:cxn ang="0">
                <a:pos x="38" y="22"/>
              </a:cxn>
              <a:cxn ang="0">
                <a:pos x="40" y="22"/>
              </a:cxn>
              <a:cxn ang="0">
                <a:pos x="44" y="14"/>
              </a:cxn>
              <a:cxn ang="0">
                <a:pos x="47" y="13"/>
              </a:cxn>
              <a:cxn ang="0">
                <a:pos x="48" y="13"/>
              </a:cxn>
              <a:cxn ang="0">
                <a:pos x="51" y="11"/>
              </a:cxn>
              <a:cxn ang="0">
                <a:pos x="51" y="8"/>
              </a:cxn>
              <a:cxn ang="0">
                <a:pos x="51" y="5"/>
              </a:cxn>
              <a:cxn ang="0">
                <a:pos x="50" y="2"/>
              </a:cxn>
              <a:cxn ang="0">
                <a:pos x="50" y="0"/>
              </a:cxn>
              <a:cxn ang="0">
                <a:pos x="52" y="0"/>
              </a:cxn>
              <a:cxn ang="0">
                <a:pos x="54" y="2"/>
              </a:cxn>
              <a:cxn ang="0">
                <a:pos x="56" y="2"/>
              </a:cxn>
              <a:cxn ang="0">
                <a:pos x="56" y="0"/>
              </a:cxn>
              <a:cxn ang="0">
                <a:pos x="58" y="0"/>
              </a:cxn>
              <a:cxn ang="0">
                <a:pos x="60" y="0"/>
              </a:cxn>
              <a:cxn ang="0">
                <a:pos x="62" y="3"/>
              </a:cxn>
              <a:cxn ang="0">
                <a:pos x="62" y="8"/>
              </a:cxn>
              <a:cxn ang="0">
                <a:pos x="62" y="11"/>
              </a:cxn>
              <a:cxn ang="0">
                <a:pos x="60" y="13"/>
              </a:cxn>
              <a:cxn ang="0">
                <a:pos x="58" y="14"/>
              </a:cxn>
              <a:cxn ang="0">
                <a:pos x="58" y="16"/>
              </a:cxn>
              <a:cxn ang="0">
                <a:pos x="58" y="19"/>
              </a:cxn>
              <a:cxn ang="0">
                <a:pos x="56" y="24"/>
              </a:cxn>
              <a:cxn ang="0">
                <a:pos x="54" y="24"/>
              </a:cxn>
              <a:cxn ang="0">
                <a:pos x="51" y="24"/>
              </a:cxn>
              <a:cxn ang="0">
                <a:pos x="50" y="25"/>
              </a:cxn>
              <a:cxn ang="0">
                <a:pos x="50" y="27"/>
              </a:cxn>
              <a:cxn ang="0">
                <a:pos x="47" y="31"/>
              </a:cxn>
              <a:cxn ang="0">
                <a:pos x="40" y="34"/>
              </a:cxn>
              <a:cxn ang="0">
                <a:pos x="36" y="36"/>
              </a:cxn>
              <a:cxn ang="0">
                <a:pos x="34" y="36"/>
              </a:cxn>
              <a:cxn ang="0">
                <a:pos x="28" y="36"/>
              </a:cxn>
              <a:cxn ang="0">
                <a:pos x="26" y="38"/>
              </a:cxn>
              <a:cxn ang="0">
                <a:pos x="22" y="38"/>
              </a:cxn>
              <a:cxn ang="0">
                <a:pos x="19" y="34"/>
              </a:cxn>
              <a:cxn ang="0">
                <a:pos x="16" y="34"/>
              </a:cxn>
              <a:cxn ang="0">
                <a:pos x="14" y="34"/>
              </a:cxn>
              <a:cxn ang="0">
                <a:pos x="8" y="30"/>
              </a:cxn>
              <a:cxn ang="0">
                <a:pos x="4" y="30"/>
              </a:cxn>
              <a:cxn ang="0">
                <a:pos x="2" y="27"/>
              </a:cxn>
              <a:cxn ang="0">
                <a:pos x="0" y="24"/>
              </a:cxn>
            </a:cxnLst>
            <a:rect l="0" t="0" r="r" b="b"/>
            <a:pathLst>
              <a:path w="62" h="38">
                <a:moveTo>
                  <a:pt x="0" y="24"/>
                </a:moveTo>
                <a:lnTo>
                  <a:pt x="2" y="22"/>
                </a:lnTo>
                <a:lnTo>
                  <a:pt x="3" y="22"/>
                </a:lnTo>
                <a:lnTo>
                  <a:pt x="15" y="24"/>
                </a:lnTo>
                <a:lnTo>
                  <a:pt x="23" y="24"/>
                </a:lnTo>
                <a:lnTo>
                  <a:pt x="24" y="22"/>
                </a:lnTo>
                <a:lnTo>
                  <a:pt x="24" y="19"/>
                </a:lnTo>
                <a:lnTo>
                  <a:pt x="26" y="17"/>
                </a:lnTo>
                <a:lnTo>
                  <a:pt x="26" y="16"/>
                </a:lnTo>
                <a:lnTo>
                  <a:pt x="27" y="14"/>
                </a:lnTo>
                <a:lnTo>
                  <a:pt x="28" y="16"/>
                </a:lnTo>
                <a:lnTo>
                  <a:pt x="27" y="19"/>
                </a:lnTo>
                <a:lnTo>
                  <a:pt x="27" y="22"/>
                </a:lnTo>
                <a:lnTo>
                  <a:pt x="28" y="22"/>
                </a:lnTo>
                <a:lnTo>
                  <a:pt x="31" y="22"/>
                </a:lnTo>
                <a:lnTo>
                  <a:pt x="34" y="22"/>
                </a:lnTo>
                <a:lnTo>
                  <a:pt x="35" y="24"/>
                </a:lnTo>
                <a:lnTo>
                  <a:pt x="38" y="22"/>
                </a:lnTo>
                <a:lnTo>
                  <a:pt x="40" y="22"/>
                </a:lnTo>
                <a:lnTo>
                  <a:pt x="44" y="14"/>
                </a:lnTo>
                <a:lnTo>
                  <a:pt x="47" y="13"/>
                </a:lnTo>
                <a:lnTo>
                  <a:pt x="48" y="13"/>
                </a:lnTo>
                <a:lnTo>
                  <a:pt x="51" y="11"/>
                </a:lnTo>
                <a:lnTo>
                  <a:pt x="51" y="8"/>
                </a:lnTo>
                <a:lnTo>
                  <a:pt x="51" y="5"/>
                </a:lnTo>
                <a:lnTo>
                  <a:pt x="50" y="2"/>
                </a:lnTo>
                <a:lnTo>
                  <a:pt x="50" y="0"/>
                </a:lnTo>
                <a:lnTo>
                  <a:pt x="52" y="0"/>
                </a:lnTo>
                <a:lnTo>
                  <a:pt x="54" y="2"/>
                </a:lnTo>
                <a:lnTo>
                  <a:pt x="56" y="2"/>
                </a:lnTo>
                <a:lnTo>
                  <a:pt x="56" y="0"/>
                </a:lnTo>
                <a:lnTo>
                  <a:pt x="58" y="0"/>
                </a:lnTo>
                <a:lnTo>
                  <a:pt x="60" y="0"/>
                </a:lnTo>
                <a:lnTo>
                  <a:pt x="62" y="3"/>
                </a:lnTo>
                <a:lnTo>
                  <a:pt x="62" y="8"/>
                </a:lnTo>
                <a:lnTo>
                  <a:pt x="62" y="11"/>
                </a:lnTo>
                <a:lnTo>
                  <a:pt x="60" y="13"/>
                </a:lnTo>
                <a:lnTo>
                  <a:pt x="58" y="14"/>
                </a:lnTo>
                <a:lnTo>
                  <a:pt x="58" y="16"/>
                </a:lnTo>
                <a:lnTo>
                  <a:pt x="58" y="19"/>
                </a:lnTo>
                <a:lnTo>
                  <a:pt x="56" y="24"/>
                </a:lnTo>
                <a:lnTo>
                  <a:pt x="54" y="24"/>
                </a:lnTo>
                <a:lnTo>
                  <a:pt x="51" y="24"/>
                </a:lnTo>
                <a:lnTo>
                  <a:pt x="50" y="25"/>
                </a:lnTo>
                <a:lnTo>
                  <a:pt x="50" y="27"/>
                </a:lnTo>
                <a:lnTo>
                  <a:pt x="47" y="31"/>
                </a:lnTo>
                <a:lnTo>
                  <a:pt x="40" y="34"/>
                </a:lnTo>
                <a:lnTo>
                  <a:pt x="36" y="36"/>
                </a:lnTo>
                <a:lnTo>
                  <a:pt x="34" y="36"/>
                </a:lnTo>
                <a:lnTo>
                  <a:pt x="28" y="36"/>
                </a:lnTo>
                <a:lnTo>
                  <a:pt x="26" y="38"/>
                </a:lnTo>
                <a:lnTo>
                  <a:pt x="22" y="38"/>
                </a:lnTo>
                <a:lnTo>
                  <a:pt x="19" y="34"/>
                </a:lnTo>
                <a:lnTo>
                  <a:pt x="16" y="34"/>
                </a:lnTo>
                <a:lnTo>
                  <a:pt x="14" y="34"/>
                </a:lnTo>
                <a:lnTo>
                  <a:pt x="8" y="30"/>
                </a:lnTo>
                <a:lnTo>
                  <a:pt x="4" y="30"/>
                </a:lnTo>
                <a:lnTo>
                  <a:pt x="2" y="27"/>
                </a:lnTo>
                <a:lnTo>
                  <a:pt x="0" y="24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37" name="Freeform 436"/>
          <p:cNvSpPr>
            <a:spLocks/>
          </p:cNvSpPr>
          <p:nvPr/>
        </p:nvSpPr>
        <p:spPr bwMode="auto">
          <a:xfrm>
            <a:off x="10004692" y="4674992"/>
            <a:ext cx="13640" cy="10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" y="2"/>
              </a:cxn>
              <a:cxn ang="0">
                <a:pos x="6" y="3"/>
              </a:cxn>
              <a:cxn ang="0">
                <a:pos x="6" y="6"/>
              </a:cxn>
              <a:cxn ang="0">
                <a:pos x="1" y="5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6" h="6">
                <a:moveTo>
                  <a:pt x="0" y="0"/>
                </a:moveTo>
                <a:lnTo>
                  <a:pt x="4" y="2"/>
                </a:lnTo>
                <a:lnTo>
                  <a:pt x="6" y="3"/>
                </a:lnTo>
                <a:lnTo>
                  <a:pt x="6" y="6"/>
                </a:lnTo>
                <a:lnTo>
                  <a:pt x="1" y="5"/>
                </a:ln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38" name="Freeform 437"/>
          <p:cNvSpPr>
            <a:spLocks/>
          </p:cNvSpPr>
          <p:nvPr/>
        </p:nvSpPr>
        <p:spPr bwMode="auto">
          <a:xfrm>
            <a:off x="10004692" y="4674992"/>
            <a:ext cx="13640" cy="10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" y="2"/>
              </a:cxn>
              <a:cxn ang="0">
                <a:pos x="6" y="3"/>
              </a:cxn>
              <a:cxn ang="0">
                <a:pos x="6" y="6"/>
              </a:cxn>
              <a:cxn ang="0">
                <a:pos x="1" y="5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6" h="6">
                <a:moveTo>
                  <a:pt x="0" y="0"/>
                </a:moveTo>
                <a:lnTo>
                  <a:pt x="4" y="2"/>
                </a:lnTo>
                <a:lnTo>
                  <a:pt x="6" y="3"/>
                </a:lnTo>
                <a:lnTo>
                  <a:pt x="6" y="6"/>
                </a:lnTo>
                <a:lnTo>
                  <a:pt x="1" y="5"/>
                </a:lnTo>
                <a:lnTo>
                  <a:pt x="0" y="2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39" name="Freeform 438"/>
          <p:cNvSpPr>
            <a:spLocks/>
          </p:cNvSpPr>
          <p:nvPr/>
        </p:nvSpPr>
        <p:spPr bwMode="auto">
          <a:xfrm>
            <a:off x="10016385" y="4692173"/>
            <a:ext cx="7795" cy="10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" y="3"/>
              </a:cxn>
              <a:cxn ang="0">
                <a:pos x="4" y="3"/>
              </a:cxn>
              <a:cxn ang="0">
                <a:pos x="5" y="3"/>
              </a:cxn>
              <a:cxn ang="0">
                <a:pos x="5" y="6"/>
              </a:cxn>
              <a:cxn ang="0">
                <a:pos x="4" y="6"/>
              </a:cxn>
              <a:cxn ang="0">
                <a:pos x="1" y="3"/>
              </a:cxn>
              <a:cxn ang="0">
                <a:pos x="0" y="0"/>
              </a:cxn>
            </a:cxnLst>
            <a:rect l="0" t="0" r="r" b="b"/>
            <a:pathLst>
              <a:path w="5" h="6">
                <a:moveTo>
                  <a:pt x="0" y="0"/>
                </a:moveTo>
                <a:lnTo>
                  <a:pt x="3" y="3"/>
                </a:lnTo>
                <a:lnTo>
                  <a:pt x="4" y="3"/>
                </a:lnTo>
                <a:lnTo>
                  <a:pt x="5" y="3"/>
                </a:lnTo>
                <a:lnTo>
                  <a:pt x="5" y="6"/>
                </a:lnTo>
                <a:lnTo>
                  <a:pt x="4" y="6"/>
                </a:lnTo>
                <a:lnTo>
                  <a:pt x="1" y="3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40" name="Freeform 439"/>
          <p:cNvSpPr>
            <a:spLocks/>
          </p:cNvSpPr>
          <p:nvPr/>
        </p:nvSpPr>
        <p:spPr bwMode="auto">
          <a:xfrm>
            <a:off x="10016385" y="4692173"/>
            <a:ext cx="7795" cy="10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" y="3"/>
              </a:cxn>
              <a:cxn ang="0">
                <a:pos x="4" y="3"/>
              </a:cxn>
              <a:cxn ang="0">
                <a:pos x="5" y="3"/>
              </a:cxn>
              <a:cxn ang="0">
                <a:pos x="5" y="6"/>
              </a:cxn>
              <a:cxn ang="0">
                <a:pos x="4" y="6"/>
              </a:cxn>
              <a:cxn ang="0">
                <a:pos x="1" y="3"/>
              </a:cxn>
              <a:cxn ang="0">
                <a:pos x="0" y="0"/>
              </a:cxn>
            </a:cxnLst>
            <a:rect l="0" t="0" r="r" b="b"/>
            <a:pathLst>
              <a:path w="5" h="6">
                <a:moveTo>
                  <a:pt x="0" y="0"/>
                </a:moveTo>
                <a:lnTo>
                  <a:pt x="3" y="3"/>
                </a:lnTo>
                <a:lnTo>
                  <a:pt x="4" y="3"/>
                </a:lnTo>
                <a:lnTo>
                  <a:pt x="5" y="3"/>
                </a:lnTo>
                <a:lnTo>
                  <a:pt x="5" y="6"/>
                </a:lnTo>
                <a:lnTo>
                  <a:pt x="4" y="6"/>
                </a:lnTo>
                <a:lnTo>
                  <a:pt x="1" y="3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41" name="Freeform 440"/>
          <p:cNvSpPr>
            <a:spLocks/>
          </p:cNvSpPr>
          <p:nvPr/>
        </p:nvSpPr>
        <p:spPr bwMode="auto">
          <a:xfrm>
            <a:off x="6913872" y="4771634"/>
            <a:ext cx="204626" cy="476770"/>
          </a:xfrm>
          <a:custGeom>
            <a:avLst/>
            <a:gdLst/>
            <a:ahLst/>
            <a:cxnLst>
              <a:cxn ang="0">
                <a:pos x="21" y="73"/>
              </a:cxn>
              <a:cxn ang="0">
                <a:pos x="29" y="68"/>
              </a:cxn>
              <a:cxn ang="0">
                <a:pos x="32" y="68"/>
              </a:cxn>
              <a:cxn ang="0">
                <a:pos x="36" y="65"/>
              </a:cxn>
              <a:cxn ang="0">
                <a:pos x="41" y="63"/>
              </a:cxn>
              <a:cxn ang="0">
                <a:pos x="46" y="69"/>
              </a:cxn>
              <a:cxn ang="0">
                <a:pos x="50" y="66"/>
              </a:cxn>
              <a:cxn ang="0">
                <a:pos x="50" y="57"/>
              </a:cxn>
              <a:cxn ang="0">
                <a:pos x="56" y="60"/>
              </a:cxn>
              <a:cxn ang="0">
                <a:pos x="57" y="54"/>
              </a:cxn>
              <a:cxn ang="0">
                <a:pos x="60" y="47"/>
              </a:cxn>
              <a:cxn ang="0">
                <a:pos x="62" y="51"/>
              </a:cxn>
              <a:cxn ang="0">
                <a:pos x="70" y="44"/>
              </a:cxn>
              <a:cxn ang="0">
                <a:pos x="66" y="40"/>
              </a:cxn>
              <a:cxn ang="0">
                <a:pos x="70" y="36"/>
              </a:cxn>
              <a:cxn ang="0">
                <a:pos x="69" y="25"/>
              </a:cxn>
              <a:cxn ang="0">
                <a:pos x="74" y="30"/>
              </a:cxn>
              <a:cxn ang="0">
                <a:pos x="80" y="22"/>
              </a:cxn>
              <a:cxn ang="0">
                <a:pos x="83" y="8"/>
              </a:cxn>
              <a:cxn ang="0">
                <a:pos x="86" y="2"/>
              </a:cxn>
              <a:cxn ang="0">
                <a:pos x="94" y="8"/>
              </a:cxn>
              <a:cxn ang="0">
                <a:pos x="99" y="19"/>
              </a:cxn>
              <a:cxn ang="0">
                <a:pos x="102" y="33"/>
              </a:cxn>
              <a:cxn ang="0">
                <a:pos x="105" y="49"/>
              </a:cxn>
              <a:cxn ang="0">
                <a:pos x="106" y="63"/>
              </a:cxn>
              <a:cxn ang="0">
                <a:pos x="101" y="63"/>
              </a:cxn>
              <a:cxn ang="0">
                <a:pos x="97" y="66"/>
              </a:cxn>
              <a:cxn ang="0">
                <a:pos x="98" y="79"/>
              </a:cxn>
              <a:cxn ang="0">
                <a:pos x="93" y="90"/>
              </a:cxn>
              <a:cxn ang="0">
                <a:pos x="90" y="115"/>
              </a:cxn>
              <a:cxn ang="0">
                <a:pos x="86" y="127"/>
              </a:cxn>
              <a:cxn ang="0">
                <a:pos x="77" y="159"/>
              </a:cxn>
              <a:cxn ang="0">
                <a:pos x="69" y="189"/>
              </a:cxn>
              <a:cxn ang="0">
                <a:pos x="65" y="212"/>
              </a:cxn>
              <a:cxn ang="0">
                <a:pos x="57" y="226"/>
              </a:cxn>
              <a:cxn ang="0">
                <a:pos x="50" y="231"/>
              </a:cxn>
              <a:cxn ang="0">
                <a:pos x="29" y="239"/>
              </a:cxn>
              <a:cxn ang="0">
                <a:pos x="16" y="230"/>
              </a:cxn>
              <a:cxn ang="0">
                <a:pos x="6" y="215"/>
              </a:cxn>
              <a:cxn ang="0">
                <a:pos x="8" y="203"/>
              </a:cxn>
              <a:cxn ang="0">
                <a:pos x="2" y="192"/>
              </a:cxn>
              <a:cxn ang="0">
                <a:pos x="0" y="178"/>
              </a:cxn>
              <a:cxn ang="0">
                <a:pos x="4" y="165"/>
              </a:cxn>
              <a:cxn ang="0">
                <a:pos x="10" y="153"/>
              </a:cxn>
              <a:cxn ang="0">
                <a:pos x="18" y="137"/>
              </a:cxn>
              <a:cxn ang="0">
                <a:pos x="18" y="129"/>
              </a:cxn>
              <a:cxn ang="0">
                <a:pos x="13" y="110"/>
              </a:cxn>
              <a:cxn ang="0">
                <a:pos x="13" y="88"/>
              </a:cxn>
            </a:cxnLst>
            <a:rect l="0" t="0" r="r" b="b"/>
            <a:pathLst>
              <a:path w="107" h="239">
                <a:moveTo>
                  <a:pt x="17" y="73"/>
                </a:moveTo>
                <a:lnTo>
                  <a:pt x="18" y="71"/>
                </a:lnTo>
                <a:lnTo>
                  <a:pt x="21" y="73"/>
                </a:lnTo>
                <a:lnTo>
                  <a:pt x="25" y="71"/>
                </a:lnTo>
                <a:lnTo>
                  <a:pt x="26" y="69"/>
                </a:lnTo>
                <a:lnTo>
                  <a:pt x="29" y="68"/>
                </a:lnTo>
                <a:lnTo>
                  <a:pt x="29" y="69"/>
                </a:lnTo>
                <a:lnTo>
                  <a:pt x="30" y="71"/>
                </a:lnTo>
                <a:lnTo>
                  <a:pt x="32" y="68"/>
                </a:lnTo>
                <a:lnTo>
                  <a:pt x="34" y="69"/>
                </a:lnTo>
                <a:lnTo>
                  <a:pt x="36" y="66"/>
                </a:lnTo>
                <a:lnTo>
                  <a:pt x="36" y="65"/>
                </a:lnTo>
                <a:lnTo>
                  <a:pt x="38" y="65"/>
                </a:lnTo>
                <a:lnTo>
                  <a:pt x="40" y="65"/>
                </a:lnTo>
                <a:lnTo>
                  <a:pt x="41" y="63"/>
                </a:lnTo>
                <a:lnTo>
                  <a:pt x="44" y="63"/>
                </a:lnTo>
                <a:lnTo>
                  <a:pt x="45" y="68"/>
                </a:lnTo>
                <a:lnTo>
                  <a:pt x="46" y="69"/>
                </a:lnTo>
                <a:lnTo>
                  <a:pt x="49" y="69"/>
                </a:lnTo>
                <a:lnTo>
                  <a:pt x="50" y="69"/>
                </a:lnTo>
                <a:lnTo>
                  <a:pt x="50" y="66"/>
                </a:lnTo>
                <a:lnTo>
                  <a:pt x="46" y="63"/>
                </a:lnTo>
                <a:lnTo>
                  <a:pt x="48" y="62"/>
                </a:lnTo>
                <a:lnTo>
                  <a:pt x="50" y="57"/>
                </a:lnTo>
                <a:lnTo>
                  <a:pt x="53" y="55"/>
                </a:lnTo>
                <a:lnTo>
                  <a:pt x="56" y="55"/>
                </a:lnTo>
                <a:lnTo>
                  <a:pt x="56" y="60"/>
                </a:lnTo>
                <a:lnTo>
                  <a:pt x="58" y="60"/>
                </a:lnTo>
                <a:lnTo>
                  <a:pt x="60" y="58"/>
                </a:lnTo>
                <a:lnTo>
                  <a:pt x="57" y="54"/>
                </a:lnTo>
                <a:lnTo>
                  <a:pt x="58" y="52"/>
                </a:lnTo>
                <a:lnTo>
                  <a:pt x="61" y="47"/>
                </a:lnTo>
                <a:lnTo>
                  <a:pt x="60" y="47"/>
                </a:lnTo>
                <a:lnTo>
                  <a:pt x="62" y="44"/>
                </a:lnTo>
                <a:lnTo>
                  <a:pt x="64" y="47"/>
                </a:lnTo>
                <a:lnTo>
                  <a:pt x="62" y="51"/>
                </a:lnTo>
                <a:lnTo>
                  <a:pt x="66" y="44"/>
                </a:lnTo>
                <a:lnTo>
                  <a:pt x="69" y="44"/>
                </a:lnTo>
                <a:lnTo>
                  <a:pt x="70" y="44"/>
                </a:lnTo>
                <a:lnTo>
                  <a:pt x="70" y="43"/>
                </a:lnTo>
                <a:lnTo>
                  <a:pt x="68" y="43"/>
                </a:lnTo>
                <a:lnTo>
                  <a:pt x="66" y="40"/>
                </a:lnTo>
                <a:lnTo>
                  <a:pt x="66" y="38"/>
                </a:lnTo>
                <a:lnTo>
                  <a:pt x="69" y="35"/>
                </a:lnTo>
                <a:lnTo>
                  <a:pt x="70" y="36"/>
                </a:lnTo>
                <a:lnTo>
                  <a:pt x="70" y="32"/>
                </a:lnTo>
                <a:lnTo>
                  <a:pt x="70" y="30"/>
                </a:lnTo>
                <a:lnTo>
                  <a:pt x="69" y="25"/>
                </a:lnTo>
                <a:lnTo>
                  <a:pt x="70" y="25"/>
                </a:lnTo>
                <a:lnTo>
                  <a:pt x="73" y="25"/>
                </a:lnTo>
                <a:lnTo>
                  <a:pt x="74" y="30"/>
                </a:lnTo>
                <a:lnTo>
                  <a:pt x="77" y="24"/>
                </a:lnTo>
                <a:lnTo>
                  <a:pt x="78" y="21"/>
                </a:lnTo>
                <a:lnTo>
                  <a:pt x="80" y="22"/>
                </a:lnTo>
                <a:lnTo>
                  <a:pt x="82" y="19"/>
                </a:lnTo>
                <a:lnTo>
                  <a:pt x="83" y="14"/>
                </a:lnTo>
                <a:lnTo>
                  <a:pt x="83" y="8"/>
                </a:lnTo>
                <a:lnTo>
                  <a:pt x="82" y="5"/>
                </a:lnTo>
                <a:lnTo>
                  <a:pt x="83" y="5"/>
                </a:lnTo>
                <a:lnTo>
                  <a:pt x="86" y="2"/>
                </a:lnTo>
                <a:lnTo>
                  <a:pt x="89" y="0"/>
                </a:lnTo>
                <a:lnTo>
                  <a:pt x="91" y="3"/>
                </a:lnTo>
                <a:lnTo>
                  <a:pt x="94" y="8"/>
                </a:lnTo>
                <a:lnTo>
                  <a:pt x="97" y="11"/>
                </a:lnTo>
                <a:lnTo>
                  <a:pt x="98" y="14"/>
                </a:lnTo>
                <a:lnTo>
                  <a:pt x="99" y="19"/>
                </a:lnTo>
                <a:lnTo>
                  <a:pt x="99" y="24"/>
                </a:lnTo>
                <a:lnTo>
                  <a:pt x="102" y="29"/>
                </a:lnTo>
                <a:lnTo>
                  <a:pt x="102" y="33"/>
                </a:lnTo>
                <a:lnTo>
                  <a:pt x="103" y="38"/>
                </a:lnTo>
                <a:lnTo>
                  <a:pt x="103" y="43"/>
                </a:lnTo>
                <a:lnTo>
                  <a:pt x="105" y="49"/>
                </a:lnTo>
                <a:lnTo>
                  <a:pt x="106" y="54"/>
                </a:lnTo>
                <a:lnTo>
                  <a:pt x="107" y="58"/>
                </a:lnTo>
                <a:lnTo>
                  <a:pt x="106" y="63"/>
                </a:lnTo>
                <a:lnTo>
                  <a:pt x="105" y="66"/>
                </a:lnTo>
                <a:lnTo>
                  <a:pt x="103" y="66"/>
                </a:lnTo>
                <a:lnTo>
                  <a:pt x="101" y="63"/>
                </a:lnTo>
                <a:lnTo>
                  <a:pt x="99" y="58"/>
                </a:lnTo>
                <a:lnTo>
                  <a:pt x="98" y="58"/>
                </a:lnTo>
                <a:lnTo>
                  <a:pt x="97" y="66"/>
                </a:lnTo>
                <a:lnTo>
                  <a:pt x="97" y="71"/>
                </a:lnTo>
                <a:lnTo>
                  <a:pt x="98" y="74"/>
                </a:lnTo>
                <a:lnTo>
                  <a:pt x="98" y="79"/>
                </a:lnTo>
                <a:lnTo>
                  <a:pt x="97" y="84"/>
                </a:lnTo>
                <a:lnTo>
                  <a:pt x="95" y="85"/>
                </a:lnTo>
                <a:lnTo>
                  <a:pt x="93" y="90"/>
                </a:lnTo>
                <a:lnTo>
                  <a:pt x="93" y="94"/>
                </a:lnTo>
                <a:lnTo>
                  <a:pt x="93" y="99"/>
                </a:lnTo>
                <a:lnTo>
                  <a:pt x="90" y="115"/>
                </a:lnTo>
                <a:lnTo>
                  <a:pt x="87" y="124"/>
                </a:lnTo>
                <a:lnTo>
                  <a:pt x="86" y="124"/>
                </a:lnTo>
                <a:lnTo>
                  <a:pt x="86" y="127"/>
                </a:lnTo>
                <a:lnTo>
                  <a:pt x="82" y="143"/>
                </a:lnTo>
                <a:lnTo>
                  <a:pt x="78" y="153"/>
                </a:lnTo>
                <a:lnTo>
                  <a:pt x="77" y="159"/>
                </a:lnTo>
                <a:lnTo>
                  <a:pt x="74" y="171"/>
                </a:lnTo>
                <a:lnTo>
                  <a:pt x="73" y="176"/>
                </a:lnTo>
                <a:lnTo>
                  <a:pt x="69" y="189"/>
                </a:lnTo>
                <a:lnTo>
                  <a:pt x="68" y="197"/>
                </a:lnTo>
                <a:lnTo>
                  <a:pt x="66" y="201"/>
                </a:lnTo>
                <a:lnTo>
                  <a:pt x="65" y="212"/>
                </a:lnTo>
                <a:lnTo>
                  <a:pt x="62" y="217"/>
                </a:lnTo>
                <a:lnTo>
                  <a:pt x="61" y="220"/>
                </a:lnTo>
                <a:lnTo>
                  <a:pt x="57" y="226"/>
                </a:lnTo>
                <a:lnTo>
                  <a:pt x="54" y="230"/>
                </a:lnTo>
                <a:lnTo>
                  <a:pt x="52" y="231"/>
                </a:lnTo>
                <a:lnTo>
                  <a:pt x="50" y="231"/>
                </a:lnTo>
                <a:lnTo>
                  <a:pt x="41" y="233"/>
                </a:lnTo>
                <a:lnTo>
                  <a:pt x="33" y="239"/>
                </a:lnTo>
                <a:lnTo>
                  <a:pt x="29" y="239"/>
                </a:lnTo>
                <a:lnTo>
                  <a:pt x="24" y="234"/>
                </a:lnTo>
                <a:lnTo>
                  <a:pt x="20" y="233"/>
                </a:lnTo>
                <a:lnTo>
                  <a:pt x="16" y="230"/>
                </a:lnTo>
                <a:lnTo>
                  <a:pt x="13" y="226"/>
                </a:lnTo>
                <a:lnTo>
                  <a:pt x="9" y="220"/>
                </a:lnTo>
                <a:lnTo>
                  <a:pt x="6" y="215"/>
                </a:lnTo>
                <a:lnTo>
                  <a:pt x="6" y="209"/>
                </a:lnTo>
                <a:lnTo>
                  <a:pt x="6" y="206"/>
                </a:lnTo>
                <a:lnTo>
                  <a:pt x="8" y="203"/>
                </a:lnTo>
                <a:lnTo>
                  <a:pt x="6" y="198"/>
                </a:lnTo>
                <a:lnTo>
                  <a:pt x="5" y="193"/>
                </a:lnTo>
                <a:lnTo>
                  <a:pt x="2" y="192"/>
                </a:lnTo>
                <a:lnTo>
                  <a:pt x="0" y="187"/>
                </a:lnTo>
                <a:lnTo>
                  <a:pt x="0" y="182"/>
                </a:lnTo>
                <a:lnTo>
                  <a:pt x="0" y="178"/>
                </a:lnTo>
                <a:lnTo>
                  <a:pt x="0" y="173"/>
                </a:lnTo>
                <a:lnTo>
                  <a:pt x="1" y="170"/>
                </a:lnTo>
                <a:lnTo>
                  <a:pt x="4" y="165"/>
                </a:lnTo>
                <a:lnTo>
                  <a:pt x="5" y="162"/>
                </a:lnTo>
                <a:lnTo>
                  <a:pt x="8" y="160"/>
                </a:lnTo>
                <a:lnTo>
                  <a:pt x="10" y="153"/>
                </a:lnTo>
                <a:lnTo>
                  <a:pt x="14" y="143"/>
                </a:lnTo>
                <a:lnTo>
                  <a:pt x="17" y="140"/>
                </a:lnTo>
                <a:lnTo>
                  <a:pt x="18" y="137"/>
                </a:lnTo>
                <a:lnTo>
                  <a:pt x="18" y="134"/>
                </a:lnTo>
                <a:lnTo>
                  <a:pt x="20" y="132"/>
                </a:lnTo>
                <a:lnTo>
                  <a:pt x="18" y="129"/>
                </a:lnTo>
                <a:lnTo>
                  <a:pt x="16" y="124"/>
                </a:lnTo>
                <a:lnTo>
                  <a:pt x="14" y="118"/>
                </a:lnTo>
                <a:lnTo>
                  <a:pt x="13" y="110"/>
                </a:lnTo>
                <a:lnTo>
                  <a:pt x="13" y="101"/>
                </a:lnTo>
                <a:lnTo>
                  <a:pt x="10" y="96"/>
                </a:lnTo>
                <a:lnTo>
                  <a:pt x="13" y="88"/>
                </a:lnTo>
                <a:lnTo>
                  <a:pt x="17" y="79"/>
                </a:lnTo>
                <a:lnTo>
                  <a:pt x="17" y="7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42" name="Freeform 441"/>
          <p:cNvSpPr>
            <a:spLocks/>
          </p:cNvSpPr>
          <p:nvPr/>
        </p:nvSpPr>
        <p:spPr bwMode="auto">
          <a:xfrm>
            <a:off x="6913872" y="4771634"/>
            <a:ext cx="204626" cy="476770"/>
          </a:xfrm>
          <a:custGeom>
            <a:avLst/>
            <a:gdLst/>
            <a:ahLst/>
            <a:cxnLst>
              <a:cxn ang="0">
                <a:pos x="21" y="73"/>
              </a:cxn>
              <a:cxn ang="0">
                <a:pos x="29" y="68"/>
              </a:cxn>
              <a:cxn ang="0">
                <a:pos x="32" y="68"/>
              </a:cxn>
              <a:cxn ang="0">
                <a:pos x="36" y="65"/>
              </a:cxn>
              <a:cxn ang="0">
                <a:pos x="41" y="63"/>
              </a:cxn>
              <a:cxn ang="0">
                <a:pos x="46" y="69"/>
              </a:cxn>
              <a:cxn ang="0">
                <a:pos x="50" y="66"/>
              </a:cxn>
              <a:cxn ang="0">
                <a:pos x="50" y="57"/>
              </a:cxn>
              <a:cxn ang="0">
                <a:pos x="56" y="60"/>
              </a:cxn>
              <a:cxn ang="0">
                <a:pos x="57" y="54"/>
              </a:cxn>
              <a:cxn ang="0">
                <a:pos x="60" y="47"/>
              </a:cxn>
              <a:cxn ang="0">
                <a:pos x="62" y="51"/>
              </a:cxn>
              <a:cxn ang="0">
                <a:pos x="70" y="44"/>
              </a:cxn>
              <a:cxn ang="0">
                <a:pos x="66" y="40"/>
              </a:cxn>
              <a:cxn ang="0">
                <a:pos x="70" y="36"/>
              </a:cxn>
              <a:cxn ang="0">
                <a:pos x="69" y="25"/>
              </a:cxn>
              <a:cxn ang="0">
                <a:pos x="74" y="30"/>
              </a:cxn>
              <a:cxn ang="0">
                <a:pos x="80" y="22"/>
              </a:cxn>
              <a:cxn ang="0">
                <a:pos x="83" y="8"/>
              </a:cxn>
              <a:cxn ang="0">
                <a:pos x="86" y="2"/>
              </a:cxn>
              <a:cxn ang="0">
                <a:pos x="94" y="8"/>
              </a:cxn>
              <a:cxn ang="0">
                <a:pos x="99" y="19"/>
              </a:cxn>
              <a:cxn ang="0">
                <a:pos x="102" y="33"/>
              </a:cxn>
              <a:cxn ang="0">
                <a:pos x="105" y="49"/>
              </a:cxn>
              <a:cxn ang="0">
                <a:pos x="106" y="63"/>
              </a:cxn>
              <a:cxn ang="0">
                <a:pos x="101" y="63"/>
              </a:cxn>
              <a:cxn ang="0">
                <a:pos x="97" y="66"/>
              </a:cxn>
              <a:cxn ang="0">
                <a:pos x="98" y="79"/>
              </a:cxn>
              <a:cxn ang="0">
                <a:pos x="93" y="90"/>
              </a:cxn>
              <a:cxn ang="0">
                <a:pos x="90" y="115"/>
              </a:cxn>
              <a:cxn ang="0">
                <a:pos x="86" y="127"/>
              </a:cxn>
              <a:cxn ang="0">
                <a:pos x="77" y="159"/>
              </a:cxn>
              <a:cxn ang="0">
                <a:pos x="69" y="189"/>
              </a:cxn>
              <a:cxn ang="0">
                <a:pos x="65" y="212"/>
              </a:cxn>
              <a:cxn ang="0">
                <a:pos x="57" y="226"/>
              </a:cxn>
              <a:cxn ang="0">
                <a:pos x="50" y="231"/>
              </a:cxn>
              <a:cxn ang="0">
                <a:pos x="29" y="239"/>
              </a:cxn>
              <a:cxn ang="0">
                <a:pos x="16" y="230"/>
              </a:cxn>
              <a:cxn ang="0">
                <a:pos x="6" y="215"/>
              </a:cxn>
              <a:cxn ang="0">
                <a:pos x="8" y="203"/>
              </a:cxn>
              <a:cxn ang="0">
                <a:pos x="2" y="192"/>
              </a:cxn>
              <a:cxn ang="0">
                <a:pos x="0" y="178"/>
              </a:cxn>
              <a:cxn ang="0">
                <a:pos x="4" y="165"/>
              </a:cxn>
              <a:cxn ang="0">
                <a:pos x="10" y="153"/>
              </a:cxn>
              <a:cxn ang="0">
                <a:pos x="18" y="137"/>
              </a:cxn>
              <a:cxn ang="0">
                <a:pos x="18" y="129"/>
              </a:cxn>
              <a:cxn ang="0">
                <a:pos x="13" y="110"/>
              </a:cxn>
              <a:cxn ang="0">
                <a:pos x="13" y="88"/>
              </a:cxn>
            </a:cxnLst>
            <a:rect l="0" t="0" r="r" b="b"/>
            <a:pathLst>
              <a:path w="107" h="239">
                <a:moveTo>
                  <a:pt x="17" y="73"/>
                </a:moveTo>
                <a:lnTo>
                  <a:pt x="18" y="71"/>
                </a:lnTo>
                <a:lnTo>
                  <a:pt x="21" y="73"/>
                </a:lnTo>
                <a:lnTo>
                  <a:pt x="25" y="71"/>
                </a:lnTo>
                <a:lnTo>
                  <a:pt x="26" y="69"/>
                </a:lnTo>
                <a:lnTo>
                  <a:pt x="29" y="68"/>
                </a:lnTo>
                <a:lnTo>
                  <a:pt x="29" y="69"/>
                </a:lnTo>
                <a:lnTo>
                  <a:pt x="30" y="71"/>
                </a:lnTo>
                <a:lnTo>
                  <a:pt x="32" y="68"/>
                </a:lnTo>
                <a:lnTo>
                  <a:pt x="34" y="69"/>
                </a:lnTo>
                <a:lnTo>
                  <a:pt x="36" y="66"/>
                </a:lnTo>
                <a:lnTo>
                  <a:pt x="36" y="65"/>
                </a:lnTo>
                <a:lnTo>
                  <a:pt x="38" y="65"/>
                </a:lnTo>
                <a:lnTo>
                  <a:pt x="40" y="65"/>
                </a:lnTo>
                <a:lnTo>
                  <a:pt x="41" y="63"/>
                </a:lnTo>
                <a:lnTo>
                  <a:pt x="44" y="63"/>
                </a:lnTo>
                <a:lnTo>
                  <a:pt x="45" y="68"/>
                </a:lnTo>
                <a:lnTo>
                  <a:pt x="46" y="69"/>
                </a:lnTo>
                <a:lnTo>
                  <a:pt x="49" y="69"/>
                </a:lnTo>
                <a:lnTo>
                  <a:pt x="50" y="69"/>
                </a:lnTo>
                <a:lnTo>
                  <a:pt x="50" y="66"/>
                </a:lnTo>
                <a:lnTo>
                  <a:pt x="46" y="63"/>
                </a:lnTo>
                <a:lnTo>
                  <a:pt x="48" y="62"/>
                </a:lnTo>
                <a:lnTo>
                  <a:pt x="50" y="57"/>
                </a:lnTo>
                <a:lnTo>
                  <a:pt x="53" y="55"/>
                </a:lnTo>
                <a:lnTo>
                  <a:pt x="56" y="55"/>
                </a:lnTo>
                <a:lnTo>
                  <a:pt x="56" y="60"/>
                </a:lnTo>
                <a:lnTo>
                  <a:pt x="58" y="60"/>
                </a:lnTo>
                <a:lnTo>
                  <a:pt x="60" y="58"/>
                </a:lnTo>
                <a:lnTo>
                  <a:pt x="57" y="54"/>
                </a:lnTo>
                <a:lnTo>
                  <a:pt x="58" y="52"/>
                </a:lnTo>
                <a:lnTo>
                  <a:pt x="61" y="47"/>
                </a:lnTo>
                <a:lnTo>
                  <a:pt x="60" y="47"/>
                </a:lnTo>
                <a:lnTo>
                  <a:pt x="62" y="44"/>
                </a:lnTo>
                <a:lnTo>
                  <a:pt x="64" y="47"/>
                </a:lnTo>
                <a:lnTo>
                  <a:pt x="62" y="51"/>
                </a:lnTo>
                <a:lnTo>
                  <a:pt x="66" y="44"/>
                </a:lnTo>
                <a:lnTo>
                  <a:pt x="69" y="44"/>
                </a:lnTo>
                <a:lnTo>
                  <a:pt x="70" y="44"/>
                </a:lnTo>
                <a:lnTo>
                  <a:pt x="70" y="43"/>
                </a:lnTo>
                <a:lnTo>
                  <a:pt x="68" y="43"/>
                </a:lnTo>
                <a:lnTo>
                  <a:pt x="66" y="40"/>
                </a:lnTo>
                <a:lnTo>
                  <a:pt x="66" y="38"/>
                </a:lnTo>
                <a:lnTo>
                  <a:pt x="69" y="35"/>
                </a:lnTo>
                <a:lnTo>
                  <a:pt x="70" y="36"/>
                </a:lnTo>
                <a:lnTo>
                  <a:pt x="70" y="32"/>
                </a:lnTo>
                <a:lnTo>
                  <a:pt x="70" y="30"/>
                </a:lnTo>
                <a:lnTo>
                  <a:pt x="69" y="25"/>
                </a:lnTo>
                <a:lnTo>
                  <a:pt x="70" y="25"/>
                </a:lnTo>
                <a:lnTo>
                  <a:pt x="73" y="25"/>
                </a:lnTo>
                <a:lnTo>
                  <a:pt x="74" y="30"/>
                </a:lnTo>
                <a:lnTo>
                  <a:pt x="77" y="24"/>
                </a:lnTo>
                <a:lnTo>
                  <a:pt x="78" y="21"/>
                </a:lnTo>
                <a:lnTo>
                  <a:pt x="80" y="22"/>
                </a:lnTo>
                <a:lnTo>
                  <a:pt x="82" y="19"/>
                </a:lnTo>
                <a:lnTo>
                  <a:pt x="83" y="14"/>
                </a:lnTo>
                <a:lnTo>
                  <a:pt x="83" y="8"/>
                </a:lnTo>
                <a:lnTo>
                  <a:pt x="82" y="5"/>
                </a:lnTo>
                <a:lnTo>
                  <a:pt x="83" y="5"/>
                </a:lnTo>
                <a:lnTo>
                  <a:pt x="86" y="2"/>
                </a:lnTo>
                <a:lnTo>
                  <a:pt x="89" y="0"/>
                </a:lnTo>
                <a:lnTo>
                  <a:pt x="91" y="3"/>
                </a:lnTo>
                <a:lnTo>
                  <a:pt x="94" y="8"/>
                </a:lnTo>
                <a:lnTo>
                  <a:pt x="97" y="11"/>
                </a:lnTo>
                <a:lnTo>
                  <a:pt x="98" y="14"/>
                </a:lnTo>
                <a:lnTo>
                  <a:pt x="99" y="19"/>
                </a:lnTo>
                <a:lnTo>
                  <a:pt x="99" y="24"/>
                </a:lnTo>
                <a:lnTo>
                  <a:pt x="102" y="29"/>
                </a:lnTo>
                <a:lnTo>
                  <a:pt x="102" y="33"/>
                </a:lnTo>
                <a:lnTo>
                  <a:pt x="103" y="38"/>
                </a:lnTo>
                <a:lnTo>
                  <a:pt x="103" y="43"/>
                </a:lnTo>
                <a:lnTo>
                  <a:pt x="105" y="49"/>
                </a:lnTo>
                <a:lnTo>
                  <a:pt x="106" y="54"/>
                </a:lnTo>
                <a:lnTo>
                  <a:pt x="107" y="58"/>
                </a:lnTo>
                <a:lnTo>
                  <a:pt x="106" y="63"/>
                </a:lnTo>
                <a:lnTo>
                  <a:pt x="105" y="66"/>
                </a:lnTo>
                <a:lnTo>
                  <a:pt x="103" y="66"/>
                </a:lnTo>
                <a:lnTo>
                  <a:pt x="101" y="63"/>
                </a:lnTo>
                <a:lnTo>
                  <a:pt x="99" y="58"/>
                </a:lnTo>
                <a:lnTo>
                  <a:pt x="98" y="58"/>
                </a:lnTo>
                <a:lnTo>
                  <a:pt x="97" y="66"/>
                </a:lnTo>
                <a:lnTo>
                  <a:pt x="97" y="71"/>
                </a:lnTo>
                <a:lnTo>
                  <a:pt x="98" y="74"/>
                </a:lnTo>
                <a:lnTo>
                  <a:pt x="98" y="79"/>
                </a:lnTo>
                <a:lnTo>
                  <a:pt x="97" y="84"/>
                </a:lnTo>
                <a:lnTo>
                  <a:pt x="95" y="85"/>
                </a:lnTo>
                <a:lnTo>
                  <a:pt x="93" y="90"/>
                </a:lnTo>
                <a:lnTo>
                  <a:pt x="93" y="94"/>
                </a:lnTo>
                <a:lnTo>
                  <a:pt x="93" y="99"/>
                </a:lnTo>
                <a:lnTo>
                  <a:pt x="90" y="115"/>
                </a:lnTo>
                <a:lnTo>
                  <a:pt x="87" y="124"/>
                </a:lnTo>
                <a:lnTo>
                  <a:pt x="86" y="124"/>
                </a:lnTo>
                <a:lnTo>
                  <a:pt x="86" y="127"/>
                </a:lnTo>
                <a:lnTo>
                  <a:pt x="82" y="143"/>
                </a:lnTo>
                <a:lnTo>
                  <a:pt x="78" y="153"/>
                </a:lnTo>
                <a:lnTo>
                  <a:pt x="77" y="159"/>
                </a:lnTo>
                <a:lnTo>
                  <a:pt x="74" y="171"/>
                </a:lnTo>
                <a:lnTo>
                  <a:pt x="73" y="176"/>
                </a:lnTo>
                <a:lnTo>
                  <a:pt x="69" y="189"/>
                </a:lnTo>
                <a:lnTo>
                  <a:pt x="68" y="197"/>
                </a:lnTo>
                <a:lnTo>
                  <a:pt x="66" y="201"/>
                </a:lnTo>
                <a:lnTo>
                  <a:pt x="65" y="212"/>
                </a:lnTo>
                <a:lnTo>
                  <a:pt x="62" y="217"/>
                </a:lnTo>
                <a:lnTo>
                  <a:pt x="61" y="220"/>
                </a:lnTo>
                <a:lnTo>
                  <a:pt x="57" y="226"/>
                </a:lnTo>
                <a:lnTo>
                  <a:pt x="54" y="230"/>
                </a:lnTo>
                <a:lnTo>
                  <a:pt x="52" y="231"/>
                </a:lnTo>
                <a:lnTo>
                  <a:pt x="50" y="231"/>
                </a:lnTo>
                <a:lnTo>
                  <a:pt x="41" y="233"/>
                </a:lnTo>
                <a:lnTo>
                  <a:pt x="33" y="239"/>
                </a:lnTo>
                <a:lnTo>
                  <a:pt x="29" y="239"/>
                </a:lnTo>
                <a:lnTo>
                  <a:pt x="24" y="234"/>
                </a:lnTo>
                <a:lnTo>
                  <a:pt x="20" y="233"/>
                </a:lnTo>
                <a:lnTo>
                  <a:pt x="16" y="230"/>
                </a:lnTo>
                <a:lnTo>
                  <a:pt x="13" y="226"/>
                </a:lnTo>
                <a:lnTo>
                  <a:pt x="9" y="220"/>
                </a:lnTo>
                <a:lnTo>
                  <a:pt x="6" y="215"/>
                </a:lnTo>
                <a:lnTo>
                  <a:pt x="6" y="209"/>
                </a:lnTo>
                <a:lnTo>
                  <a:pt x="6" y="206"/>
                </a:lnTo>
                <a:lnTo>
                  <a:pt x="8" y="203"/>
                </a:lnTo>
                <a:lnTo>
                  <a:pt x="6" y="198"/>
                </a:lnTo>
                <a:lnTo>
                  <a:pt x="5" y="193"/>
                </a:lnTo>
                <a:lnTo>
                  <a:pt x="2" y="192"/>
                </a:lnTo>
                <a:lnTo>
                  <a:pt x="0" y="187"/>
                </a:lnTo>
                <a:lnTo>
                  <a:pt x="0" y="182"/>
                </a:lnTo>
                <a:lnTo>
                  <a:pt x="0" y="178"/>
                </a:lnTo>
                <a:lnTo>
                  <a:pt x="0" y="173"/>
                </a:lnTo>
                <a:lnTo>
                  <a:pt x="1" y="170"/>
                </a:lnTo>
                <a:lnTo>
                  <a:pt x="4" y="165"/>
                </a:lnTo>
                <a:lnTo>
                  <a:pt x="5" y="162"/>
                </a:lnTo>
                <a:lnTo>
                  <a:pt x="8" y="160"/>
                </a:lnTo>
                <a:lnTo>
                  <a:pt x="10" y="153"/>
                </a:lnTo>
                <a:lnTo>
                  <a:pt x="14" y="143"/>
                </a:lnTo>
                <a:lnTo>
                  <a:pt x="17" y="140"/>
                </a:lnTo>
                <a:lnTo>
                  <a:pt x="18" y="137"/>
                </a:lnTo>
                <a:lnTo>
                  <a:pt x="18" y="134"/>
                </a:lnTo>
                <a:lnTo>
                  <a:pt x="20" y="132"/>
                </a:lnTo>
                <a:lnTo>
                  <a:pt x="18" y="129"/>
                </a:lnTo>
                <a:lnTo>
                  <a:pt x="16" y="124"/>
                </a:lnTo>
                <a:lnTo>
                  <a:pt x="14" y="118"/>
                </a:lnTo>
                <a:lnTo>
                  <a:pt x="13" y="110"/>
                </a:lnTo>
                <a:lnTo>
                  <a:pt x="13" y="101"/>
                </a:lnTo>
                <a:lnTo>
                  <a:pt x="10" y="96"/>
                </a:lnTo>
                <a:lnTo>
                  <a:pt x="13" y="88"/>
                </a:lnTo>
                <a:lnTo>
                  <a:pt x="17" y="79"/>
                </a:lnTo>
                <a:lnTo>
                  <a:pt x="17" y="7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43" name="Freeform 442"/>
          <p:cNvSpPr>
            <a:spLocks/>
          </p:cNvSpPr>
          <p:nvPr/>
        </p:nvSpPr>
        <p:spPr bwMode="auto">
          <a:xfrm>
            <a:off x="5976491" y="3150191"/>
            <a:ext cx="7795" cy="4295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3" y="0"/>
              </a:cxn>
              <a:cxn ang="0">
                <a:pos x="4" y="1"/>
              </a:cxn>
              <a:cxn ang="0">
                <a:pos x="4" y="3"/>
              </a:cxn>
              <a:cxn ang="0">
                <a:pos x="2" y="3"/>
              </a:cxn>
              <a:cxn ang="0">
                <a:pos x="0" y="1"/>
              </a:cxn>
              <a:cxn ang="0">
                <a:pos x="3" y="0"/>
              </a:cxn>
              <a:cxn ang="0">
                <a:pos x="4" y="0"/>
              </a:cxn>
            </a:cxnLst>
            <a:rect l="0" t="0" r="r" b="b"/>
            <a:pathLst>
              <a:path w="4" h="3">
                <a:moveTo>
                  <a:pt x="4" y="0"/>
                </a:moveTo>
                <a:lnTo>
                  <a:pt x="3" y="0"/>
                </a:lnTo>
                <a:lnTo>
                  <a:pt x="4" y="1"/>
                </a:lnTo>
                <a:lnTo>
                  <a:pt x="4" y="3"/>
                </a:lnTo>
                <a:lnTo>
                  <a:pt x="2" y="3"/>
                </a:lnTo>
                <a:lnTo>
                  <a:pt x="0" y="1"/>
                </a:lnTo>
                <a:lnTo>
                  <a:pt x="3" y="0"/>
                </a:lnTo>
                <a:lnTo>
                  <a:pt x="4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44" name="Freeform 443"/>
          <p:cNvSpPr>
            <a:spLocks/>
          </p:cNvSpPr>
          <p:nvPr/>
        </p:nvSpPr>
        <p:spPr bwMode="auto">
          <a:xfrm>
            <a:off x="5976491" y="3150191"/>
            <a:ext cx="7795" cy="4295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3" y="0"/>
              </a:cxn>
              <a:cxn ang="0">
                <a:pos x="4" y="1"/>
              </a:cxn>
              <a:cxn ang="0">
                <a:pos x="4" y="3"/>
              </a:cxn>
              <a:cxn ang="0">
                <a:pos x="2" y="3"/>
              </a:cxn>
              <a:cxn ang="0">
                <a:pos x="0" y="1"/>
              </a:cxn>
              <a:cxn ang="0">
                <a:pos x="3" y="0"/>
              </a:cxn>
              <a:cxn ang="0">
                <a:pos x="4" y="0"/>
              </a:cxn>
            </a:cxnLst>
            <a:rect l="0" t="0" r="r" b="b"/>
            <a:pathLst>
              <a:path w="4" h="3">
                <a:moveTo>
                  <a:pt x="4" y="0"/>
                </a:moveTo>
                <a:lnTo>
                  <a:pt x="3" y="0"/>
                </a:lnTo>
                <a:lnTo>
                  <a:pt x="4" y="1"/>
                </a:lnTo>
                <a:lnTo>
                  <a:pt x="4" y="3"/>
                </a:lnTo>
                <a:lnTo>
                  <a:pt x="2" y="3"/>
                </a:lnTo>
                <a:lnTo>
                  <a:pt x="0" y="1"/>
                </a:lnTo>
                <a:lnTo>
                  <a:pt x="3" y="0"/>
                </a:lnTo>
                <a:lnTo>
                  <a:pt x="4" y="0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45" name="Freeform 444"/>
          <p:cNvSpPr>
            <a:spLocks/>
          </p:cNvSpPr>
          <p:nvPr/>
        </p:nvSpPr>
        <p:spPr bwMode="auto">
          <a:xfrm>
            <a:off x="5980389" y="1518010"/>
            <a:ext cx="309862" cy="124561"/>
          </a:xfrm>
          <a:custGeom>
            <a:avLst/>
            <a:gdLst/>
            <a:ahLst/>
            <a:cxnLst>
              <a:cxn ang="0">
                <a:pos x="71" y="13"/>
              </a:cxn>
              <a:cxn ang="0">
                <a:pos x="82" y="21"/>
              </a:cxn>
              <a:cxn ang="0">
                <a:pos x="78" y="10"/>
              </a:cxn>
              <a:cxn ang="0">
                <a:pos x="79" y="3"/>
              </a:cxn>
              <a:cxn ang="0">
                <a:pos x="89" y="5"/>
              </a:cxn>
              <a:cxn ang="0">
                <a:pos x="109" y="8"/>
              </a:cxn>
              <a:cxn ang="0">
                <a:pos x="105" y="13"/>
              </a:cxn>
              <a:cxn ang="0">
                <a:pos x="113" y="10"/>
              </a:cxn>
              <a:cxn ang="0">
                <a:pos x="122" y="14"/>
              </a:cxn>
              <a:cxn ang="0">
                <a:pos x="138" y="19"/>
              </a:cxn>
              <a:cxn ang="0">
                <a:pos x="160" y="25"/>
              </a:cxn>
              <a:cxn ang="0">
                <a:pos x="136" y="27"/>
              </a:cxn>
              <a:cxn ang="0">
                <a:pos x="126" y="32"/>
              </a:cxn>
              <a:cxn ang="0">
                <a:pos x="117" y="38"/>
              </a:cxn>
              <a:cxn ang="0">
                <a:pos x="114" y="46"/>
              </a:cxn>
              <a:cxn ang="0">
                <a:pos x="102" y="51"/>
              </a:cxn>
              <a:cxn ang="0">
                <a:pos x="99" y="57"/>
              </a:cxn>
              <a:cxn ang="0">
                <a:pos x="95" y="62"/>
              </a:cxn>
              <a:cxn ang="0">
                <a:pos x="85" y="62"/>
              </a:cxn>
              <a:cxn ang="0">
                <a:pos x="85" y="55"/>
              </a:cxn>
              <a:cxn ang="0">
                <a:pos x="69" y="55"/>
              </a:cxn>
              <a:cxn ang="0">
                <a:pos x="50" y="49"/>
              </a:cxn>
              <a:cxn ang="0">
                <a:pos x="62" y="46"/>
              </a:cxn>
              <a:cxn ang="0">
                <a:pos x="66" y="44"/>
              </a:cxn>
              <a:cxn ang="0">
                <a:pos x="82" y="41"/>
              </a:cxn>
              <a:cxn ang="0">
                <a:pos x="94" y="40"/>
              </a:cxn>
              <a:cxn ang="0">
                <a:pos x="73" y="41"/>
              </a:cxn>
              <a:cxn ang="0">
                <a:pos x="61" y="41"/>
              </a:cxn>
              <a:cxn ang="0">
                <a:pos x="49" y="43"/>
              </a:cxn>
              <a:cxn ang="0">
                <a:pos x="50" y="38"/>
              </a:cxn>
              <a:cxn ang="0">
                <a:pos x="66" y="36"/>
              </a:cxn>
              <a:cxn ang="0">
                <a:pos x="75" y="33"/>
              </a:cxn>
              <a:cxn ang="0">
                <a:pos x="95" y="32"/>
              </a:cxn>
              <a:cxn ang="0">
                <a:pos x="89" y="30"/>
              </a:cxn>
              <a:cxn ang="0">
                <a:pos x="90" y="25"/>
              </a:cxn>
              <a:cxn ang="0">
                <a:pos x="74" y="30"/>
              </a:cxn>
              <a:cxn ang="0">
                <a:pos x="69" y="24"/>
              </a:cxn>
              <a:cxn ang="0">
                <a:pos x="59" y="25"/>
              </a:cxn>
              <a:cxn ang="0">
                <a:pos x="61" y="32"/>
              </a:cxn>
              <a:cxn ang="0">
                <a:pos x="47" y="35"/>
              </a:cxn>
              <a:cxn ang="0">
                <a:pos x="34" y="33"/>
              </a:cxn>
              <a:cxn ang="0">
                <a:pos x="34" y="29"/>
              </a:cxn>
              <a:cxn ang="0">
                <a:pos x="18" y="25"/>
              </a:cxn>
              <a:cxn ang="0">
                <a:pos x="10" y="21"/>
              </a:cxn>
              <a:cxn ang="0">
                <a:pos x="19" y="21"/>
              </a:cxn>
              <a:cxn ang="0">
                <a:pos x="21" y="14"/>
              </a:cxn>
              <a:cxn ang="0">
                <a:pos x="9" y="18"/>
              </a:cxn>
              <a:cxn ang="0">
                <a:pos x="2" y="14"/>
              </a:cxn>
              <a:cxn ang="0">
                <a:pos x="5" y="10"/>
              </a:cxn>
              <a:cxn ang="0">
                <a:pos x="11" y="7"/>
              </a:cxn>
              <a:cxn ang="0">
                <a:pos x="22" y="5"/>
              </a:cxn>
              <a:cxn ang="0">
                <a:pos x="46" y="5"/>
              </a:cxn>
              <a:cxn ang="0">
                <a:pos x="35" y="8"/>
              </a:cxn>
              <a:cxn ang="0">
                <a:pos x="41" y="11"/>
              </a:cxn>
              <a:cxn ang="0">
                <a:pos x="45" y="13"/>
              </a:cxn>
              <a:cxn ang="0">
                <a:pos x="49" y="11"/>
              </a:cxn>
              <a:cxn ang="0">
                <a:pos x="61" y="7"/>
              </a:cxn>
            </a:cxnLst>
            <a:rect l="0" t="0" r="r" b="b"/>
            <a:pathLst>
              <a:path w="162" h="63">
                <a:moveTo>
                  <a:pt x="61" y="7"/>
                </a:moveTo>
                <a:lnTo>
                  <a:pt x="66" y="7"/>
                </a:lnTo>
                <a:lnTo>
                  <a:pt x="66" y="8"/>
                </a:lnTo>
                <a:lnTo>
                  <a:pt x="67" y="8"/>
                </a:lnTo>
                <a:lnTo>
                  <a:pt x="69" y="10"/>
                </a:lnTo>
                <a:lnTo>
                  <a:pt x="70" y="11"/>
                </a:lnTo>
                <a:lnTo>
                  <a:pt x="71" y="13"/>
                </a:lnTo>
                <a:lnTo>
                  <a:pt x="73" y="14"/>
                </a:lnTo>
                <a:lnTo>
                  <a:pt x="73" y="16"/>
                </a:lnTo>
                <a:lnTo>
                  <a:pt x="71" y="18"/>
                </a:lnTo>
                <a:lnTo>
                  <a:pt x="73" y="18"/>
                </a:lnTo>
                <a:lnTo>
                  <a:pt x="74" y="18"/>
                </a:lnTo>
                <a:lnTo>
                  <a:pt x="78" y="18"/>
                </a:lnTo>
                <a:lnTo>
                  <a:pt x="82" y="21"/>
                </a:lnTo>
                <a:lnTo>
                  <a:pt x="85" y="21"/>
                </a:lnTo>
                <a:lnTo>
                  <a:pt x="87" y="21"/>
                </a:lnTo>
                <a:lnTo>
                  <a:pt x="81" y="18"/>
                </a:lnTo>
                <a:lnTo>
                  <a:pt x="79" y="16"/>
                </a:lnTo>
                <a:lnTo>
                  <a:pt x="79" y="14"/>
                </a:lnTo>
                <a:lnTo>
                  <a:pt x="78" y="13"/>
                </a:lnTo>
                <a:lnTo>
                  <a:pt x="78" y="10"/>
                </a:lnTo>
                <a:lnTo>
                  <a:pt x="77" y="10"/>
                </a:lnTo>
                <a:lnTo>
                  <a:pt x="77" y="8"/>
                </a:lnTo>
                <a:lnTo>
                  <a:pt x="75" y="8"/>
                </a:lnTo>
                <a:lnTo>
                  <a:pt x="75" y="7"/>
                </a:lnTo>
                <a:lnTo>
                  <a:pt x="77" y="5"/>
                </a:lnTo>
                <a:lnTo>
                  <a:pt x="81" y="5"/>
                </a:lnTo>
                <a:lnTo>
                  <a:pt x="79" y="3"/>
                </a:lnTo>
                <a:lnTo>
                  <a:pt x="81" y="2"/>
                </a:lnTo>
                <a:lnTo>
                  <a:pt x="82" y="2"/>
                </a:lnTo>
                <a:lnTo>
                  <a:pt x="83" y="0"/>
                </a:lnTo>
                <a:lnTo>
                  <a:pt x="85" y="0"/>
                </a:lnTo>
                <a:lnTo>
                  <a:pt x="89" y="2"/>
                </a:lnTo>
                <a:lnTo>
                  <a:pt x="89" y="3"/>
                </a:lnTo>
                <a:lnTo>
                  <a:pt x="89" y="5"/>
                </a:lnTo>
                <a:lnTo>
                  <a:pt x="90" y="3"/>
                </a:lnTo>
                <a:lnTo>
                  <a:pt x="93" y="5"/>
                </a:lnTo>
                <a:lnTo>
                  <a:pt x="93" y="3"/>
                </a:lnTo>
                <a:lnTo>
                  <a:pt x="97" y="3"/>
                </a:lnTo>
                <a:lnTo>
                  <a:pt x="106" y="5"/>
                </a:lnTo>
                <a:lnTo>
                  <a:pt x="109" y="7"/>
                </a:lnTo>
                <a:lnTo>
                  <a:pt x="109" y="8"/>
                </a:lnTo>
                <a:lnTo>
                  <a:pt x="107" y="8"/>
                </a:lnTo>
                <a:lnTo>
                  <a:pt x="106" y="10"/>
                </a:lnTo>
                <a:lnTo>
                  <a:pt x="103" y="10"/>
                </a:lnTo>
                <a:lnTo>
                  <a:pt x="103" y="11"/>
                </a:lnTo>
                <a:lnTo>
                  <a:pt x="105" y="11"/>
                </a:lnTo>
                <a:lnTo>
                  <a:pt x="106" y="11"/>
                </a:lnTo>
                <a:lnTo>
                  <a:pt x="105" y="13"/>
                </a:lnTo>
                <a:lnTo>
                  <a:pt x="103" y="13"/>
                </a:lnTo>
                <a:lnTo>
                  <a:pt x="103" y="14"/>
                </a:lnTo>
                <a:lnTo>
                  <a:pt x="107" y="13"/>
                </a:lnTo>
                <a:lnTo>
                  <a:pt x="111" y="11"/>
                </a:lnTo>
                <a:lnTo>
                  <a:pt x="110" y="11"/>
                </a:lnTo>
                <a:lnTo>
                  <a:pt x="110" y="10"/>
                </a:lnTo>
                <a:lnTo>
                  <a:pt x="113" y="10"/>
                </a:lnTo>
                <a:lnTo>
                  <a:pt x="114" y="10"/>
                </a:lnTo>
                <a:lnTo>
                  <a:pt x="117" y="10"/>
                </a:lnTo>
                <a:lnTo>
                  <a:pt x="119" y="11"/>
                </a:lnTo>
                <a:lnTo>
                  <a:pt x="120" y="11"/>
                </a:lnTo>
                <a:lnTo>
                  <a:pt x="123" y="13"/>
                </a:lnTo>
                <a:lnTo>
                  <a:pt x="123" y="14"/>
                </a:lnTo>
                <a:lnTo>
                  <a:pt x="122" y="14"/>
                </a:lnTo>
                <a:lnTo>
                  <a:pt x="120" y="16"/>
                </a:lnTo>
                <a:lnTo>
                  <a:pt x="122" y="16"/>
                </a:lnTo>
                <a:lnTo>
                  <a:pt x="131" y="18"/>
                </a:lnTo>
                <a:lnTo>
                  <a:pt x="132" y="18"/>
                </a:lnTo>
                <a:lnTo>
                  <a:pt x="135" y="18"/>
                </a:lnTo>
                <a:lnTo>
                  <a:pt x="136" y="19"/>
                </a:lnTo>
                <a:lnTo>
                  <a:pt x="138" y="19"/>
                </a:lnTo>
                <a:lnTo>
                  <a:pt x="144" y="21"/>
                </a:lnTo>
                <a:lnTo>
                  <a:pt x="146" y="21"/>
                </a:lnTo>
                <a:lnTo>
                  <a:pt x="156" y="22"/>
                </a:lnTo>
                <a:lnTo>
                  <a:pt x="160" y="22"/>
                </a:lnTo>
                <a:lnTo>
                  <a:pt x="162" y="22"/>
                </a:lnTo>
                <a:lnTo>
                  <a:pt x="162" y="24"/>
                </a:lnTo>
                <a:lnTo>
                  <a:pt x="160" y="25"/>
                </a:lnTo>
                <a:lnTo>
                  <a:pt x="159" y="25"/>
                </a:lnTo>
                <a:lnTo>
                  <a:pt x="156" y="25"/>
                </a:lnTo>
                <a:lnTo>
                  <a:pt x="151" y="25"/>
                </a:lnTo>
                <a:lnTo>
                  <a:pt x="147" y="27"/>
                </a:lnTo>
                <a:lnTo>
                  <a:pt x="143" y="27"/>
                </a:lnTo>
                <a:lnTo>
                  <a:pt x="139" y="27"/>
                </a:lnTo>
                <a:lnTo>
                  <a:pt x="136" y="27"/>
                </a:lnTo>
                <a:lnTo>
                  <a:pt x="132" y="27"/>
                </a:lnTo>
                <a:lnTo>
                  <a:pt x="134" y="29"/>
                </a:lnTo>
                <a:lnTo>
                  <a:pt x="134" y="30"/>
                </a:lnTo>
                <a:lnTo>
                  <a:pt x="131" y="29"/>
                </a:lnTo>
                <a:lnTo>
                  <a:pt x="130" y="30"/>
                </a:lnTo>
                <a:lnTo>
                  <a:pt x="126" y="30"/>
                </a:lnTo>
                <a:lnTo>
                  <a:pt x="126" y="32"/>
                </a:lnTo>
                <a:lnTo>
                  <a:pt x="126" y="33"/>
                </a:lnTo>
                <a:lnTo>
                  <a:pt x="124" y="35"/>
                </a:lnTo>
                <a:lnTo>
                  <a:pt x="124" y="36"/>
                </a:lnTo>
                <a:lnTo>
                  <a:pt x="126" y="36"/>
                </a:lnTo>
                <a:lnTo>
                  <a:pt x="124" y="38"/>
                </a:lnTo>
                <a:lnTo>
                  <a:pt x="120" y="36"/>
                </a:lnTo>
                <a:lnTo>
                  <a:pt x="117" y="38"/>
                </a:lnTo>
                <a:lnTo>
                  <a:pt x="117" y="40"/>
                </a:lnTo>
                <a:lnTo>
                  <a:pt x="117" y="41"/>
                </a:lnTo>
                <a:lnTo>
                  <a:pt x="118" y="41"/>
                </a:lnTo>
                <a:lnTo>
                  <a:pt x="117" y="43"/>
                </a:lnTo>
                <a:lnTo>
                  <a:pt x="117" y="44"/>
                </a:lnTo>
                <a:lnTo>
                  <a:pt x="115" y="46"/>
                </a:lnTo>
                <a:lnTo>
                  <a:pt x="114" y="46"/>
                </a:lnTo>
                <a:lnTo>
                  <a:pt x="114" y="47"/>
                </a:lnTo>
                <a:lnTo>
                  <a:pt x="111" y="47"/>
                </a:lnTo>
                <a:lnTo>
                  <a:pt x="105" y="47"/>
                </a:lnTo>
                <a:lnTo>
                  <a:pt x="106" y="47"/>
                </a:lnTo>
                <a:lnTo>
                  <a:pt x="107" y="49"/>
                </a:lnTo>
                <a:lnTo>
                  <a:pt x="105" y="49"/>
                </a:lnTo>
                <a:lnTo>
                  <a:pt x="102" y="51"/>
                </a:lnTo>
                <a:lnTo>
                  <a:pt x="101" y="51"/>
                </a:lnTo>
                <a:lnTo>
                  <a:pt x="101" y="52"/>
                </a:lnTo>
                <a:lnTo>
                  <a:pt x="102" y="54"/>
                </a:lnTo>
                <a:lnTo>
                  <a:pt x="99" y="55"/>
                </a:lnTo>
                <a:lnTo>
                  <a:pt x="101" y="55"/>
                </a:lnTo>
                <a:lnTo>
                  <a:pt x="101" y="57"/>
                </a:lnTo>
                <a:lnTo>
                  <a:pt x="99" y="57"/>
                </a:lnTo>
                <a:lnTo>
                  <a:pt x="97" y="58"/>
                </a:lnTo>
                <a:lnTo>
                  <a:pt x="95" y="58"/>
                </a:lnTo>
                <a:lnTo>
                  <a:pt x="97" y="58"/>
                </a:lnTo>
                <a:lnTo>
                  <a:pt x="95" y="60"/>
                </a:lnTo>
                <a:lnTo>
                  <a:pt x="97" y="60"/>
                </a:lnTo>
                <a:lnTo>
                  <a:pt x="97" y="62"/>
                </a:lnTo>
                <a:lnTo>
                  <a:pt x="95" y="62"/>
                </a:lnTo>
                <a:lnTo>
                  <a:pt x="93" y="63"/>
                </a:lnTo>
                <a:lnTo>
                  <a:pt x="90" y="63"/>
                </a:lnTo>
                <a:lnTo>
                  <a:pt x="89" y="63"/>
                </a:lnTo>
                <a:lnTo>
                  <a:pt x="89" y="62"/>
                </a:lnTo>
                <a:lnTo>
                  <a:pt x="86" y="63"/>
                </a:lnTo>
                <a:lnTo>
                  <a:pt x="85" y="63"/>
                </a:lnTo>
                <a:lnTo>
                  <a:pt x="85" y="62"/>
                </a:lnTo>
                <a:lnTo>
                  <a:pt x="74" y="58"/>
                </a:lnTo>
                <a:lnTo>
                  <a:pt x="74" y="57"/>
                </a:lnTo>
                <a:lnTo>
                  <a:pt x="79" y="57"/>
                </a:lnTo>
                <a:lnTo>
                  <a:pt x="83" y="57"/>
                </a:lnTo>
                <a:lnTo>
                  <a:pt x="86" y="57"/>
                </a:lnTo>
                <a:lnTo>
                  <a:pt x="86" y="55"/>
                </a:lnTo>
                <a:lnTo>
                  <a:pt x="85" y="55"/>
                </a:lnTo>
                <a:lnTo>
                  <a:pt x="82" y="55"/>
                </a:lnTo>
                <a:lnTo>
                  <a:pt x="79" y="55"/>
                </a:lnTo>
                <a:lnTo>
                  <a:pt x="78" y="55"/>
                </a:lnTo>
                <a:lnTo>
                  <a:pt x="77" y="55"/>
                </a:lnTo>
                <a:lnTo>
                  <a:pt x="74" y="55"/>
                </a:lnTo>
                <a:lnTo>
                  <a:pt x="70" y="55"/>
                </a:lnTo>
                <a:lnTo>
                  <a:pt x="69" y="55"/>
                </a:lnTo>
                <a:lnTo>
                  <a:pt x="69" y="54"/>
                </a:lnTo>
                <a:lnTo>
                  <a:pt x="66" y="54"/>
                </a:lnTo>
                <a:lnTo>
                  <a:pt x="65" y="54"/>
                </a:lnTo>
                <a:lnTo>
                  <a:pt x="57" y="52"/>
                </a:lnTo>
                <a:lnTo>
                  <a:pt x="54" y="51"/>
                </a:lnTo>
                <a:lnTo>
                  <a:pt x="53" y="49"/>
                </a:lnTo>
                <a:lnTo>
                  <a:pt x="50" y="49"/>
                </a:lnTo>
                <a:lnTo>
                  <a:pt x="51" y="47"/>
                </a:lnTo>
                <a:lnTo>
                  <a:pt x="50" y="46"/>
                </a:lnTo>
                <a:lnTo>
                  <a:pt x="54" y="46"/>
                </a:lnTo>
                <a:lnTo>
                  <a:pt x="58" y="46"/>
                </a:lnTo>
                <a:lnTo>
                  <a:pt x="59" y="47"/>
                </a:lnTo>
                <a:lnTo>
                  <a:pt x="61" y="47"/>
                </a:lnTo>
                <a:lnTo>
                  <a:pt x="62" y="46"/>
                </a:lnTo>
                <a:lnTo>
                  <a:pt x="65" y="46"/>
                </a:lnTo>
                <a:lnTo>
                  <a:pt x="67" y="46"/>
                </a:lnTo>
                <a:lnTo>
                  <a:pt x="71" y="46"/>
                </a:lnTo>
                <a:lnTo>
                  <a:pt x="79" y="47"/>
                </a:lnTo>
                <a:lnTo>
                  <a:pt x="81" y="46"/>
                </a:lnTo>
                <a:lnTo>
                  <a:pt x="78" y="46"/>
                </a:lnTo>
                <a:lnTo>
                  <a:pt x="66" y="44"/>
                </a:lnTo>
                <a:lnTo>
                  <a:pt x="63" y="44"/>
                </a:lnTo>
                <a:lnTo>
                  <a:pt x="65" y="44"/>
                </a:lnTo>
                <a:lnTo>
                  <a:pt x="74" y="43"/>
                </a:lnTo>
                <a:lnTo>
                  <a:pt x="77" y="43"/>
                </a:lnTo>
                <a:lnTo>
                  <a:pt x="78" y="43"/>
                </a:lnTo>
                <a:lnTo>
                  <a:pt x="81" y="43"/>
                </a:lnTo>
                <a:lnTo>
                  <a:pt x="82" y="41"/>
                </a:lnTo>
                <a:lnTo>
                  <a:pt x="85" y="41"/>
                </a:lnTo>
                <a:lnTo>
                  <a:pt x="87" y="41"/>
                </a:lnTo>
                <a:lnTo>
                  <a:pt x="89" y="41"/>
                </a:lnTo>
                <a:lnTo>
                  <a:pt x="93" y="41"/>
                </a:lnTo>
                <a:lnTo>
                  <a:pt x="94" y="41"/>
                </a:lnTo>
                <a:lnTo>
                  <a:pt x="93" y="40"/>
                </a:lnTo>
                <a:lnTo>
                  <a:pt x="94" y="40"/>
                </a:lnTo>
                <a:lnTo>
                  <a:pt x="93" y="40"/>
                </a:lnTo>
                <a:lnTo>
                  <a:pt x="90" y="40"/>
                </a:lnTo>
                <a:lnTo>
                  <a:pt x="86" y="41"/>
                </a:lnTo>
                <a:lnTo>
                  <a:pt x="85" y="41"/>
                </a:lnTo>
                <a:lnTo>
                  <a:pt x="77" y="41"/>
                </a:lnTo>
                <a:lnTo>
                  <a:pt x="75" y="41"/>
                </a:lnTo>
                <a:lnTo>
                  <a:pt x="73" y="41"/>
                </a:lnTo>
                <a:lnTo>
                  <a:pt x="71" y="41"/>
                </a:lnTo>
                <a:lnTo>
                  <a:pt x="69" y="41"/>
                </a:lnTo>
                <a:lnTo>
                  <a:pt x="65" y="41"/>
                </a:lnTo>
                <a:lnTo>
                  <a:pt x="63" y="41"/>
                </a:lnTo>
                <a:lnTo>
                  <a:pt x="62" y="43"/>
                </a:lnTo>
                <a:lnTo>
                  <a:pt x="61" y="43"/>
                </a:lnTo>
                <a:lnTo>
                  <a:pt x="61" y="41"/>
                </a:lnTo>
                <a:lnTo>
                  <a:pt x="59" y="41"/>
                </a:lnTo>
                <a:lnTo>
                  <a:pt x="59" y="43"/>
                </a:lnTo>
                <a:lnTo>
                  <a:pt x="57" y="43"/>
                </a:lnTo>
                <a:lnTo>
                  <a:pt x="55" y="43"/>
                </a:lnTo>
                <a:lnTo>
                  <a:pt x="54" y="41"/>
                </a:lnTo>
                <a:lnTo>
                  <a:pt x="51" y="43"/>
                </a:lnTo>
                <a:lnTo>
                  <a:pt x="49" y="43"/>
                </a:lnTo>
                <a:lnTo>
                  <a:pt x="46" y="43"/>
                </a:lnTo>
                <a:lnTo>
                  <a:pt x="47" y="41"/>
                </a:lnTo>
                <a:lnTo>
                  <a:pt x="45" y="40"/>
                </a:lnTo>
                <a:lnTo>
                  <a:pt x="45" y="38"/>
                </a:lnTo>
                <a:lnTo>
                  <a:pt x="46" y="36"/>
                </a:lnTo>
                <a:lnTo>
                  <a:pt x="49" y="36"/>
                </a:lnTo>
                <a:lnTo>
                  <a:pt x="50" y="38"/>
                </a:lnTo>
                <a:lnTo>
                  <a:pt x="51" y="38"/>
                </a:lnTo>
                <a:lnTo>
                  <a:pt x="53" y="38"/>
                </a:lnTo>
                <a:lnTo>
                  <a:pt x="54" y="38"/>
                </a:lnTo>
                <a:lnTo>
                  <a:pt x="53" y="36"/>
                </a:lnTo>
                <a:lnTo>
                  <a:pt x="62" y="36"/>
                </a:lnTo>
                <a:lnTo>
                  <a:pt x="63" y="36"/>
                </a:lnTo>
                <a:lnTo>
                  <a:pt x="66" y="36"/>
                </a:lnTo>
                <a:lnTo>
                  <a:pt x="66" y="35"/>
                </a:lnTo>
                <a:lnTo>
                  <a:pt x="67" y="35"/>
                </a:lnTo>
                <a:lnTo>
                  <a:pt x="70" y="35"/>
                </a:lnTo>
                <a:lnTo>
                  <a:pt x="70" y="33"/>
                </a:lnTo>
                <a:lnTo>
                  <a:pt x="73" y="33"/>
                </a:lnTo>
                <a:lnTo>
                  <a:pt x="74" y="33"/>
                </a:lnTo>
                <a:lnTo>
                  <a:pt x="75" y="33"/>
                </a:lnTo>
                <a:lnTo>
                  <a:pt x="74" y="32"/>
                </a:lnTo>
                <a:lnTo>
                  <a:pt x="78" y="32"/>
                </a:lnTo>
                <a:lnTo>
                  <a:pt x="85" y="32"/>
                </a:lnTo>
                <a:lnTo>
                  <a:pt x="86" y="32"/>
                </a:lnTo>
                <a:lnTo>
                  <a:pt x="91" y="32"/>
                </a:lnTo>
                <a:lnTo>
                  <a:pt x="93" y="32"/>
                </a:lnTo>
                <a:lnTo>
                  <a:pt x="95" y="32"/>
                </a:lnTo>
                <a:lnTo>
                  <a:pt x="97" y="30"/>
                </a:lnTo>
                <a:lnTo>
                  <a:pt x="99" y="30"/>
                </a:lnTo>
                <a:lnTo>
                  <a:pt x="101" y="30"/>
                </a:lnTo>
                <a:lnTo>
                  <a:pt x="99" y="30"/>
                </a:lnTo>
                <a:lnTo>
                  <a:pt x="94" y="30"/>
                </a:lnTo>
                <a:lnTo>
                  <a:pt x="91" y="30"/>
                </a:lnTo>
                <a:lnTo>
                  <a:pt x="89" y="30"/>
                </a:lnTo>
                <a:lnTo>
                  <a:pt x="86" y="30"/>
                </a:lnTo>
                <a:lnTo>
                  <a:pt x="86" y="29"/>
                </a:lnTo>
                <a:lnTo>
                  <a:pt x="87" y="29"/>
                </a:lnTo>
                <a:lnTo>
                  <a:pt x="87" y="27"/>
                </a:lnTo>
                <a:lnTo>
                  <a:pt x="90" y="27"/>
                </a:lnTo>
                <a:lnTo>
                  <a:pt x="93" y="25"/>
                </a:lnTo>
                <a:lnTo>
                  <a:pt x="90" y="25"/>
                </a:lnTo>
                <a:lnTo>
                  <a:pt x="89" y="25"/>
                </a:lnTo>
                <a:lnTo>
                  <a:pt x="86" y="25"/>
                </a:lnTo>
                <a:lnTo>
                  <a:pt x="86" y="27"/>
                </a:lnTo>
                <a:lnTo>
                  <a:pt x="85" y="29"/>
                </a:lnTo>
                <a:lnTo>
                  <a:pt x="82" y="29"/>
                </a:lnTo>
                <a:lnTo>
                  <a:pt x="81" y="29"/>
                </a:lnTo>
                <a:lnTo>
                  <a:pt x="74" y="30"/>
                </a:lnTo>
                <a:lnTo>
                  <a:pt x="73" y="29"/>
                </a:lnTo>
                <a:lnTo>
                  <a:pt x="70" y="29"/>
                </a:lnTo>
                <a:lnTo>
                  <a:pt x="70" y="27"/>
                </a:lnTo>
                <a:lnTo>
                  <a:pt x="73" y="25"/>
                </a:lnTo>
                <a:lnTo>
                  <a:pt x="73" y="24"/>
                </a:lnTo>
                <a:lnTo>
                  <a:pt x="71" y="22"/>
                </a:lnTo>
                <a:lnTo>
                  <a:pt x="69" y="24"/>
                </a:lnTo>
                <a:lnTo>
                  <a:pt x="69" y="25"/>
                </a:lnTo>
                <a:lnTo>
                  <a:pt x="66" y="27"/>
                </a:lnTo>
                <a:lnTo>
                  <a:pt x="65" y="27"/>
                </a:lnTo>
                <a:lnTo>
                  <a:pt x="63" y="27"/>
                </a:lnTo>
                <a:lnTo>
                  <a:pt x="63" y="25"/>
                </a:lnTo>
                <a:lnTo>
                  <a:pt x="62" y="25"/>
                </a:lnTo>
                <a:lnTo>
                  <a:pt x="59" y="25"/>
                </a:lnTo>
                <a:lnTo>
                  <a:pt x="58" y="25"/>
                </a:lnTo>
                <a:lnTo>
                  <a:pt x="58" y="27"/>
                </a:lnTo>
                <a:lnTo>
                  <a:pt x="58" y="29"/>
                </a:lnTo>
                <a:lnTo>
                  <a:pt x="57" y="30"/>
                </a:lnTo>
                <a:lnTo>
                  <a:pt x="58" y="30"/>
                </a:lnTo>
                <a:lnTo>
                  <a:pt x="59" y="30"/>
                </a:lnTo>
                <a:lnTo>
                  <a:pt x="61" y="32"/>
                </a:lnTo>
                <a:lnTo>
                  <a:pt x="59" y="32"/>
                </a:lnTo>
                <a:lnTo>
                  <a:pt x="57" y="30"/>
                </a:lnTo>
                <a:lnTo>
                  <a:pt x="54" y="32"/>
                </a:lnTo>
                <a:lnTo>
                  <a:pt x="53" y="32"/>
                </a:lnTo>
                <a:lnTo>
                  <a:pt x="53" y="33"/>
                </a:lnTo>
                <a:lnTo>
                  <a:pt x="49" y="33"/>
                </a:lnTo>
                <a:lnTo>
                  <a:pt x="47" y="35"/>
                </a:lnTo>
                <a:lnTo>
                  <a:pt x="43" y="33"/>
                </a:lnTo>
                <a:lnTo>
                  <a:pt x="43" y="35"/>
                </a:lnTo>
                <a:lnTo>
                  <a:pt x="42" y="33"/>
                </a:lnTo>
                <a:lnTo>
                  <a:pt x="41" y="35"/>
                </a:lnTo>
                <a:lnTo>
                  <a:pt x="37" y="33"/>
                </a:lnTo>
                <a:lnTo>
                  <a:pt x="35" y="33"/>
                </a:lnTo>
                <a:lnTo>
                  <a:pt x="34" y="33"/>
                </a:lnTo>
                <a:lnTo>
                  <a:pt x="35" y="32"/>
                </a:lnTo>
                <a:lnTo>
                  <a:pt x="33" y="32"/>
                </a:lnTo>
                <a:lnTo>
                  <a:pt x="30" y="32"/>
                </a:lnTo>
                <a:lnTo>
                  <a:pt x="29" y="30"/>
                </a:lnTo>
                <a:lnTo>
                  <a:pt x="26" y="30"/>
                </a:lnTo>
                <a:lnTo>
                  <a:pt x="27" y="29"/>
                </a:lnTo>
                <a:lnTo>
                  <a:pt x="34" y="29"/>
                </a:lnTo>
                <a:lnTo>
                  <a:pt x="37" y="29"/>
                </a:lnTo>
                <a:lnTo>
                  <a:pt x="38" y="27"/>
                </a:lnTo>
                <a:lnTo>
                  <a:pt x="35" y="29"/>
                </a:lnTo>
                <a:lnTo>
                  <a:pt x="30" y="29"/>
                </a:lnTo>
                <a:lnTo>
                  <a:pt x="21" y="27"/>
                </a:lnTo>
                <a:lnTo>
                  <a:pt x="19" y="27"/>
                </a:lnTo>
                <a:lnTo>
                  <a:pt x="18" y="25"/>
                </a:lnTo>
                <a:lnTo>
                  <a:pt x="15" y="25"/>
                </a:lnTo>
                <a:lnTo>
                  <a:pt x="17" y="24"/>
                </a:lnTo>
                <a:lnTo>
                  <a:pt x="18" y="24"/>
                </a:lnTo>
                <a:lnTo>
                  <a:pt x="19" y="22"/>
                </a:lnTo>
                <a:lnTo>
                  <a:pt x="17" y="22"/>
                </a:lnTo>
                <a:lnTo>
                  <a:pt x="11" y="21"/>
                </a:lnTo>
                <a:lnTo>
                  <a:pt x="10" y="21"/>
                </a:lnTo>
                <a:lnTo>
                  <a:pt x="13" y="21"/>
                </a:lnTo>
                <a:lnTo>
                  <a:pt x="15" y="21"/>
                </a:lnTo>
                <a:lnTo>
                  <a:pt x="26" y="22"/>
                </a:lnTo>
                <a:lnTo>
                  <a:pt x="26" y="21"/>
                </a:lnTo>
                <a:lnTo>
                  <a:pt x="25" y="21"/>
                </a:lnTo>
                <a:lnTo>
                  <a:pt x="22" y="21"/>
                </a:lnTo>
                <a:lnTo>
                  <a:pt x="19" y="21"/>
                </a:lnTo>
                <a:lnTo>
                  <a:pt x="19" y="19"/>
                </a:lnTo>
                <a:lnTo>
                  <a:pt x="15" y="19"/>
                </a:lnTo>
                <a:lnTo>
                  <a:pt x="18" y="18"/>
                </a:lnTo>
                <a:lnTo>
                  <a:pt x="17" y="18"/>
                </a:lnTo>
                <a:lnTo>
                  <a:pt x="18" y="16"/>
                </a:lnTo>
                <a:lnTo>
                  <a:pt x="19" y="16"/>
                </a:lnTo>
                <a:lnTo>
                  <a:pt x="21" y="14"/>
                </a:lnTo>
                <a:lnTo>
                  <a:pt x="18" y="14"/>
                </a:lnTo>
                <a:lnTo>
                  <a:pt x="17" y="16"/>
                </a:lnTo>
                <a:lnTo>
                  <a:pt x="15" y="16"/>
                </a:lnTo>
                <a:lnTo>
                  <a:pt x="10" y="14"/>
                </a:lnTo>
                <a:lnTo>
                  <a:pt x="14" y="16"/>
                </a:lnTo>
                <a:lnTo>
                  <a:pt x="11" y="18"/>
                </a:lnTo>
                <a:lnTo>
                  <a:pt x="9" y="18"/>
                </a:lnTo>
                <a:lnTo>
                  <a:pt x="7" y="18"/>
                </a:lnTo>
                <a:lnTo>
                  <a:pt x="6" y="16"/>
                </a:lnTo>
                <a:lnTo>
                  <a:pt x="5" y="14"/>
                </a:lnTo>
                <a:lnTo>
                  <a:pt x="5" y="16"/>
                </a:lnTo>
                <a:lnTo>
                  <a:pt x="5" y="14"/>
                </a:lnTo>
                <a:lnTo>
                  <a:pt x="4" y="14"/>
                </a:lnTo>
                <a:lnTo>
                  <a:pt x="2" y="14"/>
                </a:lnTo>
                <a:lnTo>
                  <a:pt x="2" y="13"/>
                </a:lnTo>
                <a:lnTo>
                  <a:pt x="2" y="11"/>
                </a:lnTo>
                <a:lnTo>
                  <a:pt x="1" y="11"/>
                </a:lnTo>
                <a:lnTo>
                  <a:pt x="0" y="11"/>
                </a:lnTo>
                <a:lnTo>
                  <a:pt x="2" y="10"/>
                </a:lnTo>
                <a:lnTo>
                  <a:pt x="5" y="11"/>
                </a:lnTo>
                <a:lnTo>
                  <a:pt x="5" y="10"/>
                </a:lnTo>
                <a:lnTo>
                  <a:pt x="2" y="8"/>
                </a:lnTo>
                <a:lnTo>
                  <a:pt x="4" y="8"/>
                </a:lnTo>
                <a:lnTo>
                  <a:pt x="6" y="8"/>
                </a:lnTo>
                <a:lnTo>
                  <a:pt x="9" y="8"/>
                </a:lnTo>
                <a:lnTo>
                  <a:pt x="10" y="8"/>
                </a:lnTo>
                <a:lnTo>
                  <a:pt x="7" y="7"/>
                </a:lnTo>
                <a:lnTo>
                  <a:pt x="11" y="7"/>
                </a:lnTo>
                <a:lnTo>
                  <a:pt x="13" y="7"/>
                </a:lnTo>
                <a:lnTo>
                  <a:pt x="11" y="5"/>
                </a:lnTo>
                <a:lnTo>
                  <a:pt x="14" y="5"/>
                </a:lnTo>
                <a:lnTo>
                  <a:pt x="21" y="8"/>
                </a:lnTo>
                <a:lnTo>
                  <a:pt x="22" y="8"/>
                </a:lnTo>
                <a:lnTo>
                  <a:pt x="23" y="8"/>
                </a:lnTo>
                <a:lnTo>
                  <a:pt x="22" y="5"/>
                </a:lnTo>
                <a:lnTo>
                  <a:pt x="25" y="5"/>
                </a:lnTo>
                <a:lnTo>
                  <a:pt x="25" y="7"/>
                </a:lnTo>
                <a:lnTo>
                  <a:pt x="27" y="7"/>
                </a:lnTo>
                <a:lnTo>
                  <a:pt x="34" y="7"/>
                </a:lnTo>
                <a:lnTo>
                  <a:pt x="39" y="5"/>
                </a:lnTo>
                <a:lnTo>
                  <a:pt x="43" y="5"/>
                </a:lnTo>
                <a:lnTo>
                  <a:pt x="46" y="5"/>
                </a:lnTo>
                <a:lnTo>
                  <a:pt x="49" y="7"/>
                </a:lnTo>
                <a:lnTo>
                  <a:pt x="47" y="7"/>
                </a:lnTo>
                <a:lnTo>
                  <a:pt x="46" y="8"/>
                </a:lnTo>
                <a:lnTo>
                  <a:pt x="42" y="8"/>
                </a:lnTo>
                <a:lnTo>
                  <a:pt x="41" y="8"/>
                </a:lnTo>
                <a:lnTo>
                  <a:pt x="39" y="8"/>
                </a:lnTo>
                <a:lnTo>
                  <a:pt x="35" y="8"/>
                </a:lnTo>
                <a:lnTo>
                  <a:pt x="34" y="8"/>
                </a:lnTo>
                <a:lnTo>
                  <a:pt x="31" y="10"/>
                </a:lnTo>
                <a:lnTo>
                  <a:pt x="26" y="10"/>
                </a:lnTo>
                <a:lnTo>
                  <a:pt x="29" y="11"/>
                </a:lnTo>
                <a:lnTo>
                  <a:pt x="37" y="10"/>
                </a:lnTo>
                <a:lnTo>
                  <a:pt x="42" y="10"/>
                </a:lnTo>
                <a:lnTo>
                  <a:pt x="41" y="11"/>
                </a:lnTo>
                <a:lnTo>
                  <a:pt x="38" y="11"/>
                </a:lnTo>
                <a:lnTo>
                  <a:pt x="39" y="11"/>
                </a:lnTo>
                <a:lnTo>
                  <a:pt x="38" y="13"/>
                </a:lnTo>
                <a:lnTo>
                  <a:pt x="39" y="13"/>
                </a:lnTo>
                <a:lnTo>
                  <a:pt x="42" y="13"/>
                </a:lnTo>
                <a:lnTo>
                  <a:pt x="42" y="11"/>
                </a:lnTo>
                <a:lnTo>
                  <a:pt x="45" y="13"/>
                </a:lnTo>
                <a:lnTo>
                  <a:pt x="46" y="14"/>
                </a:lnTo>
                <a:lnTo>
                  <a:pt x="49" y="14"/>
                </a:lnTo>
                <a:lnTo>
                  <a:pt x="51" y="16"/>
                </a:lnTo>
                <a:lnTo>
                  <a:pt x="54" y="16"/>
                </a:lnTo>
                <a:lnTo>
                  <a:pt x="51" y="16"/>
                </a:lnTo>
                <a:lnTo>
                  <a:pt x="50" y="14"/>
                </a:lnTo>
                <a:lnTo>
                  <a:pt x="49" y="11"/>
                </a:lnTo>
                <a:lnTo>
                  <a:pt x="47" y="10"/>
                </a:lnTo>
                <a:lnTo>
                  <a:pt x="49" y="10"/>
                </a:lnTo>
                <a:lnTo>
                  <a:pt x="51" y="8"/>
                </a:lnTo>
                <a:lnTo>
                  <a:pt x="54" y="8"/>
                </a:lnTo>
                <a:lnTo>
                  <a:pt x="54" y="7"/>
                </a:lnTo>
                <a:lnTo>
                  <a:pt x="57" y="7"/>
                </a:lnTo>
                <a:lnTo>
                  <a:pt x="61" y="7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46" name="Freeform 445"/>
          <p:cNvSpPr>
            <a:spLocks/>
          </p:cNvSpPr>
          <p:nvPr/>
        </p:nvSpPr>
        <p:spPr bwMode="auto">
          <a:xfrm>
            <a:off x="6070034" y="1530894"/>
            <a:ext cx="25335" cy="8591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2" y="3"/>
              </a:cxn>
              <a:cxn ang="0">
                <a:pos x="4" y="1"/>
              </a:cxn>
              <a:cxn ang="0">
                <a:pos x="7" y="1"/>
              </a:cxn>
              <a:cxn ang="0">
                <a:pos x="7" y="0"/>
              </a:cxn>
              <a:cxn ang="0">
                <a:pos x="10" y="0"/>
              </a:cxn>
              <a:cxn ang="0">
                <a:pos x="14" y="0"/>
              </a:cxn>
            </a:cxnLst>
            <a:rect l="0" t="0" r="r" b="b"/>
            <a:pathLst>
              <a:path w="14" h="3">
                <a:moveTo>
                  <a:pt x="0" y="3"/>
                </a:moveTo>
                <a:lnTo>
                  <a:pt x="2" y="3"/>
                </a:lnTo>
                <a:lnTo>
                  <a:pt x="4" y="1"/>
                </a:lnTo>
                <a:lnTo>
                  <a:pt x="7" y="1"/>
                </a:lnTo>
                <a:lnTo>
                  <a:pt x="7" y="0"/>
                </a:lnTo>
                <a:lnTo>
                  <a:pt x="10" y="0"/>
                </a:lnTo>
                <a:lnTo>
                  <a:pt x="14" y="0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47" name="Freeform 446"/>
          <p:cNvSpPr>
            <a:spLocks/>
          </p:cNvSpPr>
          <p:nvPr/>
        </p:nvSpPr>
        <p:spPr bwMode="auto">
          <a:xfrm>
            <a:off x="5974543" y="1560960"/>
            <a:ext cx="48719" cy="23622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4" y="0"/>
              </a:cxn>
              <a:cxn ang="0">
                <a:pos x="5" y="0"/>
              </a:cxn>
              <a:cxn ang="0">
                <a:pos x="7" y="2"/>
              </a:cxn>
              <a:cxn ang="0">
                <a:pos x="10" y="2"/>
              </a:cxn>
              <a:cxn ang="0">
                <a:pos x="12" y="5"/>
              </a:cxn>
              <a:cxn ang="0">
                <a:pos x="13" y="5"/>
              </a:cxn>
              <a:cxn ang="0">
                <a:pos x="12" y="7"/>
              </a:cxn>
              <a:cxn ang="0">
                <a:pos x="14" y="7"/>
              </a:cxn>
              <a:cxn ang="0">
                <a:pos x="18" y="8"/>
              </a:cxn>
              <a:cxn ang="0">
                <a:pos x="21" y="8"/>
              </a:cxn>
              <a:cxn ang="0">
                <a:pos x="21" y="10"/>
              </a:cxn>
              <a:cxn ang="0">
                <a:pos x="22" y="10"/>
              </a:cxn>
              <a:cxn ang="0">
                <a:pos x="24" y="11"/>
              </a:cxn>
              <a:cxn ang="0">
                <a:pos x="25" y="11"/>
              </a:cxn>
              <a:cxn ang="0">
                <a:pos x="21" y="11"/>
              </a:cxn>
              <a:cxn ang="0">
                <a:pos x="20" y="10"/>
              </a:cxn>
              <a:cxn ang="0">
                <a:pos x="17" y="10"/>
              </a:cxn>
              <a:cxn ang="0">
                <a:pos x="13" y="8"/>
              </a:cxn>
              <a:cxn ang="0">
                <a:pos x="12" y="8"/>
              </a:cxn>
              <a:cxn ang="0">
                <a:pos x="8" y="7"/>
              </a:cxn>
              <a:cxn ang="0">
                <a:pos x="7" y="7"/>
              </a:cxn>
              <a:cxn ang="0">
                <a:pos x="5" y="5"/>
              </a:cxn>
              <a:cxn ang="0">
                <a:pos x="3" y="2"/>
              </a:cxn>
              <a:cxn ang="0">
                <a:pos x="1" y="2"/>
              </a:cxn>
              <a:cxn ang="0">
                <a:pos x="0" y="2"/>
              </a:cxn>
              <a:cxn ang="0">
                <a:pos x="1" y="0"/>
              </a:cxn>
            </a:cxnLst>
            <a:rect l="0" t="0" r="r" b="b"/>
            <a:pathLst>
              <a:path w="25" h="11">
                <a:moveTo>
                  <a:pt x="1" y="0"/>
                </a:moveTo>
                <a:lnTo>
                  <a:pt x="4" y="0"/>
                </a:lnTo>
                <a:lnTo>
                  <a:pt x="5" y="0"/>
                </a:lnTo>
                <a:lnTo>
                  <a:pt x="7" y="2"/>
                </a:lnTo>
                <a:lnTo>
                  <a:pt x="10" y="2"/>
                </a:lnTo>
                <a:lnTo>
                  <a:pt x="12" y="5"/>
                </a:lnTo>
                <a:lnTo>
                  <a:pt x="13" y="5"/>
                </a:lnTo>
                <a:lnTo>
                  <a:pt x="12" y="7"/>
                </a:lnTo>
                <a:lnTo>
                  <a:pt x="14" y="7"/>
                </a:lnTo>
                <a:lnTo>
                  <a:pt x="18" y="8"/>
                </a:lnTo>
                <a:lnTo>
                  <a:pt x="21" y="8"/>
                </a:lnTo>
                <a:lnTo>
                  <a:pt x="21" y="10"/>
                </a:lnTo>
                <a:lnTo>
                  <a:pt x="22" y="10"/>
                </a:lnTo>
                <a:lnTo>
                  <a:pt x="24" y="11"/>
                </a:lnTo>
                <a:lnTo>
                  <a:pt x="25" y="11"/>
                </a:lnTo>
                <a:lnTo>
                  <a:pt x="21" y="11"/>
                </a:lnTo>
                <a:lnTo>
                  <a:pt x="20" y="10"/>
                </a:lnTo>
                <a:lnTo>
                  <a:pt x="17" y="10"/>
                </a:lnTo>
                <a:lnTo>
                  <a:pt x="13" y="8"/>
                </a:lnTo>
                <a:lnTo>
                  <a:pt x="12" y="8"/>
                </a:lnTo>
                <a:lnTo>
                  <a:pt x="8" y="7"/>
                </a:lnTo>
                <a:lnTo>
                  <a:pt x="7" y="7"/>
                </a:lnTo>
                <a:lnTo>
                  <a:pt x="5" y="5"/>
                </a:lnTo>
                <a:lnTo>
                  <a:pt x="3" y="2"/>
                </a:lnTo>
                <a:lnTo>
                  <a:pt x="1" y="2"/>
                </a:lnTo>
                <a:lnTo>
                  <a:pt x="0" y="2"/>
                </a:lnTo>
                <a:lnTo>
                  <a:pt x="1" y="0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48" name="Freeform 447"/>
          <p:cNvSpPr>
            <a:spLocks/>
          </p:cNvSpPr>
          <p:nvPr/>
        </p:nvSpPr>
        <p:spPr bwMode="auto">
          <a:xfrm>
            <a:off x="5974543" y="1560960"/>
            <a:ext cx="48719" cy="23622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4" y="0"/>
              </a:cxn>
              <a:cxn ang="0">
                <a:pos x="5" y="0"/>
              </a:cxn>
              <a:cxn ang="0">
                <a:pos x="7" y="2"/>
              </a:cxn>
              <a:cxn ang="0">
                <a:pos x="10" y="2"/>
              </a:cxn>
              <a:cxn ang="0">
                <a:pos x="12" y="5"/>
              </a:cxn>
              <a:cxn ang="0">
                <a:pos x="13" y="5"/>
              </a:cxn>
              <a:cxn ang="0">
                <a:pos x="12" y="7"/>
              </a:cxn>
              <a:cxn ang="0">
                <a:pos x="14" y="7"/>
              </a:cxn>
              <a:cxn ang="0">
                <a:pos x="18" y="8"/>
              </a:cxn>
              <a:cxn ang="0">
                <a:pos x="21" y="8"/>
              </a:cxn>
              <a:cxn ang="0">
                <a:pos x="21" y="10"/>
              </a:cxn>
              <a:cxn ang="0">
                <a:pos x="22" y="10"/>
              </a:cxn>
              <a:cxn ang="0">
                <a:pos x="24" y="11"/>
              </a:cxn>
              <a:cxn ang="0">
                <a:pos x="25" y="11"/>
              </a:cxn>
              <a:cxn ang="0">
                <a:pos x="21" y="11"/>
              </a:cxn>
              <a:cxn ang="0">
                <a:pos x="20" y="10"/>
              </a:cxn>
              <a:cxn ang="0">
                <a:pos x="17" y="10"/>
              </a:cxn>
              <a:cxn ang="0">
                <a:pos x="13" y="8"/>
              </a:cxn>
              <a:cxn ang="0">
                <a:pos x="12" y="8"/>
              </a:cxn>
              <a:cxn ang="0">
                <a:pos x="8" y="7"/>
              </a:cxn>
              <a:cxn ang="0">
                <a:pos x="7" y="7"/>
              </a:cxn>
              <a:cxn ang="0">
                <a:pos x="5" y="5"/>
              </a:cxn>
              <a:cxn ang="0">
                <a:pos x="3" y="2"/>
              </a:cxn>
              <a:cxn ang="0">
                <a:pos x="1" y="2"/>
              </a:cxn>
              <a:cxn ang="0">
                <a:pos x="0" y="2"/>
              </a:cxn>
              <a:cxn ang="0">
                <a:pos x="1" y="0"/>
              </a:cxn>
            </a:cxnLst>
            <a:rect l="0" t="0" r="r" b="b"/>
            <a:pathLst>
              <a:path w="25" h="11">
                <a:moveTo>
                  <a:pt x="1" y="0"/>
                </a:moveTo>
                <a:lnTo>
                  <a:pt x="4" y="0"/>
                </a:lnTo>
                <a:lnTo>
                  <a:pt x="5" y="0"/>
                </a:lnTo>
                <a:lnTo>
                  <a:pt x="7" y="2"/>
                </a:lnTo>
                <a:lnTo>
                  <a:pt x="10" y="2"/>
                </a:lnTo>
                <a:lnTo>
                  <a:pt x="12" y="5"/>
                </a:lnTo>
                <a:lnTo>
                  <a:pt x="13" y="5"/>
                </a:lnTo>
                <a:lnTo>
                  <a:pt x="12" y="7"/>
                </a:lnTo>
                <a:lnTo>
                  <a:pt x="14" y="7"/>
                </a:lnTo>
                <a:lnTo>
                  <a:pt x="18" y="8"/>
                </a:lnTo>
                <a:lnTo>
                  <a:pt x="21" y="8"/>
                </a:lnTo>
                <a:lnTo>
                  <a:pt x="21" y="10"/>
                </a:lnTo>
                <a:lnTo>
                  <a:pt x="22" y="10"/>
                </a:lnTo>
                <a:lnTo>
                  <a:pt x="24" y="11"/>
                </a:lnTo>
                <a:lnTo>
                  <a:pt x="25" y="11"/>
                </a:lnTo>
                <a:lnTo>
                  <a:pt x="21" y="11"/>
                </a:lnTo>
                <a:lnTo>
                  <a:pt x="20" y="10"/>
                </a:lnTo>
                <a:lnTo>
                  <a:pt x="17" y="10"/>
                </a:lnTo>
                <a:lnTo>
                  <a:pt x="13" y="8"/>
                </a:lnTo>
                <a:lnTo>
                  <a:pt x="12" y="8"/>
                </a:lnTo>
                <a:lnTo>
                  <a:pt x="8" y="7"/>
                </a:lnTo>
                <a:lnTo>
                  <a:pt x="7" y="7"/>
                </a:lnTo>
                <a:lnTo>
                  <a:pt x="5" y="5"/>
                </a:lnTo>
                <a:lnTo>
                  <a:pt x="3" y="2"/>
                </a:lnTo>
                <a:lnTo>
                  <a:pt x="1" y="2"/>
                </a:lnTo>
                <a:lnTo>
                  <a:pt x="0" y="2"/>
                </a:lnTo>
                <a:lnTo>
                  <a:pt x="1" y="0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49" name="Freeform 448"/>
          <p:cNvSpPr>
            <a:spLocks/>
          </p:cNvSpPr>
          <p:nvPr/>
        </p:nvSpPr>
        <p:spPr bwMode="auto">
          <a:xfrm>
            <a:off x="6253223" y="1571698"/>
            <a:ext cx="66259" cy="17181"/>
          </a:xfrm>
          <a:custGeom>
            <a:avLst/>
            <a:gdLst/>
            <a:ahLst/>
            <a:cxnLst>
              <a:cxn ang="0">
                <a:pos x="19" y="0"/>
              </a:cxn>
              <a:cxn ang="0">
                <a:pos x="17" y="0"/>
              </a:cxn>
              <a:cxn ang="0">
                <a:pos x="19" y="0"/>
              </a:cxn>
              <a:cxn ang="0">
                <a:pos x="29" y="0"/>
              </a:cxn>
              <a:cxn ang="0">
                <a:pos x="31" y="2"/>
              </a:cxn>
              <a:cxn ang="0">
                <a:pos x="35" y="2"/>
              </a:cxn>
              <a:cxn ang="0">
                <a:pos x="31" y="3"/>
              </a:cxn>
              <a:cxn ang="0">
                <a:pos x="29" y="5"/>
              </a:cxn>
              <a:cxn ang="0">
                <a:pos x="29" y="6"/>
              </a:cxn>
              <a:cxn ang="0">
                <a:pos x="23" y="6"/>
              </a:cxn>
              <a:cxn ang="0">
                <a:pos x="19" y="6"/>
              </a:cxn>
              <a:cxn ang="0">
                <a:pos x="15" y="6"/>
              </a:cxn>
              <a:cxn ang="0">
                <a:pos x="15" y="8"/>
              </a:cxn>
              <a:cxn ang="0">
                <a:pos x="11" y="6"/>
              </a:cxn>
              <a:cxn ang="0">
                <a:pos x="9" y="6"/>
              </a:cxn>
              <a:cxn ang="0">
                <a:pos x="7" y="5"/>
              </a:cxn>
              <a:cxn ang="0">
                <a:pos x="7" y="3"/>
              </a:cxn>
              <a:cxn ang="0">
                <a:pos x="4" y="3"/>
              </a:cxn>
              <a:cxn ang="0">
                <a:pos x="0" y="2"/>
              </a:cxn>
              <a:cxn ang="0">
                <a:pos x="8" y="2"/>
              </a:cxn>
              <a:cxn ang="0">
                <a:pos x="9" y="2"/>
              </a:cxn>
              <a:cxn ang="0">
                <a:pos x="11" y="2"/>
              </a:cxn>
              <a:cxn ang="0">
                <a:pos x="12" y="2"/>
              </a:cxn>
              <a:cxn ang="0">
                <a:pos x="15" y="0"/>
              </a:cxn>
              <a:cxn ang="0">
                <a:pos x="19" y="0"/>
              </a:cxn>
            </a:cxnLst>
            <a:rect l="0" t="0" r="r" b="b"/>
            <a:pathLst>
              <a:path w="35" h="8">
                <a:moveTo>
                  <a:pt x="19" y="0"/>
                </a:moveTo>
                <a:lnTo>
                  <a:pt x="17" y="0"/>
                </a:lnTo>
                <a:lnTo>
                  <a:pt x="19" y="0"/>
                </a:lnTo>
                <a:lnTo>
                  <a:pt x="29" y="0"/>
                </a:lnTo>
                <a:lnTo>
                  <a:pt x="31" y="2"/>
                </a:lnTo>
                <a:lnTo>
                  <a:pt x="35" y="2"/>
                </a:lnTo>
                <a:lnTo>
                  <a:pt x="31" y="3"/>
                </a:lnTo>
                <a:lnTo>
                  <a:pt x="29" y="5"/>
                </a:lnTo>
                <a:lnTo>
                  <a:pt x="29" y="6"/>
                </a:lnTo>
                <a:lnTo>
                  <a:pt x="23" y="6"/>
                </a:lnTo>
                <a:lnTo>
                  <a:pt x="19" y="6"/>
                </a:lnTo>
                <a:lnTo>
                  <a:pt x="15" y="6"/>
                </a:lnTo>
                <a:lnTo>
                  <a:pt x="15" y="8"/>
                </a:lnTo>
                <a:lnTo>
                  <a:pt x="11" y="6"/>
                </a:lnTo>
                <a:lnTo>
                  <a:pt x="9" y="6"/>
                </a:lnTo>
                <a:lnTo>
                  <a:pt x="7" y="5"/>
                </a:lnTo>
                <a:lnTo>
                  <a:pt x="7" y="3"/>
                </a:lnTo>
                <a:lnTo>
                  <a:pt x="4" y="3"/>
                </a:lnTo>
                <a:lnTo>
                  <a:pt x="0" y="2"/>
                </a:lnTo>
                <a:lnTo>
                  <a:pt x="8" y="2"/>
                </a:lnTo>
                <a:lnTo>
                  <a:pt x="9" y="2"/>
                </a:lnTo>
                <a:lnTo>
                  <a:pt x="11" y="2"/>
                </a:lnTo>
                <a:lnTo>
                  <a:pt x="12" y="2"/>
                </a:lnTo>
                <a:lnTo>
                  <a:pt x="15" y="0"/>
                </a:lnTo>
                <a:lnTo>
                  <a:pt x="19" y="0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50" name="Freeform 449"/>
          <p:cNvSpPr>
            <a:spLocks/>
          </p:cNvSpPr>
          <p:nvPr/>
        </p:nvSpPr>
        <p:spPr bwMode="auto">
          <a:xfrm>
            <a:off x="6253223" y="1571698"/>
            <a:ext cx="66259" cy="17181"/>
          </a:xfrm>
          <a:custGeom>
            <a:avLst/>
            <a:gdLst/>
            <a:ahLst/>
            <a:cxnLst>
              <a:cxn ang="0">
                <a:pos x="19" y="0"/>
              </a:cxn>
              <a:cxn ang="0">
                <a:pos x="17" y="0"/>
              </a:cxn>
              <a:cxn ang="0">
                <a:pos x="19" y="0"/>
              </a:cxn>
              <a:cxn ang="0">
                <a:pos x="29" y="0"/>
              </a:cxn>
              <a:cxn ang="0">
                <a:pos x="31" y="2"/>
              </a:cxn>
              <a:cxn ang="0">
                <a:pos x="35" y="2"/>
              </a:cxn>
              <a:cxn ang="0">
                <a:pos x="31" y="3"/>
              </a:cxn>
              <a:cxn ang="0">
                <a:pos x="29" y="5"/>
              </a:cxn>
              <a:cxn ang="0">
                <a:pos x="29" y="6"/>
              </a:cxn>
              <a:cxn ang="0">
                <a:pos x="23" y="6"/>
              </a:cxn>
              <a:cxn ang="0">
                <a:pos x="19" y="6"/>
              </a:cxn>
              <a:cxn ang="0">
                <a:pos x="15" y="6"/>
              </a:cxn>
              <a:cxn ang="0">
                <a:pos x="15" y="8"/>
              </a:cxn>
              <a:cxn ang="0">
                <a:pos x="11" y="6"/>
              </a:cxn>
              <a:cxn ang="0">
                <a:pos x="9" y="6"/>
              </a:cxn>
              <a:cxn ang="0">
                <a:pos x="7" y="5"/>
              </a:cxn>
              <a:cxn ang="0">
                <a:pos x="7" y="3"/>
              </a:cxn>
              <a:cxn ang="0">
                <a:pos x="4" y="3"/>
              </a:cxn>
              <a:cxn ang="0">
                <a:pos x="0" y="2"/>
              </a:cxn>
              <a:cxn ang="0">
                <a:pos x="8" y="2"/>
              </a:cxn>
              <a:cxn ang="0">
                <a:pos x="9" y="2"/>
              </a:cxn>
              <a:cxn ang="0">
                <a:pos x="11" y="2"/>
              </a:cxn>
              <a:cxn ang="0">
                <a:pos x="12" y="2"/>
              </a:cxn>
              <a:cxn ang="0">
                <a:pos x="15" y="0"/>
              </a:cxn>
              <a:cxn ang="0">
                <a:pos x="19" y="0"/>
              </a:cxn>
            </a:cxnLst>
            <a:rect l="0" t="0" r="r" b="b"/>
            <a:pathLst>
              <a:path w="35" h="8">
                <a:moveTo>
                  <a:pt x="19" y="0"/>
                </a:moveTo>
                <a:lnTo>
                  <a:pt x="17" y="0"/>
                </a:lnTo>
                <a:lnTo>
                  <a:pt x="19" y="0"/>
                </a:lnTo>
                <a:lnTo>
                  <a:pt x="29" y="0"/>
                </a:lnTo>
                <a:lnTo>
                  <a:pt x="31" y="2"/>
                </a:lnTo>
                <a:lnTo>
                  <a:pt x="35" y="2"/>
                </a:lnTo>
                <a:lnTo>
                  <a:pt x="31" y="3"/>
                </a:lnTo>
                <a:lnTo>
                  <a:pt x="29" y="5"/>
                </a:lnTo>
                <a:lnTo>
                  <a:pt x="29" y="6"/>
                </a:lnTo>
                <a:lnTo>
                  <a:pt x="23" y="6"/>
                </a:lnTo>
                <a:lnTo>
                  <a:pt x="19" y="6"/>
                </a:lnTo>
                <a:lnTo>
                  <a:pt x="15" y="6"/>
                </a:lnTo>
                <a:lnTo>
                  <a:pt x="15" y="8"/>
                </a:lnTo>
                <a:lnTo>
                  <a:pt x="11" y="6"/>
                </a:lnTo>
                <a:lnTo>
                  <a:pt x="9" y="6"/>
                </a:lnTo>
                <a:lnTo>
                  <a:pt x="7" y="5"/>
                </a:lnTo>
                <a:lnTo>
                  <a:pt x="7" y="3"/>
                </a:lnTo>
                <a:lnTo>
                  <a:pt x="4" y="3"/>
                </a:lnTo>
                <a:lnTo>
                  <a:pt x="0" y="2"/>
                </a:lnTo>
                <a:lnTo>
                  <a:pt x="8" y="2"/>
                </a:lnTo>
                <a:lnTo>
                  <a:pt x="9" y="2"/>
                </a:lnTo>
                <a:lnTo>
                  <a:pt x="11" y="2"/>
                </a:lnTo>
                <a:lnTo>
                  <a:pt x="12" y="2"/>
                </a:lnTo>
                <a:lnTo>
                  <a:pt x="15" y="0"/>
                </a:lnTo>
                <a:lnTo>
                  <a:pt x="19" y="0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51" name="Freeform 450"/>
          <p:cNvSpPr>
            <a:spLocks/>
          </p:cNvSpPr>
          <p:nvPr/>
        </p:nvSpPr>
        <p:spPr bwMode="auto">
          <a:xfrm>
            <a:off x="6270763" y="1582438"/>
            <a:ext cx="118877" cy="36509"/>
          </a:xfrm>
          <a:custGeom>
            <a:avLst/>
            <a:gdLst/>
            <a:ahLst/>
            <a:cxnLst>
              <a:cxn ang="0">
                <a:pos x="32" y="1"/>
              </a:cxn>
              <a:cxn ang="0">
                <a:pos x="36" y="1"/>
              </a:cxn>
              <a:cxn ang="0">
                <a:pos x="38" y="3"/>
              </a:cxn>
              <a:cxn ang="0">
                <a:pos x="35" y="4"/>
              </a:cxn>
              <a:cxn ang="0">
                <a:pos x="34" y="6"/>
              </a:cxn>
              <a:cxn ang="0">
                <a:pos x="38" y="6"/>
              </a:cxn>
              <a:cxn ang="0">
                <a:pos x="42" y="8"/>
              </a:cxn>
              <a:cxn ang="0">
                <a:pos x="50" y="8"/>
              </a:cxn>
              <a:cxn ang="0">
                <a:pos x="52" y="8"/>
              </a:cxn>
              <a:cxn ang="0">
                <a:pos x="55" y="8"/>
              </a:cxn>
              <a:cxn ang="0">
                <a:pos x="58" y="9"/>
              </a:cxn>
              <a:cxn ang="0">
                <a:pos x="62" y="11"/>
              </a:cxn>
              <a:cxn ang="0">
                <a:pos x="62" y="11"/>
              </a:cxn>
              <a:cxn ang="0">
                <a:pos x="51" y="12"/>
              </a:cxn>
              <a:cxn ang="0">
                <a:pos x="47" y="14"/>
              </a:cxn>
              <a:cxn ang="0">
                <a:pos x="43" y="15"/>
              </a:cxn>
              <a:cxn ang="0">
                <a:pos x="40" y="15"/>
              </a:cxn>
              <a:cxn ang="0">
                <a:pos x="38" y="17"/>
              </a:cxn>
              <a:cxn ang="0">
                <a:pos x="35" y="17"/>
              </a:cxn>
              <a:cxn ang="0">
                <a:pos x="31" y="17"/>
              </a:cxn>
              <a:cxn ang="0">
                <a:pos x="28" y="19"/>
              </a:cxn>
              <a:cxn ang="0">
                <a:pos x="24" y="19"/>
              </a:cxn>
              <a:cxn ang="0">
                <a:pos x="28" y="17"/>
              </a:cxn>
              <a:cxn ang="0">
                <a:pos x="28" y="15"/>
              </a:cxn>
              <a:cxn ang="0">
                <a:pos x="31" y="14"/>
              </a:cxn>
              <a:cxn ang="0">
                <a:pos x="28" y="15"/>
              </a:cxn>
              <a:cxn ang="0">
                <a:pos x="28" y="14"/>
              </a:cxn>
              <a:cxn ang="0">
                <a:pos x="23" y="14"/>
              </a:cxn>
              <a:cxn ang="0">
                <a:pos x="10" y="15"/>
              </a:cxn>
              <a:cxn ang="0">
                <a:pos x="6" y="15"/>
              </a:cxn>
              <a:cxn ang="0">
                <a:pos x="2" y="15"/>
              </a:cxn>
              <a:cxn ang="0">
                <a:pos x="0" y="14"/>
              </a:cxn>
              <a:cxn ang="0">
                <a:pos x="3" y="14"/>
              </a:cxn>
              <a:cxn ang="0">
                <a:pos x="7" y="12"/>
              </a:cxn>
              <a:cxn ang="0">
                <a:pos x="8" y="9"/>
              </a:cxn>
              <a:cxn ang="0">
                <a:pos x="11" y="8"/>
              </a:cxn>
              <a:cxn ang="0">
                <a:pos x="6" y="6"/>
              </a:cxn>
              <a:cxn ang="0">
                <a:pos x="3" y="4"/>
              </a:cxn>
              <a:cxn ang="0">
                <a:pos x="2" y="4"/>
              </a:cxn>
              <a:cxn ang="0">
                <a:pos x="15" y="1"/>
              </a:cxn>
              <a:cxn ang="0">
                <a:pos x="26" y="3"/>
              </a:cxn>
              <a:cxn ang="0">
                <a:pos x="30" y="1"/>
              </a:cxn>
              <a:cxn ang="0">
                <a:pos x="32" y="0"/>
              </a:cxn>
            </a:cxnLst>
            <a:rect l="0" t="0" r="r" b="b"/>
            <a:pathLst>
              <a:path w="63" h="19">
                <a:moveTo>
                  <a:pt x="32" y="0"/>
                </a:moveTo>
                <a:lnTo>
                  <a:pt x="32" y="1"/>
                </a:lnTo>
                <a:lnTo>
                  <a:pt x="34" y="3"/>
                </a:lnTo>
                <a:lnTo>
                  <a:pt x="36" y="1"/>
                </a:lnTo>
                <a:lnTo>
                  <a:pt x="39" y="3"/>
                </a:lnTo>
                <a:lnTo>
                  <a:pt x="38" y="3"/>
                </a:lnTo>
                <a:lnTo>
                  <a:pt x="38" y="4"/>
                </a:lnTo>
                <a:lnTo>
                  <a:pt x="35" y="4"/>
                </a:lnTo>
                <a:lnTo>
                  <a:pt x="34" y="4"/>
                </a:lnTo>
                <a:lnTo>
                  <a:pt x="34" y="6"/>
                </a:lnTo>
                <a:lnTo>
                  <a:pt x="35" y="6"/>
                </a:lnTo>
                <a:lnTo>
                  <a:pt x="38" y="6"/>
                </a:lnTo>
                <a:lnTo>
                  <a:pt x="39" y="8"/>
                </a:lnTo>
                <a:lnTo>
                  <a:pt x="42" y="8"/>
                </a:lnTo>
                <a:lnTo>
                  <a:pt x="46" y="9"/>
                </a:lnTo>
                <a:lnTo>
                  <a:pt x="50" y="8"/>
                </a:lnTo>
                <a:lnTo>
                  <a:pt x="51" y="8"/>
                </a:lnTo>
                <a:lnTo>
                  <a:pt x="52" y="8"/>
                </a:lnTo>
                <a:lnTo>
                  <a:pt x="54" y="8"/>
                </a:lnTo>
                <a:lnTo>
                  <a:pt x="55" y="8"/>
                </a:lnTo>
                <a:lnTo>
                  <a:pt x="56" y="9"/>
                </a:lnTo>
                <a:lnTo>
                  <a:pt x="58" y="9"/>
                </a:lnTo>
                <a:lnTo>
                  <a:pt x="59" y="11"/>
                </a:lnTo>
                <a:lnTo>
                  <a:pt x="62" y="11"/>
                </a:lnTo>
                <a:lnTo>
                  <a:pt x="63" y="11"/>
                </a:lnTo>
                <a:lnTo>
                  <a:pt x="62" y="11"/>
                </a:lnTo>
                <a:lnTo>
                  <a:pt x="58" y="11"/>
                </a:lnTo>
                <a:lnTo>
                  <a:pt x="51" y="12"/>
                </a:lnTo>
                <a:lnTo>
                  <a:pt x="48" y="12"/>
                </a:lnTo>
                <a:lnTo>
                  <a:pt x="47" y="14"/>
                </a:lnTo>
                <a:lnTo>
                  <a:pt x="44" y="15"/>
                </a:lnTo>
                <a:lnTo>
                  <a:pt x="43" y="15"/>
                </a:lnTo>
                <a:lnTo>
                  <a:pt x="42" y="15"/>
                </a:lnTo>
                <a:lnTo>
                  <a:pt x="40" y="15"/>
                </a:lnTo>
                <a:lnTo>
                  <a:pt x="40" y="17"/>
                </a:lnTo>
                <a:lnTo>
                  <a:pt x="38" y="17"/>
                </a:lnTo>
                <a:lnTo>
                  <a:pt x="36" y="17"/>
                </a:lnTo>
                <a:lnTo>
                  <a:pt x="35" y="17"/>
                </a:lnTo>
                <a:lnTo>
                  <a:pt x="32" y="17"/>
                </a:lnTo>
                <a:lnTo>
                  <a:pt x="31" y="17"/>
                </a:lnTo>
                <a:lnTo>
                  <a:pt x="31" y="19"/>
                </a:lnTo>
                <a:lnTo>
                  <a:pt x="28" y="19"/>
                </a:lnTo>
                <a:lnTo>
                  <a:pt x="26" y="19"/>
                </a:lnTo>
                <a:lnTo>
                  <a:pt x="24" y="19"/>
                </a:lnTo>
                <a:lnTo>
                  <a:pt x="27" y="17"/>
                </a:lnTo>
                <a:lnTo>
                  <a:pt x="28" y="17"/>
                </a:lnTo>
                <a:lnTo>
                  <a:pt x="27" y="15"/>
                </a:lnTo>
                <a:lnTo>
                  <a:pt x="28" y="15"/>
                </a:lnTo>
                <a:lnTo>
                  <a:pt x="31" y="15"/>
                </a:lnTo>
                <a:lnTo>
                  <a:pt x="31" y="14"/>
                </a:lnTo>
                <a:lnTo>
                  <a:pt x="30" y="14"/>
                </a:lnTo>
                <a:lnTo>
                  <a:pt x="28" y="15"/>
                </a:lnTo>
                <a:lnTo>
                  <a:pt x="27" y="14"/>
                </a:lnTo>
                <a:lnTo>
                  <a:pt x="28" y="14"/>
                </a:lnTo>
                <a:lnTo>
                  <a:pt x="26" y="14"/>
                </a:lnTo>
                <a:lnTo>
                  <a:pt x="23" y="14"/>
                </a:lnTo>
                <a:lnTo>
                  <a:pt x="19" y="15"/>
                </a:lnTo>
                <a:lnTo>
                  <a:pt x="10" y="15"/>
                </a:lnTo>
                <a:lnTo>
                  <a:pt x="8" y="15"/>
                </a:lnTo>
                <a:lnTo>
                  <a:pt x="6" y="15"/>
                </a:lnTo>
                <a:lnTo>
                  <a:pt x="3" y="15"/>
                </a:lnTo>
                <a:lnTo>
                  <a:pt x="2" y="15"/>
                </a:lnTo>
                <a:lnTo>
                  <a:pt x="2" y="14"/>
                </a:lnTo>
                <a:lnTo>
                  <a:pt x="0" y="14"/>
                </a:lnTo>
                <a:lnTo>
                  <a:pt x="2" y="14"/>
                </a:lnTo>
                <a:lnTo>
                  <a:pt x="3" y="14"/>
                </a:lnTo>
                <a:lnTo>
                  <a:pt x="2" y="14"/>
                </a:lnTo>
                <a:lnTo>
                  <a:pt x="7" y="12"/>
                </a:lnTo>
                <a:lnTo>
                  <a:pt x="7" y="11"/>
                </a:lnTo>
                <a:lnTo>
                  <a:pt x="8" y="9"/>
                </a:lnTo>
                <a:lnTo>
                  <a:pt x="11" y="9"/>
                </a:lnTo>
                <a:lnTo>
                  <a:pt x="11" y="8"/>
                </a:lnTo>
                <a:lnTo>
                  <a:pt x="12" y="8"/>
                </a:lnTo>
                <a:lnTo>
                  <a:pt x="6" y="6"/>
                </a:lnTo>
                <a:lnTo>
                  <a:pt x="4" y="6"/>
                </a:lnTo>
                <a:lnTo>
                  <a:pt x="3" y="4"/>
                </a:lnTo>
                <a:lnTo>
                  <a:pt x="0" y="4"/>
                </a:lnTo>
                <a:lnTo>
                  <a:pt x="2" y="4"/>
                </a:lnTo>
                <a:lnTo>
                  <a:pt x="8" y="3"/>
                </a:lnTo>
                <a:lnTo>
                  <a:pt x="15" y="1"/>
                </a:lnTo>
                <a:lnTo>
                  <a:pt x="19" y="3"/>
                </a:lnTo>
                <a:lnTo>
                  <a:pt x="26" y="3"/>
                </a:lnTo>
                <a:lnTo>
                  <a:pt x="27" y="1"/>
                </a:lnTo>
                <a:lnTo>
                  <a:pt x="30" y="1"/>
                </a:lnTo>
                <a:lnTo>
                  <a:pt x="31" y="0"/>
                </a:lnTo>
                <a:lnTo>
                  <a:pt x="32" y="0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52" name="Freeform 451"/>
          <p:cNvSpPr>
            <a:spLocks/>
          </p:cNvSpPr>
          <p:nvPr/>
        </p:nvSpPr>
        <p:spPr bwMode="auto">
          <a:xfrm>
            <a:off x="6270763" y="1582438"/>
            <a:ext cx="118877" cy="36509"/>
          </a:xfrm>
          <a:custGeom>
            <a:avLst/>
            <a:gdLst/>
            <a:ahLst/>
            <a:cxnLst>
              <a:cxn ang="0">
                <a:pos x="32" y="1"/>
              </a:cxn>
              <a:cxn ang="0">
                <a:pos x="36" y="1"/>
              </a:cxn>
              <a:cxn ang="0">
                <a:pos x="38" y="3"/>
              </a:cxn>
              <a:cxn ang="0">
                <a:pos x="35" y="4"/>
              </a:cxn>
              <a:cxn ang="0">
                <a:pos x="34" y="6"/>
              </a:cxn>
              <a:cxn ang="0">
                <a:pos x="38" y="6"/>
              </a:cxn>
              <a:cxn ang="0">
                <a:pos x="42" y="8"/>
              </a:cxn>
              <a:cxn ang="0">
                <a:pos x="50" y="8"/>
              </a:cxn>
              <a:cxn ang="0">
                <a:pos x="52" y="8"/>
              </a:cxn>
              <a:cxn ang="0">
                <a:pos x="55" y="8"/>
              </a:cxn>
              <a:cxn ang="0">
                <a:pos x="58" y="9"/>
              </a:cxn>
              <a:cxn ang="0">
                <a:pos x="62" y="11"/>
              </a:cxn>
              <a:cxn ang="0">
                <a:pos x="62" y="11"/>
              </a:cxn>
              <a:cxn ang="0">
                <a:pos x="51" y="12"/>
              </a:cxn>
              <a:cxn ang="0">
                <a:pos x="47" y="14"/>
              </a:cxn>
              <a:cxn ang="0">
                <a:pos x="43" y="15"/>
              </a:cxn>
              <a:cxn ang="0">
                <a:pos x="40" y="15"/>
              </a:cxn>
              <a:cxn ang="0">
                <a:pos x="38" y="17"/>
              </a:cxn>
              <a:cxn ang="0">
                <a:pos x="35" y="17"/>
              </a:cxn>
              <a:cxn ang="0">
                <a:pos x="31" y="17"/>
              </a:cxn>
              <a:cxn ang="0">
                <a:pos x="28" y="19"/>
              </a:cxn>
              <a:cxn ang="0">
                <a:pos x="24" y="19"/>
              </a:cxn>
              <a:cxn ang="0">
                <a:pos x="28" y="17"/>
              </a:cxn>
              <a:cxn ang="0">
                <a:pos x="28" y="15"/>
              </a:cxn>
              <a:cxn ang="0">
                <a:pos x="31" y="14"/>
              </a:cxn>
              <a:cxn ang="0">
                <a:pos x="28" y="15"/>
              </a:cxn>
              <a:cxn ang="0">
                <a:pos x="28" y="14"/>
              </a:cxn>
              <a:cxn ang="0">
                <a:pos x="23" y="14"/>
              </a:cxn>
              <a:cxn ang="0">
                <a:pos x="10" y="15"/>
              </a:cxn>
              <a:cxn ang="0">
                <a:pos x="6" y="15"/>
              </a:cxn>
              <a:cxn ang="0">
                <a:pos x="2" y="15"/>
              </a:cxn>
              <a:cxn ang="0">
                <a:pos x="0" y="14"/>
              </a:cxn>
              <a:cxn ang="0">
                <a:pos x="3" y="14"/>
              </a:cxn>
              <a:cxn ang="0">
                <a:pos x="7" y="12"/>
              </a:cxn>
              <a:cxn ang="0">
                <a:pos x="8" y="9"/>
              </a:cxn>
              <a:cxn ang="0">
                <a:pos x="11" y="8"/>
              </a:cxn>
              <a:cxn ang="0">
                <a:pos x="6" y="6"/>
              </a:cxn>
              <a:cxn ang="0">
                <a:pos x="3" y="4"/>
              </a:cxn>
              <a:cxn ang="0">
                <a:pos x="2" y="4"/>
              </a:cxn>
              <a:cxn ang="0">
                <a:pos x="15" y="1"/>
              </a:cxn>
              <a:cxn ang="0">
                <a:pos x="26" y="3"/>
              </a:cxn>
              <a:cxn ang="0">
                <a:pos x="30" y="1"/>
              </a:cxn>
              <a:cxn ang="0">
                <a:pos x="32" y="0"/>
              </a:cxn>
            </a:cxnLst>
            <a:rect l="0" t="0" r="r" b="b"/>
            <a:pathLst>
              <a:path w="63" h="19">
                <a:moveTo>
                  <a:pt x="32" y="0"/>
                </a:moveTo>
                <a:lnTo>
                  <a:pt x="32" y="1"/>
                </a:lnTo>
                <a:lnTo>
                  <a:pt x="34" y="3"/>
                </a:lnTo>
                <a:lnTo>
                  <a:pt x="36" y="1"/>
                </a:lnTo>
                <a:lnTo>
                  <a:pt x="39" y="3"/>
                </a:lnTo>
                <a:lnTo>
                  <a:pt x="38" y="3"/>
                </a:lnTo>
                <a:lnTo>
                  <a:pt x="38" y="4"/>
                </a:lnTo>
                <a:lnTo>
                  <a:pt x="35" y="4"/>
                </a:lnTo>
                <a:lnTo>
                  <a:pt x="34" y="4"/>
                </a:lnTo>
                <a:lnTo>
                  <a:pt x="34" y="6"/>
                </a:lnTo>
                <a:lnTo>
                  <a:pt x="35" y="6"/>
                </a:lnTo>
                <a:lnTo>
                  <a:pt x="38" y="6"/>
                </a:lnTo>
                <a:lnTo>
                  <a:pt x="39" y="8"/>
                </a:lnTo>
                <a:lnTo>
                  <a:pt x="42" y="8"/>
                </a:lnTo>
                <a:lnTo>
                  <a:pt x="46" y="9"/>
                </a:lnTo>
                <a:lnTo>
                  <a:pt x="50" y="8"/>
                </a:lnTo>
                <a:lnTo>
                  <a:pt x="51" y="8"/>
                </a:lnTo>
                <a:lnTo>
                  <a:pt x="52" y="8"/>
                </a:lnTo>
                <a:lnTo>
                  <a:pt x="54" y="8"/>
                </a:lnTo>
                <a:lnTo>
                  <a:pt x="55" y="8"/>
                </a:lnTo>
                <a:lnTo>
                  <a:pt x="56" y="9"/>
                </a:lnTo>
                <a:lnTo>
                  <a:pt x="58" y="9"/>
                </a:lnTo>
                <a:lnTo>
                  <a:pt x="59" y="11"/>
                </a:lnTo>
                <a:lnTo>
                  <a:pt x="62" y="11"/>
                </a:lnTo>
                <a:lnTo>
                  <a:pt x="63" y="11"/>
                </a:lnTo>
                <a:lnTo>
                  <a:pt x="62" y="11"/>
                </a:lnTo>
                <a:lnTo>
                  <a:pt x="58" y="11"/>
                </a:lnTo>
                <a:lnTo>
                  <a:pt x="51" y="12"/>
                </a:lnTo>
                <a:lnTo>
                  <a:pt x="48" y="12"/>
                </a:lnTo>
                <a:lnTo>
                  <a:pt x="47" y="14"/>
                </a:lnTo>
                <a:lnTo>
                  <a:pt x="44" y="15"/>
                </a:lnTo>
                <a:lnTo>
                  <a:pt x="43" y="15"/>
                </a:lnTo>
                <a:lnTo>
                  <a:pt x="42" y="15"/>
                </a:lnTo>
                <a:lnTo>
                  <a:pt x="40" y="15"/>
                </a:lnTo>
                <a:lnTo>
                  <a:pt x="40" y="17"/>
                </a:lnTo>
                <a:lnTo>
                  <a:pt x="38" y="17"/>
                </a:lnTo>
                <a:lnTo>
                  <a:pt x="36" y="17"/>
                </a:lnTo>
                <a:lnTo>
                  <a:pt x="35" y="17"/>
                </a:lnTo>
                <a:lnTo>
                  <a:pt x="32" y="17"/>
                </a:lnTo>
                <a:lnTo>
                  <a:pt x="31" y="17"/>
                </a:lnTo>
                <a:lnTo>
                  <a:pt x="31" y="19"/>
                </a:lnTo>
                <a:lnTo>
                  <a:pt x="28" y="19"/>
                </a:lnTo>
                <a:lnTo>
                  <a:pt x="26" y="19"/>
                </a:lnTo>
                <a:lnTo>
                  <a:pt x="24" y="19"/>
                </a:lnTo>
                <a:lnTo>
                  <a:pt x="27" y="17"/>
                </a:lnTo>
                <a:lnTo>
                  <a:pt x="28" y="17"/>
                </a:lnTo>
                <a:lnTo>
                  <a:pt x="27" y="15"/>
                </a:lnTo>
                <a:lnTo>
                  <a:pt x="28" y="15"/>
                </a:lnTo>
                <a:lnTo>
                  <a:pt x="31" y="15"/>
                </a:lnTo>
                <a:lnTo>
                  <a:pt x="31" y="14"/>
                </a:lnTo>
                <a:lnTo>
                  <a:pt x="30" y="14"/>
                </a:lnTo>
                <a:lnTo>
                  <a:pt x="28" y="15"/>
                </a:lnTo>
                <a:lnTo>
                  <a:pt x="27" y="14"/>
                </a:lnTo>
                <a:lnTo>
                  <a:pt x="28" y="14"/>
                </a:lnTo>
                <a:lnTo>
                  <a:pt x="26" y="14"/>
                </a:lnTo>
                <a:lnTo>
                  <a:pt x="23" y="14"/>
                </a:lnTo>
                <a:lnTo>
                  <a:pt x="19" y="15"/>
                </a:lnTo>
                <a:lnTo>
                  <a:pt x="10" y="15"/>
                </a:lnTo>
                <a:lnTo>
                  <a:pt x="8" y="15"/>
                </a:lnTo>
                <a:lnTo>
                  <a:pt x="6" y="15"/>
                </a:lnTo>
                <a:lnTo>
                  <a:pt x="3" y="15"/>
                </a:lnTo>
                <a:lnTo>
                  <a:pt x="2" y="15"/>
                </a:lnTo>
                <a:lnTo>
                  <a:pt x="2" y="14"/>
                </a:lnTo>
                <a:lnTo>
                  <a:pt x="0" y="14"/>
                </a:lnTo>
                <a:lnTo>
                  <a:pt x="2" y="14"/>
                </a:lnTo>
                <a:lnTo>
                  <a:pt x="3" y="14"/>
                </a:lnTo>
                <a:lnTo>
                  <a:pt x="2" y="14"/>
                </a:lnTo>
                <a:lnTo>
                  <a:pt x="7" y="12"/>
                </a:lnTo>
                <a:lnTo>
                  <a:pt x="7" y="11"/>
                </a:lnTo>
                <a:lnTo>
                  <a:pt x="8" y="9"/>
                </a:lnTo>
                <a:lnTo>
                  <a:pt x="11" y="9"/>
                </a:lnTo>
                <a:lnTo>
                  <a:pt x="11" y="8"/>
                </a:lnTo>
                <a:lnTo>
                  <a:pt x="12" y="8"/>
                </a:lnTo>
                <a:lnTo>
                  <a:pt x="6" y="6"/>
                </a:lnTo>
                <a:lnTo>
                  <a:pt x="4" y="6"/>
                </a:lnTo>
                <a:lnTo>
                  <a:pt x="3" y="4"/>
                </a:lnTo>
                <a:lnTo>
                  <a:pt x="0" y="4"/>
                </a:lnTo>
                <a:lnTo>
                  <a:pt x="2" y="4"/>
                </a:lnTo>
                <a:lnTo>
                  <a:pt x="8" y="3"/>
                </a:lnTo>
                <a:lnTo>
                  <a:pt x="15" y="1"/>
                </a:lnTo>
                <a:lnTo>
                  <a:pt x="19" y="3"/>
                </a:lnTo>
                <a:lnTo>
                  <a:pt x="26" y="3"/>
                </a:lnTo>
                <a:lnTo>
                  <a:pt x="27" y="1"/>
                </a:lnTo>
                <a:lnTo>
                  <a:pt x="30" y="1"/>
                </a:lnTo>
                <a:lnTo>
                  <a:pt x="31" y="0"/>
                </a:lnTo>
                <a:lnTo>
                  <a:pt x="32" y="0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53" name="Freeform 452"/>
          <p:cNvSpPr>
            <a:spLocks/>
          </p:cNvSpPr>
          <p:nvPr/>
        </p:nvSpPr>
        <p:spPr bwMode="auto">
          <a:xfrm>
            <a:off x="6175271" y="1502976"/>
            <a:ext cx="278681" cy="49396"/>
          </a:xfrm>
          <a:custGeom>
            <a:avLst/>
            <a:gdLst/>
            <a:ahLst/>
            <a:cxnLst>
              <a:cxn ang="0">
                <a:pos x="87" y="2"/>
              </a:cxn>
              <a:cxn ang="0">
                <a:pos x="83" y="5"/>
              </a:cxn>
              <a:cxn ang="0">
                <a:pos x="85" y="8"/>
              </a:cxn>
              <a:cxn ang="0">
                <a:pos x="88" y="7"/>
              </a:cxn>
              <a:cxn ang="0">
                <a:pos x="91" y="8"/>
              </a:cxn>
              <a:cxn ang="0">
                <a:pos x="93" y="7"/>
              </a:cxn>
              <a:cxn ang="0">
                <a:pos x="99" y="5"/>
              </a:cxn>
              <a:cxn ang="0">
                <a:pos x="107" y="5"/>
              </a:cxn>
              <a:cxn ang="0">
                <a:pos x="105" y="8"/>
              </a:cxn>
              <a:cxn ang="0">
                <a:pos x="119" y="5"/>
              </a:cxn>
              <a:cxn ang="0">
                <a:pos x="120" y="7"/>
              </a:cxn>
              <a:cxn ang="0">
                <a:pos x="136" y="7"/>
              </a:cxn>
              <a:cxn ang="0">
                <a:pos x="145" y="10"/>
              </a:cxn>
              <a:cxn ang="0">
                <a:pos x="144" y="13"/>
              </a:cxn>
              <a:cxn ang="0">
                <a:pos x="136" y="15"/>
              </a:cxn>
              <a:cxn ang="0">
                <a:pos x="125" y="18"/>
              </a:cxn>
              <a:cxn ang="0">
                <a:pos x="123" y="21"/>
              </a:cxn>
              <a:cxn ang="0">
                <a:pos x="113" y="22"/>
              </a:cxn>
              <a:cxn ang="0">
                <a:pos x="101" y="24"/>
              </a:cxn>
              <a:cxn ang="0">
                <a:pos x="85" y="24"/>
              </a:cxn>
              <a:cxn ang="0">
                <a:pos x="76" y="22"/>
              </a:cxn>
              <a:cxn ang="0">
                <a:pos x="69" y="21"/>
              </a:cxn>
              <a:cxn ang="0">
                <a:pos x="57" y="21"/>
              </a:cxn>
              <a:cxn ang="0">
                <a:pos x="41" y="19"/>
              </a:cxn>
              <a:cxn ang="0">
                <a:pos x="32" y="18"/>
              </a:cxn>
              <a:cxn ang="0">
                <a:pos x="43" y="18"/>
              </a:cxn>
              <a:cxn ang="0">
                <a:pos x="49" y="18"/>
              </a:cxn>
              <a:cxn ang="0">
                <a:pos x="52" y="16"/>
              </a:cxn>
              <a:cxn ang="0">
                <a:pos x="67" y="15"/>
              </a:cxn>
              <a:cxn ang="0">
                <a:pos x="65" y="13"/>
              </a:cxn>
              <a:cxn ang="0">
                <a:pos x="43" y="15"/>
              </a:cxn>
              <a:cxn ang="0">
                <a:pos x="29" y="15"/>
              </a:cxn>
              <a:cxn ang="0">
                <a:pos x="17" y="15"/>
              </a:cxn>
              <a:cxn ang="0">
                <a:pos x="12" y="13"/>
              </a:cxn>
              <a:cxn ang="0">
                <a:pos x="17" y="11"/>
              </a:cxn>
              <a:cxn ang="0">
                <a:pos x="15" y="10"/>
              </a:cxn>
              <a:cxn ang="0">
                <a:pos x="8" y="10"/>
              </a:cxn>
              <a:cxn ang="0">
                <a:pos x="4" y="7"/>
              </a:cxn>
              <a:cxn ang="0">
                <a:pos x="8" y="7"/>
              </a:cxn>
              <a:cxn ang="0">
                <a:pos x="21" y="7"/>
              </a:cxn>
              <a:cxn ang="0">
                <a:pos x="28" y="8"/>
              </a:cxn>
              <a:cxn ang="0">
                <a:pos x="25" y="7"/>
              </a:cxn>
              <a:cxn ang="0">
                <a:pos x="28" y="5"/>
              </a:cxn>
              <a:cxn ang="0">
                <a:pos x="35" y="5"/>
              </a:cxn>
              <a:cxn ang="0">
                <a:pos x="36" y="4"/>
              </a:cxn>
              <a:cxn ang="0">
                <a:pos x="32" y="4"/>
              </a:cxn>
              <a:cxn ang="0">
                <a:pos x="32" y="0"/>
              </a:cxn>
              <a:cxn ang="0">
                <a:pos x="36" y="2"/>
              </a:cxn>
              <a:cxn ang="0">
                <a:pos x="44" y="4"/>
              </a:cxn>
              <a:cxn ang="0">
                <a:pos x="49" y="7"/>
              </a:cxn>
              <a:cxn ang="0">
                <a:pos x="60" y="5"/>
              </a:cxn>
              <a:cxn ang="0">
                <a:pos x="67" y="5"/>
              </a:cxn>
              <a:cxn ang="0">
                <a:pos x="68" y="8"/>
              </a:cxn>
              <a:cxn ang="0">
                <a:pos x="75" y="10"/>
              </a:cxn>
              <a:cxn ang="0">
                <a:pos x="75" y="5"/>
              </a:cxn>
              <a:cxn ang="0">
                <a:pos x="76" y="4"/>
              </a:cxn>
            </a:cxnLst>
            <a:rect l="0" t="0" r="r" b="b"/>
            <a:pathLst>
              <a:path w="145" h="26">
                <a:moveTo>
                  <a:pt x="79" y="0"/>
                </a:moveTo>
                <a:lnTo>
                  <a:pt x="80" y="2"/>
                </a:lnTo>
                <a:lnTo>
                  <a:pt x="81" y="2"/>
                </a:lnTo>
                <a:lnTo>
                  <a:pt x="85" y="2"/>
                </a:lnTo>
                <a:lnTo>
                  <a:pt x="87" y="2"/>
                </a:lnTo>
                <a:lnTo>
                  <a:pt x="85" y="4"/>
                </a:lnTo>
                <a:lnTo>
                  <a:pt x="84" y="4"/>
                </a:lnTo>
                <a:lnTo>
                  <a:pt x="87" y="4"/>
                </a:lnTo>
                <a:lnTo>
                  <a:pt x="85" y="5"/>
                </a:lnTo>
                <a:lnTo>
                  <a:pt x="83" y="5"/>
                </a:lnTo>
                <a:lnTo>
                  <a:pt x="83" y="7"/>
                </a:lnTo>
                <a:lnTo>
                  <a:pt x="81" y="7"/>
                </a:lnTo>
                <a:lnTo>
                  <a:pt x="83" y="8"/>
                </a:lnTo>
                <a:lnTo>
                  <a:pt x="84" y="8"/>
                </a:lnTo>
                <a:lnTo>
                  <a:pt x="85" y="8"/>
                </a:lnTo>
                <a:lnTo>
                  <a:pt x="85" y="7"/>
                </a:lnTo>
                <a:lnTo>
                  <a:pt x="87" y="7"/>
                </a:lnTo>
                <a:lnTo>
                  <a:pt x="87" y="8"/>
                </a:lnTo>
                <a:lnTo>
                  <a:pt x="88" y="8"/>
                </a:lnTo>
                <a:lnTo>
                  <a:pt x="88" y="7"/>
                </a:lnTo>
                <a:lnTo>
                  <a:pt x="89" y="7"/>
                </a:lnTo>
                <a:lnTo>
                  <a:pt x="89" y="8"/>
                </a:lnTo>
                <a:lnTo>
                  <a:pt x="91" y="8"/>
                </a:lnTo>
                <a:lnTo>
                  <a:pt x="92" y="8"/>
                </a:lnTo>
                <a:lnTo>
                  <a:pt x="91" y="8"/>
                </a:lnTo>
                <a:lnTo>
                  <a:pt x="93" y="8"/>
                </a:lnTo>
                <a:lnTo>
                  <a:pt x="93" y="7"/>
                </a:lnTo>
                <a:lnTo>
                  <a:pt x="92" y="7"/>
                </a:lnTo>
                <a:lnTo>
                  <a:pt x="95" y="7"/>
                </a:lnTo>
                <a:lnTo>
                  <a:pt x="93" y="7"/>
                </a:lnTo>
                <a:lnTo>
                  <a:pt x="93" y="5"/>
                </a:lnTo>
                <a:lnTo>
                  <a:pt x="96" y="5"/>
                </a:lnTo>
                <a:lnTo>
                  <a:pt x="93" y="5"/>
                </a:lnTo>
                <a:lnTo>
                  <a:pt x="97" y="5"/>
                </a:lnTo>
                <a:lnTo>
                  <a:pt x="99" y="5"/>
                </a:lnTo>
                <a:lnTo>
                  <a:pt x="97" y="5"/>
                </a:lnTo>
                <a:lnTo>
                  <a:pt x="101" y="5"/>
                </a:lnTo>
                <a:lnTo>
                  <a:pt x="100" y="5"/>
                </a:lnTo>
                <a:lnTo>
                  <a:pt x="104" y="5"/>
                </a:lnTo>
                <a:lnTo>
                  <a:pt x="107" y="5"/>
                </a:lnTo>
                <a:lnTo>
                  <a:pt x="109" y="5"/>
                </a:lnTo>
                <a:lnTo>
                  <a:pt x="111" y="4"/>
                </a:lnTo>
                <a:lnTo>
                  <a:pt x="111" y="5"/>
                </a:lnTo>
                <a:lnTo>
                  <a:pt x="107" y="7"/>
                </a:lnTo>
                <a:lnTo>
                  <a:pt x="105" y="8"/>
                </a:lnTo>
                <a:lnTo>
                  <a:pt x="108" y="7"/>
                </a:lnTo>
                <a:lnTo>
                  <a:pt x="109" y="7"/>
                </a:lnTo>
                <a:lnTo>
                  <a:pt x="113" y="7"/>
                </a:lnTo>
                <a:lnTo>
                  <a:pt x="115" y="5"/>
                </a:lnTo>
                <a:lnTo>
                  <a:pt x="119" y="5"/>
                </a:lnTo>
                <a:lnTo>
                  <a:pt x="117" y="5"/>
                </a:lnTo>
                <a:lnTo>
                  <a:pt x="116" y="7"/>
                </a:lnTo>
                <a:lnTo>
                  <a:pt x="117" y="7"/>
                </a:lnTo>
                <a:lnTo>
                  <a:pt x="119" y="7"/>
                </a:lnTo>
                <a:lnTo>
                  <a:pt x="120" y="7"/>
                </a:lnTo>
                <a:lnTo>
                  <a:pt x="121" y="7"/>
                </a:lnTo>
                <a:lnTo>
                  <a:pt x="124" y="7"/>
                </a:lnTo>
                <a:lnTo>
                  <a:pt x="125" y="7"/>
                </a:lnTo>
                <a:lnTo>
                  <a:pt x="128" y="7"/>
                </a:lnTo>
                <a:lnTo>
                  <a:pt x="136" y="7"/>
                </a:lnTo>
                <a:lnTo>
                  <a:pt x="140" y="8"/>
                </a:lnTo>
                <a:lnTo>
                  <a:pt x="142" y="8"/>
                </a:lnTo>
                <a:lnTo>
                  <a:pt x="145" y="8"/>
                </a:lnTo>
                <a:lnTo>
                  <a:pt x="144" y="10"/>
                </a:lnTo>
                <a:lnTo>
                  <a:pt x="145" y="10"/>
                </a:lnTo>
                <a:lnTo>
                  <a:pt x="144" y="11"/>
                </a:lnTo>
                <a:lnTo>
                  <a:pt x="142" y="11"/>
                </a:lnTo>
                <a:lnTo>
                  <a:pt x="145" y="11"/>
                </a:lnTo>
                <a:lnTo>
                  <a:pt x="145" y="13"/>
                </a:lnTo>
                <a:lnTo>
                  <a:pt x="144" y="13"/>
                </a:lnTo>
                <a:lnTo>
                  <a:pt x="140" y="13"/>
                </a:lnTo>
                <a:lnTo>
                  <a:pt x="138" y="13"/>
                </a:lnTo>
                <a:lnTo>
                  <a:pt x="136" y="15"/>
                </a:lnTo>
                <a:lnTo>
                  <a:pt x="137" y="15"/>
                </a:lnTo>
                <a:lnTo>
                  <a:pt x="136" y="15"/>
                </a:lnTo>
                <a:lnTo>
                  <a:pt x="134" y="16"/>
                </a:lnTo>
                <a:lnTo>
                  <a:pt x="133" y="16"/>
                </a:lnTo>
                <a:lnTo>
                  <a:pt x="130" y="16"/>
                </a:lnTo>
                <a:lnTo>
                  <a:pt x="128" y="16"/>
                </a:lnTo>
                <a:lnTo>
                  <a:pt x="125" y="18"/>
                </a:lnTo>
                <a:lnTo>
                  <a:pt x="127" y="18"/>
                </a:lnTo>
                <a:lnTo>
                  <a:pt x="127" y="19"/>
                </a:lnTo>
                <a:lnTo>
                  <a:pt x="125" y="19"/>
                </a:lnTo>
                <a:lnTo>
                  <a:pt x="124" y="19"/>
                </a:lnTo>
                <a:lnTo>
                  <a:pt x="123" y="21"/>
                </a:lnTo>
                <a:lnTo>
                  <a:pt x="124" y="21"/>
                </a:lnTo>
                <a:lnTo>
                  <a:pt x="120" y="21"/>
                </a:lnTo>
                <a:lnTo>
                  <a:pt x="117" y="22"/>
                </a:lnTo>
                <a:lnTo>
                  <a:pt x="115" y="22"/>
                </a:lnTo>
                <a:lnTo>
                  <a:pt x="113" y="22"/>
                </a:lnTo>
                <a:lnTo>
                  <a:pt x="111" y="21"/>
                </a:lnTo>
                <a:lnTo>
                  <a:pt x="107" y="22"/>
                </a:lnTo>
                <a:lnTo>
                  <a:pt x="103" y="22"/>
                </a:lnTo>
                <a:lnTo>
                  <a:pt x="101" y="22"/>
                </a:lnTo>
                <a:lnTo>
                  <a:pt x="101" y="24"/>
                </a:lnTo>
                <a:lnTo>
                  <a:pt x="100" y="24"/>
                </a:lnTo>
                <a:lnTo>
                  <a:pt x="96" y="26"/>
                </a:lnTo>
                <a:lnTo>
                  <a:pt x="88" y="26"/>
                </a:lnTo>
                <a:lnTo>
                  <a:pt x="87" y="26"/>
                </a:lnTo>
                <a:lnTo>
                  <a:pt x="85" y="24"/>
                </a:lnTo>
                <a:lnTo>
                  <a:pt x="81" y="24"/>
                </a:lnTo>
                <a:lnTo>
                  <a:pt x="80" y="24"/>
                </a:lnTo>
                <a:lnTo>
                  <a:pt x="79" y="24"/>
                </a:lnTo>
                <a:lnTo>
                  <a:pt x="77" y="22"/>
                </a:lnTo>
                <a:lnTo>
                  <a:pt x="76" y="22"/>
                </a:lnTo>
                <a:lnTo>
                  <a:pt x="77" y="21"/>
                </a:lnTo>
                <a:lnTo>
                  <a:pt x="79" y="21"/>
                </a:lnTo>
                <a:lnTo>
                  <a:pt x="77" y="21"/>
                </a:lnTo>
                <a:lnTo>
                  <a:pt x="76" y="21"/>
                </a:lnTo>
                <a:lnTo>
                  <a:pt x="69" y="21"/>
                </a:lnTo>
                <a:lnTo>
                  <a:pt x="65" y="21"/>
                </a:lnTo>
                <a:lnTo>
                  <a:pt x="61" y="21"/>
                </a:lnTo>
                <a:lnTo>
                  <a:pt x="60" y="21"/>
                </a:lnTo>
                <a:lnTo>
                  <a:pt x="59" y="21"/>
                </a:lnTo>
                <a:lnTo>
                  <a:pt x="57" y="21"/>
                </a:lnTo>
                <a:lnTo>
                  <a:pt x="53" y="21"/>
                </a:lnTo>
                <a:lnTo>
                  <a:pt x="51" y="22"/>
                </a:lnTo>
                <a:lnTo>
                  <a:pt x="48" y="21"/>
                </a:lnTo>
                <a:lnTo>
                  <a:pt x="48" y="19"/>
                </a:lnTo>
                <a:lnTo>
                  <a:pt x="41" y="19"/>
                </a:lnTo>
                <a:lnTo>
                  <a:pt x="39" y="19"/>
                </a:lnTo>
                <a:lnTo>
                  <a:pt x="36" y="19"/>
                </a:lnTo>
                <a:lnTo>
                  <a:pt x="35" y="18"/>
                </a:lnTo>
                <a:lnTo>
                  <a:pt x="33" y="18"/>
                </a:lnTo>
                <a:lnTo>
                  <a:pt x="32" y="18"/>
                </a:lnTo>
                <a:lnTo>
                  <a:pt x="33" y="18"/>
                </a:lnTo>
                <a:lnTo>
                  <a:pt x="36" y="16"/>
                </a:lnTo>
                <a:lnTo>
                  <a:pt x="40" y="18"/>
                </a:lnTo>
                <a:lnTo>
                  <a:pt x="41" y="18"/>
                </a:lnTo>
                <a:lnTo>
                  <a:pt x="43" y="18"/>
                </a:lnTo>
                <a:lnTo>
                  <a:pt x="49" y="18"/>
                </a:lnTo>
                <a:lnTo>
                  <a:pt x="51" y="18"/>
                </a:lnTo>
                <a:lnTo>
                  <a:pt x="53" y="18"/>
                </a:lnTo>
                <a:lnTo>
                  <a:pt x="52" y="18"/>
                </a:lnTo>
                <a:lnTo>
                  <a:pt x="49" y="18"/>
                </a:lnTo>
                <a:lnTo>
                  <a:pt x="45" y="16"/>
                </a:lnTo>
                <a:lnTo>
                  <a:pt x="47" y="16"/>
                </a:lnTo>
                <a:lnTo>
                  <a:pt x="45" y="16"/>
                </a:lnTo>
                <a:lnTo>
                  <a:pt x="51" y="16"/>
                </a:lnTo>
                <a:lnTo>
                  <a:pt x="52" y="16"/>
                </a:lnTo>
                <a:lnTo>
                  <a:pt x="64" y="16"/>
                </a:lnTo>
                <a:lnTo>
                  <a:pt x="65" y="16"/>
                </a:lnTo>
                <a:lnTo>
                  <a:pt x="64" y="15"/>
                </a:lnTo>
                <a:lnTo>
                  <a:pt x="65" y="15"/>
                </a:lnTo>
                <a:lnTo>
                  <a:pt x="67" y="15"/>
                </a:lnTo>
                <a:lnTo>
                  <a:pt x="68" y="15"/>
                </a:lnTo>
                <a:lnTo>
                  <a:pt x="64" y="15"/>
                </a:lnTo>
                <a:lnTo>
                  <a:pt x="67" y="15"/>
                </a:lnTo>
                <a:lnTo>
                  <a:pt x="67" y="13"/>
                </a:lnTo>
                <a:lnTo>
                  <a:pt x="65" y="13"/>
                </a:lnTo>
                <a:lnTo>
                  <a:pt x="63" y="13"/>
                </a:lnTo>
                <a:lnTo>
                  <a:pt x="61" y="15"/>
                </a:lnTo>
                <a:lnTo>
                  <a:pt x="49" y="15"/>
                </a:lnTo>
                <a:lnTo>
                  <a:pt x="48" y="15"/>
                </a:lnTo>
                <a:lnTo>
                  <a:pt x="43" y="15"/>
                </a:lnTo>
                <a:lnTo>
                  <a:pt x="39" y="15"/>
                </a:lnTo>
                <a:lnTo>
                  <a:pt x="37" y="15"/>
                </a:lnTo>
                <a:lnTo>
                  <a:pt x="33" y="15"/>
                </a:lnTo>
                <a:lnTo>
                  <a:pt x="29" y="16"/>
                </a:lnTo>
                <a:lnTo>
                  <a:pt x="29" y="15"/>
                </a:lnTo>
                <a:lnTo>
                  <a:pt x="28" y="15"/>
                </a:lnTo>
                <a:lnTo>
                  <a:pt x="19" y="15"/>
                </a:lnTo>
                <a:lnTo>
                  <a:pt x="17" y="15"/>
                </a:lnTo>
                <a:lnTo>
                  <a:pt x="19" y="15"/>
                </a:lnTo>
                <a:lnTo>
                  <a:pt x="17" y="15"/>
                </a:lnTo>
                <a:lnTo>
                  <a:pt x="17" y="13"/>
                </a:lnTo>
                <a:lnTo>
                  <a:pt x="16" y="15"/>
                </a:lnTo>
                <a:lnTo>
                  <a:pt x="15" y="15"/>
                </a:lnTo>
                <a:lnTo>
                  <a:pt x="14" y="13"/>
                </a:lnTo>
                <a:lnTo>
                  <a:pt x="12" y="13"/>
                </a:lnTo>
                <a:lnTo>
                  <a:pt x="10" y="11"/>
                </a:lnTo>
                <a:lnTo>
                  <a:pt x="14" y="11"/>
                </a:lnTo>
                <a:lnTo>
                  <a:pt x="16" y="11"/>
                </a:lnTo>
                <a:lnTo>
                  <a:pt x="15" y="10"/>
                </a:lnTo>
                <a:lnTo>
                  <a:pt x="17" y="11"/>
                </a:lnTo>
                <a:lnTo>
                  <a:pt x="19" y="10"/>
                </a:lnTo>
                <a:lnTo>
                  <a:pt x="17" y="10"/>
                </a:lnTo>
                <a:lnTo>
                  <a:pt x="20" y="10"/>
                </a:lnTo>
                <a:lnTo>
                  <a:pt x="17" y="10"/>
                </a:lnTo>
                <a:lnTo>
                  <a:pt x="15" y="10"/>
                </a:lnTo>
                <a:lnTo>
                  <a:pt x="14" y="10"/>
                </a:lnTo>
                <a:lnTo>
                  <a:pt x="12" y="10"/>
                </a:lnTo>
                <a:lnTo>
                  <a:pt x="11" y="10"/>
                </a:lnTo>
                <a:lnTo>
                  <a:pt x="10" y="10"/>
                </a:lnTo>
                <a:lnTo>
                  <a:pt x="8" y="10"/>
                </a:lnTo>
                <a:lnTo>
                  <a:pt x="8" y="8"/>
                </a:lnTo>
                <a:lnTo>
                  <a:pt x="10" y="8"/>
                </a:lnTo>
                <a:lnTo>
                  <a:pt x="8" y="8"/>
                </a:lnTo>
                <a:lnTo>
                  <a:pt x="7" y="8"/>
                </a:lnTo>
                <a:lnTo>
                  <a:pt x="4" y="7"/>
                </a:lnTo>
                <a:lnTo>
                  <a:pt x="0" y="8"/>
                </a:lnTo>
                <a:lnTo>
                  <a:pt x="0" y="7"/>
                </a:lnTo>
                <a:lnTo>
                  <a:pt x="2" y="7"/>
                </a:lnTo>
                <a:lnTo>
                  <a:pt x="4" y="7"/>
                </a:lnTo>
                <a:lnTo>
                  <a:pt x="8" y="7"/>
                </a:lnTo>
                <a:lnTo>
                  <a:pt x="10" y="7"/>
                </a:lnTo>
                <a:lnTo>
                  <a:pt x="15" y="7"/>
                </a:lnTo>
                <a:lnTo>
                  <a:pt x="16" y="7"/>
                </a:lnTo>
                <a:lnTo>
                  <a:pt x="17" y="7"/>
                </a:lnTo>
                <a:lnTo>
                  <a:pt x="21" y="7"/>
                </a:lnTo>
                <a:lnTo>
                  <a:pt x="21" y="8"/>
                </a:lnTo>
                <a:lnTo>
                  <a:pt x="24" y="8"/>
                </a:lnTo>
                <a:lnTo>
                  <a:pt x="27" y="10"/>
                </a:lnTo>
                <a:lnTo>
                  <a:pt x="28" y="10"/>
                </a:lnTo>
                <a:lnTo>
                  <a:pt x="28" y="8"/>
                </a:lnTo>
                <a:lnTo>
                  <a:pt x="29" y="8"/>
                </a:lnTo>
                <a:lnTo>
                  <a:pt x="28" y="8"/>
                </a:lnTo>
                <a:lnTo>
                  <a:pt x="31" y="8"/>
                </a:lnTo>
                <a:lnTo>
                  <a:pt x="27" y="7"/>
                </a:lnTo>
                <a:lnTo>
                  <a:pt x="25" y="7"/>
                </a:lnTo>
                <a:lnTo>
                  <a:pt x="23" y="5"/>
                </a:lnTo>
                <a:lnTo>
                  <a:pt x="24" y="5"/>
                </a:lnTo>
                <a:lnTo>
                  <a:pt x="23" y="4"/>
                </a:lnTo>
                <a:lnTo>
                  <a:pt x="27" y="5"/>
                </a:lnTo>
                <a:lnTo>
                  <a:pt x="28" y="5"/>
                </a:lnTo>
                <a:lnTo>
                  <a:pt x="32" y="7"/>
                </a:lnTo>
                <a:lnTo>
                  <a:pt x="33" y="7"/>
                </a:lnTo>
                <a:lnTo>
                  <a:pt x="35" y="7"/>
                </a:lnTo>
                <a:lnTo>
                  <a:pt x="33" y="5"/>
                </a:lnTo>
                <a:lnTo>
                  <a:pt x="35" y="5"/>
                </a:lnTo>
                <a:lnTo>
                  <a:pt x="33" y="4"/>
                </a:lnTo>
                <a:lnTo>
                  <a:pt x="35" y="4"/>
                </a:lnTo>
                <a:lnTo>
                  <a:pt x="33" y="4"/>
                </a:lnTo>
                <a:lnTo>
                  <a:pt x="35" y="4"/>
                </a:lnTo>
                <a:lnTo>
                  <a:pt x="36" y="4"/>
                </a:lnTo>
                <a:lnTo>
                  <a:pt x="35" y="4"/>
                </a:lnTo>
                <a:lnTo>
                  <a:pt x="33" y="4"/>
                </a:lnTo>
                <a:lnTo>
                  <a:pt x="33" y="2"/>
                </a:lnTo>
                <a:lnTo>
                  <a:pt x="32" y="2"/>
                </a:lnTo>
                <a:lnTo>
                  <a:pt x="32" y="4"/>
                </a:lnTo>
                <a:lnTo>
                  <a:pt x="31" y="4"/>
                </a:lnTo>
                <a:lnTo>
                  <a:pt x="29" y="2"/>
                </a:lnTo>
                <a:lnTo>
                  <a:pt x="31" y="2"/>
                </a:lnTo>
                <a:lnTo>
                  <a:pt x="32" y="2"/>
                </a:lnTo>
                <a:lnTo>
                  <a:pt x="32" y="0"/>
                </a:lnTo>
                <a:lnTo>
                  <a:pt x="33" y="0"/>
                </a:lnTo>
                <a:lnTo>
                  <a:pt x="35" y="2"/>
                </a:lnTo>
                <a:lnTo>
                  <a:pt x="36" y="2"/>
                </a:lnTo>
                <a:lnTo>
                  <a:pt x="37" y="2"/>
                </a:lnTo>
                <a:lnTo>
                  <a:pt x="36" y="2"/>
                </a:lnTo>
                <a:lnTo>
                  <a:pt x="37" y="4"/>
                </a:lnTo>
                <a:lnTo>
                  <a:pt x="40" y="2"/>
                </a:lnTo>
                <a:lnTo>
                  <a:pt x="41" y="2"/>
                </a:lnTo>
                <a:lnTo>
                  <a:pt x="43" y="4"/>
                </a:lnTo>
                <a:lnTo>
                  <a:pt x="44" y="4"/>
                </a:lnTo>
                <a:lnTo>
                  <a:pt x="44" y="5"/>
                </a:lnTo>
                <a:lnTo>
                  <a:pt x="45" y="5"/>
                </a:lnTo>
                <a:lnTo>
                  <a:pt x="48" y="5"/>
                </a:lnTo>
                <a:lnTo>
                  <a:pt x="49" y="5"/>
                </a:lnTo>
                <a:lnTo>
                  <a:pt x="49" y="7"/>
                </a:lnTo>
                <a:lnTo>
                  <a:pt x="51" y="7"/>
                </a:lnTo>
                <a:lnTo>
                  <a:pt x="55" y="7"/>
                </a:lnTo>
                <a:lnTo>
                  <a:pt x="57" y="5"/>
                </a:lnTo>
                <a:lnTo>
                  <a:pt x="59" y="7"/>
                </a:lnTo>
                <a:lnTo>
                  <a:pt x="60" y="5"/>
                </a:lnTo>
                <a:lnTo>
                  <a:pt x="63" y="7"/>
                </a:lnTo>
                <a:lnTo>
                  <a:pt x="64" y="7"/>
                </a:lnTo>
                <a:lnTo>
                  <a:pt x="64" y="5"/>
                </a:lnTo>
                <a:lnTo>
                  <a:pt x="65" y="5"/>
                </a:lnTo>
                <a:lnTo>
                  <a:pt x="67" y="5"/>
                </a:lnTo>
                <a:lnTo>
                  <a:pt x="65" y="7"/>
                </a:lnTo>
                <a:lnTo>
                  <a:pt x="67" y="7"/>
                </a:lnTo>
                <a:lnTo>
                  <a:pt x="60" y="8"/>
                </a:lnTo>
                <a:lnTo>
                  <a:pt x="65" y="8"/>
                </a:lnTo>
                <a:lnTo>
                  <a:pt x="68" y="8"/>
                </a:lnTo>
                <a:lnTo>
                  <a:pt x="68" y="10"/>
                </a:lnTo>
                <a:lnTo>
                  <a:pt x="71" y="10"/>
                </a:lnTo>
                <a:lnTo>
                  <a:pt x="72" y="10"/>
                </a:lnTo>
                <a:lnTo>
                  <a:pt x="73" y="10"/>
                </a:lnTo>
                <a:lnTo>
                  <a:pt x="75" y="10"/>
                </a:lnTo>
                <a:lnTo>
                  <a:pt x="72" y="10"/>
                </a:lnTo>
                <a:lnTo>
                  <a:pt x="73" y="10"/>
                </a:lnTo>
                <a:lnTo>
                  <a:pt x="73" y="8"/>
                </a:lnTo>
                <a:lnTo>
                  <a:pt x="73" y="7"/>
                </a:lnTo>
                <a:lnTo>
                  <a:pt x="75" y="5"/>
                </a:lnTo>
                <a:lnTo>
                  <a:pt x="72" y="4"/>
                </a:lnTo>
                <a:lnTo>
                  <a:pt x="73" y="4"/>
                </a:lnTo>
                <a:lnTo>
                  <a:pt x="73" y="2"/>
                </a:lnTo>
                <a:lnTo>
                  <a:pt x="76" y="2"/>
                </a:lnTo>
                <a:lnTo>
                  <a:pt x="76" y="4"/>
                </a:lnTo>
                <a:lnTo>
                  <a:pt x="77" y="4"/>
                </a:lnTo>
                <a:lnTo>
                  <a:pt x="80" y="4"/>
                </a:lnTo>
                <a:lnTo>
                  <a:pt x="80" y="2"/>
                </a:lnTo>
                <a:lnTo>
                  <a:pt x="79" y="0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54" name="Freeform 453"/>
          <p:cNvSpPr>
            <a:spLocks/>
          </p:cNvSpPr>
          <p:nvPr/>
        </p:nvSpPr>
        <p:spPr bwMode="auto">
          <a:xfrm>
            <a:off x="6175271" y="1502976"/>
            <a:ext cx="278681" cy="49396"/>
          </a:xfrm>
          <a:custGeom>
            <a:avLst/>
            <a:gdLst/>
            <a:ahLst/>
            <a:cxnLst>
              <a:cxn ang="0">
                <a:pos x="85" y="2"/>
              </a:cxn>
              <a:cxn ang="0">
                <a:pos x="87" y="4"/>
              </a:cxn>
              <a:cxn ang="0">
                <a:pos x="81" y="7"/>
              </a:cxn>
              <a:cxn ang="0">
                <a:pos x="85" y="7"/>
              </a:cxn>
              <a:cxn ang="0">
                <a:pos x="88" y="7"/>
              </a:cxn>
              <a:cxn ang="0">
                <a:pos x="92" y="8"/>
              </a:cxn>
              <a:cxn ang="0">
                <a:pos x="92" y="7"/>
              </a:cxn>
              <a:cxn ang="0">
                <a:pos x="96" y="5"/>
              </a:cxn>
              <a:cxn ang="0">
                <a:pos x="97" y="5"/>
              </a:cxn>
              <a:cxn ang="0">
                <a:pos x="107" y="5"/>
              </a:cxn>
              <a:cxn ang="0">
                <a:pos x="107" y="7"/>
              </a:cxn>
              <a:cxn ang="0">
                <a:pos x="113" y="7"/>
              </a:cxn>
              <a:cxn ang="0">
                <a:pos x="116" y="7"/>
              </a:cxn>
              <a:cxn ang="0">
                <a:pos x="121" y="7"/>
              </a:cxn>
              <a:cxn ang="0">
                <a:pos x="136" y="7"/>
              </a:cxn>
              <a:cxn ang="0">
                <a:pos x="144" y="10"/>
              </a:cxn>
              <a:cxn ang="0">
                <a:pos x="145" y="11"/>
              </a:cxn>
              <a:cxn ang="0">
                <a:pos x="138" y="13"/>
              </a:cxn>
              <a:cxn ang="0">
                <a:pos x="134" y="16"/>
              </a:cxn>
              <a:cxn ang="0">
                <a:pos x="125" y="18"/>
              </a:cxn>
              <a:cxn ang="0">
                <a:pos x="124" y="19"/>
              </a:cxn>
              <a:cxn ang="0">
                <a:pos x="117" y="22"/>
              </a:cxn>
              <a:cxn ang="0">
                <a:pos x="107" y="22"/>
              </a:cxn>
              <a:cxn ang="0">
                <a:pos x="100" y="24"/>
              </a:cxn>
              <a:cxn ang="0">
                <a:pos x="85" y="24"/>
              </a:cxn>
              <a:cxn ang="0">
                <a:pos x="77" y="22"/>
              </a:cxn>
              <a:cxn ang="0">
                <a:pos x="77" y="21"/>
              </a:cxn>
              <a:cxn ang="0">
                <a:pos x="61" y="21"/>
              </a:cxn>
              <a:cxn ang="0">
                <a:pos x="53" y="21"/>
              </a:cxn>
              <a:cxn ang="0">
                <a:pos x="41" y="19"/>
              </a:cxn>
              <a:cxn ang="0">
                <a:pos x="33" y="18"/>
              </a:cxn>
              <a:cxn ang="0">
                <a:pos x="40" y="18"/>
              </a:cxn>
              <a:cxn ang="0">
                <a:pos x="51" y="18"/>
              </a:cxn>
              <a:cxn ang="0">
                <a:pos x="45" y="16"/>
              </a:cxn>
              <a:cxn ang="0">
                <a:pos x="52" y="16"/>
              </a:cxn>
              <a:cxn ang="0">
                <a:pos x="65" y="15"/>
              </a:cxn>
              <a:cxn ang="0">
                <a:pos x="67" y="15"/>
              </a:cxn>
              <a:cxn ang="0">
                <a:pos x="61" y="15"/>
              </a:cxn>
              <a:cxn ang="0">
                <a:pos x="39" y="15"/>
              </a:cxn>
              <a:cxn ang="0">
                <a:pos x="29" y="15"/>
              </a:cxn>
              <a:cxn ang="0">
                <a:pos x="19" y="15"/>
              </a:cxn>
              <a:cxn ang="0">
                <a:pos x="15" y="15"/>
              </a:cxn>
              <a:cxn ang="0">
                <a:pos x="14" y="11"/>
              </a:cxn>
              <a:cxn ang="0">
                <a:pos x="19" y="10"/>
              </a:cxn>
              <a:cxn ang="0">
                <a:pos x="15" y="10"/>
              </a:cxn>
              <a:cxn ang="0">
                <a:pos x="10" y="10"/>
              </a:cxn>
              <a:cxn ang="0">
                <a:pos x="8" y="8"/>
              </a:cxn>
              <a:cxn ang="0">
                <a:pos x="0" y="7"/>
              </a:cxn>
              <a:cxn ang="0">
                <a:pos x="10" y="7"/>
              </a:cxn>
            </a:cxnLst>
            <a:rect l="0" t="0" r="r" b="b"/>
            <a:pathLst>
              <a:path w="145" h="26">
                <a:moveTo>
                  <a:pt x="79" y="0"/>
                </a:moveTo>
                <a:lnTo>
                  <a:pt x="80" y="2"/>
                </a:lnTo>
                <a:lnTo>
                  <a:pt x="81" y="2"/>
                </a:lnTo>
                <a:lnTo>
                  <a:pt x="85" y="2"/>
                </a:lnTo>
                <a:lnTo>
                  <a:pt x="87" y="2"/>
                </a:lnTo>
                <a:lnTo>
                  <a:pt x="85" y="4"/>
                </a:lnTo>
                <a:lnTo>
                  <a:pt x="84" y="4"/>
                </a:lnTo>
                <a:lnTo>
                  <a:pt x="87" y="4"/>
                </a:lnTo>
                <a:lnTo>
                  <a:pt x="85" y="5"/>
                </a:lnTo>
                <a:lnTo>
                  <a:pt x="83" y="5"/>
                </a:lnTo>
                <a:lnTo>
                  <a:pt x="83" y="7"/>
                </a:lnTo>
                <a:lnTo>
                  <a:pt x="81" y="7"/>
                </a:lnTo>
                <a:lnTo>
                  <a:pt x="83" y="8"/>
                </a:lnTo>
                <a:lnTo>
                  <a:pt x="84" y="8"/>
                </a:lnTo>
                <a:lnTo>
                  <a:pt x="85" y="8"/>
                </a:lnTo>
                <a:lnTo>
                  <a:pt x="85" y="7"/>
                </a:lnTo>
                <a:lnTo>
                  <a:pt x="87" y="7"/>
                </a:lnTo>
                <a:lnTo>
                  <a:pt x="87" y="8"/>
                </a:lnTo>
                <a:lnTo>
                  <a:pt x="88" y="8"/>
                </a:lnTo>
                <a:lnTo>
                  <a:pt x="88" y="7"/>
                </a:lnTo>
                <a:lnTo>
                  <a:pt x="89" y="7"/>
                </a:lnTo>
                <a:lnTo>
                  <a:pt x="89" y="8"/>
                </a:lnTo>
                <a:lnTo>
                  <a:pt x="91" y="8"/>
                </a:lnTo>
                <a:lnTo>
                  <a:pt x="92" y="8"/>
                </a:lnTo>
                <a:lnTo>
                  <a:pt x="91" y="8"/>
                </a:lnTo>
                <a:lnTo>
                  <a:pt x="93" y="8"/>
                </a:lnTo>
                <a:lnTo>
                  <a:pt x="93" y="7"/>
                </a:lnTo>
                <a:lnTo>
                  <a:pt x="92" y="7"/>
                </a:lnTo>
                <a:lnTo>
                  <a:pt x="95" y="7"/>
                </a:lnTo>
                <a:lnTo>
                  <a:pt x="93" y="7"/>
                </a:lnTo>
                <a:lnTo>
                  <a:pt x="93" y="5"/>
                </a:lnTo>
                <a:lnTo>
                  <a:pt x="96" y="5"/>
                </a:lnTo>
                <a:lnTo>
                  <a:pt x="93" y="5"/>
                </a:lnTo>
                <a:lnTo>
                  <a:pt x="97" y="5"/>
                </a:lnTo>
                <a:lnTo>
                  <a:pt x="99" y="5"/>
                </a:lnTo>
                <a:lnTo>
                  <a:pt x="97" y="5"/>
                </a:lnTo>
                <a:lnTo>
                  <a:pt x="101" y="5"/>
                </a:lnTo>
                <a:lnTo>
                  <a:pt x="100" y="5"/>
                </a:lnTo>
                <a:lnTo>
                  <a:pt x="104" y="5"/>
                </a:lnTo>
                <a:lnTo>
                  <a:pt x="107" y="5"/>
                </a:lnTo>
                <a:lnTo>
                  <a:pt x="109" y="5"/>
                </a:lnTo>
                <a:lnTo>
                  <a:pt x="111" y="4"/>
                </a:lnTo>
                <a:lnTo>
                  <a:pt x="111" y="5"/>
                </a:lnTo>
                <a:lnTo>
                  <a:pt x="107" y="7"/>
                </a:lnTo>
                <a:lnTo>
                  <a:pt x="105" y="8"/>
                </a:lnTo>
                <a:lnTo>
                  <a:pt x="108" y="7"/>
                </a:lnTo>
                <a:lnTo>
                  <a:pt x="109" y="7"/>
                </a:lnTo>
                <a:lnTo>
                  <a:pt x="113" y="7"/>
                </a:lnTo>
                <a:lnTo>
                  <a:pt x="115" y="5"/>
                </a:lnTo>
                <a:lnTo>
                  <a:pt x="119" y="5"/>
                </a:lnTo>
                <a:lnTo>
                  <a:pt x="117" y="5"/>
                </a:lnTo>
                <a:lnTo>
                  <a:pt x="116" y="7"/>
                </a:lnTo>
                <a:lnTo>
                  <a:pt x="117" y="7"/>
                </a:lnTo>
                <a:lnTo>
                  <a:pt x="119" y="7"/>
                </a:lnTo>
                <a:lnTo>
                  <a:pt x="120" y="7"/>
                </a:lnTo>
                <a:lnTo>
                  <a:pt x="121" y="7"/>
                </a:lnTo>
                <a:lnTo>
                  <a:pt x="124" y="7"/>
                </a:lnTo>
                <a:lnTo>
                  <a:pt x="125" y="7"/>
                </a:lnTo>
                <a:lnTo>
                  <a:pt x="128" y="7"/>
                </a:lnTo>
                <a:lnTo>
                  <a:pt x="136" y="7"/>
                </a:lnTo>
                <a:lnTo>
                  <a:pt x="140" y="8"/>
                </a:lnTo>
                <a:lnTo>
                  <a:pt x="142" y="8"/>
                </a:lnTo>
                <a:lnTo>
                  <a:pt x="145" y="8"/>
                </a:lnTo>
                <a:lnTo>
                  <a:pt x="144" y="10"/>
                </a:lnTo>
                <a:lnTo>
                  <a:pt x="145" y="10"/>
                </a:lnTo>
                <a:lnTo>
                  <a:pt x="144" y="11"/>
                </a:lnTo>
                <a:lnTo>
                  <a:pt x="142" y="11"/>
                </a:lnTo>
                <a:lnTo>
                  <a:pt x="145" y="11"/>
                </a:lnTo>
                <a:lnTo>
                  <a:pt x="145" y="13"/>
                </a:lnTo>
                <a:lnTo>
                  <a:pt x="144" y="13"/>
                </a:lnTo>
                <a:lnTo>
                  <a:pt x="140" y="13"/>
                </a:lnTo>
                <a:lnTo>
                  <a:pt x="138" y="13"/>
                </a:lnTo>
                <a:lnTo>
                  <a:pt x="136" y="15"/>
                </a:lnTo>
                <a:lnTo>
                  <a:pt x="137" y="15"/>
                </a:lnTo>
                <a:lnTo>
                  <a:pt x="136" y="15"/>
                </a:lnTo>
                <a:lnTo>
                  <a:pt x="134" y="16"/>
                </a:lnTo>
                <a:lnTo>
                  <a:pt x="133" y="16"/>
                </a:lnTo>
                <a:lnTo>
                  <a:pt x="130" y="16"/>
                </a:lnTo>
                <a:lnTo>
                  <a:pt x="128" y="16"/>
                </a:lnTo>
                <a:lnTo>
                  <a:pt x="125" y="18"/>
                </a:lnTo>
                <a:lnTo>
                  <a:pt x="127" y="18"/>
                </a:lnTo>
                <a:lnTo>
                  <a:pt x="127" y="19"/>
                </a:lnTo>
                <a:lnTo>
                  <a:pt x="125" y="19"/>
                </a:lnTo>
                <a:lnTo>
                  <a:pt x="124" y="19"/>
                </a:lnTo>
                <a:lnTo>
                  <a:pt x="123" y="21"/>
                </a:lnTo>
                <a:lnTo>
                  <a:pt x="124" y="21"/>
                </a:lnTo>
                <a:lnTo>
                  <a:pt x="120" y="21"/>
                </a:lnTo>
                <a:lnTo>
                  <a:pt x="117" y="22"/>
                </a:lnTo>
                <a:lnTo>
                  <a:pt x="115" y="22"/>
                </a:lnTo>
                <a:lnTo>
                  <a:pt x="113" y="22"/>
                </a:lnTo>
                <a:lnTo>
                  <a:pt x="111" y="21"/>
                </a:lnTo>
                <a:lnTo>
                  <a:pt x="107" y="22"/>
                </a:lnTo>
                <a:lnTo>
                  <a:pt x="103" y="22"/>
                </a:lnTo>
                <a:lnTo>
                  <a:pt x="101" y="22"/>
                </a:lnTo>
                <a:lnTo>
                  <a:pt x="101" y="24"/>
                </a:lnTo>
                <a:lnTo>
                  <a:pt x="100" y="24"/>
                </a:lnTo>
                <a:lnTo>
                  <a:pt x="96" y="26"/>
                </a:lnTo>
                <a:lnTo>
                  <a:pt x="88" y="26"/>
                </a:lnTo>
                <a:lnTo>
                  <a:pt x="87" y="26"/>
                </a:lnTo>
                <a:lnTo>
                  <a:pt x="85" y="24"/>
                </a:lnTo>
                <a:lnTo>
                  <a:pt x="81" y="24"/>
                </a:lnTo>
                <a:lnTo>
                  <a:pt x="80" y="24"/>
                </a:lnTo>
                <a:lnTo>
                  <a:pt x="79" y="24"/>
                </a:lnTo>
                <a:lnTo>
                  <a:pt x="77" y="22"/>
                </a:lnTo>
                <a:lnTo>
                  <a:pt x="76" y="22"/>
                </a:lnTo>
                <a:lnTo>
                  <a:pt x="77" y="21"/>
                </a:lnTo>
                <a:lnTo>
                  <a:pt x="79" y="21"/>
                </a:lnTo>
                <a:lnTo>
                  <a:pt x="77" y="21"/>
                </a:lnTo>
                <a:lnTo>
                  <a:pt x="76" y="21"/>
                </a:lnTo>
                <a:lnTo>
                  <a:pt x="69" y="21"/>
                </a:lnTo>
                <a:lnTo>
                  <a:pt x="65" y="21"/>
                </a:lnTo>
                <a:lnTo>
                  <a:pt x="61" y="21"/>
                </a:lnTo>
                <a:lnTo>
                  <a:pt x="60" y="21"/>
                </a:lnTo>
                <a:lnTo>
                  <a:pt x="59" y="21"/>
                </a:lnTo>
                <a:lnTo>
                  <a:pt x="57" y="21"/>
                </a:lnTo>
                <a:lnTo>
                  <a:pt x="53" y="21"/>
                </a:lnTo>
                <a:lnTo>
                  <a:pt x="51" y="22"/>
                </a:lnTo>
                <a:lnTo>
                  <a:pt x="48" y="21"/>
                </a:lnTo>
                <a:lnTo>
                  <a:pt x="48" y="19"/>
                </a:lnTo>
                <a:lnTo>
                  <a:pt x="41" y="19"/>
                </a:lnTo>
                <a:lnTo>
                  <a:pt x="39" y="19"/>
                </a:lnTo>
                <a:lnTo>
                  <a:pt x="36" y="19"/>
                </a:lnTo>
                <a:lnTo>
                  <a:pt x="35" y="18"/>
                </a:lnTo>
                <a:lnTo>
                  <a:pt x="33" y="18"/>
                </a:lnTo>
                <a:lnTo>
                  <a:pt x="32" y="18"/>
                </a:lnTo>
                <a:lnTo>
                  <a:pt x="33" y="18"/>
                </a:lnTo>
                <a:lnTo>
                  <a:pt x="36" y="16"/>
                </a:lnTo>
                <a:lnTo>
                  <a:pt x="40" y="18"/>
                </a:lnTo>
                <a:lnTo>
                  <a:pt x="41" y="18"/>
                </a:lnTo>
                <a:lnTo>
                  <a:pt x="43" y="18"/>
                </a:lnTo>
                <a:lnTo>
                  <a:pt x="49" y="18"/>
                </a:lnTo>
                <a:lnTo>
                  <a:pt x="51" y="18"/>
                </a:lnTo>
                <a:lnTo>
                  <a:pt x="53" y="18"/>
                </a:lnTo>
                <a:lnTo>
                  <a:pt x="52" y="18"/>
                </a:lnTo>
                <a:lnTo>
                  <a:pt x="49" y="18"/>
                </a:lnTo>
                <a:lnTo>
                  <a:pt x="45" y="16"/>
                </a:lnTo>
                <a:lnTo>
                  <a:pt x="47" y="16"/>
                </a:lnTo>
                <a:lnTo>
                  <a:pt x="45" y="16"/>
                </a:lnTo>
                <a:lnTo>
                  <a:pt x="51" y="16"/>
                </a:lnTo>
                <a:lnTo>
                  <a:pt x="52" y="16"/>
                </a:lnTo>
                <a:lnTo>
                  <a:pt x="64" y="16"/>
                </a:lnTo>
                <a:lnTo>
                  <a:pt x="65" y="16"/>
                </a:lnTo>
                <a:lnTo>
                  <a:pt x="64" y="15"/>
                </a:lnTo>
                <a:lnTo>
                  <a:pt x="65" y="15"/>
                </a:lnTo>
                <a:lnTo>
                  <a:pt x="67" y="15"/>
                </a:lnTo>
                <a:lnTo>
                  <a:pt x="68" y="15"/>
                </a:lnTo>
                <a:lnTo>
                  <a:pt x="64" y="15"/>
                </a:lnTo>
                <a:lnTo>
                  <a:pt x="67" y="15"/>
                </a:lnTo>
                <a:lnTo>
                  <a:pt x="67" y="13"/>
                </a:lnTo>
                <a:lnTo>
                  <a:pt x="65" y="13"/>
                </a:lnTo>
                <a:lnTo>
                  <a:pt x="63" y="13"/>
                </a:lnTo>
                <a:lnTo>
                  <a:pt x="61" y="15"/>
                </a:lnTo>
                <a:lnTo>
                  <a:pt x="49" y="15"/>
                </a:lnTo>
                <a:lnTo>
                  <a:pt x="48" y="15"/>
                </a:lnTo>
                <a:lnTo>
                  <a:pt x="43" y="15"/>
                </a:lnTo>
                <a:lnTo>
                  <a:pt x="39" y="15"/>
                </a:lnTo>
                <a:lnTo>
                  <a:pt x="37" y="15"/>
                </a:lnTo>
                <a:lnTo>
                  <a:pt x="33" y="15"/>
                </a:lnTo>
                <a:lnTo>
                  <a:pt x="29" y="16"/>
                </a:lnTo>
                <a:lnTo>
                  <a:pt x="29" y="15"/>
                </a:lnTo>
                <a:lnTo>
                  <a:pt x="28" y="15"/>
                </a:lnTo>
                <a:lnTo>
                  <a:pt x="19" y="15"/>
                </a:lnTo>
                <a:lnTo>
                  <a:pt x="17" y="15"/>
                </a:lnTo>
                <a:lnTo>
                  <a:pt x="19" y="15"/>
                </a:lnTo>
                <a:lnTo>
                  <a:pt x="17" y="15"/>
                </a:lnTo>
                <a:lnTo>
                  <a:pt x="17" y="13"/>
                </a:lnTo>
                <a:lnTo>
                  <a:pt x="16" y="15"/>
                </a:lnTo>
                <a:lnTo>
                  <a:pt x="15" y="15"/>
                </a:lnTo>
                <a:lnTo>
                  <a:pt x="14" y="13"/>
                </a:lnTo>
                <a:lnTo>
                  <a:pt x="12" y="13"/>
                </a:lnTo>
                <a:lnTo>
                  <a:pt x="10" y="11"/>
                </a:lnTo>
                <a:lnTo>
                  <a:pt x="14" y="11"/>
                </a:lnTo>
                <a:lnTo>
                  <a:pt x="16" y="11"/>
                </a:lnTo>
                <a:lnTo>
                  <a:pt x="15" y="10"/>
                </a:lnTo>
                <a:lnTo>
                  <a:pt x="17" y="11"/>
                </a:lnTo>
                <a:lnTo>
                  <a:pt x="19" y="10"/>
                </a:lnTo>
                <a:lnTo>
                  <a:pt x="17" y="10"/>
                </a:lnTo>
                <a:lnTo>
                  <a:pt x="20" y="10"/>
                </a:lnTo>
                <a:lnTo>
                  <a:pt x="17" y="10"/>
                </a:lnTo>
                <a:lnTo>
                  <a:pt x="15" y="10"/>
                </a:lnTo>
                <a:lnTo>
                  <a:pt x="14" y="10"/>
                </a:lnTo>
                <a:lnTo>
                  <a:pt x="12" y="10"/>
                </a:lnTo>
                <a:lnTo>
                  <a:pt x="11" y="10"/>
                </a:lnTo>
                <a:lnTo>
                  <a:pt x="10" y="10"/>
                </a:lnTo>
                <a:lnTo>
                  <a:pt x="8" y="10"/>
                </a:lnTo>
                <a:lnTo>
                  <a:pt x="8" y="8"/>
                </a:lnTo>
                <a:lnTo>
                  <a:pt x="10" y="8"/>
                </a:lnTo>
                <a:lnTo>
                  <a:pt x="8" y="8"/>
                </a:lnTo>
                <a:lnTo>
                  <a:pt x="7" y="8"/>
                </a:lnTo>
                <a:lnTo>
                  <a:pt x="4" y="7"/>
                </a:lnTo>
                <a:lnTo>
                  <a:pt x="0" y="8"/>
                </a:lnTo>
                <a:lnTo>
                  <a:pt x="0" y="7"/>
                </a:lnTo>
                <a:lnTo>
                  <a:pt x="2" y="7"/>
                </a:lnTo>
                <a:lnTo>
                  <a:pt x="4" y="7"/>
                </a:lnTo>
                <a:lnTo>
                  <a:pt x="8" y="7"/>
                </a:lnTo>
                <a:lnTo>
                  <a:pt x="10" y="7"/>
                </a:lnTo>
                <a:lnTo>
                  <a:pt x="15" y="7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55" name="Freeform 454"/>
          <p:cNvSpPr>
            <a:spLocks/>
          </p:cNvSpPr>
          <p:nvPr/>
        </p:nvSpPr>
        <p:spPr bwMode="auto">
          <a:xfrm>
            <a:off x="6206451" y="1502974"/>
            <a:ext cx="122777" cy="19329"/>
          </a:xfrm>
          <a:custGeom>
            <a:avLst/>
            <a:gdLst/>
            <a:ahLst/>
            <a:cxnLst>
              <a:cxn ang="0">
                <a:pos x="1" y="7"/>
              </a:cxn>
              <a:cxn ang="0">
                <a:pos x="6" y="7"/>
              </a:cxn>
              <a:cxn ang="0">
                <a:pos x="9" y="8"/>
              </a:cxn>
              <a:cxn ang="0">
                <a:pos x="13" y="10"/>
              </a:cxn>
              <a:cxn ang="0">
                <a:pos x="14" y="8"/>
              </a:cxn>
              <a:cxn ang="0">
                <a:pos x="16" y="8"/>
              </a:cxn>
              <a:cxn ang="0">
                <a:pos x="10" y="7"/>
              </a:cxn>
              <a:cxn ang="0">
                <a:pos x="9" y="5"/>
              </a:cxn>
              <a:cxn ang="0">
                <a:pos x="12" y="5"/>
              </a:cxn>
              <a:cxn ang="0">
                <a:pos x="17" y="7"/>
              </a:cxn>
              <a:cxn ang="0">
                <a:pos x="20" y="7"/>
              </a:cxn>
              <a:cxn ang="0">
                <a:pos x="20" y="5"/>
              </a:cxn>
              <a:cxn ang="0">
                <a:pos x="20" y="4"/>
              </a:cxn>
              <a:cxn ang="0">
                <a:pos x="20" y="4"/>
              </a:cxn>
              <a:cxn ang="0">
                <a:pos x="20" y="4"/>
              </a:cxn>
              <a:cxn ang="0">
                <a:pos x="18" y="2"/>
              </a:cxn>
              <a:cxn ang="0">
                <a:pos x="17" y="4"/>
              </a:cxn>
              <a:cxn ang="0">
                <a:pos x="14" y="2"/>
              </a:cxn>
              <a:cxn ang="0">
                <a:pos x="17" y="2"/>
              </a:cxn>
              <a:cxn ang="0">
                <a:pos x="18" y="0"/>
              </a:cxn>
              <a:cxn ang="0">
                <a:pos x="21" y="2"/>
              </a:cxn>
              <a:cxn ang="0">
                <a:pos x="21" y="2"/>
              </a:cxn>
              <a:cxn ang="0">
                <a:pos x="25" y="2"/>
              </a:cxn>
              <a:cxn ang="0">
                <a:pos x="28" y="4"/>
              </a:cxn>
              <a:cxn ang="0">
                <a:pos x="29" y="5"/>
              </a:cxn>
              <a:cxn ang="0">
                <a:pos x="33" y="5"/>
              </a:cxn>
              <a:cxn ang="0">
                <a:pos x="34" y="7"/>
              </a:cxn>
              <a:cxn ang="0">
                <a:pos x="40" y="7"/>
              </a:cxn>
              <a:cxn ang="0">
                <a:pos x="44" y="7"/>
              </a:cxn>
              <a:cxn ang="0">
                <a:pos x="48" y="7"/>
              </a:cxn>
              <a:cxn ang="0">
                <a:pos x="49" y="5"/>
              </a:cxn>
              <a:cxn ang="0">
                <a:pos x="52" y="5"/>
              </a:cxn>
              <a:cxn ang="0">
                <a:pos x="52" y="7"/>
              </a:cxn>
              <a:cxn ang="0">
                <a:pos x="50" y="8"/>
              </a:cxn>
              <a:cxn ang="0">
                <a:pos x="53" y="10"/>
              </a:cxn>
              <a:cxn ang="0">
                <a:pos x="57" y="10"/>
              </a:cxn>
              <a:cxn ang="0">
                <a:pos x="60" y="10"/>
              </a:cxn>
              <a:cxn ang="0">
                <a:pos x="58" y="10"/>
              </a:cxn>
              <a:cxn ang="0">
                <a:pos x="58" y="7"/>
              </a:cxn>
              <a:cxn ang="0">
                <a:pos x="57" y="4"/>
              </a:cxn>
              <a:cxn ang="0">
                <a:pos x="58" y="2"/>
              </a:cxn>
              <a:cxn ang="0">
                <a:pos x="61" y="4"/>
              </a:cxn>
              <a:cxn ang="0">
                <a:pos x="65" y="4"/>
              </a:cxn>
              <a:cxn ang="0">
                <a:pos x="64" y="0"/>
              </a:cxn>
            </a:cxnLst>
            <a:rect l="0" t="0" r="r" b="b"/>
            <a:pathLst>
              <a:path w="65" h="10">
                <a:moveTo>
                  <a:pt x="0" y="7"/>
                </a:moveTo>
                <a:lnTo>
                  <a:pt x="1" y="7"/>
                </a:lnTo>
                <a:lnTo>
                  <a:pt x="2" y="7"/>
                </a:lnTo>
                <a:lnTo>
                  <a:pt x="6" y="7"/>
                </a:lnTo>
                <a:lnTo>
                  <a:pt x="6" y="8"/>
                </a:lnTo>
                <a:lnTo>
                  <a:pt x="9" y="8"/>
                </a:lnTo>
                <a:lnTo>
                  <a:pt x="12" y="10"/>
                </a:lnTo>
                <a:lnTo>
                  <a:pt x="13" y="10"/>
                </a:lnTo>
                <a:lnTo>
                  <a:pt x="13" y="8"/>
                </a:lnTo>
                <a:lnTo>
                  <a:pt x="14" y="8"/>
                </a:lnTo>
                <a:lnTo>
                  <a:pt x="13" y="8"/>
                </a:lnTo>
                <a:lnTo>
                  <a:pt x="16" y="8"/>
                </a:lnTo>
                <a:lnTo>
                  <a:pt x="12" y="7"/>
                </a:lnTo>
                <a:lnTo>
                  <a:pt x="10" y="7"/>
                </a:lnTo>
                <a:lnTo>
                  <a:pt x="8" y="5"/>
                </a:lnTo>
                <a:lnTo>
                  <a:pt x="9" y="5"/>
                </a:lnTo>
                <a:lnTo>
                  <a:pt x="8" y="4"/>
                </a:lnTo>
                <a:lnTo>
                  <a:pt x="12" y="5"/>
                </a:lnTo>
                <a:lnTo>
                  <a:pt x="13" y="5"/>
                </a:lnTo>
                <a:lnTo>
                  <a:pt x="17" y="7"/>
                </a:lnTo>
                <a:lnTo>
                  <a:pt x="18" y="7"/>
                </a:lnTo>
                <a:lnTo>
                  <a:pt x="20" y="7"/>
                </a:lnTo>
                <a:lnTo>
                  <a:pt x="18" y="5"/>
                </a:lnTo>
                <a:lnTo>
                  <a:pt x="20" y="5"/>
                </a:lnTo>
                <a:lnTo>
                  <a:pt x="18" y="4"/>
                </a:lnTo>
                <a:lnTo>
                  <a:pt x="20" y="4"/>
                </a:lnTo>
                <a:lnTo>
                  <a:pt x="18" y="4"/>
                </a:lnTo>
                <a:lnTo>
                  <a:pt x="20" y="4"/>
                </a:lnTo>
                <a:lnTo>
                  <a:pt x="21" y="4"/>
                </a:lnTo>
                <a:lnTo>
                  <a:pt x="20" y="4"/>
                </a:lnTo>
                <a:lnTo>
                  <a:pt x="18" y="4"/>
                </a:lnTo>
                <a:lnTo>
                  <a:pt x="18" y="2"/>
                </a:lnTo>
                <a:lnTo>
                  <a:pt x="17" y="2"/>
                </a:lnTo>
                <a:lnTo>
                  <a:pt x="17" y="4"/>
                </a:lnTo>
                <a:lnTo>
                  <a:pt x="16" y="4"/>
                </a:lnTo>
                <a:lnTo>
                  <a:pt x="14" y="2"/>
                </a:lnTo>
                <a:lnTo>
                  <a:pt x="16" y="2"/>
                </a:lnTo>
                <a:lnTo>
                  <a:pt x="17" y="2"/>
                </a:lnTo>
                <a:lnTo>
                  <a:pt x="17" y="0"/>
                </a:lnTo>
                <a:lnTo>
                  <a:pt x="18" y="0"/>
                </a:lnTo>
                <a:lnTo>
                  <a:pt x="20" y="2"/>
                </a:lnTo>
                <a:lnTo>
                  <a:pt x="21" y="2"/>
                </a:lnTo>
                <a:lnTo>
                  <a:pt x="22" y="2"/>
                </a:lnTo>
                <a:lnTo>
                  <a:pt x="21" y="2"/>
                </a:lnTo>
                <a:lnTo>
                  <a:pt x="22" y="4"/>
                </a:lnTo>
                <a:lnTo>
                  <a:pt x="25" y="2"/>
                </a:lnTo>
                <a:lnTo>
                  <a:pt x="26" y="2"/>
                </a:lnTo>
                <a:lnTo>
                  <a:pt x="28" y="4"/>
                </a:lnTo>
                <a:lnTo>
                  <a:pt x="29" y="4"/>
                </a:lnTo>
                <a:lnTo>
                  <a:pt x="29" y="5"/>
                </a:lnTo>
                <a:lnTo>
                  <a:pt x="30" y="5"/>
                </a:lnTo>
                <a:lnTo>
                  <a:pt x="33" y="5"/>
                </a:lnTo>
                <a:lnTo>
                  <a:pt x="34" y="5"/>
                </a:lnTo>
                <a:lnTo>
                  <a:pt x="34" y="7"/>
                </a:lnTo>
                <a:lnTo>
                  <a:pt x="36" y="7"/>
                </a:lnTo>
                <a:lnTo>
                  <a:pt x="40" y="7"/>
                </a:lnTo>
                <a:lnTo>
                  <a:pt x="42" y="5"/>
                </a:lnTo>
                <a:lnTo>
                  <a:pt x="44" y="7"/>
                </a:lnTo>
                <a:lnTo>
                  <a:pt x="45" y="5"/>
                </a:lnTo>
                <a:lnTo>
                  <a:pt x="48" y="7"/>
                </a:lnTo>
                <a:lnTo>
                  <a:pt x="49" y="7"/>
                </a:lnTo>
                <a:lnTo>
                  <a:pt x="49" y="5"/>
                </a:lnTo>
                <a:lnTo>
                  <a:pt x="50" y="5"/>
                </a:lnTo>
                <a:lnTo>
                  <a:pt x="52" y="5"/>
                </a:lnTo>
                <a:lnTo>
                  <a:pt x="50" y="7"/>
                </a:lnTo>
                <a:lnTo>
                  <a:pt x="52" y="7"/>
                </a:lnTo>
                <a:lnTo>
                  <a:pt x="45" y="8"/>
                </a:lnTo>
                <a:lnTo>
                  <a:pt x="50" y="8"/>
                </a:lnTo>
                <a:lnTo>
                  <a:pt x="53" y="8"/>
                </a:lnTo>
                <a:lnTo>
                  <a:pt x="53" y="10"/>
                </a:lnTo>
                <a:lnTo>
                  <a:pt x="56" y="10"/>
                </a:lnTo>
                <a:lnTo>
                  <a:pt x="57" y="10"/>
                </a:lnTo>
                <a:lnTo>
                  <a:pt x="58" y="10"/>
                </a:lnTo>
                <a:lnTo>
                  <a:pt x="60" y="10"/>
                </a:lnTo>
                <a:lnTo>
                  <a:pt x="57" y="10"/>
                </a:lnTo>
                <a:lnTo>
                  <a:pt x="58" y="10"/>
                </a:lnTo>
                <a:lnTo>
                  <a:pt x="58" y="8"/>
                </a:lnTo>
                <a:lnTo>
                  <a:pt x="58" y="7"/>
                </a:lnTo>
                <a:lnTo>
                  <a:pt x="60" y="5"/>
                </a:lnTo>
                <a:lnTo>
                  <a:pt x="57" y="4"/>
                </a:lnTo>
                <a:lnTo>
                  <a:pt x="58" y="4"/>
                </a:lnTo>
                <a:lnTo>
                  <a:pt x="58" y="2"/>
                </a:lnTo>
                <a:lnTo>
                  <a:pt x="61" y="2"/>
                </a:lnTo>
                <a:lnTo>
                  <a:pt x="61" y="4"/>
                </a:lnTo>
                <a:lnTo>
                  <a:pt x="62" y="4"/>
                </a:lnTo>
                <a:lnTo>
                  <a:pt x="65" y="4"/>
                </a:lnTo>
                <a:lnTo>
                  <a:pt x="65" y="2"/>
                </a:lnTo>
                <a:lnTo>
                  <a:pt x="64" y="0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56" name="Freeform 455"/>
          <p:cNvSpPr>
            <a:spLocks/>
          </p:cNvSpPr>
          <p:nvPr/>
        </p:nvSpPr>
        <p:spPr bwMode="auto">
          <a:xfrm>
            <a:off x="3105889" y="3691388"/>
            <a:ext cx="35079" cy="92346"/>
          </a:xfrm>
          <a:custGeom>
            <a:avLst/>
            <a:gdLst/>
            <a:ahLst/>
            <a:cxnLst>
              <a:cxn ang="0">
                <a:pos x="13" y="0"/>
              </a:cxn>
              <a:cxn ang="0">
                <a:pos x="11" y="0"/>
              </a:cxn>
              <a:cxn ang="0">
                <a:pos x="5" y="10"/>
              </a:cxn>
              <a:cxn ang="0">
                <a:pos x="4" y="10"/>
              </a:cxn>
              <a:cxn ang="0">
                <a:pos x="1" y="10"/>
              </a:cxn>
              <a:cxn ang="0">
                <a:pos x="1" y="33"/>
              </a:cxn>
              <a:cxn ang="0">
                <a:pos x="0" y="44"/>
              </a:cxn>
              <a:cxn ang="0">
                <a:pos x="3" y="46"/>
              </a:cxn>
              <a:cxn ang="0">
                <a:pos x="5" y="46"/>
              </a:cxn>
              <a:cxn ang="0">
                <a:pos x="5" y="43"/>
              </a:cxn>
              <a:cxn ang="0">
                <a:pos x="5" y="41"/>
              </a:cxn>
              <a:cxn ang="0">
                <a:pos x="8" y="40"/>
              </a:cxn>
              <a:cxn ang="0">
                <a:pos x="11" y="36"/>
              </a:cxn>
              <a:cxn ang="0">
                <a:pos x="12" y="35"/>
              </a:cxn>
              <a:cxn ang="0">
                <a:pos x="13" y="32"/>
              </a:cxn>
              <a:cxn ang="0">
                <a:pos x="15" y="27"/>
              </a:cxn>
              <a:cxn ang="0">
                <a:pos x="15" y="24"/>
              </a:cxn>
              <a:cxn ang="0">
                <a:pos x="15" y="18"/>
              </a:cxn>
              <a:cxn ang="0">
                <a:pos x="15" y="13"/>
              </a:cxn>
              <a:cxn ang="0">
                <a:pos x="16" y="8"/>
              </a:cxn>
              <a:cxn ang="0">
                <a:pos x="17" y="5"/>
              </a:cxn>
              <a:cxn ang="0">
                <a:pos x="17" y="4"/>
              </a:cxn>
              <a:cxn ang="0">
                <a:pos x="16" y="2"/>
              </a:cxn>
              <a:cxn ang="0">
                <a:pos x="13" y="0"/>
              </a:cxn>
            </a:cxnLst>
            <a:rect l="0" t="0" r="r" b="b"/>
            <a:pathLst>
              <a:path w="17" h="46">
                <a:moveTo>
                  <a:pt x="13" y="0"/>
                </a:moveTo>
                <a:lnTo>
                  <a:pt x="11" y="0"/>
                </a:lnTo>
                <a:lnTo>
                  <a:pt x="5" y="10"/>
                </a:lnTo>
                <a:lnTo>
                  <a:pt x="4" y="10"/>
                </a:lnTo>
                <a:lnTo>
                  <a:pt x="1" y="10"/>
                </a:lnTo>
                <a:lnTo>
                  <a:pt x="1" y="33"/>
                </a:lnTo>
                <a:lnTo>
                  <a:pt x="0" y="44"/>
                </a:lnTo>
                <a:lnTo>
                  <a:pt x="3" y="46"/>
                </a:lnTo>
                <a:lnTo>
                  <a:pt x="5" y="46"/>
                </a:lnTo>
                <a:lnTo>
                  <a:pt x="5" y="43"/>
                </a:lnTo>
                <a:lnTo>
                  <a:pt x="5" y="41"/>
                </a:lnTo>
                <a:lnTo>
                  <a:pt x="8" y="40"/>
                </a:lnTo>
                <a:lnTo>
                  <a:pt x="11" y="36"/>
                </a:lnTo>
                <a:lnTo>
                  <a:pt x="12" y="35"/>
                </a:lnTo>
                <a:lnTo>
                  <a:pt x="13" y="32"/>
                </a:lnTo>
                <a:lnTo>
                  <a:pt x="15" y="27"/>
                </a:lnTo>
                <a:lnTo>
                  <a:pt x="15" y="24"/>
                </a:lnTo>
                <a:lnTo>
                  <a:pt x="15" y="18"/>
                </a:lnTo>
                <a:lnTo>
                  <a:pt x="15" y="13"/>
                </a:lnTo>
                <a:lnTo>
                  <a:pt x="16" y="8"/>
                </a:lnTo>
                <a:lnTo>
                  <a:pt x="17" y="5"/>
                </a:lnTo>
                <a:lnTo>
                  <a:pt x="17" y="4"/>
                </a:lnTo>
                <a:lnTo>
                  <a:pt x="16" y="2"/>
                </a:lnTo>
                <a:lnTo>
                  <a:pt x="13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57" name="Freeform 456"/>
          <p:cNvSpPr>
            <a:spLocks/>
          </p:cNvSpPr>
          <p:nvPr/>
        </p:nvSpPr>
        <p:spPr bwMode="auto">
          <a:xfrm>
            <a:off x="3105889" y="3691388"/>
            <a:ext cx="35079" cy="92346"/>
          </a:xfrm>
          <a:custGeom>
            <a:avLst/>
            <a:gdLst/>
            <a:ahLst/>
            <a:cxnLst>
              <a:cxn ang="0">
                <a:pos x="13" y="0"/>
              </a:cxn>
              <a:cxn ang="0">
                <a:pos x="11" y="0"/>
              </a:cxn>
              <a:cxn ang="0">
                <a:pos x="5" y="10"/>
              </a:cxn>
              <a:cxn ang="0">
                <a:pos x="4" y="10"/>
              </a:cxn>
              <a:cxn ang="0">
                <a:pos x="1" y="10"/>
              </a:cxn>
              <a:cxn ang="0">
                <a:pos x="1" y="33"/>
              </a:cxn>
              <a:cxn ang="0">
                <a:pos x="0" y="44"/>
              </a:cxn>
              <a:cxn ang="0">
                <a:pos x="3" y="46"/>
              </a:cxn>
              <a:cxn ang="0">
                <a:pos x="5" y="46"/>
              </a:cxn>
              <a:cxn ang="0">
                <a:pos x="5" y="43"/>
              </a:cxn>
              <a:cxn ang="0">
                <a:pos x="5" y="41"/>
              </a:cxn>
              <a:cxn ang="0">
                <a:pos x="8" y="40"/>
              </a:cxn>
              <a:cxn ang="0">
                <a:pos x="11" y="36"/>
              </a:cxn>
              <a:cxn ang="0">
                <a:pos x="12" y="35"/>
              </a:cxn>
              <a:cxn ang="0">
                <a:pos x="13" y="32"/>
              </a:cxn>
              <a:cxn ang="0">
                <a:pos x="15" y="27"/>
              </a:cxn>
              <a:cxn ang="0">
                <a:pos x="15" y="24"/>
              </a:cxn>
              <a:cxn ang="0">
                <a:pos x="15" y="18"/>
              </a:cxn>
              <a:cxn ang="0">
                <a:pos x="15" y="13"/>
              </a:cxn>
              <a:cxn ang="0">
                <a:pos x="16" y="8"/>
              </a:cxn>
              <a:cxn ang="0">
                <a:pos x="17" y="5"/>
              </a:cxn>
              <a:cxn ang="0">
                <a:pos x="17" y="4"/>
              </a:cxn>
              <a:cxn ang="0">
                <a:pos x="16" y="2"/>
              </a:cxn>
              <a:cxn ang="0">
                <a:pos x="13" y="0"/>
              </a:cxn>
            </a:cxnLst>
            <a:rect l="0" t="0" r="r" b="b"/>
            <a:pathLst>
              <a:path w="17" h="46">
                <a:moveTo>
                  <a:pt x="13" y="0"/>
                </a:moveTo>
                <a:lnTo>
                  <a:pt x="11" y="0"/>
                </a:lnTo>
                <a:lnTo>
                  <a:pt x="5" y="10"/>
                </a:lnTo>
                <a:lnTo>
                  <a:pt x="4" y="10"/>
                </a:lnTo>
                <a:lnTo>
                  <a:pt x="1" y="10"/>
                </a:lnTo>
                <a:lnTo>
                  <a:pt x="1" y="33"/>
                </a:lnTo>
                <a:lnTo>
                  <a:pt x="0" y="44"/>
                </a:lnTo>
                <a:lnTo>
                  <a:pt x="3" y="46"/>
                </a:lnTo>
                <a:lnTo>
                  <a:pt x="5" y="46"/>
                </a:lnTo>
                <a:lnTo>
                  <a:pt x="5" y="43"/>
                </a:lnTo>
                <a:lnTo>
                  <a:pt x="5" y="41"/>
                </a:lnTo>
                <a:lnTo>
                  <a:pt x="8" y="40"/>
                </a:lnTo>
                <a:lnTo>
                  <a:pt x="11" y="36"/>
                </a:lnTo>
                <a:lnTo>
                  <a:pt x="12" y="35"/>
                </a:lnTo>
                <a:lnTo>
                  <a:pt x="13" y="32"/>
                </a:lnTo>
                <a:lnTo>
                  <a:pt x="15" y="27"/>
                </a:lnTo>
                <a:lnTo>
                  <a:pt x="15" y="24"/>
                </a:lnTo>
                <a:lnTo>
                  <a:pt x="15" y="18"/>
                </a:lnTo>
                <a:lnTo>
                  <a:pt x="15" y="13"/>
                </a:lnTo>
                <a:lnTo>
                  <a:pt x="16" y="8"/>
                </a:lnTo>
                <a:lnTo>
                  <a:pt x="17" y="5"/>
                </a:lnTo>
                <a:lnTo>
                  <a:pt x="17" y="4"/>
                </a:lnTo>
                <a:lnTo>
                  <a:pt x="16" y="2"/>
                </a:lnTo>
                <a:lnTo>
                  <a:pt x="13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58" name="Freeform 457"/>
          <p:cNvSpPr>
            <a:spLocks/>
          </p:cNvSpPr>
          <p:nvPr/>
        </p:nvSpPr>
        <p:spPr bwMode="auto">
          <a:xfrm>
            <a:off x="3084450" y="3833130"/>
            <a:ext cx="66259" cy="49394"/>
          </a:xfrm>
          <a:custGeom>
            <a:avLst/>
            <a:gdLst/>
            <a:ahLst/>
            <a:cxnLst>
              <a:cxn ang="0">
                <a:pos x="9" y="0"/>
              </a:cxn>
              <a:cxn ang="0">
                <a:pos x="8" y="2"/>
              </a:cxn>
              <a:cxn ang="0">
                <a:pos x="8" y="5"/>
              </a:cxn>
              <a:cxn ang="0">
                <a:pos x="7" y="6"/>
              </a:cxn>
              <a:cxn ang="0">
                <a:pos x="5" y="6"/>
              </a:cxn>
              <a:cxn ang="0">
                <a:pos x="4" y="8"/>
              </a:cxn>
              <a:cxn ang="0">
                <a:pos x="1" y="9"/>
              </a:cxn>
              <a:cxn ang="0">
                <a:pos x="0" y="13"/>
              </a:cxn>
              <a:cxn ang="0">
                <a:pos x="0" y="14"/>
              </a:cxn>
              <a:cxn ang="0">
                <a:pos x="3" y="16"/>
              </a:cxn>
              <a:cxn ang="0">
                <a:pos x="5" y="17"/>
              </a:cxn>
              <a:cxn ang="0">
                <a:pos x="9" y="17"/>
              </a:cxn>
              <a:cxn ang="0">
                <a:pos x="12" y="19"/>
              </a:cxn>
              <a:cxn ang="0">
                <a:pos x="16" y="20"/>
              </a:cxn>
              <a:cxn ang="0">
                <a:pos x="21" y="24"/>
              </a:cxn>
              <a:cxn ang="0">
                <a:pos x="28" y="24"/>
              </a:cxn>
              <a:cxn ang="0">
                <a:pos x="33" y="20"/>
              </a:cxn>
              <a:cxn ang="0">
                <a:pos x="35" y="19"/>
              </a:cxn>
              <a:cxn ang="0">
                <a:pos x="33" y="19"/>
              </a:cxn>
              <a:cxn ang="0">
                <a:pos x="33" y="13"/>
              </a:cxn>
              <a:cxn ang="0">
                <a:pos x="32" y="11"/>
              </a:cxn>
              <a:cxn ang="0">
                <a:pos x="29" y="9"/>
              </a:cxn>
              <a:cxn ang="0">
                <a:pos x="27" y="9"/>
              </a:cxn>
              <a:cxn ang="0">
                <a:pos x="27" y="11"/>
              </a:cxn>
              <a:cxn ang="0">
                <a:pos x="24" y="11"/>
              </a:cxn>
              <a:cxn ang="0">
                <a:pos x="23" y="11"/>
              </a:cxn>
              <a:cxn ang="0">
                <a:pos x="23" y="9"/>
              </a:cxn>
              <a:cxn ang="0">
                <a:pos x="20" y="8"/>
              </a:cxn>
              <a:cxn ang="0">
                <a:pos x="20" y="6"/>
              </a:cxn>
              <a:cxn ang="0">
                <a:pos x="19" y="6"/>
              </a:cxn>
              <a:cxn ang="0">
                <a:pos x="16" y="5"/>
              </a:cxn>
              <a:cxn ang="0">
                <a:pos x="16" y="3"/>
              </a:cxn>
              <a:cxn ang="0">
                <a:pos x="15" y="2"/>
              </a:cxn>
              <a:cxn ang="0">
                <a:pos x="11" y="2"/>
              </a:cxn>
              <a:cxn ang="0">
                <a:pos x="9" y="0"/>
              </a:cxn>
            </a:cxnLst>
            <a:rect l="0" t="0" r="r" b="b"/>
            <a:pathLst>
              <a:path w="35" h="24">
                <a:moveTo>
                  <a:pt x="9" y="0"/>
                </a:moveTo>
                <a:lnTo>
                  <a:pt x="8" y="2"/>
                </a:lnTo>
                <a:lnTo>
                  <a:pt x="8" y="5"/>
                </a:lnTo>
                <a:lnTo>
                  <a:pt x="7" y="6"/>
                </a:lnTo>
                <a:lnTo>
                  <a:pt x="5" y="6"/>
                </a:lnTo>
                <a:lnTo>
                  <a:pt x="4" y="8"/>
                </a:lnTo>
                <a:lnTo>
                  <a:pt x="1" y="9"/>
                </a:lnTo>
                <a:lnTo>
                  <a:pt x="0" y="13"/>
                </a:lnTo>
                <a:lnTo>
                  <a:pt x="0" y="14"/>
                </a:lnTo>
                <a:lnTo>
                  <a:pt x="3" y="16"/>
                </a:lnTo>
                <a:lnTo>
                  <a:pt x="5" y="17"/>
                </a:lnTo>
                <a:lnTo>
                  <a:pt x="9" y="17"/>
                </a:lnTo>
                <a:lnTo>
                  <a:pt x="12" y="19"/>
                </a:lnTo>
                <a:lnTo>
                  <a:pt x="16" y="20"/>
                </a:lnTo>
                <a:lnTo>
                  <a:pt x="21" y="24"/>
                </a:lnTo>
                <a:lnTo>
                  <a:pt x="28" y="24"/>
                </a:lnTo>
                <a:lnTo>
                  <a:pt x="33" y="20"/>
                </a:lnTo>
                <a:lnTo>
                  <a:pt x="35" y="19"/>
                </a:lnTo>
                <a:lnTo>
                  <a:pt x="33" y="19"/>
                </a:lnTo>
                <a:lnTo>
                  <a:pt x="33" y="13"/>
                </a:lnTo>
                <a:lnTo>
                  <a:pt x="32" y="11"/>
                </a:lnTo>
                <a:lnTo>
                  <a:pt x="29" y="9"/>
                </a:lnTo>
                <a:lnTo>
                  <a:pt x="27" y="9"/>
                </a:lnTo>
                <a:lnTo>
                  <a:pt x="27" y="11"/>
                </a:lnTo>
                <a:lnTo>
                  <a:pt x="24" y="11"/>
                </a:lnTo>
                <a:lnTo>
                  <a:pt x="23" y="11"/>
                </a:lnTo>
                <a:lnTo>
                  <a:pt x="23" y="9"/>
                </a:lnTo>
                <a:lnTo>
                  <a:pt x="20" y="8"/>
                </a:lnTo>
                <a:lnTo>
                  <a:pt x="20" y="6"/>
                </a:lnTo>
                <a:lnTo>
                  <a:pt x="19" y="6"/>
                </a:lnTo>
                <a:lnTo>
                  <a:pt x="16" y="5"/>
                </a:lnTo>
                <a:lnTo>
                  <a:pt x="16" y="3"/>
                </a:lnTo>
                <a:lnTo>
                  <a:pt x="15" y="2"/>
                </a:lnTo>
                <a:lnTo>
                  <a:pt x="11" y="2"/>
                </a:lnTo>
                <a:lnTo>
                  <a:pt x="9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59" name="Freeform 458"/>
          <p:cNvSpPr>
            <a:spLocks/>
          </p:cNvSpPr>
          <p:nvPr/>
        </p:nvSpPr>
        <p:spPr bwMode="auto">
          <a:xfrm>
            <a:off x="3084450" y="3833130"/>
            <a:ext cx="66259" cy="49394"/>
          </a:xfrm>
          <a:custGeom>
            <a:avLst/>
            <a:gdLst/>
            <a:ahLst/>
            <a:cxnLst>
              <a:cxn ang="0">
                <a:pos x="9" y="0"/>
              </a:cxn>
              <a:cxn ang="0">
                <a:pos x="8" y="2"/>
              </a:cxn>
              <a:cxn ang="0">
                <a:pos x="8" y="5"/>
              </a:cxn>
              <a:cxn ang="0">
                <a:pos x="7" y="6"/>
              </a:cxn>
              <a:cxn ang="0">
                <a:pos x="5" y="6"/>
              </a:cxn>
              <a:cxn ang="0">
                <a:pos x="4" y="8"/>
              </a:cxn>
              <a:cxn ang="0">
                <a:pos x="1" y="9"/>
              </a:cxn>
              <a:cxn ang="0">
                <a:pos x="0" y="13"/>
              </a:cxn>
              <a:cxn ang="0">
                <a:pos x="0" y="14"/>
              </a:cxn>
              <a:cxn ang="0">
                <a:pos x="3" y="16"/>
              </a:cxn>
              <a:cxn ang="0">
                <a:pos x="5" y="17"/>
              </a:cxn>
              <a:cxn ang="0">
                <a:pos x="9" y="17"/>
              </a:cxn>
              <a:cxn ang="0">
                <a:pos x="12" y="19"/>
              </a:cxn>
              <a:cxn ang="0">
                <a:pos x="16" y="20"/>
              </a:cxn>
              <a:cxn ang="0">
                <a:pos x="21" y="24"/>
              </a:cxn>
              <a:cxn ang="0">
                <a:pos x="28" y="24"/>
              </a:cxn>
              <a:cxn ang="0">
                <a:pos x="33" y="20"/>
              </a:cxn>
              <a:cxn ang="0">
                <a:pos x="35" y="19"/>
              </a:cxn>
              <a:cxn ang="0">
                <a:pos x="33" y="19"/>
              </a:cxn>
              <a:cxn ang="0">
                <a:pos x="33" y="13"/>
              </a:cxn>
              <a:cxn ang="0">
                <a:pos x="32" y="11"/>
              </a:cxn>
              <a:cxn ang="0">
                <a:pos x="29" y="9"/>
              </a:cxn>
              <a:cxn ang="0">
                <a:pos x="27" y="9"/>
              </a:cxn>
              <a:cxn ang="0">
                <a:pos x="27" y="11"/>
              </a:cxn>
              <a:cxn ang="0">
                <a:pos x="24" y="11"/>
              </a:cxn>
              <a:cxn ang="0">
                <a:pos x="23" y="11"/>
              </a:cxn>
              <a:cxn ang="0">
                <a:pos x="23" y="9"/>
              </a:cxn>
              <a:cxn ang="0">
                <a:pos x="20" y="8"/>
              </a:cxn>
              <a:cxn ang="0">
                <a:pos x="20" y="6"/>
              </a:cxn>
              <a:cxn ang="0">
                <a:pos x="19" y="6"/>
              </a:cxn>
              <a:cxn ang="0">
                <a:pos x="16" y="5"/>
              </a:cxn>
              <a:cxn ang="0">
                <a:pos x="16" y="3"/>
              </a:cxn>
              <a:cxn ang="0">
                <a:pos x="15" y="2"/>
              </a:cxn>
              <a:cxn ang="0">
                <a:pos x="11" y="2"/>
              </a:cxn>
              <a:cxn ang="0">
                <a:pos x="9" y="0"/>
              </a:cxn>
            </a:cxnLst>
            <a:rect l="0" t="0" r="r" b="b"/>
            <a:pathLst>
              <a:path w="35" h="24">
                <a:moveTo>
                  <a:pt x="9" y="0"/>
                </a:moveTo>
                <a:lnTo>
                  <a:pt x="8" y="2"/>
                </a:lnTo>
                <a:lnTo>
                  <a:pt x="8" y="5"/>
                </a:lnTo>
                <a:lnTo>
                  <a:pt x="7" y="6"/>
                </a:lnTo>
                <a:lnTo>
                  <a:pt x="5" y="6"/>
                </a:lnTo>
                <a:lnTo>
                  <a:pt x="4" y="8"/>
                </a:lnTo>
                <a:lnTo>
                  <a:pt x="1" y="9"/>
                </a:lnTo>
                <a:lnTo>
                  <a:pt x="0" y="13"/>
                </a:lnTo>
                <a:lnTo>
                  <a:pt x="0" y="14"/>
                </a:lnTo>
                <a:lnTo>
                  <a:pt x="3" y="16"/>
                </a:lnTo>
                <a:lnTo>
                  <a:pt x="5" y="17"/>
                </a:lnTo>
                <a:lnTo>
                  <a:pt x="9" y="17"/>
                </a:lnTo>
                <a:lnTo>
                  <a:pt x="12" y="19"/>
                </a:lnTo>
                <a:lnTo>
                  <a:pt x="16" y="20"/>
                </a:lnTo>
                <a:lnTo>
                  <a:pt x="21" y="24"/>
                </a:lnTo>
                <a:lnTo>
                  <a:pt x="28" y="24"/>
                </a:lnTo>
                <a:lnTo>
                  <a:pt x="33" y="20"/>
                </a:lnTo>
                <a:lnTo>
                  <a:pt x="35" y="19"/>
                </a:lnTo>
                <a:lnTo>
                  <a:pt x="33" y="19"/>
                </a:lnTo>
                <a:lnTo>
                  <a:pt x="33" y="13"/>
                </a:lnTo>
                <a:lnTo>
                  <a:pt x="32" y="11"/>
                </a:lnTo>
                <a:lnTo>
                  <a:pt x="29" y="9"/>
                </a:lnTo>
                <a:lnTo>
                  <a:pt x="27" y="9"/>
                </a:lnTo>
                <a:lnTo>
                  <a:pt x="27" y="11"/>
                </a:lnTo>
                <a:lnTo>
                  <a:pt x="24" y="11"/>
                </a:lnTo>
                <a:lnTo>
                  <a:pt x="23" y="11"/>
                </a:lnTo>
                <a:lnTo>
                  <a:pt x="23" y="9"/>
                </a:lnTo>
                <a:lnTo>
                  <a:pt x="20" y="8"/>
                </a:lnTo>
                <a:lnTo>
                  <a:pt x="20" y="6"/>
                </a:lnTo>
                <a:lnTo>
                  <a:pt x="19" y="6"/>
                </a:lnTo>
                <a:lnTo>
                  <a:pt x="16" y="5"/>
                </a:lnTo>
                <a:lnTo>
                  <a:pt x="16" y="3"/>
                </a:lnTo>
                <a:lnTo>
                  <a:pt x="15" y="2"/>
                </a:lnTo>
                <a:lnTo>
                  <a:pt x="11" y="2"/>
                </a:lnTo>
                <a:lnTo>
                  <a:pt x="9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60" name="Freeform 459"/>
          <p:cNvSpPr>
            <a:spLocks/>
          </p:cNvSpPr>
          <p:nvPr/>
        </p:nvSpPr>
        <p:spPr bwMode="auto">
          <a:xfrm>
            <a:off x="3203329" y="3951248"/>
            <a:ext cx="93543" cy="100938"/>
          </a:xfrm>
          <a:custGeom>
            <a:avLst/>
            <a:gdLst/>
            <a:ahLst/>
            <a:cxnLst>
              <a:cxn ang="0">
                <a:pos x="32" y="4"/>
              </a:cxn>
              <a:cxn ang="0">
                <a:pos x="27" y="6"/>
              </a:cxn>
              <a:cxn ang="0">
                <a:pos x="23" y="3"/>
              </a:cxn>
              <a:cxn ang="0">
                <a:pos x="19" y="1"/>
              </a:cxn>
              <a:cxn ang="0">
                <a:pos x="14" y="3"/>
              </a:cxn>
              <a:cxn ang="0">
                <a:pos x="6" y="0"/>
              </a:cxn>
              <a:cxn ang="0">
                <a:pos x="2" y="1"/>
              </a:cxn>
              <a:cxn ang="0">
                <a:pos x="2" y="4"/>
              </a:cxn>
              <a:cxn ang="0">
                <a:pos x="2" y="9"/>
              </a:cxn>
              <a:cxn ang="0">
                <a:pos x="0" y="12"/>
              </a:cxn>
              <a:cxn ang="0">
                <a:pos x="3" y="19"/>
              </a:cxn>
              <a:cxn ang="0">
                <a:pos x="6" y="22"/>
              </a:cxn>
              <a:cxn ang="0">
                <a:pos x="10" y="23"/>
              </a:cxn>
              <a:cxn ang="0">
                <a:pos x="12" y="26"/>
              </a:cxn>
              <a:cxn ang="0">
                <a:pos x="14" y="22"/>
              </a:cxn>
              <a:cxn ang="0">
                <a:pos x="11" y="19"/>
              </a:cxn>
              <a:cxn ang="0">
                <a:pos x="15" y="19"/>
              </a:cxn>
              <a:cxn ang="0">
                <a:pos x="19" y="23"/>
              </a:cxn>
              <a:cxn ang="0">
                <a:pos x="22" y="28"/>
              </a:cxn>
              <a:cxn ang="0">
                <a:pos x="34" y="36"/>
              </a:cxn>
              <a:cxn ang="0">
                <a:pos x="36" y="47"/>
              </a:cxn>
              <a:cxn ang="0">
                <a:pos x="38" y="44"/>
              </a:cxn>
              <a:cxn ang="0">
                <a:pos x="39" y="44"/>
              </a:cxn>
              <a:cxn ang="0">
                <a:pos x="42" y="45"/>
              </a:cxn>
              <a:cxn ang="0">
                <a:pos x="44" y="50"/>
              </a:cxn>
              <a:cxn ang="0">
                <a:pos x="47" y="45"/>
              </a:cxn>
              <a:cxn ang="0">
                <a:pos x="47" y="39"/>
              </a:cxn>
              <a:cxn ang="0">
                <a:pos x="48" y="37"/>
              </a:cxn>
              <a:cxn ang="0">
                <a:pos x="46" y="34"/>
              </a:cxn>
              <a:cxn ang="0">
                <a:pos x="47" y="26"/>
              </a:cxn>
              <a:cxn ang="0">
                <a:pos x="50" y="26"/>
              </a:cxn>
              <a:cxn ang="0">
                <a:pos x="44" y="22"/>
              </a:cxn>
              <a:cxn ang="0">
                <a:pos x="38" y="12"/>
              </a:cxn>
              <a:cxn ang="0">
                <a:pos x="35" y="6"/>
              </a:cxn>
            </a:cxnLst>
            <a:rect l="0" t="0" r="r" b="b"/>
            <a:pathLst>
              <a:path w="50" h="50">
                <a:moveTo>
                  <a:pt x="34" y="4"/>
                </a:moveTo>
                <a:lnTo>
                  <a:pt x="32" y="4"/>
                </a:lnTo>
                <a:lnTo>
                  <a:pt x="30" y="6"/>
                </a:lnTo>
                <a:lnTo>
                  <a:pt x="27" y="6"/>
                </a:lnTo>
                <a:lnTo>
                  <a:pt x="26" y="4"/>
                </a:lnTo>
                <a:lnTo>
                  <a:pt x="23" y="3"/>
                </a:lnTo>
                <a:lnTo>
                  <a:pt x="20" y="1"/>
                </a:lnTo>
                <a:lnTo>
                  <a:pt x="19" y="1"/>
                </a:lnTo>
                <a:lnTo>
                  <a:pt x="16" y="3"/>
                </a:lnTo>
                <a:lnTo>
                  <a:pt x="14" y="3"/>
                </a:lnTo>
                <a:lnTo>
                  <a:pt x="8" y="1"/>
                </a:lnTo>
                <a:lnTo>
                  <a:pt x="6" y="0"/>
                </a:lnTo>
                <a:lnTo>
                  <a:pt x="4" y="0"/>
                </a:lnTo>
                <a:lnTo>
                  <a:pt x="2" y="1"/>
                </a:lnTo>
                <a:lnTo>
                  <a:pt x="2" y="3"/>
                </a:lnTo>
                <a:lnTo>
                  <a:pt x="2" y="4"/>
                </a:lnTo>
                <a:lnTo>
                  <a:pt x="2" y="6"/>
                </a:lnTo>
                <a:lnTo>
                  <a:pt x="2" y="9"/>
                </a:lnTo>
                <a:lnTo>
                  <a:pt x="2" y="11"/>
                </a:lnTo>
                <a:lnTo>
                  <a:pt x="0" y="12"/>
                </a:lnTo>
                <a:lnTo>
                  <a:pt x="2" y="15"/>
                </a:lnTo>
                <a:lnTo>
                  <a:pt x="3" y="19"/>
                </a:lnTo>
                <a:lnTo>
                  <a:pt x="3" y="20"/>
                </a:lnTo>
                <a:lnTo>
                  <a:pt x="6" y="22"/>
                </a:lnTo>
                <a:lnTo>
                  <a:pt x="7" y="22"/>
                </a:lnTo>
                <a:lnTo>
                  <a:pt x="10" y="23"/>
                </a:lnTo>
                <a:lnTo>
                  <a:pt x="11" y="25"/>
                </a:lnTo>
                <a:lnTo>
                  <a:pt x="12" y="26"/>
                </a:lnTo>
                <a:lnTo>
                  <a:pt x="14" y="23"/>
                </a:lnTo>
                <a:lnTo>
                  <a:pt x="14" y="22"/>
                </a:lnTo>
                <a:lnTo>
                  <a:pt x="12" y="20"/>
                </a:lnTo>
                <a:lnTo>
                  <a:pt x="11" y="19"/>
                </a:lnTo>
                <a:lnTo>
                  <a:pt x="12" y="19"/>
                </a:lnTo>
                <a:lnTo>
                  <a:pt x="15" y="19"/>
                </a:lnTo>
                <a:lnTo>
                  <a:pt x="16" y="20"/>
                </a:lnTo>
                <a:lnTo>
                  <a:pt x="19" y="23"/>
                </a:lnTo>
                <a:lnTo>
                  <a:pt x="19" y="26"/>
                </a:lnTo>
                <a:lnTo>
                  <a:pt x="22" y="28"/>
                </a:lnTo>
                <a:lnTo>
                  <a:pt x="30" y="33"/>
                </a:lnTo>
                <a:lnTo>
                  <a:pt x="34" y="36"/>
                </a:lnTo>
                <a:lnTo>
                  <a:pt x="34" y="45"/>
                </a:lnTo>
                <a:lnTo>
                  <a:pt x="36" y="47"/>
                </a:lnTo>
                <a:lnTo>
                  <a:pt x="39" y="47"/>
                </a:lnTo>
                <a:lnTo>
                  <a:pt x="38" y="44"/>
                </a:lnTo>
                <a:lnTo>
                  <a:pt x="39" y="42"/>
                </a:lnTo>
                <a:lnTo>
                  <a:pt x="39" y="44"/>
                </a:lnTo>
                <a:lnTo>
                  <a:pt x="40" y="44"/>
                </a:lnTo>
                <a:lnTo>
                  <a:pt x="42" y="45"/>
                </a:lnTo>
                <a:lnTo>
                  <a:pt x="43" y="48"/>
                </a:lnTo>
                <a:lnTo>
                  <a:pt x="44" y="50"/>
                </a:lnTo>
                <a:lnTo>
                  <a:pt x="46" y="47"/>
                </a:lnTo>
                <a:lnTo>
                  <a:pt x="47" y="45"/>
                </a:lnTo>
                <a:lnTo>
                  <a:pt x="47" y="41"/>
                </a:lnTo>
                <a:lnTo>
                  <a:pt x="47" y="39"/>
                </a:lnTo>
                <a:lnTo>
                  <a:pt x="48" y="39"/>
                </a:lnTo>
                <a:lnTo>
                  <a:pt x="48" y="37"/>
                </a:lnTo>
                <a:lnTo>
                  <a:pt x="47" y="36"/>
                </a:lnTo>
                <a:lnTo>
                  <a:pt x="46" y="34"/>
                </a:lnTo>
                <a:lnTo>
                  <a:pt x="46" y="30"/>
                </a:lnTo>
                <a:lnTo>
                  <a:pt x="47" y="26"/>
                </a:lnTo>
                <a:lnTo>
                  <a:pt x="48" y="26"/>
                </a:lnTo>
                <a:lnTo>
                  <a:pt x="50" y="26"/>
                </a:lnTo>
                <a:lnTo>
                  <a:pt x="48" y="25"/>
                </a:lnTo>
                <a:lnTo>
                  <a:pt x="44" y="22"/>
                </a:lnTo>
                <a:lnTo>
                  <a:pt x="39" y="15"/>
                </a:lnTo>
                <a:lnTo>
                  <a:pt x="38" y="12"/>
                </a:lnTo>
                <a:lnTo>
                  <a:pt x="35" y="8"/>
                </a:lnTo>
                <a:lnTo>
                  <a:pt x="35" y="6"/>
                </a:lnTo>
                <a:lnTo>
                  <a:pt x="34" y="4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61" name="Freeform 460"/>
          <p:cNvSpPr>
            <a:spLocks/>
          </p:cNvSpPr>
          <p:nvPr/>
        </p:nvSpPr>
        <p:spPr bwMode="auto">
          <a:xfrm>
            <a:off x="3203329" y="3951248"/>
            <a:ext cx="93543" cy="100938"/>
          </a:xfrm>
          <a:custGeom>
            <a:avLst/>
            <a:gdLst/>
            <a:ahLst/>
            <a:cxnLst>
              <a:cxn ang="0">
                <a:pos x="32" y="4"/>
              </a:cxn>
              <a:cxn ang="0">
                <a:pos x="27" y="6"/>
              </a:cxn>
              <a:cxn ang="0">
                <a:pos x="23" y="3"/>
              </a:cxn>
              <a:cxn ang="0">
                <a:pos x="19" y="1"/>
              </a:cxn>
              <a:cxn ang="0">
                <a:pos x="14" y="3"/>
              </a:cxn>
              <a:cxn ang="0">
                <a:pos x="6" y="0"/>
              </a:cxn>
              <a:cxn ang="0">
                <a:pos x="2" y="1"/>
              </a:cxn>
              <a:cxn ang="0">
                <a:pos x="2" y="4"/>
              </a:cxn>
              <a:cxn ang="0">
                <a:pos x="2" y="9"/>
              </a:cxn>
              <a:cxn ang="0">
                <a:pos x="0" y="12"/>
              </a:cxn>
              <a:cxn ang="0">
                <a:pos x="3" y="19"/>
              </a:cxn>
              <a:cxn ang="0">
                <a:pos x="6" y="22"/>
              </a:cxn>
              <a:cxn ang="0">
                <a:pos x="10" y="23"/>
              </a:cxn>
              <a:cxn ang="0">
                <a:pos x="12" y="26"/>
              </a:cxn>
              <a:cxn ang="0">
                <a:pos x="14" y="22"/>
              </a:cxn>
              <a:cxn ang="0">
                <a:pos x="11" y="19"/>
              </a:cxn>
              <a:cxn ang="0">
                <a:pos x="15" y="19"/>
              </a:cxn>
              <a:cxn ang="0">
                <a:pos x="19" y="23"/>
              </a:cxn>
              <a:cxn ang="0">
                <a:pos x="22" y="28"/>
              </a:cxn>
              <a:cxn ang="0">
                <a:pos x="34" y="36"/>
              </a:cxn>
              <a:cxn ang="0">
                <a:pos x="36" y="47"/>
              </a:cxn>
              <a:cxn ang="0">
                <a:pos x="38" y="44"/>
              </a:cxn>
              <a:cxn ang="0">
                <a:pos x="39" y="44"/>
              </a:cxn>
              <a:cxn ang="0">
                <a:pos x="42" y="45"/>
              </a:cxn>
              <a:cxn ang="0">
                <a:pos x="44" y="50"/>
              </a:cxn>
              <a:cxn ang="0">
                <a:pos x="47" y="45"/>
              </a:cxn>
              <a:cxn ang="0">
                <a:pos x="47" y="39"/>
              </a:cxn>
              <a:cxn ang="0">
                <a:pos x="48" y="37"/>
              </a:cxn>
              <a:cxn ang="0">
                <a:pos x="46" y="34"/>
              </a:cxn>
              <a:cxn ang="0">
                <a:pos x="47" y="26"/>
              </a:cxn>
              <a:cxn ang="0">
                <a:pos x="50" y="26"/>
              </a:cxn>
              <a:cxn ang="0">
                <a:pos x="44" y="22"/>
              </a:cxn>
              <a:cxn ang="0">
                <a:pos x="38" y="12"/>
              </a:cxn>
              <a:cxn ang="0">
                <a:pos x="35" y="6"/>
              </a:cxn>
            </a:cxnLst>
            <a:rect l="0" t="0" r="r" b="b"/>
            <a:pathLst>
              <a:path w="50" h="50">
                <a:moveTo>
                  <a:pt x="34" y="4"/>
                </a:moveTo>
                <a:lnTo>
                  <a:pt x="32" y="4"/>
                </a:lnTo>
                <a:lnTo>
                  <a:pt x="30" y="6"/>
                </a:lnTo>
                <a:lnTo>
                  <a:pt x="27" y="6"/>
                </a:lnTo>
                <a:lnTo>
                  <a:pt x="26" y="4"/>
                </a:lnTo>
                <a:lnTo>
                  <a:pt x="23" y="3"/>
                </a:lnTo>
                <a:lnTo>
                  <a:pt x="20" y="1"/>
                </a:lnTo>
                <a:lnTo>
                  <a:pt x="19" y="1"/>
                </a:lnTo>
                <a:lnTo>
                  <a:pt x="16" y="3"/>
                </a:lnTo>
                <a:lnTo>
                  <a:pt x="14" y="3"/>
                </a:lnTo>
                <a:lnTo>
                  <a:pt x="8" y="1"/>
                </a:lnTo>
                <a:lnTo>
                  <a:pt x="6" y="0"/>
                </a:lnTo>
                <a:lnTo>
                  <a:pt x="4" y="0"/>
                </a:lnTo>
                <a:lnTo>
                  <a:pt x="2" y="1"/>
                </a:lnTo>
                <a:lnTo>
                  <a:pt x="2" y="3"/>
                </a:lnTo>
                <a:lnTo>
                  <a:pt x="2" y="4"/>
                </a:lnTo>
                <a:lnTo>
                  <a:pt x="2" y="6"/>
                </a:lnTo>
                <a:lnTo>
                  <a:pt x="2" y="9"/>
                </a:lnTo>
                <a:lnTo>
                  <a:pt x="2" y="11"/>
                </a:lnTo>
                <a:lnTo>
                  <a:pt x="0" y="12"/>
                </a:lnTo>
                <a:lnTo>
                  <a:pt x="2" y="15"/>
                </a:lnTo>
                <a:lnTo>
                  <a:pt x="3" y="19"/>
                </a:lnTo>
                <a:lnTo>
                  <a:pt x="3" y="20"/>
                </a:lnTo>
                <a:lnTo>
                  <a:pt x="6" y="22"/>
                </a:lnTo>
                <a:lnTo>
                  <a:pt x="7" y="22"/>
                </a:lnTo>
                <a:lnTo>
                  <a:pt x="10" y="23"/>
                </a:lnTo>
                <a:lnTo>
                  <a:pt x="11" y="25"/>
                </a:lnTo>
                <a:lnTo>
                  <a:pt x="12" y="26"/>
                </a:lnTo>
                <a:lnTo>
                  <a:pt x="14" y="23"/>
                </a:lnTo>
                <a:lnTo>
                  <a:pt x="14" y="22"/>
                </a:lnTo>
                <a:lnTo>
                  <a:pt x="12" y="20"/>
                </a:lnTo>
                <a:lnTo>
                  <a:pt x="11" y="19"/>
                </a:lnTo>
                <a:lnTo>
                  <a:pt x="12" y="19"/>
                </a:lnTo>
                <a:lnTo>
                  <a:pt x="15" y="19"/>
                </a:lnTo>
                <a:lnTo>
                  <a:pt x="16" y="20"/>
                </a:lnTo>
                <a:lnTo>
                  <a:pt x="19" y="23"/>
                </a:lnTo>
                <a:lnTo>
                  <a:pt x="19" y="26"/>
                </a:lnTo>
                <a:lnTo>
                  <a:pt x="22" y="28"/>
                </a:lnTo>
                <a:lnTo>
                  <a:pt x="30" y="33"/>
                </a:lnTo>
                <a:lnTo>
                  <a:pt x="34" y="36"/>
                </a:lnTo>
                <a:lnTo>
                  <a:pt x="34" y="45"/>
                </a:lnTo>
                <a:lnTo>
                  <a:pt x="36" y="47"/>
                </a:lnTo>
                <a:lnTo>
                  <a:pt x="39" y="47"/>
                </a:lnTo>
                <a:lnTo>
                  <a:pt x="38" y="44"/>
                </a:lnTo>
                <a:lnTo>
                  <a:pt x="39" y="42"/>
                </a:lnTo>
                <a:lnTo>
                  <a:pt x="39" y="44"/>
                </a:lnTo>
                <a:lnTo>
                  <a:pt x="40" y="44"/>
                </a:lnTo>
                <a:lnTo>
                  <a:pt x="42" y="45"/>
                </a:lnTo>
                <a:lnTo>
                  <a:pt x="43" y="48"/>
                </a:lnTo>
                <a:lnTo>
                  <a:pt x="44" y="50"/>
                </a:lnTo>
                <a:lnTo>
                  <a:pt x="46" y="47"/>
                </a:lnTo>
                <a:lnTo>
                  <a:pt x="47" y="45"/>
                </a:lnTo>
                <a:lnTo>
                  <a:pt x="47" y="41"/>
                </a:lnTo>
                <a:lnTo>
                  <a:pt x="47" y="39"/>
                </a:lnTo>
                <a:lnTo>
                  <a:pt x="48" y="39"/>
                </a:lnTo>
                <a:lnTo>
                  <a:pt x="48" y="37"/>
                </a:lnTo>
                <a:lnTo>
                  <a:pt x="47" y="36"/>
                </a:lnTo>
                <a:lnTo>
                  <a:pt x="46" y="34"/>
                </a:lnTo>
                <a:lnTo>
                  <a:pt x="46" y="30"/>
                </a:lnTo>
                <a:lnTo>
                  <a:pt x="47" y="26"/>
                </a:lnTo>
                <a:lnTo>
                  <a:pt x="48" y="26"/>
                </a:lnTo>
                <a:lnTo>
                  <a:pt x="50" y="26"/>
                </a:lnTo>
                <a:lnTo>
                  <a:pt x="48" y="25"/>
                </a:lnTo>
                <a:lnTo>
                  <a:pt x="44" y="22"/>
                </a:lnTo>
                <a:lnTo>
                  <a:pt x="39" y="15"/>
                </a:lnTo>
                <a:lnTo>
                  <a:pt x="38" y="12"/>
                </a:lnTo>
                <a:lnTo>
                  <a:pt x="35" y="8"/>
                </a:lnTo>
                <a:lnTo>
                  <a:pt x="35" y="6"/>
                </a:lnTo>
                <a:lnTo>
                  <a:pt x="34" y="4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62" name="Freeform 461"/>
          <p:cNvSpPr>
            <a:spLocks/>
          </p:cNvSpPr>
          <p:nvPr/>
        </p:nvSpPr>
        <p:spPr bwMode="auto">
          <a:xfrm>
            <a:off x="3575550" y="3635549"/>
            <a:ext cx="9745" cy="6443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3" y="0"/>
              </a:cxn>
              <a:cxn ang="0">
                <a:pos x="4" y="1"/>
              </a:cxn>
              <a:cxn ang="0">
                <a:pos x="3" y="3"/>
              </a:cxn>
              <a:cxn ang="0">
                <a:pos x="1" y="3"/>
              </a:cxn>
              <a:cxn ang="0">
                <a:pos x="0" y="1"/>
              </a:cxn>
              <a:cxn ang="0">
                <a:pos x="0" y="0"/>
              </a:cxn>
              <a:cxn ang="0">
                <a:pos x="1" y="0"/>
              </a:cxn>
            </a:cxnLst>
            <a:rect l="0" t="0" r="r" b="b"/>
            <a:pathLst>
              <a:path w="4" h="3">
                <a:moveTo>
                  <a:pt x="1" y="0"/>
                </a:moveTo>
                <a:lnTo>
                  <a:pt x="3" y="0"/>
                </a:lnTo>
                <a:lnTo>
                  <a:pt x="4" y="1"/>
                </a:lnTo>
                <a:lnTo>
                  <a:pt x="3" y="3"/>
                </a:lnTo>
                <a:lnTo>
                  <a:pt x="1" y="3"/>
                </a:ln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63" name="Freeform 462"/>
          <p:cNvSpPr>
            <a:spLocks/>
          </p:cNvSpPr>
          <p:nvPr/>
        </p:nvSpPr>
        <p:spPr bwMode="auto">
          <a:xfrm>
            <a:off x="3575550" y="3635549"/>
            <a:ext cx="9745" cy="6443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3" y="0"/>
              </a:cxn>
              <a:cxn ang="0">
                <a:pos x="4" y="1"/>
              </a:cxn>
              <a:cxn ang="0">
                <a:pos x="3" y="3"/>
              </a:cxn>
              <a:cxn ang="0">
                <a:pos x="1" y="3"/>
              </a:cxn>
              <a:cxn ang="0">
                <a:pos x="0" y="1"/>
              </a:cxn>
              <a:cxn ang="0">
                <a:pos x="0" y="0"/>
              </a:cxn>
              <a:cxn ang="0">
                <a:pos x="1" y="0"/>
              </a:cxn>
            </a:cxnLst>
            <a:rect l="0" t="0" r="r" b="b"/>
            <a:pathLst>
              <a:path w="4" h="3">
                <a:moveTo>
                  <a:pt x="1" y="0"/>
                </a:moveTo>
                <a:lnTo>
                  <a:pt x="3" y="0"/>
                </a:lnTo>
                <a:lnTo>
                  <a:pt x="4" y="1"/>
                </a:lnTo>
                <a:lnTo>
                  <a:pt x="3" y="3"/>
                </a:lnTo>
                <a:lnTo>
                  <a:pt x="1" y="3"/>
                </a:ln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64" name="Freeform 463"/>
          <p:cNvSpPr>
            <a:spLocks/>
          </p:cNvSpPr>
          <p:nvPr/>
        </p:nvSpPr>
        <p:spPr bwMode="auto">
          <a:xfrm>
            <a:off x="3563859" y="3674208"/>
            <a:ext cx="13642" cy="10737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7" y="2"/>
              </a:cxn>
              <a:cxn ang="0">
                <a:pos x="8" y="5"/>
              </a:cxn>
              <a:cxn ang="0">
                <a:pos x="6" y="3"/>
              </a:cxn>
              <a:cxn ang="0">
                <a:pos x="2" y="3"/>
              </a:cxn>
              <a:cxn ang="0">
                <a:pos x="0" y="2"/>
              </a:cxn>
              <a:cxn ang="0">
                <a:pos x="2" y="0"/>
              </a:cxn>
              <a:cxn ang="0">
                <a:pos x="4" y="0"/>
              </a:cxn>
            </a:cxnLst>
            <a:rect l="0" t="0" r="r" b="b"/>
            <a:pathLst>
              <a:path w="8" h="5">
                <a:moveTo>
                  <a:pt x="4" y="0"/>
                </a:moveTo>
                <a:lnTo>
                  <a:pt x="7" y="2"/>
                </a:lnTo>
                <a:lnTo>
                  <a:pt x="8" y="5"/>
                </a:lnTo>
                <a:lnTo>
                  <a:pt x="6" y="3"/>
                </a:lnTo>
                <a:lnTo>
                  <a:pt x="2" y="3"/>
                </a:lnTo>
                <a:lnTo>
                  <a:pt x="0" y="2"/>
                </a:lnTo>
                <a:lnTo>
                  <a:pt x="2" y="0"/>
                </a:lnTo>
                <a:lnTo>
                  <a:pt x="4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65" name="Freeform 464"/>
          <p:cNvSpPr>
            <a:spLocks/>
          </p:cNvSpPr>
          <p:nvPr/>
        </p:nvSpPr>
        <p:spPr bwMode="auto">
          <a:xfrm>
            <a:off x="3563859" y="3674208"/>
            <a:ext cx="13642" cy="10737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7" y="2"/>
              </a:cxn>
              <a:cxn ang="0">
                <a:pos x="8" y="5"/>
              </a:cxn>
              <a:cxn ang="0">
                <a:pos x="6" y="3"/>
              </a:cxn>
              <a:cxn ang="0">
                <a:pos x="2" y="3"/>
              </a:cxn>
              <a:cxn ang="0">
                <a:pos x="0" y="2"/>
              </a:cxn>
              <a:cxn ang="0">
                <a:pos x="2" y="0"/>
              </a:cxn>
              <a:cxn ang="0">
                <a:pos x="4" y="0"/>
              </a:cxn>
            </a:cxnLst>
            <a:rect l="0" t="0" r="r" b="b"/>
            <a:pathLst>
              <a:path w="8" h="5">
                <a:moveTo>
                  <a:pt x="4" y="0"/>
                </a:moveTo>
                <a:lnTo>
                  <a:pt x="7" y="2"/>
                </a:lnTo>
                <a:lnTo>
                  <a:pt x="8" y="5"/>
                </a:lnTo>
                <a:lnTo>
                  <a:pt x="6" y="3"/>
                </a:lnTo>
                <a:lnTo>
                  <a:pt x="2" y="3"/>
                </a:lnTo>
                <a:lnTo>
                  <a:pt x="0" y="2"/>
                </a:lnTo>
                <a:lnTo>
                  <a:pt x="2" y="0"/>
                </a:lnTo>
                <a:lnTo>
                  <a:pt x="4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66" name="Freeform 465"/>
          <p:cNvSpPr>
            <a:spLocks/>
          </p:cNvSpPr>
          <p:nvPr/>
        </p:nvSpPr>
        <p:spPr bwMode="auto">
          <a:xfrm>
            <a:off x="3532678" y="3641992"/>
            <a:ext cx="81851" cy="66577"/>
          </a:xfrm>
          <a:custGeom>
            <a:avLst/>
            <a:gdLst/>
            <a:ahLst/>
            <a:cxnLst>
              <a:cxn ang="0">
                <a:pos x="40" y="34"/>
              </a:cxn>
              <a:cxn ang="0">
                <a:pos x="40" y="33"/>
              </a:cxn>
              <a:cxn ang="0">
                <a:pos x="42" y="30"/>
              </a:cxn>
              <a:cxn ang="0">
                <a:pos x="40" y="26"/>
              </a:cxn>
              <a:cxn ang="0">
                <a:pos x="39" y="25"/>
              </a:cxn>
              <a:cxn ang="0">
                <a:pos x="39" y="23"/>
              </a:cxn>
              <a:cxn ang="0">
                <a:pos x="42" y="22"/>
              </a:cxn>
              <a:cxn ang="0">
                <a:pos x="42" y="15"/>
              </a:cxn>
              <a:cxn ang="0">
                <a:pos x="43" y="14"/>
              </a:cxn>
              <a:cxn ang="0">
                <a:pos x="42" y="12"/>
              </a:cxn>
              <a:cxn ang="0">
                <a:pos x="42" y="8"/>
              </a:cxn>
              <a:cxn ang="0">
                <a:pos x="42" y="4"/>
              </a:cxn>
              <a:cxn ang="0">
                <a:pos x="40" y="3"/>
              </a:cxn>
              <a:cxn ang="0">
                <a:pos x="40" y="1"/>
              </a:cxn>
              <a:cxn ang="0">
                <a:pos x="39" y="1"/>
              </a:cxn>
              <a:cxn ang="0">
                <a:pos x="38" y="3"/>
              </a:cxn>
              <a:cxn ang="0">
                <a:pos x="31" y="4"/>
              </a:cxn>
              <a:cxn ang="0">
                <a:pos x="30" y="3"/>
              </a:cxn>
              <a:cxn ang="0">
                <a:pos x="27" y="1"/>
              </a:cxn>
              <a:cxn ang="0">
                <a:pos x="26" y="0"/>
              </a:cxn>
              <a:cxn ang="0">
                <a:pos x="22" y="0"/>
              </a:cxn>
              <a:cxn ang="0">
                <a:pos x="18" y="1"/>
              </a:cxn>
              <a:cxn ang="0">
                <a:pos x="16" y="1"/>
              </a:cxn>
              <a:cxn ang="0">
                <a:pos x="15" y="3"/>
              </a:cxn>
              <a:cxn ang="0">
                <a:pos x="15" y="6"/>
              </a:cxn>
              <a:cxn ang="0">
                <a:pos x="16" y="6"/>
              </a:cxn>
              <a:cxn ang="0">
                <a:pos x="22" y="6"/>
              </a:cxn>
              <a:cxn ang="0">
                <a:pos x="24" y="8"/>
              </a:cxn>
              <a:cxn ang="0">
                <a:pos x="24" y="9"/>
              </a:cxn>
              <a:cxn ang="0">
                <a:pos x="24" y="15"/>
              </a:cxn>
              <a:cxn ang="0">
                <a:pos x="26" y="17"/>
              </a:cxn>
              <a:cxn ang="0">
                <a:pos x="28" y="20"/>
              </a:cxn>
              <a:cxn ang="0">
                <a:pos x="31" y="22"/>
              </a:cxn>
              <a:cxn ang="0">
                <a:pos x="31" y="23"/>
              </a:cxn>
              <a:cxn ang="0">
                <a:pos x="30" y="25"/>
              </a:cxn>
              <a:cxn ang="0">
                <a:pos x="28" y="25"/>
              </a:cxn>
              <a:cxn ang="0">
                <a:pos x="26" y="25"/>
              </a:cxn>
              <a:cxn ang="0">
                <a:pos x="19" y="26"/>
              </a:cxn>
              <a:cxn ang="0">
                <a:pos x="14" y="25"/>
              </a:cxn>
              <a:cxn ang="0">
                <a:pos x="10" y="23"/>
              </a:cxn>
              <a:cxn ang="0">
                <a:pos x="0" y="23"/>
              </a:cxn>
              <a:cxn ang="0">
                <a:pos x="0" y="25"/>
              </a:cxn>
              <a:cxn ang="0">
                <a:pos x="0" y="26"/>
              </a:cxn>
              <a:cxn ang="0">
                <a:pos x="3" y="30"/>
              </a:cxn>
              <a:cxn ang="0">
                <a:pos x="7" y="31"/>
              </a:cxn>
              <a:cxn ang="0">
                <a:pos x="8" y="34"/>
              </a:cxn>
              <a:cxn ang="0">
                <a:pos x="10" y="33"/>
              </a:cxn>
              <a:cxn ang="0">
                <a:pos x="10" y="31"/>
              </a:cxn>
              <a:cxn ang="0">
                <a:pos x="11" y="30"/>
              </a:cxn>
              <a:cxn ang="0">
                <a:pos x="12" y="30"/>
              </a:cxn>
              <a:cxn ang="0">
                <a:pos x="16" y="30"/>
              </a:cxn>
              <a:cxn ang="0">
                <a:pos x="24" y="33"/>
              </a:cxn>
              <a:cxn ang="0">
                <a:pos x="27" y="33"/>
              </a:cxn>
              <a:cxn ang="0">
                <a:pos x="32" y="31"/>
              </a:cxn>
              <a:cxn ang="0">
                <a:pos x="34" y="31"/>
              </a:cxn>
              <a:cxn ang="0">
                <a:pos x="35" y="31"/>
              </a:cxn>
              <a:cxn ang="0">
                <a:pos x="36" y="33"/>
              </a:cxn>
              <a:cxn ang="0">
                <a:pos x="39" y="33"/>
              </a:cxn>
              <a:cxn ang="0">
                <a:pos x="40" y="33"/>
              </a:cxn>
              <a:cxn ang="0">
                <a:pos x="40" y="34"/>
              </a:cxn>
            </a:cxnLst>
            <a:rect l="0" t="0" r="r" b="b"/>
            <a:pathLst>
              <a:path w="43" h="34">
                <a:moveTo>
                  <a:pt x="40" y="34"/>
                </a:moveTo>
                <a:lnTo>
                  <a:pt x="40" y="33"/>
                </a:lnTo>
                <a:lnTo>
                  <a:pt x="42" y="30"/>
                </a:lnTo>
                <a:lnTo>
                  <a:pt x="40" y="26"/>
                </a:lnTo>
                <a:lnTo>
                  <a:pt x="39" y="25"/>
                </a:lnTo>
                <a:lnTo>
                  <a:pt x="39" y="23"/>
                </a:lnTo>
                <a:lnTo>
                  <a:pt x="42" y="22"/>
                </a:lnTo>
                <a:lnTo>
                  <a:pt x="42" y="15"/>
                </a:lnTo>
                <a:lnTo>
                  <a:pt x="43" y="14"/>
                </a:lnTo>
                <a:lnTo>
                  <a:pt x="42" y="12"/>
                </a:lnTo>
                <a:lnTo>
                  <a:pt x="42" y="8"/>
                </a:lnTo>
                <a:lnTo>
                  <a:pt x="42" y="4"/>
                </a:lnTo>
                <a:lnTo>
                  <a:pt x="40" y="3"/>
                </a:lnTo>
                <a:lnTo>
                  <a:pt x="40" y="1"/>
                </a:lnTo>
                <a:lnTo>
                  <a:pt x="39" y="1"/>
                </a:lnTo>
                <a:lnTo>
                  <a:pt x="38" y="3"/>
                </a:lnTo>
                <a:lnTo>
                  <a:pt x="31" y="4"/>
                </a:lnTo>
                <a:lnTo>
                  <a:pt x="30" y="3"/>
                </a:lnTo>
                <a:lnTo>
                  <a:pt x="27" y="1"/>
                </a:lnTo>
                <a:lnTo>
                  <a:pt x="26" y="0"/>
                </a:lnTo>
                <a:lnTo>
                  <a:pt x="22" y="0"/>
                </a:lnTo>
                <a:lnTo>
                  <a:pt x="18" y="1"/>
                </a:lnTo>
                <a:lnTo>
                  <a:pt x="16" y="1"/>
                </a:lnTo>
                <a:lnTo>
                  <a:pt x="15" y="3"/>
                </a:lnTo>
                <a:lnTo>
                  <a:pt x="15" y="6"/>
                </a:lnTo>
                <a:lnTo>
                  <a:pt x="16" y="6"/>
                </a:lnTo>
                <a:lnTo>
                  <a:pt x="22" y="6"/>
                </a:lnTo>
                <a:lnTo>
                  <a:pt x="24" y="8"/>
                </a:lnTo>
                <a:lnTo>
                  <a:pt x="24" y="9"/>
                </a:lnTo>
                <a:lnTo>
                  <a:pt x="24" y="15"/>
                </a:lnTo>
                <a:lnTo>
                  <a:pt x="26" y="17"/>
                </a:lnTo>
                <a:lnTo>
                  <a:pt x="28" y="20"/>
                </a:lnTo>
                <a:lnTo>
                  <a:pt x="31" y="22"/>
                </a:lnTo>
                <a:lnTo>
                  <a:pt x="31" y="23"/>
                </a:lnTo>
                <a:lnTo>
                  <a:pt x="30" y="25"/>
                </a:lnTo>
                <a:lnTo>
                  <a:pt x="28" y="25"/>
                </a:lnTo>
                <a:lnTo>
                  <a:pt x="26" y="25"/>
                </a:lnTo>
                <a:lnTo>
                  <a:pt x="19" y="26"/>
                </a:lnTo>
                <a:lnTo>
                  <a:pt x="14" y="25"/>
                </a:lnTo>
                <a:lnTo>
                  <a:pt x="10" y="23"/>
                </a:lnTo>
                <a:lnTo>
                  <a:pt x="0" y="23"/>
                </a:lnTo>
                <a:lnTo>
                  <a:pt x="0" y="25"/>
                </a:lnTo>
                <a:lnTo>
                  <a:pt x="0" y="26"/>
                </a:lnTo>
                <a:lnTo>
                  <a:pt x="3" y="30"/>
                </a:lnTo>
                <a:lnTo>
                  <a:pt x="7" y="31"/>
                </a:lnTo>
                <a:lnTo>
                  <a:pt x="8" y="34"/>
                </a:lnTo>
                <a:lnTo>
                  <a:pt x="10" y="33"/>
                </a:lnTo>
                <a:lnTo>
                  <a:pt x="10" y="31"/>
                </a:lnTo>
                <a:lnTo>
                  <a:pt x="11" y="30"/>
                </a:lnTo>
                <a:lnTo>
                  <a:pt x="12" y="30"/>
                </a:lnTo>
                <a:lnTo>
                  <a:pt x="16" y="30"/>
                </a:lnTo>
                <a:lnTo>
                  <a:pt x="24" y="33"/>
                </a:lnTo>
                <a:lnTo>
                  <a:pt x="27" y="33"/>
                </a:lnTo>
                <a:lnTo>
                  <a:pt x="32" y="31"/>
                </a:lnTo>
                <a:lnTo>
                  <a:pt x="34" y="31"/>
                </a:lnTo>
                <a:lnTo>
                  <a:pt x="35" y="31"/>
                </a:lnTo>
                <a:lnTo>
                  <a:pt x="36" y="33"/>
                </a:lnTo>
                <a:lnTo>
                  <a:pt x="39" y="33"/>
                </a:lnTo>
                <a:lnTo>
                  <a:pt x="40" y="33"/>
                </a:lnTo>
                <a:lnTo>
                  <a:pt x="40" y="34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FFC000"/>
              </a:solidFill>
            </a:endParaRPr>
          </a:p>
        </p:txBody>
      </p:sp>
      <p:sp>
        <p:nvSpPr>
          <p:cNvPr id="567" name="Freeform 466"/>
          <p:cNvSpPr>
            <a:spLocks/>
          </p:cNvSpPr>
          <p:nvPr/>
        </p:nvSpPr>
        <p:spPr bwMode="auto">
          <a:xfrm>
            <a:off x="3552166" y="4161713"/>
            <a:ext cx="1118619" cy="1372322"/>
          </a:xfrm>
          <a:custGeom>
            <a:avLst/>
            <a:gdLst/>
            <a:ahLst/>
            <a:cxnLst>
              <a:cxn ang="0">
                <a:pos x="168" y="20"/>
              </a:cxn>
              <a:cxn ang="0">
                <a:pos x="139" y="23"/>
              </a:cxn>
              <a:cxn ang="0">
                <a:pos x="156" y="50"/>
              </a:cxn>
              <a:cxn ang="0">
                <a:pos x="138" y="69"/>
              </a:cxn>
              <a:cxn ang="0">
                <a:pos x="107" y="77"/>
              </a:cxn>
              <a:cxn ang="0">
                <a:pos x="86" y="61"/>
              </a:cxn>
              <a:cxn ang="0">
                <a:pos x="66" y="74"/>
              </a:cxn>
              <a:cxn ang="0">
                <a:pos x="57" y="97"/>
              </a:cxn>
              <a:cxn ang="0">
                <a:pos x="58" y="157"/>
              </a:cxn>
              <a:cxn ang="0">
                <a:pos x="16" y="188"/>
              </a:cxn>
              <a:cxn ang="0">
                <a:pos x="2" y="235"/>
              </a:cxn>
              <a:cxn ang="0">
                <a:pos x="22" y="264"/>
              </a:cxn>
              <a:cxn ang="0">
                <a:pos x="49" y="278"/>
              </a:cxn>
              <a:cxn ang="0">
                <a:pos x="83" y="287"/>
              </a:cxn>
              <a:cxn ang="0">
                <a:pos x="127" y="268"/>
              </a:cxn>
              <a:cxn ang="0">
                <a:pos x="147" y="314"/>
              </a:cxn>
              <a:cxn ang="0">
                <a:pos x="186" y="331"/>
              </a:cxn>
              <a:cxn ang="0">
                <a:pos x="199" y="364"/>
              </a:cxn>
              <a:cxn ang="0">
                <a:pos x="231" y="388"/>
              </a:cxn>
              <a:cxn ang="0">
                <a:pos x="240" y="436"/>
              </a:cxn>
              <a:cxn ang="0">
                <a:pos x="240" y="485"/>
              </a:cxn>
              <a:cxn ang="0">
                <a:pos x="273" y="501"/>
              </a:cxn>
              <a:cxn ang="0">
                <a:pos x="292" y="521"/>
              </a:cxn>
              <a:cxn ang="0">
                <a:pos x="301" y="573"/>
              </a:cxn>
              <a:cxn ang="0">
                <a:pos x="261" y="611"/>
              </a:cxn>
              <a:cxn ang="0">
                <a:pos x="254" y="628"/>
              </a:cxn>
              <a:cxn ang="0">
                <a:pos x="277" y="645"/>
              </a:cxn>
              <a:cxn ang="0">
                <a:pos x="300" y="661"/>
              </a:cxn>
              <a:cxn ang="0">
                <a:pos x="305" y="688"/>
              </a:cxn>
              <a:cxn ang="0">
                <a:pos x="328" y="663"/>
              </a:cxn>
              <a:cxn ang="0">
                <a:pos x="359" y="619"/>
              </a:cxn>
              <a:cxn ang="0">
                <a:pos x="380" y="578"/>
              </a:cxn>
              <a:cxn ang="0">
                <a:pos x="378" y="553"/>
              </a:cxn>
              <a:cxn ang="0">
                <a:pos x="414" y="518"/>
              </a:cxn>
              <a:cxn ang="0">
                <a:pos x="438" y="504"/>
              </a:cxn>
              <a:cxn ang="0">
                <a:pos x="465" y="501"/>
              </a:cxn>
              <a:cxn ang="0">
                <a:pos x="491" y="474"/>
              </a:cxn>
              <a:cxn ang="0">
                <a:pos x="515" y="413"/>
              </a:cxn>
              <a:cxn ang="0">
                <a:pos x="521" y="350"/>
              </a:cxn>
              <a:cxn ang="0">
                <a:pos x="542" y="308"/>
              </a:cxn>
              <a:cxn ang="0">
                <a:pos x="579" y="254"/>
              </a:cxn>
              <a:cxn ang="0">
                <a:pos x="561" y="184"/>
              </a:cxn>
              <a:cxn ang="0">
                <a:pos x="529" y="159"/>
              </a:cxn>
              <a:cxn ang="0">
                <a:pos x="460" y="137"/>
              </a:cxn>
              <a:cxn ang="0">
                <a:pos x="444" y="133"/>
              </a:cxn>
              <a:cxn ang="0">
                <a:pos x="432" y="121"/>
              </a:cxn>
              <a:cxn ang="0">
                <a:pos x="401" y="105"/>
              </a:cxn>
              <a:cxn ang="0">
                <a:pos x="374" y="122"/>
              </a:cxn>
              <a:cxn ang="0">
                <a:pos x="364" y="127"/>
              </a:cxn>
              <a:cxn ang="0">
                <a:pos x="336" y="130"/>
              </a:cxn>
              <a:cxn ang="0">
                <a:pos x="345" y="113"/>
              </a:cxn>
              <a:cxn ang="0">
                <a:pos x="339" y="107"/>
              </a:cxn>
              <a:cxn ang="0">
                <a:pos x="357" y="71"/>
              </a:cxn>
              <a:cxn ang="0">
                <a:pos x="344" y="30"/>
              </a:cxn>
              <a:cxn ang="0">
                <a:pos x="321" y="47"/>
              </a:cxn>
              <a:cxn ang="0">
                <a:pos x="289" y="50"/>
              </a:cxn>
              <a:cxn ang="0">
                <a:pos x="255" y="60"/>
              </a:cxn>
              <a:cxn ang="0">
                <a:pos x="228" y="71"/>
              </a:cxn>
              <a:cxn ang="0">
                <a:pos x="210" y="38"/>
              </a:cxn>
              <a:cxn ang="0">
                <a:pos x="208" y="3"/>
              </a:cxn>
            </a:cxnLst>
            <a:rect l="0" t="0" r="r" b="b"/>
            <a:pathLst>
              <a:path w="586" h="692">
                <a:moveTo>
                  <a:pt x="198" y="1"/>
                </a:moveTo>
                <a:lnTo>
                  <a:pt x="198" y="5"/>
                </a:lnTo>
                <a:lnTo>
                  <a:pt x="195" y="9"/>
                </a:lnTo>
                <a:lnTo>
                  <a:pt x="194" y="11"/>
                </a:lnTo>
                <a:lnTo>
                  <a:pt x="192" y="12"/>
                </a:lnTo>
                <a:lnTo>
                  <a:pt x="188" y="12"/>
                </a:lnTo>
                <a:lnTo>
                  <a:pt x="186" y="14"/>
                </a:lnTo>
                <a:lnTo>
                  <a:pt x="184" y="16"/>
                </a:lnTo>
                <a:lnTo>
                  <a:pt x="182" y="17"/>
                </a:lnTo>
                <a:lnTo>
                  <a:pt x="180" y="19"/>
                </a:lnTo>
                <a:lnTo>
                  <a:pt x="172" y="19"/>
                </a:lnTo>
                <a:lnTo>
                  <a:pt x="168" y="20"/>
                </a:lnTo>
                <a:lnTo>
                  <a:pt x="163" y="22"/>
                </a:lnTo>
                <a:lnTo>
                  <a:pt x="163" y="23"/>
                </a:lnTo>
                <a:lnTo>
                  <a:pt x="162" y="23"/>
                </a:lnTo>
                <a:lnTo>
                  <a:pt x="155" y="23"/>
                </a:lnTo>
                <a:lnTo>
                  <a:pt x="151" y="22"/>
                </a:lnTo>
                <a:lnTo>
                  <a:pt x="145" y="19"/>
                </a:lnTo>
                <a:lnTo>
                  <a:pt x="139" y="17"/>
                </a:lnTo>
                <a:lnTo>
                  <a:pt x="137" y="17"/>
                </a:lnTo>
                <a:lnTo>
                  <a:pt x="135" y="17"/>
                </a:lnTo>
                <a:lnTo>
                  <a:pt x="135" y="20"/>
                </a:lnTo>
                <a:lnTo>
                  <a:pt x="137" y="23"/>
                </a:lnTo>
                <a:lnTo>
                  <a:pt x="139" y="23"/>
                </a:lnTo>
                <a:lnTo>
                  <a:pt x="143" y="27"/>
                </a:lnTo>
                <a:lnTo>
                  <a:pt x="143" y="28"/>
                </a:lnTo>
                <a:lnTo>
                  <a:pt x="143" y="31"/>
                </a:lnTo>
                <a:lnTo>
                  <a:pt x="142" y="36"/>
                </a:lnTo>
                <a:lnTo>
                  <a:pt x="142" y="38"/>
                </a:lnTo>
                <a:lnTo>
                  <a:pt x="143" y="39"/>
                </a:lnTo>
                <a:lnTo>
                  <a:pt x="145" y="45"/>
                </a:lnTo>
                <a:lnTo>
                  <a:pt x="145" y="49"/>
                </a:lnTo>
                <a:lnTo>
                  <a:pt x="145" y="50"/>
                </a:lnTo>
                <a:lnTo>
                  <a:pt x="148" y="50"/>
                </a:lnTo>
                <a:lnTo>
                  <a:pt x="150" y="52"/>
                </a:lnTo>
                <a:lnTo>
                  <a:pt x="156" y="50"/>
                </a:lnTo>
                <a:lnTo>
                  <a:pt x="156" y="53"/>
                </a:lnTo>
                <a:lnTo>
                  <a:pt x="155" y="55"/>
                </a:lnTo>
                <a:lnTo>
                  <a:pt x="152" y="55"/>
                </a:lnTo>
                <a:lnTo>
                  <a:pt x="151" y="56"/>
                </a:lnTo>
                <a:lnTo>
                  <a:pt x="151" y="58"/>
                </a:lnTo>
                <a:lnTo>
                  <a:pt x="148" y="58"/>
                </a:lnTo>
                <a:lnTo>
                  <a:pt x="147" y="58"/>
                </a:lnTo>
                <a:lnTo>
                  <a:pt x="146" y="61"/>
                </a:lnTo>
                <a:lnTo>
                  <a:pt x="145" y="66"/>
                </a:lnTo>
                <a:lnTo>
                  <a:pt x="143" y="67"/>
                </a:lnTo>
                <a:lnTo>
                  <a:pt x="141" y="67"/>
                </a:lnTo>
                <a:lnTo>
                  <a:pt x="138" y="69"/>
                </a:lnTo>
                <a:lnTo>
                  <a:pt x="137" y="71"/>
                </a:lnTo>
                <a:lnTo>
                  <a:pt x="135" y="71"/>
                </a:lnTo>
                <a:lnTo>
                  <a:pt x="131" y="72"/>
                </a:lnTo>
                <a:lnTo>
                  <a:pt x="129" y="74"/>
                </a:lnTo>
                <a:lnTo>
                  <a:pt x="126" y="75"/>
                </a:lnTo>
                <a:lnTo>
                  <a:pt x="125" y="75"/>
                </a:lnTo>
                <a:lnTo>
                  <a:pt x="123" y="78"/>
                </a:lnTo>
                <a:lnTo>
                  <a:pt x="122" y="78"/>
                </a:lnTo>
                <a:lnTo>
                  <a:pt x="117" y="80"/>
                </a:lnTo>
                <a:lnTo>
                  <a:pt x="113" y="80"/>
                </a:lnTo>
                <a:lnTo>
                  <a:pt x="111" y="80"/>
                </a:lnTo>
                <a:lnTo>
                  <a:pt x="107" y="77"/>
                </a:lnTo>
                <a:lnTo>
                  <a:pt x="107" y="75"/>
                </a:lnTo>
                <a:lnTo>
                  <a:pt x="106" y="74"/>
                </a:lnTo>
                <a:lnTo>
                  <a:pt x="105" y="72"/>
                </a:lnTo>
                <a:lnTo>
                  <a:pt x="103" y="69"/>
                </a:lnTo>
                <a:lnTo>
                  <a:pt x="103" y="71"/>
                </a:lnTo>
                <a:lnTo>
                  <a:pt x="101" y="72"/>
                </a:lnTo>
                <a:lnTo>
                  <a:pt x="99" y="63"/>
                </a:lnTo>
                <a:lnTo>
                  <a:pt x="97" y="60"/>
                </a:lnTo>
                <a:lnTo>
                  <a:pt x="95" y="58"/>
                </a:lnTo>
                <a:lnTo>
                  <a:pt x="93" y="58"/>
                </a:lnTo>
                <a:lnTo>
                  <a:pt x="87" y="61"/>
                </a:lnTo>
                <a:lnTo>
                  <a:pt x="86" y="61"/>
                </a:lnTo>
                <a:lnTo>
                  <a:pt x="85" y="58"/>
                </a:lnTo>
                <a:lnTo>
                  <a:pt x="83" y="58"/>
                </a:lnTo>
                <a:lnTo>
                  <a:pt x="83" y="60"/>
                </a:lnTo>
                <a:lnTo>
                  <a:pt x="82" y="61"/>
                </a:lnTo>
                <a:lnTo>
                  <a:pt x="81" y="63"/>
                </a:lnTo>
                <a:lnTo>
                  <a:pt x="59" y="63"/>
                </a:lnTo>
                <a:lnTo>
                  <a:pt x="59" y="72"/>
                </a:lnTo>
                <a:lnTo>
                  <a:pt x="59" y="74"/>
                </a:lnTo>
                <a:lnTo>
                  <a:pt x="61" y="74"/>
                </a:lnTo>
                <a:lnTo>
                  <a:pt x="61" y="75"/>
                </a:lnTo>
                <a:lnTo>
                  <a:pt x="63" y="75"/>
                </a:lnTo>
                <a:lnTo>
                  <a:pt x="66" y="74"/>
                </a:lnTo>
                <a:lnTo>
                  <a:pt x="67" y="77"/>
                </a:lnTo>
                <a:lnTo>
                  <a:pt x="69" y="78"/>
                </a:lnTo>
                <a:lnTo>
                  <a:pt x="69" y="82"/>
                </a:lnTo>
                <a:lnTo>
                  <a:pt x="69" y="83"/>
                </a:lnTo>
                <a:lnTo>
                  <a:pt x="67" y="83"/>
                </a:lnTo>
                <a:lnTo>
                  <a:pt x="66" y="82"/>
                </a:lnTo>
                <a:lnTo>
                  <a:pt x="63" y="82"/>
                </a:lnTo>
                <a:lnTo>
                  <a:pt x="62" y="82"/>
                </a:lnTo>
                <a:lnTo>
                  <a:pt x="57" y="83"/>
                </a:lnTo>
                <a:lnTo>
                  <a:pt x="55" y="85"/>
                </a:lnTo>
                <a:lnTo>
                  <a:pt x="55" y="96"/>
                </a:lnTo>
                <a:lnTo>
                  <a:pt x="57" y="97"/>
                </a:lnTo>
                <a:lnTo>
                  <a:pt x="61" y="100"/>
                </a:lnTo>
                <a:lnTo>
                  <a:pt x="62" y="104"/>
                </a:lnTo>
                <a:lnTo>
                  <a:pt x="63" y="107"/>
                </a:lnTo>
                <a:lnTo>
                  <a:pt x="65" y="116"/>
                </a:lnTo>
                <a:lnTo>
                  <a:pt x="65" y="118"/>
                </a:lnTo>
                <a:lnTo>
                  <a:pt x="65" y="121"/>
                </a:lnTo>
                <a:lnTo>
                  <a:pt x="62" y="141"/>
                </a:lnTo>
                <a:lnTo>
                  <a:pt x="61" y="148"/>
                </a:lnTo>
                <a:lnTo>
                  <a:pt x="59" y="151"/>
                </a:lnTo>
                <a:lnTo>
                  <a:pt x="59" y="154"/>
                </a:lnTo>
                <a:lnTo>
                  <a:pt x="59" y="155"/>
                </a:lnTo>
                <a:lnTo>
                  <a:pt x="58" y="157"/>
                </a:lnTo>
                <a:lnTo>
                  <a:pt x="58" y="163"/>
                </a:lnTo>
                <a:lnTo>
                  <a:pt x="57" y="165"/>
                </a:lnTo>
                <a:lnTo>
                  <a:pt x="57" y="166"/>
                </a:lnTo>
                <a:lnTo>
                  <a:pt x="57" y="168"/>
                </a:lnTo>
                <a:lnTo>
                  <a:pt x="55" y="170"/>
                </a:lnTo>
                <a:lnTo>
                  <a:pt x="49" y="168"/>
                </a:lnTo>
                <a:lnTo>
                  <a:pt x="46" y="170"/>
                </a:lnTo>
                <a:lnTo>
                  <a:pt x="32" y="174"/>
                </a:lnTo>
                <a:lnTo>
                  <a:pt x="26" y="177"/>
                </a:lnTo>
                <a:lnTo>
                  <a:pt x="22" y="181"/>
                </a:lnTo>
                <a:lnTo>
                  <a:pt x="20" y="184"/>
                </a:lnTo>
                <a:lnTo>
                  <a:pt x="16" y="188"/>
                </a:lnTo>
                <a:lnTo>
                  <a:pt x="13" y="193"/>
                </a:lnTo>
                <a:lnTo>
                  <a:pt x="10" y="198"/>
                </a:lnTo>
                <a:lnTo>
                  <a:pt x="10" y="199"/>
                </a:lnTo>
                <a:lnTo>
                  <a:pt x="10" y="209"/>
                </a:lnTo>
                <a:lnTo>
                  <a:pt x="8" y="210"/>
                </a:lnTo>
                <a:lnTo>
                  <a:pt x="5" y="210"/>
                </a:lnTo>
                <a:lnTo>
                  <a:pt x="4" y="212"/>
                </a:lnTo>
                <a:lnTo>
                  <a:pt x="2" y="218"/>
                </a:lnTo>
                <a:lnTo>
                  <a:pt x="0" y="224"/>
                </a:lnTo>
                <a:lnTo>
                  <a:pt x="0" y="226"/>
                </a:lnTo>
                <a:lnTo>
                  <a:pt x="0" y="228"/>
                </a:lnTo>
                <a:lnTo>
                  <a:pt x="2" y="235"/>
                </a:lnTo>
                <a:lnTo>
                  <a:pt x="2" y="239"/>
                </a:lnTo>
                <a:lnTo>
                  <a:pt x="4" y="240"/>
                </a:lnTo>
                <a:lnTo>
                  <a:pt x="6" y="243"/>
                </a:lnTo>
                <a:lnTo>
                  <a:pt x="6" y="246"/>
                </a:lnTo>
                <a:lnTo>
                  <a:pt x="10" y="251"/>
                </a:lnTo>
                <a:lnTo>
                  <a:pt x="13" y="253"/>
                </a:lnTo>
                <a:lnTo>
                  <a:pt x="13" y="254"/>
                </a:lnTo>
                <a:lnTo>
                  <a:pt x="12" y="259"/>
                </a:lnTo>
                <a:lnTo>
                  <a:pt x="16" y="261"/>
                </a:lnTo>
                <a:lnTo>
                  <a:pt x="21" y="261"/>
                </a:lnTo>
                <a:lnTo>
                  <a:pt x="22" y="262"/>
                </a:lnTo>
                <a:lnTo>
                  <a:pt x="22" y="264"/>
                </a:lnTo>
                <a:lnTo>
                  <a:pt x="24" y="267"/>
                </a:lnTo>
                <a:lnTo>
                  <a:pt x="25" y="268"/>
                </a:lnTo>
                <a:lnTo>
                  <a:pt x="28" y="270"/>
                </a:lnTo>
                <a:lnTo>
                  <a:pt x="32" y="270"/>
                </a:lnTo>
                <a:lnTo>
                  <a:pt x="34" y="270"/>
                </a:lnTo>
                <a:lnTo>
                  <a:pt x="39" y="267"/>
                </a:lnTo>
                <a:lnTo>
                  <a:pt x="45" y="262"/>
                </a:lnTo>
                <a:lnTo>
                  <a:pt x="47" y="259"/>
                </a:lnTo>
                <a:lnTo>
                  <a:pt x="49" y="257"/>
                </a:lnTo>
                <a:lnTo>
                  <a:pt x="49" y="259"/>
                </a:lnTo>
                <a:lnTo>
                  <a:pt x="49" y="276"/>
                </a:lnTo>
                <a:lnTo>
                  <a:pt x="49" y="278"/>
                </a:lnTo>
                <a:lnTo>
                  <a:pt x="49" y="287"/>
                </a:lnTo>
                <a:lnTo>
                  <a:pt x="50" y="287"/>
                </a:lnTo>
                <a:lnTo>
                  <a:pt x="51" y="289"/>
                </a:lnTo>
                <a:lnTo>
                  <a:pt x="53" y="289"/>
                </a:lnTo>
                <a:lnTo>
                  <a:pt x="54" y="289"/>
                </a:lnTo>
                <a:lnTo>
                  <a:pt x="57" y="287"/>
                </a:lnTo>
                <a:lnTo>
                  <a:pt x="61" y="287"/>
                </a:lnTo>
                <a:lnTo>
                  <a:pt x="62" y="286"/>
                </a:lnTo>
                <a:lnTo>
                  <a:pt x="65" y="286"/>
                </a:lnTo>
                <a:lnTo>
                  <a:pt x="69" y="287"/>
                </a:lnTo>
                <a:lnTo>
                  <a:pt x="81" y="289"/>
                </a:lnTo>
                <a:lnTo>
                  <a:pt x="83" y="287"/>
                </a:lnTo>
                <a:lnTo>
                  <a:pt x="85" y="286"/>
                </a:lnTo>
                <a:lnTo>
                  <a:pt x="91" y="283"/>
                </a:lnTo>
                <a:lnTo>
                  <a:pt x="93" y="283"/>
                </a:lnTo>
                <a:lnTo>
                  <a:pt x="99" y="275"/>
                </a:lnTo>
                <a:lnTo>
                  <a:pt x="105" y="268"/>
                </a:lnTo>
                <a:lnTo>
                  <a:pt x="106" y="267"/>
                </a:lnTo>
                <a:lnTo>
                  <a:pt x="110" y="265"/>
                </a:lnTo>
                <a:lnTo>
                  <a:pt x="113" y="265"/>
                </a:lnTo>
                <a:lnTo>
                  <a:pt x="119" y="264"/>
                </a:lnTo>
                <a:lnTo>
                  <a:pt x="125" y="264"/>
                </a:lnTo>
                <a:lnTo>
                  <a:pt x="126" y="265"/>
                </a:lnTo>
                <a:lnTo>
                  <a:pt x="127" y="268"/>
                </a:lnTo>
                <a:lnTo>
                  <a:pt x="127" y="273"/>
                </a:lnTo>
                <a:lnTo>
                  <a:pt x="127" y="284"/>
                </a:lnTo>
                <a:lnTo>
                  <a:pt x="127" y="287"/>
                </a:lnTo>
                <a:lnTo>
                  <a:pt x="126" y="289"/>
                </a:lnTo>
                <a:lnTo>
                  <a:pt x="126" y="290"/>
                </a:lnTo>
                <a:lnTo>
                  <a:pt x="126" y="292"/>
                </a:lnTo>
                <a:lnTo>
                  <a:pt x="127" y="300"/>
                </a:lnTo>
                <a:lnTo>
                  <a:pt x="130" y="305"/>
                </a:lnTo>
                <a:lnTo>
                  <a:pt x="131" y="306"/>
                </a:lnTo>
                <a:lnTo>
                  <a:pt x="139" y="312"/>
                </a:lnTo>
                <a:lnTo>
                  <a:pt x="142" y="314"/>
                </a:lnTo>
                <a:lnTo>
                  <a:pt x="147" y="314"/>
                </a:lnTo>
                <a:lnTo>
                  <a:pt x="152" y="314"/>
                </a:lnTo>
                <a:lnTo>
                  <a:pt x="156" y="316"/>
                </a:lnTo>
                <a:lnTo>
                  <a:pt x="158" y="317"/>
                </a:lnTo>
                <a:lnTo>
                  <a:pt x="159" y="319"/>
                </a:lnTo>
                <a:lnTo>
                  <a:pt x="160" y="322"/>
                </a:lnTo>
                <a:lnTo>
                  <a:pt x="163" y="323"/>
                </a:lnTo>
                <a:lnTo>
                  <a:pt x="174" y="327"/>
                </a:lnTo>
                <a:lnTo>
                  <a:pt x="178" y="331"/>
                </a:lnTo>
                <a:lnTo>
                  <a:pt x="179" y="331"/>
                </a:lnTo>
                <a:lnTo>
                  <a:pt x="182" y="331"/>
                </a:lnTo>
                <a:lnTo>
                  <a:pt x="184" y="331"/>
                </a:lnTo>
                <a:lnTo>
                  <a:pt x="186" y="331"/>
                </a:lnTo>
                <a:lnTo>
                  <a:pt x="190" y="331"/>
                </a:lnTo>
                <a:lnTo>
                  <a:pt x="195" y="336"/>
                </a:lnTo>
                <a:lnTo>
                  <a:pt x="196" y="338"/>
                </a:lnTo>
                <a:lnTo>
                  <a:pt x="199" y="341"/>
                </a:lnTo>
                <a:lnTo>
                  <a:pt x="200" y="345"/>
                </a:lnTo>
                <a:lnTo>
                  <a:pt x="200" y="350"/>
                </a:lnTo>
                <a:lnTo>
                  <a:pt x="202" y="352"/>
                </a:lnTo>
                <a:lnTo>
                  <a:pt x="202" y="353"/>
                </a:lnTo>
                <a:lnTo>
                  <a:pt x="202" y="356"/>
                </a:lnTo>
                <a:lnTo>
                  <a:pt x="202" y="363"/>
                </a:lnTo>
                <a:lnTo>
                  <a:pt x="199" y="363"/>
                </a:lnTo>
                <a:lnTo>
                  <a:pt x="199" y="364"/>
                </a:lnTo>
                <a:lnTo>
                  <a:pt x="199" y="366"/>
                </a:lnTo>
                <a:lnTo>
                  <a:pt x="202" y="371"/>
                </a:lnTo>
                <a:lnTo>
                  <a:pt x="203" y="377"/>
                </a:lnTo>
                <a:lnTo>
                  <a:pt x="206" y="382"/>
                </a:lnTo>
                <a:lnTo>
                  <a:pt x="210" y="382"/>
                </a:lnTo>
                <a:lnTo>
                  <a:pt x="212" y="382"/>
                </a:lnTo>
                <a:lnTo>
                  <a:pt x="216" y="382"/>
                </a:lnTo>
                <a:lnTo>
                  <a:pt x="218" y="383"/>
                </a:lnTo>
                <a:lnTo>
                  <a:pt x="230" y="383"/>
                </a:lnTo>
                <a:lnTo>
                  <a:pt x="231" y="383"/>
                </a:lnTo>
                <a:lnTo>
                  <a:pt x="231" y="385"/>
                </a:lnTo>
                <a:lnTo>
                  <a:pt x="231" y="388"/>
                </a:lnTo>
                <a:lnTo>
                  <a:pt x="231" y="391"/>
                </a:lnTo>
                <a:lnTo>
                  <a:pt x="231" y="393"/>
                </a:lnTo>
                <a:lnTo>
                  <a:pt x="231" y="399"/>
                </a:lnTo>
                <a:lnTo>
                  <a:pt x="236" y="400"/>
                </a:lnTo>
                <a:lnTo>
                  <a:pt x="238" y="402"/>
                </a:lnTo>
                <a:lnTo>
                  <a:pt x="239" y="407"/>
                </a:lnTo>
                <a:lnTo>
                  <a:pt x="242" y="411"/>
                </a:lnTo>
                <a:lnTo>
                  <a:pt x="242" y="414"/>
                </a:lnTo>
                <a:lnTo>
                  <a:pt x="242" y="422"/>
                </a:lnTo>
                <a:lnTo>
                  <a:pt x="242" y="432"/>
                </a:lnTo>
                <a:lnTo>
                  <a:pt x="242" y="433"/>
                </a:lnTo>
                <a:lnTo>
                  <a:pt x="240" y="436"/>
                </a:lnTo>
                <a:lnTo>
                  <a:pt x="239" y="440"/>
                </a:lnTo>
                <a:lnTo>
                  <a:pt x="238" y="441"/>
                </a:lnTo>
                <a:lnTo>
                  <a:pt x="238" y="444"/>
                </a:lnTo>
                <a:lnTo>
                  <a:pt x="239" y="446"/>
                </a:lnTo>
                <a:lnTo>
                  <a:pt x="239" y="449"/>
                </a:lnTo>
                <a:lnTo>
                  <a:pt x="236" y="451"/>
                </a:lnTo>
                <a:lnTo>
                  <a:pt x="236" y="452"/>
                </a:lnTo>
                <a:lnTo>
                  <a:pt x="238" y="457"/>
                </a:lnTo>
                <a:lnTo>
                  <a:pt x="239" y="473"/>
                </a:lnTo>
                <a:lnTo>
                  <a:pt x="238" y="482"/>
                </a:lnTo>
                <a:lnTo>
                  <a:pt x="239" y="485"/>
                </a:lnTo>
                <a:lnTo>
                  <a:pt x="240" y="485"/>
                </a:lnTo>
                <a:lnTo>
                  <a:pt x="246" y="487"/>
                </a:lnTo>
                <a:lnTo>
                  <a:pt x="247" y="488"/>
                </a:lnTo>
                <a:lnTo>
                  <a:pt x="252" y="488"/>
                </a:lnTo>
                <a:lnTo>
                  <a:pt x="255" y="488"/>
                </a:lnTo>
                <a:lnTo>
                  <a:pt x="259" y="488"/>
                </a:lnTo>
                <a:lnTo>
                  <a:pt x="260" y="487"/>
                </a:lnTo>
                <a:lnTo>
                  <a:pt x="261" y="487"/>
                </a:lnTo>
                <a:lnTo>
                  <a:pt x="264" y="488"/>
                </a:lnTo>
                <a:lnTo>
                  <a:pt x="269" y="490"/>
                </a:lnTo>
                <a:lnTo>
                  <a:pt x="272" y="493"/>
                </a:lnTo>
                <a:lnTo>
                  <a:pt x="272" y="495"/>
                </a:lnTo>
                <a:lnTo>
                  <a:pt x="273" y="501"/>
                </a:lnTo>
                <a:lnTo>
                  <a:pt x="273" y="506"/>
                </a:lnTo>
                <a:lnTo>
                  <a:pt x="273" y="512"/>
                </a:lnTo>
                <a:lnTo>
                  <a:pt x="273" y="513"/>
                </a:lnTo>
                <a:lnTo>
                  <a:pt x="275" y="517"/>
                </a:lnTo>
                <a:lnTo>
                  <a:pt x="277" y="518"/>
                </a:lnTo>
                <a:lnTo>
                  <a:pt x="279" y="518"/>
                </a:lnTo>
                <a:lnTo>
                  <a:pt x="281" y="518"/>
                </a:lnTo>
                <a:lnTo>
                  <a:pt x="284" y="518"/>
                </a:lnTo>
                <a:lnTo>
                  <a:pt x="287" y="518"/>
                </a:lnTo>
                <a:lnTo>
                  <a:pt x="289" y="517"/>
                </a:lnTo>
                <a:lnTo>
                  <a:pt x="291" y="518"/>
                </a:lnTo>
                <a:lnTo>
                  <a:pt x="292" y="521"/>
                </a:lnTo>
                <a:lnTo>
                  <a:pt x="292" y="528"/>
                </a:lnTo>
                <a:lnTo>
                  <a:pt x="292" y="529"/>
                </a:lnTo>
                <a:lnTo>
                  <a:pt x="291" y="534"/>
                </a:lnTo>
                <a:lnTo>
                  <a:pt x="289" y="542"/>
                </a:lnTo>
                <a:lnTo>
                  <a:pt x="289" y="548"/>
                </a:lnTo>
                <a:lnTo>
                  <a:pt x="292" y="548"/>
                </a:lnTo>
                <a:lnTo>
                  <a:pt x="293" y="546"/>
                </a:lnTo>
                <a:lnTo>
                  <a:pt x="297" y="546"/>
                </a:lnTo>
                <a:lnTo>
                  <a:pt x="299" y="550"/>
                </a:lnTo>
                <a:lnTo>
                  <a:pt x="303" y="561"/>
                </a:lnTo>
                <a:lnTo>
                  <a:pt x="303" y="570"/>
                </a:lnTo>
                <a:lnTo>
                  <a:pt x="301" y="573"/>
                </a:lnTo>
                <a:lnTo>
                  <a:pt x="301" y="575"/>
                </a:lnTo>
                <a:lnTo>
                  <a:pt x="300" y="575"/>
                </a:lnTo>
                <a:lnTo>
                  <a:pt x="295" y="579"/>
                </a:lnTo>
                <a:lnTo>
                  <a:pt x="292" y="581"/>
                </a:lnTo>
                <a:lnTo>
                  <a:pt x="288" y="581"/>
                </a:lnTo>
                <a:lnTo>
                  <a:pt x="287" y="583"/>
                </a:lnTo>
                <a:lnTo>
                  <a:pt x="284" y="586"/>
                </a:lnTo>
                <a:lnTo>
                  <a:pt x="281" y="589"/>
                </a:lnTo>
                <a:lnTo>
                  <a:pt x="269" y="600"/>
                </a:lnTo>
                <a:lnTo>
                  <a:pt x="268" y="603"/>
                </a:lnTo>
                <a:lnTo>
                  <a:pt x="263" y="609"/>
                </a:lnTo>
                <a:lnTo>
                  <a:pt x="261" y="611"/>
                </a:lnTo>
                <a:lnTo>
                  <a:pt x="256" y="617"/>
                </a:lnTo>
                <a:lnTo>
                  <a:pt x="252" y="620"/>
                </a:lnTo>
                <a:lnTo>
                  <a:pt x="251" y="623"/>
                </a:lnTo>
                <a:lnTo>
                  <a:pt x="248" y="625"/>
                </a:lnTo>
                <a:lnTo>
                  <a:pt x="247" y="626"/>
                </a:lnTo>
                <a:lnTo>
                  <a:pt x="246" y="630"/>
                </a:lnTo>
                <a:lnTo>
                  <a:pt x="243" y="631"/>
                </a:lnTo>
                <a:lnTo>
                  <a:pt x="247" y="631"/>
                </a:lnTo>
                <a:lnTo>
                  <a:pt x="250" y="630"/>
                </a:lnTo>
                <a:lnTo>
                  <a:pt x="251" y="628"/>
                </a:lnTo>
                <a:lnTo>
                  <a:pt x="252" y="628"/>
                </a:lnTo>
                <a:lnTo>
                  <a:pt x="254" y="628"/>
                </a:lnTo>
                <a:lnTo>
                  <a:pt x="255" y="628"/>
                </a:lnTo>
                <a:lnTo>
                  <a:pt x="259" y="631"/>
                </a:lnTo>
                <a:lnTo>
                  <a:pt x="260" y="633"/>
                </a:lnTo>
                <a:lnTo>
                  <a:pt x="263" y="636"/>
                </a:lnTo>
                <a:lnTo>
                  <a:pt x="265" y="637"/>
                </a:lnTo>
                <a:lnTo>
                  <a:pt x="267" y="642"/>
                </a:lnTo>
                <a:lnTo>
                  <a:pt x="267" y="644"/>
                </a:lnTo>
                <a:lnTo>
                  <a:pt x="269" y="644"/>
                </a:lnTo>
                <a:lnTo>
                  <a:pt x="273" y="641"/>
                </a:lnTo>
                <a:lnTo>
                  <a:pt x="275" y="642"/>
                </a:lnTo>
                <a:lnTo>
                  <a:pt x="276" y="644"/>
                </a:lnTo>
                <a:lnTo>
                  <a:pt x="277" y="645"/>
                </a:lnTo>
                <a:lnTo>
                  <a:pt x="279" y="648"/>
                </a:lnTo>
                <a:lnTo>
                  <a:pt x="280" y="648"/>
                </a:lnTo>
                <a:lnTo>
                  <a:pt x="281" y="650"/>
                </a:lnTo>
                <a:lnTo>
                  <a:pt x="283" y="650"/>
                </a:lnTo>
                <a:lnTo>
                  <a:pt x="285" y="652"/>
                </a:lnTo>
                <a:lnTo>
                  <a:pt x="288" y="652"/>
                </a:lnTo>
                <a:lnTo>
                  <a:pt x="289" y="653"/>
                </a:lnTo>
                <a:lnTo>
                  <a:pt x="291" y="656"/>
                </a:lnTo>
                <a:lnTo>
                  <a:pt x="292" y="658"/>
                </a:lnTo>
                <a:lnTo>
                  <a:pt x="295" y="659"/>
                </a:lnTo>
                <a:lnTo>
                  <a:pt x="296" y="659"/>
                </a:lnTo>
                <a:lnTo>
                  <a:pt x="300" y="661"/>
                </a:lnTo>
                <a:lnTo>
                  <a:pt x="301" y="663"/>
                </a:lnTo>
                <a:lnTo>
                  <a:pt x="303" y="667"/>
                </a:lnTo>
                <a:lnTo>
                  <a:pt x="303" y="669"/>
                </a:lnTo>
                <a:lnTo>
                  <a:pt x="309" y="674"/>
                </a:lnTo>
                <a:lnTo>
                  <a:pt x="311" y="675"/>
                </a:lnTo>
                <a:lnTo>
                  <a:pt x="311" y="677"/>
                </a:lnTo>
                <a:lnTo>
                  <a:pt x="308" y="677"/>
                </a:lnTo>
                <a:lnTo>
                  <a:pt x="308" y="678"/>
                </a:lnTo>
                <a:lnTo>
                  <a:pt x="307" y="678"/>
                </a:lnTo>
                <a:lnTo>
                  <a:pt x="307" y="681"/>
                </a:lnTo>
                <a:lnTo>
                  <a:pt x="305" y="683"/>
                </a:lnTo>
                <a:lnTo>
                  <a:pt x="305" y="688"/>
                </a:lnTo>
                <a:lnTo>
                  <a:pt x="304" y="691"/>
                </a:lnTo>
                <a:lnTo>
                  <a:pt x="305" y="692"/>
                </a:lnTo>
                <a:lnTo>
                  <a:pt x="307" y="692"/>
                </a:lnTo>
                <a:lnTo>
                  <a:pt x="307" y="691"/>
                </a:lnTo>
                <a:lnTo>
                  <a:pt x="309" y="689"/>
                </a:lnTo>
                <a:lnTo>
                  <a:pt x="313" y="686"/>
                </a:lnTo>
                <a:lnTo>
                  <a:pt x="316" y="681"/>
                </a:lnTo>
                <a:lnTo>
                  <a:pt x="320" y="677"/>
                </a:lnTo>
                <a:lnTo>
                  <a:pt x="321" y="670"/>
                </a:lnTo>
                <a:lnTo>
                  <a:pt x="323" y="667"/>
                </a:lnTo>
                <a:lnTo>
                  <a:pt x="327" y="663"/>
                </a:lnTo>
                <a:lnTo>
                  <a:pt x="328" y="663"/>
                </a:lnTo>
                <a:lnTo>
                  <a:pt x="335" y="658"/>
                </a:lnTo>
                <a:lnTo>
                  <a:pt x="337" y="656"/>
                </a:lnTo>
                <a:lnTo>
                  <a:pt x="340" y="655"/>
                </a:lnTo>
                <a:lnTo>
                  <a:pt x="341" y="653"/>
                </a:lnTo>
                <a:lnTo>
                  <a:pt x="341" y="652"/>
                </a:lnTo>
                <a:lnTo>
                  <a:pt x="343" y="648"/>
                </a:lnTo>
                <a:lnTo>
                  <a:pt x="348" y="642"/>
                </a:lnTo>
                <a:lnTo>
                  <a:pt x="349" y="639"/>
                </a:lnTo>
                <a:lnTo>
                  <a:pt x="352" y="636"/>
                </a:lnTo>
                <a:lnTo>
                  <a:pt x="353" y="630"/>
                </a:lnTo>
                <a:lnTo>
                  <a:pt x="357" y="622"/>
                </a:lnTo>
                <a:lnTo>
                  <a:pt x="359" y="619"/>
                </a:lnTo>
                <a:lnTo>
                  <a:pt x="360" y="615"/>
                </a:lnTo>
                <a:lnTo>
                  <a:pt x="361" y="614"/>
                </a:lnTo>
                <a:lnTo>
                  <a:pt x="363" y="612"/>
                </a:lnTo>
                <a:lnTo>
                  <a:pt x="367" y="606"/>
                </a:lnTo>
                <a:lnTo>
                  <a:pt x="369" y="604"/>
                </a:lnTo>
                <a:lnTo>
                  <a:pt x="371" y="603"/>
                </a:lnTo>
                <a:lnTo>
                  <a:pt x="373" y="603"/>
                </a:lnTo>
                <a:lnTo>
                  <a:pt x="374" y="598"/>
                </a:lnTo>
                <a:lnTo>
                  <a:pt x="377" y="597"/>
                </a:lnTo>
                <a:lnTo>
                  <a:pt x="378" y="590"/>
                </a:lnTo>
                <a:lnTo>
                  <a:pt x="378" y="579"/>
                </a:lnTo>
                <a:lnTo>
                  <a:pt x="380" y="578"/>
                </a:lnTo>
                <a:lnTo>
                  <a:pt x="381" y="578"/>
                </a:lnTo>
                <a:lnTo>
                  <a:pt x="381" y="576"/>
                </a:lnTo>
                <a:lnTo>
                  <a:pt x="381" y="575"/>
                </a:lnTo>
                <a:lnTo>
                  <a:pt x="378" y="573"/>
                </a:lnTo>
                <a:lnTo>
                  <a:pt x="378" y="572"/>
                </a:lnTo>
                <a:lnTo>
                  <a:pt x="378" y="567"/>
                </a:lnTo>
                <a:lnTo>
                  <a:pt x="377" y="567"/>
                </a:lnTo>
                <a:lnTo>
                  <a:pt x="377" y="562"/>
                </a:lnTo>
                <a:lnTo>
                  <a:pt x="377" y="561"/>
                </a:lnTo>
                <a:lnTo>
                  <a:pt x="377" y="557"/>
                </a:lnTo>
                <a:lnTo>
                  <a:pt x="378" y="554"/>
                </a:lnTo>
                <a:lnTo>
                  <a:pt x="378" y="553"/>
                </a:lnTo>
                <a:lnTo>
                  <a:pt x="381" y="548"/>
                </a:lnTo>
                <a:lnTo>
                  <a:pt x="382" y="545"/>
                </a:lnTo>
                <a:lnTo>
                  <a:pt x="386" y="542"/>
                </a:lnTo>
                <a:lnTo>
                  <a:pt x="392" y="535"/>
                </a:lnTo>
                <a:lnTo>
                  <a:pt x="393" y="534"/>
                </a:lnTo>
                <a:lnTo>
                  <a:pt x="396" y="531"/>
                </a:lnTo>
                <a:lnTo>
                  <a:pt x="400" y="529"/>
                </a:lnTo>
                <a:lnTo>
                  <a:pt x="401" y="526"/>
                </a:lnTo>
                <a:lnTo>
                  <a:pt x="404" y="524"/>
                </a:lnTo>
                <a:lnTo>
                  <a:pt x="408" y="521"/>
                </a:lnTo>
                <a:lnTo>
                  <a:pt x="412" y="518"/>
                </a:lnTo>
                <a:lnTo>
                  <a:pt x="414" y="518"/>
                </a:lnTo>
                <a:lnTo>
                  <a:pt x="416" y="518"/>
                </a:lnTo>
                <a:lnTo>
                  <a:pt x="417" y="515"/>
                </a:lnTo>
                <a:lnTo>
                  <a:pt x="420" y="515"/>
                </a:lnTo>
                <a:lnTo>
                  <a:pt x="425" y="513"/>
                </a:lnTo>
                <a:lnTo>
                  <a:pt x="428" y="512"/>
                </a:lnTo>
                <a:lnTo>
                  <a:pt x="429" y="512"/>
                </a:lnTo>
                <a:lnTo>
                  <a:pt x="432" y="509"/>
                </a:lnTo>
                <a:lnTo>
                  <a:pt x="433" y="507"/>
                </a:lnTo>
                <a:lnTo>
                  <a:pt x="436" y="507"/>
                </a:lnTo>
                <a:lnTo>
                  <a:pt x="438" y="507"/>
                </a:lnTo>
                <a:lnTo>
                  <a:pt x="438" y="506"/>
                </a:lnTo>
                <a:lnTo>
                  <a:pt x="438" y="504"/>
                </a:lnTo>
                <a:lnTo>
                  <a:pt x="438" y="502"/>
                </a:lnTo>
                <a:lnTo>
                  <a:pt x="440" y="501"/>
                </a:lnTo>
                <a:lnTo>
                  <a:pt x="441" y="501"/>
                </a:lnTo>
                <a:lnTo>
                  <a:pt x="442" y="502"/>
                </a:lnTo>
                <a:lnTo>
                  <a:pt x="449" y="499"/>
                </a:lnTo>
                <a:lnTo>
                  <a:pt x="450" y="499"/>
                </a:lnTo>
                <a:lnTo>
                  <a:pt x="452" y="501"/>
                </a:lnTo>
                <a:lnTo>
                  <a:pt x="454" y="501"/>
                </a:lnTo>
                <a:lnTo>
                  <a:pt x="458" y="499"/>
                </a:lnTo>
                <a:lnTo>
                  <a:pt x="461" y="499"/>
                </a:lnTo>
                <a:lnTo>
                  <a:pt x="462" y="499"/>
                </a:lnTo>
                <a:lnTo>
                  <a:pt x="465" y="501"/>
                </a:lnTo>
                <a:lnTo>
                  <a:pt x="469" y="501"/>
                </a:lnTo>
                <a:lnTo>
                  <a:pt x="474" y="499"/>
                </a:lnTo>
                <a:lnTo>
                  <a:pt x="476" y="499"/>
                </a:lnTo>
                <a:lnTo>
                  <a:pt x="477" y="496"/>
                </a:lnTo>
                <a:lnTo>
                  <a:pt x="478" y="493"/>
                </a:lnTo>
                <a:lnTo>
                  <a:pt x="481" y="490"/>
                </a:lnTo>
                <a:lnTo>
                  <a:pt x="482" y="488"/>
                </a:lnTo>
                <a:lnTo>
                  <a:pt x="487" y="487"/>
                </a:lnTo>
                <a:lnTo>
                  <a:pt x="490" y="484"/>
                </a:lnTo>
                <a:lnTo>
                  <a:pt x="491" y="480"/>
                </a:lnTo>
                <a:lnTo>
                  <a:pt x="491" y="479"/>
                </a:lnTo>
                <a:lnTo>
                  <a:pt x="491" y="474"/>
                </a:lnTo>
                <a:lnTo>
                  <a:pt x="493" y="471"/>
                </a:lnTo>
                <a:lnTo>
                  <a:pt x="495" y="465"/>
                </a:lnTo>
                <a:lnTo>
                  <a:pt x="501" y="458"/>
                </a:lnTo>
                <a:lnTo>
                  <a:pt x="503" y="454"/>
                </a:lnTo>
                <a:lnTo>
                  <a:pt x="506" y="446"/>
                </a:lnTo>
                <a:lnTo>
                  <a:pt x="510" y="441"/>
                </a:lnTo>
                <a:lnTo>
                  <a:pt x="511" y="438"/>
                </a:lnTo>
                <a:lnTo>
                  <a:pt x="511" y="430"/>
                </a:lnTo>
                <a:lnTo>
                  <a:pt x="511" y="424"/>
                </a:lnTo>
                <a:lnTo>
                  <a:pt x="513" y="419"/>
                </a:lnTo>
                <a:lnTo>
                  <a:pt x="513" y="416"/>
                </a:lnTo>
                <a:lnTo>
                  <a:pt x="515" y="413"/>
                </a:lnTo>
                <a:lnTo>
                  <a:pt x="518" y="408"/>
                </a:lnTo>
                <a:lnTo>
                  <a:pt x="519" y="407"/>
                </a:lnTo>
                <a:lnTo>
                  <a:pt x="519" y="402"/>
                </a:lnTo>
                <a:lnTo>
                  <a:pt x="521" y="389"/>
                </a:lnTo>
                <a:lnTo>
                  <a:pt x="521" y="388"/>
                </a:lnTo>
                <a:lnTo>
                  <a:pt x="522" y="380"/>
                </a:lnTo>
                <a:lnTo>
                  <a:pt x="523" y="374"/>
                </a:lnTo>
                <a:lnTo>
                  <a:pt x="523" y="371"/>
                </a:lnTo>
                <a:lnTo>
                  <a:pt x="522" y="367"/>
                </a:lnTo>
                <a:lnTo>
                  <a:pt x="522" y="360"/>
                </a:lnTo>
                <a:lnTo>
                  <a:pt x="521" y="356"/>
                </a:lnTo>
                <a:lnTo>
                  <a:pt x="521" y="350"/>
                </a:lnTo>
                <a:lnTo>
                  <a:pt x="522" y="341"/>
                </a:lnTo>
                <a:lnTo>
                  <a:pt x="523" y="334"/>
                </a:lnTo>
                <a:lnTo>
                  <a:pt x="523" y="331"/>
                </a:lnTo>
                <a:lnTo>
                  <a:pt x="523" y="327"/>
                </a:lnTo>
                <a:lnTo>
                  <a:pt x="525" y="327"/>
                </a:lnTo>
                <a:lnTo>
                  <a:pt x="527" y="323"/>
                </a:lnTo>
                <a:lnTo>
                  <a:pt x="529" y="323"/>
                </a:lnTo>
                <a:lnTo>
                  <a:pt x="530" y="323"/>
                </a:lnTo>
                <a:lnTo>
                  <a:pt x="531" y="323"/>
                </a:lnTo>
                <a:lnTo>
                  <a:pt x="535" y="320"/>
                </a:lnTo>
                <a:lnTo>
                  <a:pt x="538" y="316"/>
                </a:lnTo>
                <a:lnTo>
                  <a:pt x="542" y="308"/>
                </a:lnTo>
                <a:lnTo>
                  <a:pt x="543" y="301"/>
                </a:lnTo>
                <a:lnTo>
                  <a:pt x="545" y="297"/>
                </a:lnTo>
                <a:lnTo>
                  <a:pt x="547" y="294"/>
                </a:lnTo>
                <a:lnTo>
                  <a:pt x="551" y="289"/>
                </a:lnTo>
                <a:lnTo>
                  <a:pt x="554" y="286"/>
                </a:lnTo>
                <a:lnTo>
                  <a:pt x="557" y="283"/>
                </a:lnTo>
                <a:lnTo>
                  <a:pt x="562" y="279"/>
                </a:lnTo>
                <a:lnTo>
                  <a:pt x="563" y="278"/>
                </a:lnTo>
                <a:lnTo>
                  <a:pt x="566" y="273"/>
                </a:lnTo>
                <a:lnTo>
                  <a:pt x="569" y="268"/>
                </a:lnTo>
                <a:lnTo>
                  <a:pt x="574" y="262"/>
                </a:lnTo>
                <a:lnTo>
                  <a:pt x="579" y="254"/>
                </a:lnTo>
                <a:lnTo>
                  <a:pt x="581" y="253"/>
                </a:lnTo>
                <a:lnTo>
                  <a:pt x="582" y="250"/>
                </a:lnTo>
                <a:lnTo>
                  <a:pt x="585" y="235"/>
                </a:lnTo>
                <a:lnTo>
                  <a:pt x="585" y="231"/>
                </a:lnTo>
                <a:lnTo>
                  <a:pt x="586" y="220"/>
                </a:lnTo>
                <a:lnTo>
                  <a:pt x="586" y="212"/>
                </a:lnTo>
                <a:lnTo>
                  <a:pt x="583" y="206"/>
                </a:lnTo>
                <a:lnTo>
                  <a:pt x="582" y="195"/>
                </a:lnTo>
                <a:lnTo>
                  <a:pt x="579" y="190"/>
                </a:lnTo>
                <a:lnTo>
                  <a:pt x="577" y="185"/>
                </a:lnTo>
                <a:lnTo>
                  <a:pt x="574" y="185"/>
                </a:lnTo>
                <a:lnTo>
                  <a:pt x="561" y="184"/>
                </a:lnTo>
                <a:lnTo>
                  <a:pt x="559" y="185"/>
                </a:lnTo>
                <a:lnTo>
                  <a:pt x="558" y="184"/>
                </a:lnTo>
                <a:lnTo>
                  <a:pt x="557" y="182"/>
                </a:lnTo>
                <a:lnTo>
                  <a:pt x="554" y="182"/>
                </a:lnTo>
                <a:lnTo>
                  <a:pt x="553" y="182"/>
                </a:lnTo>
                <a:lnTo>
                  <a:pt x="551" y="181"/>
                </a:lnTo>
                <a:lnTo>
                  <a:pt x="549" y="177"/>
                </a:lnTo>
                <a:lnTo>
                  <a:pt x="547" y="176"/>
                </a:lnTo>
                <a:lnTo>
                  <a:pt x="545" y="174"/>
                </a:lnTo>
                <a:lnTo>
                  <a:pt x="541" y="171"/>
                </a:lnTo>
                <a:lnTo>
                  <a:pt x="533" y="162"/>
                </a:lnTo>
                <a:lnTo>
                  <a:pt x="529" y="159"/>
                </a:lnTo>
                <a:lnTo>
                  <a:pt x="525" y="155"/>
                </a:lnTo>
                <a:lnTo>
                  <a:pt x="519" y="151"/>
                </a:lnTo>
                <a:lnTo>
                  <a:pt x="517" y="149"/>
                </a:lnTo>
                <a:lnTo>
                  <a:pt x="513" y="146"/>
                </a:lnTo>
                <a:lnTo>
                  <a:pt x="510" y="144"/>
                </a:lnTo>
                <a:lnTo>
                  <a:pt x="495" y="144"/>
                </a:lnTo>
                <a:lnTo>
                  <a:pt x="493" y="146"/>
                </a:lnTo>
                <a:lnTo>
                  <a:pt x="490" y="146"/>
                </a:lnTo>
                <a:lnTo>
                  <a:pt x="482" y="144"/>
                </a:lnTo>
                <a:lnTo>
                  <a:pt x="481" y="144"/>
                </a:lnTo>
                <a:lnTo>
                  <a:pt x="474" y="143"/>
                </a:lnTo>
                <a:lnTo>
                  <a:pt x="460" y="137"/>
                </a:lnTo>
                <a:lnTo>
                  <a:pt x="457" y="138"/>
                </a:lnTo>
                <a:lnTo>
                  <a:pt x="457" y="137"/>
                </a:lnTo>
                <a:lnTo>
                  <a:pt x="456" y="135"/>
                </a:lnTo>
                <a:lnTo>
                  <a:pt x="453" y="137"/>
                </a:lnTo>
                <a:lnTo>
                  <a:pt x="450" y="138"/>
                </a:lnTo>
                <a:lnTo>
                  <a:pt x="449" y="140"/>
                </a:lnTo>
                <a:lnTo>
                  <a:pt x="444" y="141"/>
                </a:lnTo>
                <a:lnTo>
                  <a:pt x="442" y="141"/>
                </a:lnTo>
                <a:lnTo>
                  <a:pt x="441" y="140"/>
                </a:lnTo>
                <a:lnTo>
                  <a:pt x="442" y="138"/>
                </a:lnTo>
                <a:lnTo>
                  <a:pt x="444" y="135"/>
                </a:lnTo>
                <a:lnTo>
                  <a:pt x="444" y="133"/>
                </a:lnTo>
                <a:lnTo>
                  <a:pt x="444" y="132"/>
                </a:lnTo>
                <a:lnTo>
                  <a:pt x="442" y="132"/>
                </a:lnTo>
                <a:lnTo>
                  <a:pt x="441" y="132"/>
                </a:lnTo>
                <a:lnTo>
                  <a:pt x="440" y="132"/>
                </a:lnTo>
                <a:lnTo>
                  <a:pt x="438" y="132"/>
                </a:lnTo>
                <a:lnTo>
                  <a:pt x="438" y="130"/>
                </a:lnTo>
                <a:lnTo>
                  <a:pt x="440" y="130"/>
                </a:lnTo>
                <a:lnTo>
                  <a:pt x="440" y="127"/>
                </a:lnTo>
                <a:lnTo>
                  <a:pt x="438" y="122"/>
                </a:lnTo>
                <a:lnTo>
                  <a:pt x="436" y="119"/>
                </a:lnTo>
                <a:lnTo>
                  <a:pt x="433" y="119"/>
                </a:lnTo>
                <a:lnTo>
                  <a:pt x="432" y="121"/>
                </a:lnTo>
                <a:lnTo>
                  <a:pt x="430" y="122"/>
                </a:lnTo>
                <a:lnTo>
                  <a:pt x="429" y="124"/>
                </a:lnTo>
                <a:lnTo>
                  <a:pt x="429" y="121"/>
                </a:lnTo>
                <a:lnTo>
                  <a:pt x="428" y="119"/>
                </a:lnTo>
                <a:lnTo>
                  <a:pt x="426" y="116"/>
                </a:lnTo>
                <a:lnTo>
                  <a:pt x="422" y="115"/>
                </a:lnTo>
                <a:lnTo>
                  <a:pt x="420" y="113"/>
                </a:lnTo>
                <a:lnTo>
                  <a:pt x="417" y="113"/>
                </a:lnTo>
                <a:lnTo>
                  <a:pt x="416" y="111"/>
                </a:lnTo>
                <a:lnTo>
                  <a:pt x="412" y="111"/>
                </a:lnTo>
                <a:lnTo>
                  <a:pt x="410" y="110"/>
                </a:lnTo>
                <a:lnTo>
                  <a:pt x="401" y="105"/>
                </a:lnTo>
                <a:lnTo>
                  <a:pt x="398" y="104"/>
                </a:lnTo>
                <a:lnTo>
                  <a:pt x="390" y="104"/>
                </a:lnTo>
                <a:lnTo>
                  <a:pt x="388" y="105"/>
                </a:lnTo>
                <a:lnTo>
                  <a:pt x="386" y="110"/>
                </a:lnTo>
                <a:lnTo>
                  <a:pt x="385" y="111"/>
                </a:lnTo>
                <a:lnTo>
                  <a:pt x="384" y="115"/>
                </a:lnTo>
                <a:lnTo>
                  <a:pt x="382" y="118"/>
                </a:lnTo>
                <a:lnTo>
                  <a:pt x="381" y="119"/>
                </a:lnTo>
                <a:lnTo>
                  <a:pt x="378" y="119"/>
                </a:lnTo>
                <a:lnTo>
                  <a:pt x="377" y="121"/>
                </a:lnTo>
                <a:lnTo>
                  <a:pt x="376" y="121"/>
                </a:lnTo>
                <a:lnTo>
                  <a:pt x="374" y="122"/>
                </a:lnTo>
                <a:lnTo>
                  <a:pt x="372" y="129"/>
                </a:lnTo>
                <a:lnTo>
                  <a:pt x="372" y="132"/>
                </a:lnTo>
                <a:lnTo>
                  <a:pt x="371" y="132"/>
                </a:lnTo>
                <a:lnTo>
                  <a:pt x="371" y="133"/>
                </a:lnTo>
                <a:lnTo>
                  <a:pt x="369" y="137"/>
                </a:lnTo>
                <a:lnTo>
                  <a:pt x="368" y="137"/>
                </a:lnTo>
                <a:lnTo>
                  <a:pt x="368" y="135"/>
                </a:lnTo>
                <a:lnTo>
                  <a:pt x="368" y="130"/>
                </a:lnTo>
                <a:lnTo>
                  <a:pt x="369" y="126"/>
                </a:lnTo>
                <a:lnTo>
                  <a:pt x="368" y="126"/>
                </a:lnTo>
                <a:lnTo>
                  <a:pt x="365" y="126"/>
                </a:lnTo>
                <a:lnTo>
                  <a:pt x="364" y="127"/>
                </a:lnTo>
                <a:lnTo>
                  <a:pt x="361" y="127"/>
                </a:lnTo>
                <a:lnTo>
                  <a:pt x="355" y="127"/>
                </a:lnTo>
                <a:lnTo>
                  <a:pt x="353" y="127"/>
                </a:lnTo>
                <a:lnTo>
                  <a:pt x="352" y="127"/>
                </a:lnTo>
                <a:lnTo>
                  <a:pt x="351" y="127"/>
                </a:lnTo>
                <a:lnTo>
                  <a:pt x="348" y="127"/>
                </a:lnTo>
                <a:lnTo>
                  <a:pt x="344" y="129"/>
                </a:lnTo>
                <a:lnTo>
                  <a:pt x="343" y="129"/>
                </a:lnTo>
                <a:lnTo>
                  <a:pt x="339" y="127"/>
                </a:lnTo>
                <a:lnTo>
                  <a:pt x="337" y="127"/>
                </a:lnTo>
                <a:lnTo>
                  <a:pt x="337" y="130"/>
                </a:lnTo>
                <a:lnTo>
                  <a:pt x="336" y="130"/>
                </a:lnTo>
                <a:lnTo>
                  <a:pt x="336" y="127"/>
                </a:lnTo>
                <a:lnTo>
                  <a:pt x="337" y="124"/>
                </a:lnTo>
                <a:lnTo>
                  <a:pt x="340" y="124"/>
                </a:lnTo>
                <a:lnTo>
                  <a:pt x="341" y="126"/>
                </a:lnTo>
                <a:lnTo>
                  <a:pt x="345" y="126"/>
                </a:lnTo>
                <a:lnTo>
                  <a:pt x="348" y="126"/>
                </a:lnTo>
                <a:lnTo>
                  <a:pt x="348" y="124"/>
                </a:lnTo>
                <a:lnTo>
                  <a:pt x="349" y="124"/>
                </a:lnTo>
                <a:lnTo>
                  <a:pt x="349" y="116"/>
                </a:lnTo>
                <a:lnTo>
                  <a:pt x="348" y="115"/>
                </a:lnTo>
                <a:lnTo>
                  <a:pt x="347" y="115"/>
                </a:lnTo>
                <a:lnTo>
                  <a:pt x="345" y="113"/>
                </a:lnTo>
                <a:lnTo>
                  <a:pt x="344" y="113"/>
                </a:lnTo>
                <a:lnTo>
                  <a:pt x="344" y="111"/>
                </a:lnTo>
                <a:lnTo>
                  <a:pt x="345" y="110"/>
                </a:lnTo>
                <a:lnTo>
                  <a:pt x="347" y="110"/>
                </a:lnTo>
                <a:lnTo>
                  <a:pt x="348" y="108"/>
                </a:lnTo>
                <a:lnTo>
                  <a:pt x="345" y="108"/>
                </a:lnTo>
                <a:lnTo>
                  <a:pt x="344" y="108"/>
                </a:lnTo>
                <a:lnTo>
                  <a:pt x="343" y="111"/>
                </a:lnTo>
                <a:lnTo>
                  <a:pt x="341" y="113"/>
                </a:lnTo>
                <a:lnTo>
                  <a:pt x="339" y="113"/>
                </a:lnTo>
                <a:lnTo>
                  <a:pt x="339" y="111"/>
                </a:lnTo>
                <a:lnTo>
                  <a:pt x="339" y="107"/>
                </a:lnTo>
                <a:lnTo>
                  <a:pt x="337" y="104"/>
                </a:lnTo>
                <a:lnTo>
                  <a:pt x="337" y="100"/>
                </a:lnTo>
                <a:lnTo>
                  <a:pt x="340" y="97"/>
                </a:lnTo>
                <a:lnTo>
                  <a:pt x="340" y="96"/>
                </a:lnTo>
                <a:lnTo>
                  <a:pt x="343" y="93"/>
                </a:lnTo>
                <a:lnTo>
                  <a:pt x="347" y="88"/>
                </a:lnTo>
                <a:lnTo>
                  <a:pt x="352" y="83"/>
                </a:lnTo>
                <a:lnTo>
                  <a:pt x="355" y="78"/>
                </a:lnTo>
                <a:lnTo>
                  <a:pt x="356" y="78"/>
                </a:lnTo>
                <a:lnTo>
                  <a:pt x="357" y="75"/>
                </a:lnTo>
                <a:lnTo>
                  <a:pt x="357" y="72"/>
                </a:lnTo>
                <a:lnTo>
                  <a:pt x="357" y="71"/>
                </a:lnTo>
                <a:lnTo>
                  <a:pt x="360" y="64"/>
                </a:lnTo>
                <a:lnTo>
                  <a:pt x="359" y="63"/>
                </a:lnTo>
                <a:lnTo>
                  <a:pt x="356" y="63"/>
                </a:lnTo>
                <a:lnTo>
                  <a:pt x="352" y="61"/>
                </a:lnTo>
                <a:lnTo>
                  <a:pt x="351" y="56"/>
                </a:lnTo>
                <a:lnTo>
                  <a:pt x="349" y="50"/>
                </a:lnTo>
                <a:lnTo>
                  <a:pt x="348" y="49"/>
                </a:lnTo>
                <a:lnTo>
                  <a:pt x="348" y="45"/>
                </a:lnTo>
                <a:lnTo>
                  <a:pt x="347" y="42"/>
                </a:lnTo>
                <a:lnTo>
                  <a:pt x="345" y="38"/>
                </a:lnTo>
                <a:lnTo>
                  <a:pt x="344" y="34"/>
                </a:lnTo>
                <a:lnTo>
                  <a:pt x="344" y="30"/>
                </a:lnTo>
                <a:lnTo>
                  <a:pt x="343" y="27"/>
                </a:lnTo>
                <a:lnTo>
                  <a:pt x="341" y="22"/>
                </a:lnTo>
                <a:lnTo>
                  <a:pt x="339" y="19"/>
                </a:lnTo>
                <a:lnTo>
                  <a:pt x="337" y="17"/>
                </a:lnTo>
                <a:lnTo>
                  <a:pt x="336" y="20"/>
                </a:lnTo>
                <a:lnTo>
                  <a:pt x="335" y="20"/>
                </a:lnTo>
                <a:lnTo>
                  <a:pt x="331" y="25"/>
                </a:lnTo>
                <a:lnTo>
                  <a:pt x="331" y="27"/>
                </a:lnTo>
                <a:lnTo>
                  <a:pt x="327" y="33"/>
                </a:lnTo>
                <a:lnTo>
                  <a:pt x="324" y="38"/>
                </a:lnTo>
                <a:lnTo>
                  <a:pt x="323" y="39"/>
                </a:lnTo>
                <a:lnTo>
                  <a:pt x="321" y="47"/>
                </a:lnTo>
                <a:lnTo>
                  <a:pt x="313" y="55"/>
                </a:lnTo>
                <a:lnTo>
                  <a:pt x="311" y="56"/>
                </a:lnTo>
                <a:lnTo>
                  <a:pt x="308" y="56"/>
                </a:lnTo>
                <a:lnTo>
                  <a:pt x="307" y="55"/>
                </a:lnTo>
                <a:lnTo>
                  <a:pt x="305" y="55"/>
                </a:lnTo>
                <a:lnTo>
                  <a:pt x="304" y="55"/>
                </a:lnTo>
                <a:lnTo>
                  <a:pt x="300" y="58"/>
                </a:lnTo>
                <a:lnTo>
                  <a:pt x="297" y="58"/>
                </a:lnTo>
                <a:lnTo>
                  <a:pt x="295" y="55"/>
                </a:lnTo>
                <a:lnTo>
                  <a:pt x="292" y="52"/>
                </a:lnTo>
                <a:lnTo>
                  <a:pt x="289" y="52"/>
                </a:lnTo>
                <a:lnTo>
                  <a:pt x="289" y="50"/>
                </a:lnTo>
                <a:lnTo>
                  <a:pt x="283" y="49"/>
                </a:lnTo>
                <a:lnTo>
                  <a:pt x="277" y="50"/>
                </a:lnTo>
                <a:lnTo>
                  <a:pt x="276" y="50"/>
                </a:lnTo>
                <a:lnTo>
                  <a:pt x="273" y="50"/>
                </a:lnTo>
                <a:lnTo>
                  <a:pt x="272" y="50"/>
                </a:lnTo>
                <a:lnTo>
                  <a:pt x="269" y="50"/>
                </a:lnTo>
                <a:lnTo>
                  <a:pt x="269" y="58"/>
                </a:lnTo>
                <a:lnTo>
                  <a:pt x="269" y="60"/>
                </a:lnTo>
                <a:lnTo>
                  <a:pt x="264" y="60"/>
                </a:lnTo>
                <a:lnTo>
                  <a:pt x="261" y="58"/>
                </a:lnTo>
                <a:lnTo>
                  <a:pt x="258" y="58"/>
                </a:lnTo>
                <a:lnTo>
                  <a:pt x="255" y="60"/>
                </a:lnTo>
                <a:lnTo>
                  <a:pt x="252" y="58"/>
                </a:lnTo>
                <a:lnTo>
                  <a:pt x="251" y="58"/>
                </a:lnTo>
                <a:lnTo>
                  <a:pt x="250" y="58"/>
                </a:lnTo>
                <a:lnTo>
                  <a:pt x="247" y="60"/>
                </a:lnTo>
                <a:lnTo>
                  <a:pt x="244" y="63"/>
                </a:lnTo>
                <a:lnTo>
                  <a:pt x="240" y="63"/>
                </a:lnTo>
                <a:lnTo>
                  <a:pt x="239" y="64"/>
                </a:lnTo>
                <a:lnTo>
                  <a:pt x="238" y="66"/>
                </a:lnTo>
                <a:lnTo>
                  <a:pt x="234" y="66"/>
                </a:lnTo>
                <a:lnTo>
                  <a:pt x="232" y="66"/>
                </a:lnTo>
                <a:lnTo>
                  <a:pt x="230" y="69"/>
                </a:lnTo>
                <a:lnTo>
                  <a:pt x="228" y="71"/>
                </a:lnTo>
                <a:lnTo>
                  <a:pt x="224" y="71"/>
                </a:lnTo>
                <a:lnTo>
                  <a:pt x="222" y="69"/>
                </a:lnTo>
                <a:lnTo>
                  <a:pt x="218" y="66"/>
                </a:lnTo>
                <a:lnTo>
                  <a:pt x="216" y="64"/>
                </a:lnTo>
                <a:lnTo>
                  <a:pt x="215" y="63"/>
                </a:lnTo>
                <a:lnTo>
                  <a:pt x="214" y="61"/>
                </a:lnTo>
                <a:lnTo>
                  <a:pt x="212" y="60"/>
                </a:lnTo>
                <a:lnTo>
                  <a:pt x="214" y="55"/>
                </a:lnTo>
                <a:lnTo>
                  <a:pt x="212" y="53"/>
                </a:lnTo>
                <a:lnTo>
                  <a:pt x="210" y="50"/>
                </a:lnTo>
                <a:lnTo>
                  <a:pt x="210" y="49"/>
                </a:lnTo>
                <a:lnTo>
                  <a:pt x="210" y="38"/>
                </a:lnTo>
                <a:lnTo>
                  <a:pt x="211" y="34"/>
                </a:lnTo>
                <a:lnTo>
                  <a:pt x="212" y="31"/>
                </a:lnTo>
                <a:lnTo>
                  <a:pt x="212" y="28"/>
                </a:lnTo>
                <a:lnTo>
                  <a:pt x="215" y="23"/>
                </a:lnTo>
                <a:lnTo>
                  <a:pt x="215" y="20"/>
                </a:lnTo>
                <a:lnTo>
                  <a:pt x="214" y="19"/>
                </a:lnTo>
                <a:lnTo>
                  <a:pt x="214" y="14"/>
                </a:lnTo>
                <a:lnTo>
                  <a:pt x="210" y="12"/>
                </a:lnTo>
                <a:lnTo>
                  <a:pt x="207" y="12"/>
                </a:lnTo>
                <a:lnTo>
                  <a:pt x="208" y="8"/>
                </a:lnTo>
                <a:lnTo>
                  <a:pt x="208" y="5"/>
                </a:lnTo>
                <a:lnTo>
                  <a:pt x="208" y="3"/>
                </a:lnTo>
                <a:lnTo>
                  <a:pt x="207" y="0"/>
                </a:lnTo>
                <a:lnTo>
                  <a:pt x="204" y="0"/>
                </a:lnTo>
                <a:lnTo>
                  <a:pt x="202" y="1"/>
                </a:lnTo>
                <a:lnTo>
                  <a:pt x="198" y="1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68" name="Freeform 467"/>
          <p:cNvSpPr>
            <a:spLocks/>
          </p:cNvSpPr>
          <p:nvPr/>
        </p:nvSpPr>
        <p:spPr bwMode="auto">
          <a:xfrm>
            <a:off x="3552166" y="4161713"/>
            <a:ext cx="378071" cy="639987"/>
          </a:xfrm>
          <a:custGeom>
            <a:avLst/>
            <a:gdLst/>
            <a:ahLst/>
            <a:cxnLst>
              <a:cxn ang="0">
                <a:pos x="194" y="10"/>
              </a:cxn>
              <a:cxn ang="0">
                <a:pos x="184" y="15"/>
              </a:cxn>
              <a:cxn ang="0">
                <a:pos x="168" y="19"/>
              </a:cxn>
              <a:cxn ang="0">
                <a:pos x="155" y="22"/>
              </a:cxn>
              <a:cxn ang="0">
                <a:pos x="137" y="16"/>
              </a:cxn>
              <a:cxn ang="0">
                <a:pos x="139" y="22"/>
              </a:cxn>
              <a:cxn ang="0">
                <a:pos x="142" y="35"/>
              </a:cxn>
              <a:cxn ang="0">
                <a:pos x="145" y="48"/>
              </a:cxn>
              <a:cxn ang="0">
                <a:pos x="156" y="49"/>
              </a:cxn>
              <a:cxn ang="0">
                <a:pos x="151" y="55"/>
              </a:cxn>
              <a:cxn ang="0">
                <a:pos x="146" y="60"/>
              </a:cxn>
              <a:cxn ang="0">
                <a:pos x="138" y="68"/>
              </a:cxn>
              <a:cxn ang="0">
                <a:pos x="129" y="73"/>
              </a:cxn>
              <a:cxn ang="0">
                <a:pos x="122" y="77"/>
              </a:cxn>
              <a:cxn ang="0">
                <a:pos x="107" y="76"/>
              </a:cxn>
              <a:cxn ang="0">
                <a:pos x="103" y="68"/>
              </a:cxn>
              <a:cxn ang="0">
                <a:pos x="97" y="59"/>
              </a:cxn>
              <a:cxn ang="0">
                <a:pos x="86" y="60"/>
              </a:cxn>
              <a:cxn ang="0">
                <a:pos x="82" y="60"/>
              </a:cxn>
              <a:cxn ang="0">
                <a:pos x="59" y="73"/>
              </a:cxn>
              <a:cxn ang="0">
                <a:pos x="66" y="73"/>
              </a:cxn>
              <a:cxn ang="0">
                <a:pos x="69" y="82"/>
              </a:cxn>
              <a:cxn ang="0">
                <a:pos x="62" y="81"/>
              </a:cxn>
              <a:cxn ang="0">
                <a:pos x="57" y="96"/>
              </a:cxn>
              <a:cxn ang="0">
                <a:pos x="65" y="115"/>
              </a:cxn>
              <a:cxn ang="0">
                <a:pos x="61" y="147"/>
              </a:cxn>
              <a:cxn ang="0">
                <a:pos x="58" y="156"/>
              </a:cxn>
              <a:cxn ang="0">
                <a:pos x="57" y="167"/>
              </a:cxn>
              <a:cxn ang="0">
                <a:pos x="32" y="173"/>
              </a:cxn>
              <a:cxn ang="0">
                <a:pos x="16" y="187"/>
              </a:cxn>
              <a:cxn ang="0">
                <a:pos x="10" y="208"/>
              </a:cxn>
              <a:cxn ang="0">
                <a:pos x="2" y="217"/>
              </a:cxn>
              <a:cxn ang="0">
                <a:pos x="2" y="234"/>
              </a:cxn>
              <a:cxn ang="0">
                <a:pos x="6" y="245"/>
              </a:cxn>
              <a:cxn ang="0">
                <a:pos x="12" y="258"/>
              </a:cxn>
              <a:cxn ang="0">
                <a:pos x="22" y="263"/>
              </a:cxn>
              <a:cxn ang="0">
                <a:pos x="32" y="269"/>
              </a:cxn>
              <a:cxn ang="0">
                <a:pos x="47" y="258"/>
              </a:cxn>
              <a:cxn ang="0">
                <a:pos x="49" y="277"/>
              </a:cxn>
              <a:cxn ang="0">
                <a:pos x="53" y="288"/>
              </a:cxn>
              <a:cxn ang="0">
                <a:pos x="62" y="285"/>
              </a:cxn>
              <a:cxn ang="0">
                <a:pos x="83" y="286"/>
              </a:cxn>
              <a:cxn ang="0">
                <a:pos x="99" y="274"/>
              </a:cxn>
              <a:cxn ang="0">
                <a:pos x="113" y="264"/>
              </a:cxn>
              <a:cxn ang="0">
                <a:pos x="127" y="267"/>
              </a:cxn>
              <a:cxn ang="0">
                <a:pos x="126" y="288"/>
              </a:cxn>
              <a:cxn ang="0">
                <a:pos x="130" y="304"/>
              </a:cxn>
              <a:cxn ang="0">
                <a:pos x="147" y="313"/>
              </a:cxn>
              <a:cxn ang="0">
                <a:pos x="159" y="318"/>
              </a:cxn>
            </a:cxnLst>
            <a:rect l="0" t="0" r="r" b="b"/>
            <a:pathLst>
              <a:path w="198" h="321">
                <a:moveTo>
                  <a:pt x="198" y="0"/>
                </a:moveTo>
                <a:lnTo>
                  <a:pt x="198" y="4"/>
                </a:lnTo>
                <a:lnTo>
                  <a:pt x="195" y="8"/>
                </a:lnTo>
                <a:lnTo>
                  <a:pt x="194" y="10"/>
                </a:lnTo>
                <a:lnTo>
                  <a:pt x="192" y="11"/>
                </a:lnTo>
                <a:lnTo>
                  <a:pt x="188" y="11"/>
                </a:lnTo>
                <a:lnTo>
                  <a:pt x="186" y="13"/>
                </a:lnTo>
                <a:lnTo>
                  <a:pt x="184" y="15"/>
                </a:lnTo>
                <a:lnTo>
                  <a:pt x="182" y="16"/>
                </a:lnTo>
                <a:lnTo>
                  <a:pt x="180" y="18"/>
                </a:lnTo>
                <a:lnTo>
                  <a:pt x="172" y="18"/>
                </a:lnTo>
                <a:lnTo>
                  <a:pt x="168" y="19"/>
                </a:lnTo>
                <a:lnTo>
                  <a:pt x="163" y="21"/>
                </a:lnTo>
                <a:lnTo>
                  <a:pt x="163" y="22"/>
                </a:lnTo>
                <a:lnTo>
                  <a:pt x="162" y="22"/>
                </a:lnTo>
                <a:lnTo>
                  <a:pt x="155" y="22"/>
                </a:lnTo>
                <a:lnTo>
                  <a:pt x="151" y="21"/>
                </a:lnTo>
                <a:lnTo>
                  <a:pt x="145" y="18"/>
                </a:lnTo>
                <a:lnTo>
                  <a:pt x="139" y="16"/>
                </a:lnTo>
                <a:lnTo>
                  <a:pt x="137" y="16"/>
                </a:lnTo>
                <a:lnTo>
                  <a:pt x="135" y="16"/>
                </a:lnTo>
                <a:lnTo>
                  <a:pt x="135" y="19"/>
                </a:lnTo>
                <a:lnTo>
                  <a:pt x="137" y="22"/>
                </a:lnTo>
                <a:lnTo>
                  <a:pt x="139" y="22"/>
                </a:lnTo>
                <a:lnTo>
                  <a:pt x="143" y="26"/>
                </a:lnTo>
                <a:lnTo>
                  <a:pt x="143" y="27"/>
                </a:lnTo>
                <a:lnTo>
                  <a:pt x="143" y="30"/>
                </a:lnTo>
                <a:lnTo>
                  <a:pt x="142" y="35"/>
                </a:lnTo>
                <a:lnTo>
                  <a:pt x="142" y="37"/>
                </a:lnTo>
                <a:lnTo>
                  <a:pt x="143" y="38"/>
                </a:lnTo>
                <a:lnTo>
                  <a:pt x="145" y="44"/>
                </a:lnTo>
                <a:lnTo>
                  <a:pt x="145" y="48"/>
                </a:lnTo>
                <a:lnTo>
                  <a:pt x="145" y="49"/>
                </a:lnTo>
                <a:lnTo>
                  <a:pt x="148" y="49"/>
                </a:lnTo>
                <a:lnTo>
                  <a:pt x="150" y="51"/>
                </a:lnTo>
                <a:lnTo>
                  <a:pt x="156" y="49"/>
                </a:lnTo>
                <a:lnTo>
                  <a:pt x="156" y="52"/>
                </a:lnTo>
                <a:lnTo>
                  <a:pt x="155" y="54"/>
                </a:lnTo>
                <a:lnTo>
                  <a:pt x="152" y="54"/>
                </a:lnTo>
                <a:lnTo>
                  <a:pt x="151" y="55"/>
                </a:lnTo>
                <a:lnTo>
                  <a:pt x="151" y="57"/>
                </a:lnTo>
                <a:lnTo>
                  <a:pt x="148" y="57"/>
                </a:lnTo>
                <a:lnTo>
                  <a:pt x="147" y="57"/>
                </a:lnTo>
                <a:lnTo>
                  <a:pt x="146" y="60"/>
                </a:lnTo>
                <a:lnTo>
                  <a:pt x="145" y="65"/>
                </a:lnTo>
                <a:lnTo>
                  <a:pt x="143" y="66"/>
                </a:lnTo>
                <a:lnTo>
                  <a:pt x="141" y="66"/>
                </a:lnTo>
                <a:lnTo>
                  <a:pt x="138" y="68"/>
                </a:lnTo>
                <a:lnTo>
                  <a:pt x="137" y="70"/>
                </a:lnTo>
                <a:lnTo>
                  <a:pt x="135" y="70"/>
                </a:lnTo>
                <a:lnTo>
                  <a:pt x="131" y="71"/>
                </a:lnTo>
                <a:lnTo>
                  <a:pt x="129" y="73"/>
                </a:lnTo>
                <a:lnTo>
                  <a:pt x="126" y="74"/>
                </a:lnTo>
                <a:lnTo>
                  <a:pt x="125" y="74"/>
                </a:lnTo>
                <a:lnTo>
                  <a:pt x="123" y="77"/>
                </a:lnTo>
                <a:lnTo>
                  <a:pt x="122" y="77"/>
                </a:lnTo>
                <a:lnTo>
                  <a:pt x="117" y="79"/>
                </a:lnTo>
                <a:lnTo>
                  <a:pt x="113" y="79"/>
                </a:lnTo>
                <a:lnTo>
                  <a:pt x="111" y="79"/>
                </a:lnTo>
                <a:lnTo>
                  <a:pt x="107" y="76"/>
                </a:lnTo>
                <a:lnTo>
                  <a:pt x="107" y="74"/>
                </a:lnTo>
                <a:lnTo>
                  <a:pt x="106" y="73"/>
                </a:lnTo>
                <a:lnTo>
                  <a:pt x="105" y="71"/>
                </a:lnTo>
                <a:lnTo>
                  <a:pt x="103" y="68"/>
                </a:lnTo>
                <a:lnTo>
                  <a:pt x="103" y="70"/>
                </a:lnTo>
                <a:lnTo>
                  <a:pt x="101" y="71"/>
                </a:lnTo>
                <a:lnTo>
                  <a:pt x="99" y="62"/>
                </a:lnTo>
                <a:lnTo>
                  <a:pt x="97" y="59"/>
                </a:lnTo>
                <a:lnTo>
                  <a:pt x="95" y="57"/>
                </a:lnTo>
                <a:lnTo>
                  <a:pt x="93" y="57"/>
                </a:lnTo>
                <a:lnTo>
                  <a:pt x="87" y="60"/>
                </a:lnTo>
                <a:lnTo>
                  <a:pt x="86" y="60"/>
                </a:lnTo>
                <a:lnTo>
                  <a:pt x="85" y="57"/>
                </a:lnTo>
                <a:lnTo>
                  <a:pt x="83" y="57"/>
                </a:lnTo>
                <a:lnTo>
                  <a:pt x="83" y="59"/>
                </a:lnTo>
                <a:lnTo>
                  <a:pt x="82" y="60"/>
                </a:lnTo>
                <a:lnTo>
                  <a:pt x="81" y="62"/>
                </a:lnTo>
                <a:lnTo>
                  <a:pt x="59" y="62"/>
                </a:lnTo>
                <a:lnTo>
                  <a:pt x="59" y="71"/>
                </a:lnTo>
                <a:lnTo>
                  <a:pt x="59" y="73"/>
                </a:lnTo>
                <a:lnTo>
                  <a:pt x="61" y="73"/>
                </a:lnTo>
                <a:lnTo>
                  <a:pt x="61" y="74"/>
                </a:lnTo>
                <a:lnTo>
                  <a:pt x="63" y="74"/>
                </a:lnTo>
                <a:lnTo>
                  <a:pt x="66" y="73"/>
                </a:lnTo>
                <a:lnTo>
                  <a:pt x="67" y="76"/>
                </a:lnTo>
                <a:lnTo>
                  <a:pt x="69" y="77"/>
                </a:lnTo>
                <a:lnTo>
                  <a:pt x="69" y="81"/>
                </a:lnTo>
                <a:lnTo>
                  <a:pt x="69" y="82"/>
                </a:lnTo>
                <a:lnTo>
                  <a:pt x="67" y="82"/>
                </a:lnTo>
                <a:lnTo>
                  <a:pt x="66" y="81"/>
                </a:lnTo>
                <a:lnTo>
                  <a:pt x="63" y="81"/>
                </a:lnTo>
                <a:lnTo>
                  <a:pt x="62" y="81"/>
                </a:lnTo>
                <a:lnTo>
                  <a:pt x="57" y="82"/>
                </a:lnTo>
                <a:lnTo>
                  <a:pt x="55" y="84"/>
                </a:lnTo>
                <a:lnTo>
                  <a:pt x="55" y="95"/>
                </a:lnTo>
                <a:lnTo>
                  <a:pt x="57" y="96"/>
                </a:lnTo>
                <a:lnTo>
                  <a:pt x="61" y="99"/>
                </a:lnTo>
                <a:lnTo>
                  <a:pt x="62" y="103"/>
                </a:lnTo>
                <a:lnTo>
                  <a:pt x="63" y="106"/>
                </a:lnTo>
                <a:lnTo>
                  <a:pt x="65" y="115"/>
                </a:lnTo>
                <a:lnTo>
                  <a:pt x="65" y="117"/>
                </a:lnTo>
                <a:lnTo>
                  <a:pt x="65" y="120"/>
                </a:lnTo>
                <a:lnTo>
                  <a:pt x="62" y="140"/>
                </a:lnTo>
                <a:lnTo>
                  <a:pt x="61" y="147"/>
                </a:lnTo>
                <a:lnTo>
                  <a:pt x="59" y="150"/>
                </a:lnTo>
                <a:lnTo>
                  <a:pt x="59" y="153"/>
                </a:lnTo>
                <a:lnTo>
                  <a:pt x="59" y="154"/>
                </a:lnTo>
                <a:lnTo>
                  <a:pt x="58" y="156"/>
                </a:lnTo>
                <a:lnTo>
                  <a:pt x="58" y="162"/>
                </a:lnTo>
                <a:lnTo>
                  <a:pt x="57" y="164"/>
                </a:lnTo>
                <a:lnTo>
                  <a:pt x="57" y="165"/>
                </a:lnTo>
                <a:lnTo>
                  <a:pt x="57" y="167"/>
                </a:lnTo>
                <a:lnTo>
                  <a:pt x="55" y="169"/>
                </a:lnTo>
                <a:lnTo>
                  <a:pt x="49" y="167"/>
                </a:lnTo>
                <a:lnTo>
                  <a:pt x="46" y="169"/>
                </a:lnTo>
                <a:lnTo>
                  <a:pt x="32" y="173"/>
                </a:lnTo>
                <a:lnTo>
                  <a:pt x="26" y="176"/>
                </a:lnTo>
                <a:lnTo>
                  <a:pt x="22" y="180"/>
                </a:lnTo>
                <a:lnTo>
                  <a:pt x="20" y="183"/>
                </a:lnTo>
                <a:lnTo>
                  <a:pt x="16" y="187"/>
                </a:lnTo>
                <a:lnTo>
                  <a:pt x="13" y="192"/>
                </a:lnTo>
                <a:lnTo>
                  <a:pt x="10" y="197"/>
                </a:lnTo>
                <a:lnTo>
                  <a:pt x="10" y="198"/>
                </a:lnTo>
                <a:lnTo>
                  <a:pt x="10" y="208"/>
                </a:lnTo>
                <a:lnTo>
                  <a:pt x="8" y="209"/>
                </a:lnTo>
                <a:lnTo>
                  <a:pt x="5" y="209"/>
                </a:lnTo>
                <a:lnTo>
                  <a:pt x="4" y="211"/>
                </a:lnTo>
                <a:lnTo>
                  <a:pt x="2" y="217"/>
                </a:lnTo>
                <a:lnTo>
                  <a:pt x="0" y="223"/>
                </a:lnTo>
                <a:lnTo>
                  <a:pt x="0" y="225"/>
                </a:lnTo>
                <a:lnTo>
                  <a:pt x="0" y="227"/>
                </a:lnTo>
                <a:lnTo>
                  <a:pt x="2" y="234"/>
                </a:lnTo>
                <a:lnTo>
                  <a:pt x="2" y="238"/>
                </a:lnTo>
                <a:lnTo>
                  <a:pt x="4" y="239"/>
                </a:lnTo>
                <a:lnTo>
                  <a:pt x="6" y="242"/>
                </a:lnTo>
                <a:lnTo>
                  <a:pt x="6" y="245"/>
                </a:lnTo>
                <a:lnTo>
                  <a:pt x="10" y="250"/>
                </a:lnTo>
                <a:lnTo>
                  <a:pt x="13" y="252"/>
                </a:lnTo>
                <a:lnTo>
                  <a:pt x="13" y="253"/>
                </a:lnTo>
                <a:lnTo>
                  <a:pt x="12" y="258"/>
                </a:lnTo>
                <a:lnTo>
                  <a:pt x="16" y="260"/>
                </a:lnTo>
                <a:lnTo>
                  <a:pt x="21" y="260"/>
                </a:lnTo>
                <a:lnTo>
                  <a:pt x="22" y="261"/>
                </a:lnTo>
                <a:lnTo>
                  <a:pt x="22" y="263"/>
                </a:lnTo>
                <a:lnTo>
                  <a:pt x="24" y="266"/>
                </a:lnTo>
                <a:lnTo>
                  <a:pt x="25" y="267"/>
                </a:lnTo>
                <a:lnTo>
                  <a:pt x="28" y="269"/>
                </a:lnTo>
                <a:lnTo>
                  <a:pt x="32" y="269"/>
                </a:lnTo>
                <a:lnTo>
                  <a:pt x="34" y="269"/>
                </a:lnTo>
                <a:lnTo>
                  <a:pt x="39" y="266"/>
                </a:lnTo>
                <a:lnTo>
                  <a:pt x="45" y="261"/>
                </a:lnTo>
                <a:lnTo>
                  <a:pt x="47" y="258"/>
                </a:lnTo>
                <a:lnTo>
                  <a:pt x="49" y="256"/>
                </a:lnTo>
                <a:lnTo>
                  <a:pt x="49" y="258"/>
                </a:lnTo>
                <a:lnTo>
                  <a:pt x="49" y="275"/>
                </a:lnTo>
                <a:lnTo>
                  <a:pt x="49" y="277"/>
                </a:lnTo>
                <a:lnTo>
                  <a:pt x="49" y="286"/>
                </a:lnTo>
                <a:lnTo>
                  <a:pt x="50" y="286"/>
                </a:lnTo>
                <a:lnTo>
                  <a:pt x="51" y="288"/>
                </a:lnTo>
                <a:lnTo>
                  <a:pt x="53" y="288"/>
                </a:lnTo>
                <a:lnTo>
                  <a:pt x="54" y="288"/>
                </a:lnTo>
                <a:lnTo>
                  <a:pt x="57" y="286"/>
                </a:lnTo>
                <a:lnTo>
                  <a:pt x="61" y="286"/>
                </a:lnTo>
                <a:lnTo>
                  <a:pt x="62" y="285"/>
                </a:lnTo>
                <a:lnTo>
                  <a:pt x="65" y="285"/>
                </a:lnTo>
                <a:lnTo>
                  <a:pt x="69" y="286"/>
                </a:lnTo>
                <a:lnTo>
                  <a:pt x="81" y="288"/>
                </a:lnTo>
                <a:lnTo>
                  <a:pt x="83" y="286"/>
                </a:lnTo>
                <a:lnTo>
                  <a:pt x="85" y="285"/>
                </a:lnTo>
                <a:lnTo>
                  <a:pt x="91" y="282"/>
                </a:lnTo>
                <a:lnTo>
                  <a:pt x="93" y="282"/>
                </a:lnTo>
                <a:lnTo>
                  <a:pt x="99" y="274"/>
                </a:lnTo>
                <a:lnTo>
                  <a:pt x="105" y="267"/>
                </a:lnTo>
                <a:lnTo>
                  <a:pt x="106" y="266"/>
                </a:lnTo>
                <a:lnTo>
                  <a:pt x="110" y="264"/>
                </a:lnTo>
                <a:lnTo>
                  <a:pt x="113" y="264"/>
                </a:lnTo>
                <a:lnTo>
                  <a:pt x="119" y="263"/>
                </a:lnTo>
                <a:lnTo>
                  <a:pt x="125" y="263"/>
                </a:lnTo>
                <a:lnTo>
                  <a:pt x="126" y="264"/>
                </a:lnTo>
                <a:lnTo>
                  <a:pt x="127" y="267"/>
                </a:lnTo>
                <a:lnTo>
                  <a:pt x="127" y="272"/>
                </a:lnTo>
                <a:lnTo>
                  <a:pt x="127" y="283"/>
                </a:lnTo>
                <a:lnTo>
                  <a:pt x="127" y="286"/>
                </a:lnTo>
                <a:lnTo>
                  <a:pt x="126" y="288"/>
                </a:lnTo>
                <a:lnTo>
                  <a:pt x="126" y="289"/>
                </a:lnTo>
                <a:lnTo>
                  <a:pt x="126" y="291"/>
                </a:lnTo>
                <a:lnTo>
                  <a:pt x="127" y="299"/>
                </a:lnTo>
                <a:lnTo>
                  <a:pt x="130" y="304"/>
                </a:lnTo>
                <a:lnTo>
                  <a:pt x="131" y="305"/>
                </a:lnTo>
                <a:lnTo>
                  <a:pt x="139" y="311"/>
                </a:lnTo>
                <a:lnTo>
                  <a:pt x="142" y="313"/>
                </a:lnTo>
                <a:lnTo>
                  <a:pt x="147" y="313"/>
                </a:lnTo>
                <a:lnTo>
                  <a:pt x="152" y="313"/>
                </a:lnTo>
                <a:lnTo>
                  <a:pt x="156" y="315"/>
                </a:lnTo>
                <a:lnTo>
                  <a:pt x="158" y="316"/>
                </a:lnTo>
                <a:lnTo>
                  <a:pt x="159" y="318"/>
                </a:lnTo>
                <a:lnTo>
                  <a:pt x="160" y="32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69" name="Freeform 468"/>
          <p:cNvSpPr>
            <a:spLocks/>
          </p:cNvSpPr>
          <p:nvPr/>
        </p:nvSpPr>
        <p:spPr bwMode="auto">
          <a:xfrm>
            <a:off x="3858131" y="4801700"/>
            <a:ext cx="422892" cy="732335"/>
          </a:xfrm>
          <a:custGeom>
            <a:avLst/>
            <a:gdLst/>
            <a:ahLst/>
            <a:cxnLst>
              <a:cxn ang="0">
                <a:pos x="18" y="9"/>
              </a:cxn>
              <a:cxn ang="0">
                <a:pos x="26" y="9"/>
              </a:cxn>
              <a:cxn ang="0">
                <a:pos x="39" y="19"/>
              </a:cxn>
              <a:cxn ang="0">
                <a:pos x="42" y="31"/>
              </a:cxn>
              <a:cxn ang="0">
                <a:pos x="39" y="42"/>
              </a:cxn>
              <a:cxn ang="0">
                <a:pos x="46" y="60"/>
              </a:cxn>
              <a:cxn ang="0">
                <a:pos x="58" y="61"/>
              </a:cxn>
              <a:cxn ang="0">
                <a:pos x="71" y="66"/>
              </a:cxn>
              <a:cxn ang="0">
                <a:pos x="76" y="78"/>
              </a:cxn>
              <a:cxn ang="0">
                <a:pos x="82" y="92"/>
              </a:cxn>
              <a:cxn ang="0">
                <a:pos x="80" y="114"/>
              </a:cxn>
              <a:cxn ang="0">
                <a:pos x="79" y="124"/>
              </a:cxn>
              <a:cxn ang="0">
                <a:pos x="78" y="135"/>
              </a:cxn>
              <a:cxn ang="0">
                <a:pos x="80" y="163"/>
              </a:cxn>
              <a:cxn ang="0">
                <a:pos x="95" y="166"/>
              </a:cxn>
              <a:cxn ang="0">
                <a:pos x="104" y="166"/>
              </a:cxn>
              <a:cxn ang="0">
                <a:pos x="113" y="179"/>
              </a:cxn>
              <a:cxn ang="0">
                <a:pos x="115" y="195"/>
              </a:cxn>
              <a:cxn ang="0">
                <a:pos x="124" y="196"/>
              </a:cxn>
              <a:cxn ang="0">
                <a:pos x="132" y="199"/>
              </a:cxn>
              <a:cxn ang="0">
                <a:pos x="129" y="220"/>
              </a:cxn>
              <a:cxn ang="0">
                <a:pos x="137" y="224"/>
              </a:cxn>
              <a:cxn ang="0">
                <a:pos x="141" y="251"/>
              </a:cxn>
              <a:cxn ang="0">
                <a:pos x="132" y="259"/>
              </a:cxn>
              <a:cxn ang="0">
                <a:pos x="121" y="267"/>
              </a:cxn>
              <a:cxn ang="0">
                <a:pos x="101" y="289"/>
              </a:cxn>
              <a:cxn ang="0">
                <a:pos x="88" y="303"/>
              </a:cxn>
              <a:cxn ang="0">
                <a:pos x="87" y="309"/>
              </a:cxn>
              <a:cxn ang="0">
                <a:pos x="94" y="306"/>
              </a:cxn>
              <a:cxn ang="0">
                <a:pos x="103" y="314"/>
              </a:cxn>
              <a:cxn ang="0">
                <a:pos x="109" y="322"/>
              </a:cxn>
              <a:cxn ang="0">
                <a:pos x="117" y="323"/>
              </a:cxn>
              <a:cxn ang="0">
                <a:pos x="123" y="328"/>
              </a:cxn>
              <a:cxn ang="0">
                <a:pos x="131" y="334"/>
              </a:cxn>
              <a:cxn ang="0">
                <a:pos x="140" y="339"/>
              </a:cxn>
              <a:cxn ang="0">
                <a:pos x="149" y="352"/>
              </a:cxn>
              <a:cxn ang="0">
                <a:pos x="148" y="356"/>
              </a:cxn>
              <a:cxn ang="0">
                <a:pos x="145" y="366"/>
              </a:cxn>
              <a:cxn ang="0">
                <a:pos x="147" y="369"/>
              </a:cxn>
              <a:cxn ang="0">
                <a:pos x="160" y="355"/>
              </a:cxn>
              <a:cxn ang="0">
                <a:pos x="168" y="341"/>
              </a:cxn>
              <a:cxn ang="0">
                <a:pos x="181" y="331"/>
              </a:cxn>
              <a:cxn ang="0">
                <a:pos x="189" y="317"/>
              </a:cxn>
              <a:cxn ang="0">
                <a:pos x="199" y="297"/>
              </a:cxn>
              <a:cxn ang="0">
                <a:pos x="207" y="284"/>
              </a:cxn>
              <a:cxn ang="0">
                <a:pos x="214" y="276"/>
              </a:cxn>
              <a:cxn ang="0">
                <a:pos x="220" y="256"/>
              </a:cxn>
              <a:cxn ang="0">
                <a:pos x="218" y="251"/>
              </a:cxn>
              <a:cxn ang="0">
                <a:pos x="217" y="240"/>
              </a:cxn>
            </a:cxnLst>
            <a:rect l="0" t="0" r="r" b="b"/>
            <a:pathLst>
              <a:path w="221" h="370">
                <a:moveTo>
                  <a:pt x="0" y="0"/>
                </a:moveTo>
                <a:lnTo>
                  <a:pt x="3" y="1"/>
                </a:lnTo>
                <a:lnTo>
                  <a:pt x="14" y="5"/>
                </a:lnTo>
                <a:lnTo>
                  <a:pt x="18" y="9"/>
                </a:lnTo>
                <a:lnTo>
                  <a:pt x="19" y="9"/>
                </a:lnTo>
                <a:lnTo>
                  <a:pt x="22" y="9"/>
                </a:lnTo>
                <a:lnTo>
                  <a:pt x="24" y="9"/>
                </a:lnTo>
                <a:lnTo>
                  <a:pt x="26" y="9"/>
                </a:lnTo>
                <a:lnTo>
                  <a:pt x="30" y="9"/>
                </a:lnTo>
                <a:lnTo>
                  <a:pt x="35" y="14"/>
                </a:lnTo>
                <a:lnTo>
                  <a:pt x="36" y="16"/>
                </a:lnTo>
                <a:lnTo>
                  <a:pt x="39" y="19"/>
                </a:lnTo>
                <a:lnTo>
                  <a:pt x="40" y="23"/>
                </a:lnTo>
                <a:lnTo>
                  <a:pt x="40" y="28"/>
                </a:lnTo>
                <a:lnTo>
                  <a:pt x="42" y="30"/>
                </a:lnTo>
                <a:lnTo>
                  <a:pt x="42" y="31"/>
                </a:lnTo>
                <a:lnTo>
                  <a:pt x="42" y="34"/>
                </a:lnTo>
                <a:lnTo>
                  <a:pt x="42" y="41"/>
                </a:lnTo>
                <a:lnTo>
                  <a:pt x="39" y="41"/>
                </a:lnTo>
                <a:lnTo>
                  <a:pt x="39" y="42"/>
                </a:lnTo>
                <a:lnTo>
                  <a:pt x="39" y="44"/>
                </a:lnTo>
                <a:lnTo>
                  <a:pt x="42" y="49"/>
                </a:lnTo>
                <a:lnTo>
                  <a:pt x="43" y="55"/>
                </a:lnTo>
                <a:lnTo>
                  <a:pt x="46" y="60"/>
                </a:lnTo>
                <a:lnTo>
                  <a:pt x="50" y="60"/>
                </a:lnTo>
                <a:lnTo>
                  <a:pt x="52" y="60"/>
                </a:lnTo>
                <a:lnTo>
                  <a:pt x="56" y="60"/>
                </a:lnTo>
                <a:lnTo>
                  <a:pt x="58" y="61"/>
                </a:lnTo>
                <a:lnTo>
                  <a:pt x="70" y="61"/>
                </a:lnTo>
                <a:lnTo>
                  <a:pt x="71" y="61"/>
                </a:lnTo>
                <a:lnTo>
                  <a:pt x="71" y="63"/>
                </a:lnTo>
                <a:lnTo>
                  <a:pt x="71" y="66"/>
                </a:lnTo>
                <a:lnTo>
                  <a:pt x="71" y="69"/>
                </a:lnTo>
                <a:lnTo>
                  <a:pt x="71" y="71"/>
                </a:lnTo>
                <a:lnTo>
                  <a:pt x="71" y="77"/>
                </a:lnTo>
                <a:lnTo>
                  <a:pt x="76" y="78"/>
                </a:lnTo>
                <a:lnTo>
                  <a:pt x="78" y="80"/>
                </a:lnTo>
                <a:lnTo>
                  <a:pt x="79" y="85"/>
                </a:lnTo>
                <a:lnTo>
                  <a:pt x="82" y="89"/>
                </a:lnTo>
                <a:lnTo>
                  <a:pt x="82" y="92"/>
                </a:lnTo>
                <a:lnTo>
                  <a:pt x="82" y="100"/>
                </a:lnTo>
                <a:lnTo>
                  <a:pt x="82" y="110"/>
                </a:lnTo>
                <a:lnTo>
                  <a:pt x="82" y="111"/>
                </a:lnTo>
                <a:lnTo>
                  <a:pt x="80" y="114"/>
                </a:lnTo>
                <a:lnTo>
                  <a:pt x="79" y="118"/>
                </a:lnTo>
                <a:lnTo>
                  <a:pt x="78" y="119"/>
                </a:lnTo>
                <a:lnTo>
                  <a:pt x="78" y="122"/>
                </a:lnTo>
                <a:lnTo>
                  <a:pt x="79" y="124"/>
                </a:lnTo>
                <a:lnTo>
                  <a:pt x="79" y="127"/>
                </a:lnTo>
                <a:lnTo>
                  <a:pt x="76" y="129"/>
                </a:lnTo>
                <a:lnTo>
                  <a:pt x="76" y="130"/>
                </a:lnTo>
                <a:lnTo>
                  <a:pt x="78" y="135"/>
                </a:lnTo>
                <a:lnTo>
                  <a:pt x="79" y="151"/>
                </a:lnTo>
                <a:lnTo>
                  <a:pt x="78" y="160"/>
                </a:lnTo>
                <a:lnTo>
                  <a:pt x="79" y="163"/>
                </a:lnTo>
                <a:lnTo>
                  <a:pt x="80" y="163"/>
                </a:lnTo>
                <a:lnTo>
                  <a:pt x="86" y="165"/>
                </a:lnTo>
                <a:lnTo>
                  <a:pt x="87" y="166"/>
                </a:lnTo>
                <a:lnTo>
                  <a:pt x="92" y="166"/>
                </a:lnTo>
                <a:lnTo>
                  <a:pt x="95" y="166"/>
                </a:lnTo>
                <a:lnTo>
                  <a:pt x="99" y="166"/>
                </a:lnTo>
                <a:lnTo>
                  <a:pt x="100" y="165"/>
                </a:lnTo>
                <a:lnTo>
                  <a:pt x="101" y="165"/>
                </a:lnTo>
                <a:lnTo>
                  <a:pt x="104" y="166"/>
                </a:lnTo>
                <a:lnTo>
                  <a:pt x="109" y="168"/>
                </a:lnTo>
                <a:lnTo>
                  <a:pt x="112" y="171"/>
                </a:lnTo>
                <a:lnTo>
                  <a:pt x="112" y="173"/>
                </a:lnTo>
                <a:lnTo>
                  <a:pt x="113" y="179"/>
                </a:lnTo>
                <a:lnTo>
                  <a:pt x="113" y="184"/>
                </a:lnTo>
                <a:lnTo>
                  <a:pt x="113" y="190"/>
                </a:lnTo>
                <a:lnTo>
                  <a:pt x="113" y="191"/>
                </a:lnTo>
                <a:lnTo>
                  <a:pt x="115" y="195"/>
                </a:lnTo>
                <a:lnTo>
                  <a:pt x="117" y="196"/>
                </a:lnTo>
                <a:lnTo>
                  <a:pt x="119" y="196"/>
                </a:lnTo>
                <a:lnTo>
                  <a:pt x="121" y="196"/>
                </a:lnTo>
                <a:lnTo>
                  <a:pt x="124" y="196"/>
                </a:lnTo>
                <a:lnTo>
                  <a:pt x="127" y="196"/>
                </a:lnTo>
                <a:lnTo>
                  <a:pt x="129" y="195"/>
                </a:lnTo>
                <a:lnTo>
                  <a:pt x="131" y="196"/>
                </a:lnTo>
                <a:lnTo>
                  <a:pt x="132" y="199"/>
                </a:lnTo>
                <a:lnTo>
                  <a:pt x="132" y="206"/>
                </a:lnTo>
                <a:lnTo>
                  <a:pt x="132" y="207"/>
                </a:lnTo>
                <a:lnTo>
                  <a:pt x="131" y="212"/>
                </a:lnTo>
                <a:lnTo>
                  <a:pt x="129" y="220"/>
                </a:lnTo>
                <a:lnTo>
                  <a:pt x="129" y="226"/>
                </a:lnTo>
                <a:lnTo>
                  <a:pt x="132" y="226"/>
                </a:lnTo>
                <a:lnTo>
                  <a:pt x="133" y="224"/>
                </a:lnTo>
                <a:lnTo>
                  <a:pt x="137" y="224"/>
                </a:lnTo>
                <a:lnTo>
                  <a:pt x="139" y="228"/>
                </a:lnTo>
                <a:lnTo>
                  <a:pt x="143" y="239"/>
                </a:lnTo>
                <a:lnTo>
                  <a:pt x="143" y="248"/>
                </a:lnTo>
                <a:lnTo>
                  <a:pt x="141" y="251"/>
                </a:lnTo>
                <a:lnTo>
                  <a:pt x="141" y="253"/>
                </a:lnTo>
                <a:lnTo>
                  <a:pt x="140" y="253"/>
                </a:lnTo>
                <a:lnTo>
                  <a:pt x="135" y="257"/>
                </a:lnTo>
                <a:lnTo>
                  <a:pt x="132" y="259"/>
                </a:lnTo>
                <a:lnTo>
                  <a:pt x="128" y="259"/>
                </a:lnTo>
                <a:lnTo>
                  <a:pt x="127" y="261"/>
                </a:lnTo>
                <a:lnTo>
                  <a:pt x="124" y="264"/>
                </a:lnTo>
                <a:lnTo>
                  <a:pt x="121" y="267"/>
                </a:lnTo>
                <a:lnTo>
                  <a:pt x="109" y="278"/>
                </a:lnTo>
                <a:lnTo>
                  <a:pt x="108" y="281"/>
                </a:lnTo>
                <a:lnTo>
                  <a:pt x="103" y="287"/>
                </a:lnTo>
                <a:lnTo>
                  <a:pt x="101" y="289"/>
                </a:lnTo>
                <a:lnTo>
                  <a:pt x="96" y="295"/>
                </a:lnTo>
                <a:lnTo>
                  <a:pt x="92" y="298"/>
                </a:lnTo>
                <a:lnTo>
                  <a:pt x="91" y="301"/>
                </a:lnTo>
                <a:lnTo>
                  <a:pt x="88" y="303"/>
                </a:lnTo>
                <a:lnTo>
                  <a:pt x="87" y="304"/>
                </a:lnTo>
                <a:lnTo>
                  <a:pt x="86" y="308"/>
                </a:lnTo>
                <a:lnTo>
                  <a:pt x="83" y="309"/>
                </a:lnTo>
                <a:lnTo>
                  <a:pt x="87" y="309"/>
                </a:lnTo>
                <a:lnTo>
                  <a:pt x="90" y="308"/>
                </a:lnTo>
                <a:lnTo>
                  <a:pt x="91" y="306"/>
                </a:lnTo>
                <a:lnTo>
                  <a:pt x="92" y="306"/>
                </a:lnTo>
                <a:lnTo>
                  <a:pt x="94" y="306"/>
                </a:lnTo>
                <a:lnTo>
                  <a:pt x="95" y="306"/>
                </a:lnTo>
                <a:lnTo>
                  <a:pt x="99" y="309"/>
                </a:lnTo>
                <a:lnTo>
                  <a:pt x="100" y="311"/>
                </a:lnTo>
                <a:lnTo>
                  <a:pt x="103" y="314"/>
                </a:lnTo>
                <a:lnTo>
                  <a:pt x="105" y="315"/>
                </a:lnTo>
                <a:lnTo>
                  <a:pt x="107" y="320"/>
                </a:lnTo>
                <a:lnTo>
                  <a:pt x="107" y="322"/>
                </a:lnTo>
                <a:lnTo>
                  <a:pt x="109" y="322"/>
                </a:lnTo>
                <a:lnTo>
                  <a:pt x="113" y="319"/>
                </a:lnTo>
                <a:lnTo>
                  <a:pt x="115" y="320"/>
                </a:lnTo>
                <a:lnTo>
                  <a:pt x="116" y="322"/>
                </a:lnTo>
                <a:lnTo>
                  <a:pt x="117" y="323"/>
                </a:lnTo>
                <a:lnTo>
                  <a:pt x="119" y="326"/>
                </a:lnTo>
                <a:lnTo>
                  <a:pt x="120" y="326"/>
                </a:lnTo>
                <a:lnTo>
                  <a:pt x="121" y="328"/>
                </a:lnTo>
                <a:lnTo>
                  <a:pt x="123" y="328"/>
                </a:lnTo>
                <a:lnTo>
                  <a:pt x="125" y="330"/>
                </a:lnTo>
                <a:lnTo>
                  <a:pt x="128" y="330"/>
                </a:lnTo>
                <a:lnTo>
                  <a:pt x="129" y="331"/>
                </a:lnTo>
                <a:lnTo>
                  <a:pt x="131" y="334"/>
                </a:lnTo>
                <a:lnTo>
                  <a:pt x="132" y="336"/>
                </a:lnTo>
                <a:lnTo>
                  <a:pt x="135" y="337"/>
                </a:lnTo>
                <a:lnTo>
                  <a:pt x="136" y="337"/>
                </a:lnTo>
                <a:lnTo>
                  <a:pt x="140" y="339"/>
                </a:lnTo>
                <a:lnTo>
                  <a:pt x="141" y="341"/>
                </a:lnTo>
                <a:lnTo>
                  <a:pt x="143" y="345"/>
                </a:lnTo>
                <a:lnTo>
                  <a:pt x="143" y="347"/>
                </a:lnTo>
                <a:lnTo>
                  <a:pt x="149" y="352"/>
                </a:lnTo>
                <a:lnTo>
                  <a:pt x="151" y="353"/>
                </a:lnTo>
                <a:lnTo>
                  <a:pt x="151" y="355"/>
                </a:lnTo>
                <a:lnTo>
                  <a:pt x="148" y="355"/>
                </a:lnTo>
                <a:lnTo>
                  <a:pt x="148" y="356"/>
                </a:lnTo>
                <a:lnTo>
                  <a:pt x="147" y="356"/>
                </a:lnTo>
                <a:lnTo>
                  <a:pt x="147" y="359"/>
                </a:lnTo>
                <a:lnTo>
                  <a:pt x="145" y="361"/>
                </a:lnTo>
                <a:lnTo>
                  <a:pt x="145" y="366"/>
                </a:lnTo>
                <a:lnTo>
                  <a:pt x="144" y="369"/>
                </a:lnTo>
                <a:lnTo>
                  <a:pt x="145" y="370"/>
                </a:lnTo>
                <a:lnTo>
                  <a:pt x="147" y="370"/>
                </a:lnTo>
                <a:lnTo>
                  <a:pt x="147" y="369"/>
                </a:lnTo>
                <a:lnTo>
                  <a:pt x="149" y="367"/>
                </a:lnTo>
                <a:lnTo>
                  <a:pt x="153" y="364"/>
                </a:lnTo>
                <a:lnTo>
                  <a:pt x="156" y="359"/>
                </a:lnTo>
                <a:lnTo>
                  <a:pt x="160" y="355"/>
                </a:lnTo>
                <a:lnTo>
                  <a:pt x="161" y="348"/>
                </a:lnTo>
                <a:lnTo>
                  <a:pt x="163" y="345"/>
                </a:lnTo>
                <a:lnTo>
                  <a:pt x="167" y="341"/>
                </a:lnTo>
                <a:lnTo>
                  <a:pt x="168" y="341"/>
                </a:lnTo>
                <a:lnTo>
                  <a:pt x="175" y="336"/>
                </a:lnTo>
                <a:lnTo>
                  <a:pt x="177" y="334"/>
                </a:lnTo>
                <a:lnTo>
                  <a:pt x="180" y="333"/>
                </a:lnTo>
                <a:lnTo>
                  <a:pt x="181" y="331"/>
                </a:lnTo>
                <a:lnTo>
                  <a:pt x="181" y="330"/>
                </a:lnTo>
                <a:lnTo>
                  <a:pt x="183" y="326"/>
                </a:lnTo>
                <a:lnTo>
                  <a:pt x="188" y="320"/>
                </a:lnTo>
                <a:lnTo>
                  <a:pt x="189" y="317"/>
                </a:lnTo>
                <a:lnTo>
                  <a:pt x="192" y="314"/>
                </a:lnTo>
                <a:lnTo>
                  <a:pt x="193" y="308"/>
                </a:lnTo>
                <a:lnTo>
                  <a:pt x="197" y="300"/>
                </a:lnTo>
                <a:lnTo>
                  <a:pt x="199" y="297"/>
                </a:lnTo>
                <a:lnTo>
                  <a:pt x="200" y="293"/>
                </a:lnTo>
                <a:lnTo>
                  <a:pt x="201" y="292"/>
                </a:lnTo>
                <a:lnTo>
                  <a:pt x="203" y="290"/>
                </a:lnTo>
                <a:lnTo>
                  <a:pt x="207" y="284"/>
                </a:lnTo>
                <a:lnTo>
                  <a:pt x="209" y="282"/>
                </a:lnTo>
                <a:lnTo>
                  <a:pt x="211" y="281"/>
                </a:lnTo>
                <a:lnTo>
                  <a:pt x="213" y="281"/>
                </a:lnTo>
                <a:lnTo>
                  <a:pt x="214" y="276"/>
                </a:lnTo>
                <a:lnTo>
                  <a:pt x="217" y="275"/>
                </a:lnTo>
                <a:lnTo>
                  <a:pt x="218" y="268"/>
                </a:lnTo>
                <a:lnTo>
                  <a:pt x="218" y="257"/>
                </a:lnTo>
                <a:lnTo>
                  <a:pt x="220" y="256"/>
                </a:lnTo>
                <a:lnTo>
                  <a:pt x="221" y="256"/>
                </a:lnTo>
                <a:lnTo>
                  <a:pt x="221" y="254"/>
                </a:lnTo>
                <a:lnTo>
                  <a:pt x="221" y="253"/>
                </a:lnTo>
                <a:lnTo>
                  <a:pt x="218" y="251"/>
                </a:lnTo>
                <a:lnTo>
                  <a:pt x="218" y="250"/>
                </a:lnTo>
                <a:lnTo>
                  <a:pt x="218" y="245"/>
                </a:lnTo>
                <a:lnTo>
                  <a:pt x="217" y="245"/>
                </a:lnTo>
                <a:lnTo>
                  <a:pt x="217" y="240"/>
                </a:lnTo>
                <a:lnTo>
                  <a:pt x="217" y="239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70" name="Freeform 469"/>
          <p:cNvSpPr>
            <a:spLocks/>
          </p:cNvSpPr>
          <p:nvPr/>
        </p:nvSpPr>
        <p:spPr bwMode="auto">
          <a:xfrm>
            <a:off x="4242046" y="4367884"/>
            <a:ext cx="428739" cy="906290"/>
          </a:xfrm>
          <a:custGeom>
            <a:avLst/>
            <a:gdLst/>
            <a:ahLst/>
            <a:cxnLst>
              <a:cxn ang="0">
                <a:pos x="17" y="449"/>
              </a:cxn>
              <a:cxn ang="0">
                <a:pos x="31" y="431"/>
              </a:cxn>
              <a:cxn ang="0">
                <a:pos x="40" y="422"/>
              </a:cxn>
              <a:cxn ang="0">
                <a:pos x="53" y="414"/>
              </a:cxn>
              <a:cxn ang="0">
                <a:pos x="64" y="409"/>
              </a:cxn>
              <a:cxn ang="0">
                <a:pos x="72" y="403"/>
              </a:cxn>
              <a:cxn ang="0">
                <a:pos x="77" y="400"/>
              </a:cxn>
              <a:cxn ang="0">
                <a:pos x="81" y="398"/>
              </a:cxn>
              <a:cxn ang="0">
                <a:pos x="93" y="397"/>
              </a:cxn>
              <a:cxn ang="0">
                <a:pos x="104" y="397"/>
              </a:cxn>
              <a:cxn ang="0">
                <a:pos x="116" y="392"/>
              </a:cxn>
              <a:cxn ang="0">
                <a:pos x="126" y="383"/>
              </a:cxn>
              <a:cxn ang="0">
                <a:pos x="130" y="370"/>
              </a:cxn>
              <a:cxn ang="0">
                <a:pos x="142" y="350"/>
              </a:cxn>
              <a:cxn ang="0">
                <a:pos x="150" y="326"/>
              </a:cxn>
              <a:cxn ang="0">
                <a:pos x="154" y="309"/>
              </a:cxn>
              <a:cxn ang="0">
                <a:pos x="160" y="285"/>
              </a:cxn>
              <a:cxn ang="0">
                <a:pos x="162" y="267"/>
              </a:cxn>
              <a:cxn ang="0">
                <a:pos x="160" y="246"/>
              </a:cxn>
              <a:cxn ang="0">
                <a:pos x="162" y="223"/>
              </a:cxn>
              <a:cxn ang="0">
                <a:pos x="169" y="219"/>
              </a:cxn>
              <a:cxn ang="0">
                <a:pos x="181" y="204"/>
              </a:cxn>
              <a:cxn ang="0">
                <a:pos x="190" y="185"/>
              </a:cxn>
              <a:cxn ang="0">
                <a:pos x="202" y="174"/>
              </a:cxn>
              <a:cxn ang="0">
                <a:pos x="218" y="150"/>
              </a:cxn>
              <a:cxn ang="0">
                <a:pos x="224" y="127"/>
              </a:cxn>
              <a:cxn ang="0">
                <a:pos x="221" y="91"/>
              </a:cxn>
              <a:cxn ang="0">
                <a:pos x="200" y="80"/>
              </a:cxn>
              <a:cxn ang="0">
                <a:pos x="193" y="78"/>
              </a:cxn>
              <a:cxn ang="0">
                <a:pos x="186" y="72"/>
              </a:cxn>
              <a:cxn ang="0">
                <a:pos x="168" y="55"/>
              </a:cxn>
              <a:cxn ang="0">
                <a:pos x="152" y="42"/>
              </a:cxn>
              <a:cxn ang="0">
                <a:pos x="129" y="42"/>
              </a:cxn>
              <a:cxn ang="0">
                <a:pos x="99" y="33"/>
              </a:cxn>
              <a:cxn ang="0">
                <a:pos x="92" y="33"/>
              </a:cxn>
              <a:cxn ang="0">
                <a:pos x="81" y="37"/>
              </a:cxn>
              <a:cxn ang="0">
                <a:pos x="83" y="29"/>
              </a:cxn>
              <a:cxn ang="0">
                <a:pos x="79" y="28"/>
              </a:cxn>
              <a:cxn ang="0">
                <a:pos x="79" y="23"/>
              </a:cxn>
              <a:cxn ang="0">
                <a:pos x="71" y="17"/>
              </a:cxn>
              <a:cxn ang="0">
                <a:pos x="67" y="15"/>
              </a:cxn>
              <a:cxn ang="0">
                <a:pos x="56" y="9"/>
              </a:cxn>
              <a:cxn ang="0">
                <a:pos x="40" y="1"/>
              </a:cxn>
              <a:cxn ang="0">
                <a:pos x="25" y="6"/>
              </a:cxn>
              <a:cxn ang="0">
                <a:pos x="20" y="15"/>
              </a:cxn>
              <a:cxn ang="0">
                <a:pos x="13" y="18"/>
              </a:cxn>
              <a:cxn ang="0">
                <a:pos x="10" y="29"/>
              </a:cxn>
              <a:cxn ang="0">
                <a:pos x="7" y="26"/>
              </a:cxn>
              <a:cxn ang="0">
                <a:pos x="3" y="23"/>
              </a:cxn>
            </a:cxnLst>
            <a:rect l="0" t="0" r="r" b="b"/>
            <a:pathLst>
              <a:path w="225" h="457">
                <a:moveTo>
                  <a:pt x="16" y="457"/>
                </a:moveTo>
                <a:lnTo>
                  <a:pt x="16" y="453"/>
                </a:lnTo>
                <a:lnTo>
                  <a:pt x="17" y="450"/>
                </a:lnTo>
                <a:lnTo>
                  <a:pt x="17" y="449"/>
                </a:lnTo>
                <a:lnTo>
                  <a:pt x="20" y="444"/>
                </a:lnTo>
                <a:lnTo>
                  <a:pt x="21" y="441"/>
                </a:lnTo>
                <a:lnTo>
                  <a:pt x="25" y="438"/>
                </a:lnTo>
                <a:lnTo>
                  <a:pt x="31" y="431"/>
                </a:lnTo>
                <a:lnTo>
                  <a:pt x="32" y="430"/>
                </a:lnTo>
                <a:lnTo>
                  <a:pt x="35" y="427"/>
                </a:lnTo>
                <a:lnTo>
                  <a:pt x="39" y="425"/>
                </a:lnTo>
                <a:lnTo>
                  <a:pt x="40" y="422"/>
                </a:lnTo>
                <a:lnTo>
                  <a:pt x="43" y="420"/>
                </a:lnTo>
                <a:lnTo>
                  <a:pt x="47" y="417"/>
                </a:lnTo>
                <a:lnTo>
                  <a:pt x="51" y="414"/>
                </a:lnTo>
                <a:lnTo>
                  <a:pt x="53" y="414"/>
                </a:lnTo>
                <a:lnTo>
                  <a:pt x="55" y="414"/>
                </a:lnTo>
                <a:lnTo>
                  <a:pt x="56" y="411"/>
                </a:lnTo>
                <a:lnTo>
                  <a:pt x="59" y="411"/>
                </a:lnTo>
                <a:lnTo>
                  <a:pt x="64" y="409"/>
                </a:lnTo>
                <a:lnTo>
                  <a:pt x="67" y="408"/>
                </a:lnTo>
                <a:lnTo>
                  <a:pt x="68" y="408"/>
                </a:lnTo>
                <a:lnTo>
                  <a:pt x="71" y="405"/>
                </a:lnTo>
                <a:lnTo>
                  <a:pt x="72" y="403"/>
                </a:lnTo>
                <a:lnTo>
                  <a:pt x="75" y="403"/>
                </a:lnTo>
                <a:lnTo>
                  <a:pt x="77" y="403"/>
                </a:lnTo>
                <a:lnTo>
                  <a:pt x="77" y="402"/>
                </a:lnTo>
                <a:lnTo>
                  <a:pt x="77" y="400"/>
                </a:lnTo>
                <a:lnTo>
                  <a:pt x="77" y="398"/>
                </a:lnTo>
                <a:lnTo>
                  <a:pt x="79" y="397"/>
                </a:lnTo>
                <a:lnTo>
                  <a:pt x="80" y="397"/>
                </a:lnTo>
                <a:lnTo>
                  <a:pt x="81" y="398"/>
                </a:lnTo>
                <a:lnTo>
                  <a:pt x="88" y="395"/>
                </a:lnTo>
                <a:lnTo>
                  <a:pt x="89" y="395"/>
                </a:lnTo>
                <a:lnTo>
                  <a:pt x="91" y="397"/>
                </a:lnTo>
                <a:lnTo>
                  <a:pt x="93" y="397"/>
                </a:lnTo>
                <a:lnTo>
                  <a:pt x="97" y="395"/>
                </a:lnTo>
                <a:lnTo>
                  <a:pt x="100" y="395"/>
                </a:lnTo>
                <a:lnTo>
                  <a:pt x="101" y="395"/>
                </a:lnTo>
                <a:lnTo>
                  <a:pt x="104" y="397"/>
                </a:lnTo>
                <a:lnTo>
                  <a:pt x="108" y="397"/>
                </a:lnTo>
                <a:lnTo>
                  <a:pt x="113" y="395"/>
                </a:lnTo>
                <a:lnTo>
                  <a:pt x="115" y="395"/>
                </a:lnTo>
                <a:lnTo>
                  <a:pt x="116" y="392"/>
                </a:lnTo>
                <a:lnTo>
                  <a:pt x="117" y="389"/>
                </a:lnTo>
                <a:lnTo>
                  <a:pt x="120" y="386"/>
                </a:lnTo>
                <a:lnTo>
                  <a:pt x="121" y="384"/>
                </a:lnTo>
                <a:lnTo>
                  <a:pt x="126" y="383"/>
                </a:lnTo>
                <a:lnTo>
                  <a:pt x="129" y="380"/>
                </a:lnTo>
                <a:lnTo>
                  <a:pt x="130" y="376"/>
                </a:lnTo>
                <a:lnTo>
                  <a:pt x="130" y="375"/>
                </a:lnTo>
                <a:lnTo>
                  <a:pt x="130" y="370"/>
                </a:lnTo>
                <a:lnTo>
                  <a:pt x="132" y="367"/>
                </a:lnTo>
                <a:lnTo>
                  <a:pt x="134" y="361"/>
                </a:lnTo>
                <a:lnTo>
                  <a:pt x="140" y="354"/>
                </a:lnTo>
                <a:lnTo>
                  <a:pt x="142" y="350"/>
                </a:lnTo>
                <a:lnTo>
                  <a:pt x="145" y="342"/>
                </a:lnTo>
                <a:lnTo>
                  <a:pt x="149" y="337"/>
                </a:lnTo>
                <a:lnTo>
                  <a:pt x="150" y="334"/>
                </a:lnTo>
                <a:lnTo>
                  <a:pt x="150" y="326"/>
                </a:lnTo>
                <a:lnTo>
                  <a:pt x="150" y="320"/>
                </a:lnTo>
                <a:lnTo>
                  <a:pt x="152" y="315"/>
                </a:lnTo>
                <a:lnTo>
                  <a:pt x="152" y="312"/>
                </a:lnTo>
                <a:lnTo>
                  <a:pt x="154" y="309"/>
                </a:lnTo>
                <a:lnTo>
                  <a:pt x="157" y="304"/>
                </a:lnTo>
                <a:lnTo>
                  <a:pt x="158" y="303"/>
                </a:lnTo>
                <a:lnTo>
                  <a:pt x="158" y="298"/>
                </a:lnTo>
                <a:lnTo>
                  <a:pt x="160" y="285"/>
                </a:lnTo>
                <a:lnTo>
                  <a:pt x="160" y="284"/>
                </a:lnTo>
                <a:lnTo>
                  <a:pt x="161" y="276"/>
                </a:lnTo>
                <a:lnTo>
                  <a:pt x="162" y="270"/>
                </a:lnTo>
                <a:lnTo>
                  <a:pt x="162" y="267"/>
                </a:lnTo>
                <a:lnTo>
                  <a:pt x="161" y="263"/>
                </a:lnTo>
                <a:lnTo>
                  <a:pt x="161" y="256"/>
                </a:lnTo>
                <a:lnTo>
                  <a:pt x="160" y="252"/>
                </a:lnTo>
                <a:lnTo>
                  <a:pt x="160" y="246"/>
                </a:lnTo>
                <a:lnTo>
                  <a:pt x="161" y="237"/>
                </a:lnTo>
                <a:lnTo>
                  <a:pt x="162" y="230"/>
                </a:lnTo>
                <a:lnTo>
                  <a:pt x="162" y="227"/>
                </a:lnTo>
                <a:lnTo>
                  <a:pt x="162" y="223"/>
                </a:lnTo>
                <a:lnTo>
                  <a:pt x="164" y="223"/>
                </a:lnTo>
                <a:lnTo>
                  <a:pt x="166" y="219"/>
                </a:lnTo>
                <a:lnTo>
                  <a:pt x="168" y="219"/>
                </a:lnTo>
                <a:lnTo>
                  <a:pt x="169" y="219"/>
                </a:lnTo>
                <a:lnTo>
                  <a:pt x="170" y="219"/>
                </a:lnTo>
                <a:lnTo>
                  <a:pt x="174" y="216"/>
                </a:lnTo>
                <a:lnTo>
                  <a:pt x="177" y="212"/>
                </a:lnTo>
                <a:lnTo>
                  <a:pt x="181" y="204"/>
                </a:lnTo>
                <a:lnTo>
                  <a:pt x="182" y="197"/>
                </a:lnTo>
                <a:lnTo>
                  <a:pt x="184" y="193"/>
                </a:lnTo>
                <a:lnTo>
                  <a:pt x="186" y="190"/>
                </a:lnTo>
                <a:lnTo>
                  <a:pt x="190" y="185"/>
                </a:lnTo>
                <a:lnTo>
                  <a:pt x="193" y="182"/>
                </a:lnTo>
                <a:lnTo>
                  <a:pt x="196" y="179"/>
                </a:lnTo>
                <a:lnTo>
                  <a:pt x="201" y="175"/>
                </a:lnTo>
                <a:lnTo>
                  <a:pt x="202" y="174"/>
                </a:lnTo>
                <a:lnTo>
                  <a:pt x="205" y="169"/>
                </a:lnTo>
                <a:lnTo>
                  <a:pt x="208" y="164"/>
                </a:lnTo>
                <a:lnTo>
                  <a:pt x="213" y="158"/>
                </a:lnTo>
                <a:lnTo>
                  <a:pt x="218" y="150"/>
                </a:lnTo>
                <a:lnTo>
                  <a:pt x="220" y="149"/>
                </a:lnTo>
                <a:lnTo>
                  <a:pt x="221" y="146"/>
                </a:lnTo>
                <a:lnTo>
                  <a:pt x="224" y="131"/>
                </a:lnTo>
                <a:lnTo>
                  <a:pt x="224" y="127"/>
                </a:lnTo>
                <a:lnTo>
                  <a:pt x="225" y="116"/>
                </a:lnTo>
                <a:lnTo>
                  <a:pt x="225" y="108"/>
                </a:lnTo>
                <a:lnTo>
                  <a:pt x="222" y="102"/>
                </a:lnTo>
                <a:lnTo>
                  <a:pt x="221" y="91"/>
                </a:lnTo>
                <a:lnTo>
                  <a:pt x="218" y="86"/>
                </a:lnTo>
                <a:lnTo>
                  <a:pt x="216" y="81"/>
                </a:lnTo>
                <a:lnTo>
                  <a:pt x="213" y="81"/>
                </a:lnTo>
                <a:lnTo>
                  <a:pt x="200" y="80"/>
                </a:lnTo>
                <a:lnTo>
                  <a:pt x="198" y="81"/>
                </a:lnTo>
                <a:lnTo>
                  <a:pt x="197" y="80"/>
                </a:lnTo>
                <a:lnTo>
                  <a:pt x="196" y="78"/>
                </a:lnTo>
                <a:lnTo>
                  <a:pt x="193" y="78"/>
                </a:lnTo>
                <a:lnTo>
                  <a:pt x="192" y="78"/>
                </a:lnTo>
                <a:lnTo>
                  <a:pt x="190" y="77"/>
                </a:lnTo>
                <a:lnTo>
                  <a:pt x="188" y="73"/>
                </a:lnTo>
                <a:lnTo>
                  <a:pt x="186" y="72"/>
                </a:lnTo>
                <a:lnTo>
                  <a:pt x="184" y="70"/>
                </a:lnTo>
                <a:lnTo>
                  <a:pt x="180" y="67"/>
                </a:lnTo>
                <a:lnTo>
                  <a:pt x="172" y="58"/>
                </a:lnTo>
                <a:lnTo>
                  <a:pt x="168" y="55"/>
                </a:lnTo>
                <a:lnTo>
                  <a:pt x="164" y="51"/>
                </a:lnTo>
                <a:lnTo>
                  <a:pt x="158" y="47"/>
                </a:lnTo>
                <a:lnTo>
                  <a:pt x="156" y="45"/>
                </a:lnTo>
                <a:lnTo>
                  <a:pt x="152" y="42"/>
                </a:lnTo>
                <a:lnTo>
                  <a:pt x="149" y="40"/>
                </a:lnTo>
                <a:lnTo>
                  <a:pt x="134" y="40"/>
                </a:lnTo>
                <a:lnTo>
                  <a:pt x="132" y="42"/>
                </a:lnTo>
                <a:lnTo>
                  <a:pt x="129" y="42"/>
                </a:lnTo>
                <a:lnTo>
                  <a:pt x="121" y="40"/>
                </a:lnTo>
                <a:lnTo>
                  <a:pt x="120" y="40"/>
                </a:lnTo>
                <a:lnTo>
                  <a:pt x="113" y="39"/>
                </a:lnTo>
                <a:lnTo>
                  <a:pt x="99" y="33"/>
                </a:lnTo>
                <a:lnTo>
                  <a:pt x="96" y="34"/>
                </a:lnTo>
                <a:lnTo>
                  <a:pt x="96" y="33"/>
                </a:lnTo>
                <a:lnTo>
                  <a:pt x="95" y="31"/>
                </a:lnTo>
                <a:lnTo>
                  <a:pt x="92" y="33"/>
                </a:lnTo>
                <a:lnTo>
                  <a:pt x="89" y="34"/>
                </a:lnTo>
                <a:lnTo>
                  <a:pt x="88" y="36"/>
                </a:lnTo>
                <a:lnTo>
                  <a:pt x="83" y="37"/>
                </a:lnTo>
                <a:lnTo>
                  <a:pt x="81" y="37"/>
                </a:lnTo>
                <a:lnTo>
                  <a:pt x="80" y="36"/>
                </a:lnTo>
                <a:lnTo>
                  <a:pt x="81" y="34"/>
                </a:lnTo>
                <a:lnTo>
                  <a:pt x="83" y="31"/>
                </a:lnTo>
                <a:lnTo>
                  <a:pt x="83" y="29"/>
                </a:lnTo>
                <a:lnTo>
                  <a:pt x="83" y="28"/>
                </a:lnTo>
                <a:lnTo>
                  <a:pt x="81" y="28"/>
                </a:lnTo>
                <a:lnTo>
                  <a:pt x="80" y="28"/>
                </a:lnTo>
                <a:lnTo>
                  <a:pt x="79" y="28"/>
                </a:lnTo>
                <a:lnTo>
                  <a:pt x="77" y="28"/>
                </a:lnTo>
                <a:lnTo>
                  <a:pt x="77" y="26"/>
                </a:lnTo>
                <a:lnTo>
                  <a:pt x="79" y="26"/>
                </a:lnTo>
                <a:lnTo>
                  <a:pt x="79" y="23"/>
                </a:lnTo>
                <a:lnTo>
                  <a:pt x="77" y="18"/>
                </a:lnTo>
                <a:lnTo>
                  <a:pt x="75" y="15"/>
                </a:lnTo>
                <a:lnTo>
                  <a:pt x="72" y="15"/>
                </a:lnTo>
                <a:lnTo>
                  <a:pt x="71" y="17"/>
                </a:lnTo>
                <a:lnTo>
                  <a:pt x="69" y="18"/>
                </a:lnTo>
                <a:lnTo>
                  <a:pt x="68" y="20"/>
                </a:lnTo>
                <a:lnTo>
                  <a:pt x="68" y="17"/>
                </a:lnTo>
                <a:lnTo>
                  <a:pt x="67" y="15"/>
                </a:lnTo>
                <a:lnTo>
                  <a:pt x="65" y="12"/>
                </a:lnTo>
                <a:lnTo>
                  <a:pt x="61" y="11"/>
                </a:lnTo>
                <a:lnTo>
                  <a:pt x="59" y="9"/>
                </a:lnTo>
                <a:lnTo>
                  <a:pt x="56" y="9"/>
                </a:lnTo>
                <a:lnTo>
                  <a:pt x="55" y="7"/>
                </a:lnTo>
                <a:lnTo>
                  <a:pt x="51" y="7"/>
                </a:lnTo>
                <a:lnTo>
                  <a:pt x="49" y="6"/>
                </a:lnTo>
                <a:lnTo>
                  <a:pt x="40" y="1"/>
                </a:lnTo>
                <a:lnTo>
                  <a:pt x="37" y="0"/>
                </a:lnTo>
                <a:lnTo>
                  <a:pt x="29" y="0"/>
                </a:lnTo>
                <a:lnTo>
                  <a:pt x="27" y="1"/>
                </a:lnTo>
                <a:lnTo>
                  <a:pt x="25" y="6"/>
                </a:lnTo>
                <a:lnTo>
                  <a:pt x="24" y="7"/>
                </a:lnTo>
                <a:lnTo>
                  <a:pt x="23" y="11"/>
                </a:lnTo>
                <a:lnTo>
                  <a:pt x="21" y="14"/>
                </a:lnTo>
                <a:lnTo>
                  <a:pt x="20" y="15"/>
                </a:lnTo>
                <a:lnTo>
                  <a:pt x="17" y="15"/>
                </a:lnTo>
                <a:lnTo>
                  <a:pt x="16" y="17"/>
                </a:lnTo>
                <a:lnTo>
                  <a:pt x="15" y="17"/>
                </a:lnTo>
                <a:lnTo>
                  <a:pt x="13" y="18"/>
                </a:lnTo>
                <a:lnTo>
                  <a:pt x="11" y="25"/>
                </a:lnTo>
                <a:lnTo>
                  <a:pt x="11" y="28"/>
                </a:lnTo>
                <a:lnTo>
                  <a:pt x="10" y="28"/>
                </a:lnTo>
                <a:lnTo>
                  <a:pt x="10" y="29"/>
                </a:lnTo>
                <a:lnTo>
                  <a:pt x="8" y="33"/>
                </a:lnTo>
                <a:lnTo>
                  <a:pt x="7" y="33"/>
                </a:lnTo>
                <a:lnTo>
                  <a:pt x="7" y="31"/>
                </a:lnTo>
                <a:lnTo>
                  <a:pt x="7" y="26"/>
                </a:lnTo>
                <a:lnTo>
                  <a:pt x="8" y="22"/>
                </a:lnTo>
                <a:lnTo>
                  <a:pt x="7" y="22"/>
                </a:lnTo>
                <a:lnTo>
                  <a:pt x="4" y="22"/>
                </a:lnTo>
                <a:lnTo>
                  <a:pt x="3" y="23"/>
                </a:lnTo>
                <a:lnTo>
                  <a:pt x="0" y="2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71" name="Freeform 470"/>
          <p:cNvSpPr>
            <a:spLocks/>
          </p:cNvSpPr>
          <p:nvPr/>
        </p:nvSpPr>
        <p:spPr bwMode="auto">
          <a:xfrm>
            <a:off x="5444466" y="2394233"/>
            <a:ext cx="74054" cy="47248"/>
          </a:xfrm>
          <a:custGeom>
            <a:avLst/>
            <a:gdLst/>
            <a:ahLst/>
            <a:cxnLst>
              <a:cxn ang="0">
                <a:pos x="8" y="6"/>
              </a:cxn>
              <a:cxn ang="0">
                <a:pos x="8" y="7"/>
              </a:cxn>
              <a:cxn ang="0">
                <a:pos x="7" y="9"/>
              </a:cxn>
              <a:cxn ang="0">
                <a:pos x="4" y="11"/>
              </a:cxn>
              <a:cxn ang="0">
                <a:pos x="4" y="12"/>
              </a:cxn>
              <a:cxn ang="0">
                <a:pos x="0" y="14"/>
              </a:cxn>
              <a:cxn ang="0">
                <a:pos x="5" y="15"/>
              </a:cxn>
              <a:cxn ang="0">
                <a:pos x="7" y="20"/>
              </a:cxn>
              <a:cxn ang="0">
                <a:pos x="9" y="20"/>
              </a:cxn>
              <a:cxn ang="0">
                <a:pos x="13" y="18"/>
              </a:cxn>
              <a:cxn ang="0">
                <a:pos x="15" y="17"/>
              </a:cxn>
              <a:cxn ang="0">
                <a:pos x="23" y="15"/>
              </a:cxn>
              <a:cxn ang="0">
                <a:pos x="27" y="17"/>
              </a:cxn>
              <a:cxn ang="0">
                <a:pos x="28" y="18"/>
              </a:cxn>
              <a:cxn ang="0">
                <a:pos x="28" y="22"/>
              </a:cxn>
              <a:cxn ang="0">
                <a:pos x="28" y="23"/>
              </a:cxn>
              <a:cxn ang="0">
                <a:pos x="29" y="23"/>
              </a:cxn>
              <a:cxn ang="0">
                <a:pos x="32" y="22"/>
              </a:cxn>
              <a:cxn ang="0">
                <a:pos x="33" y="18"/>
              </a:cxn>
              <a:cxn ang="0">
                <a:pos x="37" y="18"/>
              </a:cxn>
              <a:cxn ang="0">
                <a:pos x="39" y="17"/>
              </a:cxn>
              <a:cxn ang="0">
                <a:pos x="37" y="15"/>
              </a:cxn>
              <a:cxn ang="0">
                <a:pos x="36" y="14"/>
              </a:cxn>
              <a:cxn ang="0">
                <a:pos x="39" y="15"/>
              </a:cxn>
              <a:cxn ang="0">
                <a:pos x="39" y="14"/>
              </a:cxn>
              <a:cxn ang="0">
                <a:pos x="37" y="12"/>
              </a:cxn>
              <a:cxn ang="0">
                <a:pos x="36" y="11"/>
              </a:cxn>
              <a:cxn ang="0">
                <a:pos x="32" y="12"/>
              </a:cxn>
              <a:cxn ang="0">
                <a:pos x="33" y="9"/>
              </a:cxn>
              <a:cxn ang="0">
                <a:pos x="33" y="6"/>
              </a:cxn>
              <a:cxn ang="0">
                <a:pos x="31" y="4"/>
              </a:cxn>
              <a:cxn ang="0">
                <a:pos x="29" y="1"/>
              </a:cxn>
              <a:cxn ang="0">
                <a:pos x="25" y="1"/>
              </a:cxn>
              <a:cxn ang="0">
                <a:pos x="19" y="3"/>
              </a:cxn>
              <a:cxn ang="0">
                <a:pos x="16" y="3"/>
              </a:cxn>
              <a:cxn ang="0">
                <a:pos x="15" y="4"/>
              </a:cxn>
              <a:cxn ang="0">
                <a:pos x="13" y="3"/>
              </a:cxn>
              <a:cxn ang="0">
                <a:pos x="16" y="1"/>
              </a:cxn>
              <a:cxn ang="0">
                <a:pos x="16" y="0"/>
              </a:cxn>
              <a:cxn ang="0">
                <a:pos x="13" y="0"/>
              </a:cxn>
              <a:cxn ang="0">
                <a:pos x="11" y="0"/>
              </a:cxn>
              <a:cxn ang="0">
                <a:pos x="9" y="1"/>
              </a:cxn>
              <a:cxn ang="0">
                <a:pos x="9" y="3"/>
              </a:cxn>
              <a:cxn ang="0">
                <a:pos x="9" y="4"/>
              </a:cxn>
              <a:cxn ang="0">
                <a:pos x="9" y="6"/>
              </a:cxn>
              <a:cxn ang="0">
                <a:pos x="8" y="6"/>
              </a:cxn>
            </a:cxnLst>
            <a:rect l="0" t="0" r="r" b="b"/>
            <a:pathLst>
              <a:path w="39" h="23">
                <a:moveTo>
                  <a:pt x="8" y="6"/>
                </a:moveTo>
                <a:lnTo>
                  <a:pt x="8" y="7"/>
                </a:lnTo>
                <a:lnTo>
                  <a:pt x="7" y="9"/>
                </a:lnTo>
                <a:lnTo>
                  <a:pt x="4" y="11"/>
                </a:lnTo>
                <a:lnTo>
                  <a:pt x="4" y="12"/>
                </a:lnTo>
                <a:lnTo>
                  <a:pt x="0" y="14"/>
                </a:lnTo>
                <a:lnTo>
                  <a:pt x="5" y="15"/>
                </a:lnTo>
                <a:lnTo>
                  <a:pt x="7" y="20"/>
                </a:lnTo>
                <a:lnTo>
                  <a:pt x="9" y="20"/>
                </a:lnTo>
                <a:lnTo>
                  <a:pt x="13" y="18"/>
                </a:lnTo>
                <a:lnTo>
                  <a:pt x="15" y="17"/>
                </a:lnTo>
                <a:lnTo>
                  <a:pt x="23" y="15"/>
                </a:lnTo>
                <a:lnTo>
                  <a:pt x="27" y="17"/>
                </a:lnTo>
                <a:lnTo>
                  <a:pt x="28" y="18"/>
                </a:lnTo>
                <a:lnTo>
                  <a:pt x="28" y="22"/>
                </a:lnTo>
                <a:lnTo>
                  <a:pt x="28" y="23"/>
                </a:lnTo>
                <a:lnTo>
                  <a:pt x="29" y="23"/>
                </a:lnTo>
                <a:lnTo>
                  <a:pt x="32" y="22"/>
                </a:lnTo>
                <a:lnTo>
                  <a:pt x="33" y="18"/>
                </a:lnTo>
                <a:lnTo>
                  <a:pt x="37" y="18"/>
                </a:lnTo>
                <a:lnTo>
                  <a:pt x="39" y="17"/>
                </a:lnTo>
                <a:lnTo>
                  <a:pt x="37" y="15"/>
                </a:lnTo>
                <a:lnTo>
                  <a:pt x="36" y="14"/>
                </a:lnTo>
                <a:lnTo>
                  <a:pt x="39" y="15"/>
                </a:lnTo>
                <a:lnTo>
                  <a:pt x="39" y="14"/>
                </a:lnTo>
                <a:lnTo>
                  <a:pt x="37" y="12"/>
                </a:lnTo>
                <a:lnTo>
                  <a:pt x="36" y="11"/>
                </a:lnTo>
                <a:lnTo>
                  <a:pt x="32" y="12"/>
                </a:lnTo>
                <a:lnTo>
                  <a:pt x="33" y="9"/>
                </a:lnTo>
                <a:lnTo>
                  <a:pt x="33" y="6"/>
                </a:lnTo>
                <a:lnTo>
                  <a:pt x="31" y="4"/>
                </a:lnTo>
                <a:lnTo>
                  <a:pt x="29" y="1"/>
                </a:lnTo>
                <a:lnTo>
                  <a:pt x="25" y="1"/>
                </a:lnTo>
                <a:lnTo>
                  <a:pt x="19" y="3"/>
                </a:lnTo>
                <a:lnTo>
                  <a:pt x="16" y="3"/>
                </a:lnTo>
                <a:lnTo>
                  <a:pt x="15" y="4"/>
                </a:lnTo>
                <a:lnTo>
                  <a:pt x="13" y="3"/>
                </a:lnTo>
                <a:lnTo>
                  <a:pt x="16" y="1"/>
                </a:lnTo>
                <a:lnTo>
                  <a:pt x="16" y="0"/>
                </a:lnTo>
                <a:lnTo>
                  <a:pt x="13" y="0"/>
                </a:lnTo>
                <a:lnTo>
                  <a:pt x="11" y="0"/>
                </a:lnTo>
                <a:lnTo>
                  <a:pt x="9" y="1"/>
                </a:lnTo>
                <a:lnTo>
                  <a:pt x="9" y="3"/>
                </a:lnTo>
                <a:lnTo>
                  <a:pt x="9" y="4"/>
                </a:lnTo>
                <a:lnTo>
                  <a:pt x="9" y="6"/>
                </a:lnTo>
                <a:lnTo>
                  <a:pt x="8" y="6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72" name="Freeform 471"/>
          <p:cNvSpPr>
            <a:spLocks/>
          </p:cNvSpPr>
          <p:nvPr/>
        </p:nvSpPr>
        <p:spPr bwMode="auto">
          <a:xfrm>
            <a:off x="5444466" y="2394233"/>
            <a:ext cx="74054" cy="47248"/>
          </a:xfrm>
          <a:custGeom>
            <a:avLst/>
            <a:gdLst/>
            <a:ahLst/>
            <a:cxnLst>
              <a:cxn ang="0">
                <a:pos x="8" y="6"/>
              </a:cxn>
              <a:cxn ang="0">
                <a:pos x="8" y="7"/>
              </a:cxn>
              <a:cxn ang="0">
                <a:pos x="7" y="9"/>
              </a:cxn>
              <a:cxn ang="0">
                <a:pos x="4" y="11"/>
              </a:cxn>
              <a:cxn ang="0">
                <a:pos x="4" y="12"/>
              </a:cxn>
              <a:cxn ang="0">
                <a:pos x="0" y="14"/>
              </a:cxn>
              <a:cxn ang="0">
                <a:pos x="5" y="15"/>
              </a:cxn>
              <a:cxn ang="0">
                <a:pos x="7" y="20"/>
              </a:cxn>
              <a:cxn ang="0">
                <a:pos x="9" y="20"/>
              </a:cxn>
              <a:cxn ang="0">
                <a:pos x="13" y="18"/>
              </a:cxn>
              <a:cxn ang="0">
                <a:pos x="15" y="17"/>
              </a:cxn>
              <a:cxn ang="0">
                <a:pos x="23" y="15"/>
              </a:cxn>
              <a:cxn ang="0">
                <a:pos x="27" y="17"/>
              </a:cxn>
              <a:cxn ang="0">
                <a:pos x="28" y="18"/>
              </a:cxn>
              <a:cxn ang="0">
                <a:pos x="28" y="22"/>
              </a:cxn>
              <a:cxn ang="0">
                <a:pos x="28" y="23"/>
              </a:cxn>
              <a:cxn ang="0">
                <a:pos x="29" y="23"/>
              </a:cxn>
              <a:cxn ang="0">
                <a:pos x="32" y="22"/>
              </a:cxn>
              <a:cxn ang="0">
                <a:pos x="33" y="18"/>
              </a:cxn>
              <a:cxn ang="0">
                <a:pos x="37" y="18"/>
              </a:cxn>
              <a:cxn ang="0">
                <a:pos x="39" y="17"/>
              </a:cxn>
              <a:cxn ang="0">
                <a:pos x="37" y="15"/>
              </a:cxn>
              <a:cxn ang="0">
                <a:pos x="36" y="14"/>
              </a:cxn>
              <a:cxn ang="0">
                <a:pos x="39" y="15"/>
              </a:cxn>
              <a:cxn ang="0">
                <a:pos x="39" y="14"/>
              </a:cxn>
              <a:cxn ang="0">
                <a:pos x="37" y="12"/>
              </a:cxn>
              <a:cxn ang="0">
                <a:pos x="36" y="11"/>
              </a:cxn>
              <a:cxn ang="0">
                <a:pos x="32" y="12"/>
              </a:cxn>
              <a:cxn ang="0">
                <a:pos x="33" y="9"/>
              </a:cxn>
              <a:cxn ang="0">
                <a:pos x="33" y="6"/>
              </a:cxn>
              <a:cxn ang="0">
                <a:pos x="31" y="4"/>
              </a:cxn>
              <a:cxn ang="0">
                <a:pos x="29" y="1"/>
              </a:cxn>
              <a:cxn ang="0">
                <a:pos x="25" y="1"/>
              </a:cxn>
              <a:cxn ang="0">
                <a:pos x="19" y="3"/>
              </a:cxn>
              <a:cxn ang="0">
                <a:pos x="16" y="3"/>
              </a:cxn>
              <a:cxn ang="0">
                <a:pos x="15" y="4"/>
              </a:cxn>
              <a:cxn ang="0">
                <a:pos x="13" y="3"/>
              </a:cxn>
              <a:cxn ang="0">
                <a:pos x="16" y="1"/>
              </a:cxn>
              <a:cxn ang="0">
                <a:pos x="16" y="0"/>
              </a:cxn>
              <a:cxn ang="0">
                <a:pos x="13" y="0"/>
              </a:cxn>
              <a:cxn ang="0">
                <a:pos x="11" y="0"/>
              </a:cxn>
              <a:cxn ang="0">
                <a:pos x="9" y="1"/>
              </a:cxn>
              <a:cxn ang="0">
                <a:pos x="9" y="3"/>
              </a:cxn>
              <a:cxn ang="0">
                <a:pos x="9" y="4"/>
              </a:cxn>
              <a:cxn ang="0">
                <a:pos x="9" y="6"/>
              </a:cxn>
              <a:cxn ang="0">
                <a:pos x="8" y="6"/>
              </a:cxn>
            </a:cxnLst>
            <a:rect l="0" t="0" r="r" b="b"/>
            <a:pathLst>
              <a:path w="39" h="23">
                <a:moveTo>
                  <a:pt x="8" y="6"/>
                </a:moveTo>
                <a:lnTo>
                  <a:pt x="8" y="7"/>
                </a:lnTo>
                <a:lnTo>
                  <a:pt x="7" y="9"/>
                </a:lnTo>
                <a:lnTo>
                  <a:pt x="4" y="11"/>
                </a:lnTo>
                <a:lnTo>
                  <a:pt x="4" y="12"/>
                </a:lnTo>
                <a:lnTo>
                  <a:pt x="0" y="14"/>
                </a:lnTo>
                <a:lnTo>
                  <a:pt x="5" y="15"/>
                </a:lnTo>
                <a:lnTo>
                  <a:pt x="7" y="20"/>
                </a:lnTo>
                <a:lnTo>
                  <a:pt x="9" y="20"/>
                </a:lnTo>
                <a:lnTo>
                  <a:pt x="13" y="18"/>
                </a:lnTo>
                <a:lnTo>
                  <a:pt x="15" y="17"/>
                </a:lnTo>
                <a:lnTo>
                  <a:pt x="23" y="15"/>
                </a:lnTo>
                <a:lnTo>
                  <a:pt x="27" y="17"/>
                </a:lnTo>
                <a:lnTo>
                  <a:pt x="28" y="18"/>
                </a:lnTo>
                <a:lnTo>
                  <a:pt x="28" y="22"/>
                </a:lnTo>
                <a:lnTo>
                  <a:pt x="28" y="23"/>
                </a:lnTo>
                <a:lnTo>
                  <a:pt x="29" y="23"/>
                </a:lnTo>
                <a:lnTo>
                  <a:pt x="32" y="22"/>
                </a:lnTo>
                <a:lnTo>
                  <a:pt x="33" y="18"/>
                </a:lnTo>
                <a:lnTo>
                  <a:pt x="37" y="18"/>
                </a:lnTo>
                <a:lnTo>
                  <a:pt x="39" y="17"/>
                </a:lnTo>
                <a:lnTo>
                  <a:pt x="37" y="15"/>
                </a:lnTo>
                <a:lnTo>
                  <a:pt x="36" y="14"/>
                </a:lnTo>
                <a:lnTo>
                  <a:pt x="39" y="15"/>
                </a:lnTo>
                <a:lnTo>
                  <a:pt x="39" y="14"/>
                </a:lnTo>
                <a:lnTo>
                  <a:pt x="37" y="12"/>
                </a:lnTo>
                <a:lnTo>
                  <a:pt x="36" y="11"/>
                </a:lnTo>
                <a:lnTo>
                  <a:pt x="32" y="12"/>
                </a:lnTo>
                <a:lnTo>
                  <a:pt x="33" y="9"/>
                </a:lnTo>
                <a:lnTo>
                  <a:pt x="33" y="6"/>
                </a:lnTo>
                <a:lnTo>
                  <a:pt x="31" y="4"/>
                </a:lnTo>
                <a:lnTo>
                  <a:pt x="29" y="1"/>
                </a:lnTo>
                <a:lnTo>
                  <a:pt x="25" y="1"/>
                </a:lnTo>
                <a:lnTo>
                  <a:pt x="19" y="3"/>
                </a:lnTo>
                <a:lnTo>
                  <a:pt x="16" y="3"/>
                </a:lnTo>
                <a:lnTo>
                  <a:pt x="15" y="4"/>
                </a:lnTo>
                <a:lnTo>
                  <a:pt x="13" y="3"/>
                </a:lnTo>
                <a:lnTo>
                  <a:pt x="16" y="1"/>
                </a:lnTo>
                <a:lnTo>
                  <a:pt x="16" y="0"/>
                </a:lnTo>
                <a:lnTo>
                  <a:pt x="13" y="0"/>
                </a:lnTo>
                <a:lnTo>
                  <a:pt x="11" y="0"/>
                </a:lnTo>
                <a:lnTo>
                  <a:pt x="9" y="1"/>
                </a:lnTo>
                <a:lnTo>
                  <a:pt x="9" y="3"/>
                </a:lnTo>
                <a:lnTo>
                  <a:pt x="9" y="4"/>
                </a:lnTo>
                <a:lnTo>
                  <a:pt x="9" y="6"/>
                </a:lnTo>
                <a:lnTo>
                  <a:pt x="8" y="6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73" name="Freeform 472"/>
          <p:cNvSpPr>
            <a:spLocks/>
          </p:cNvSpPr>
          <p:nvPr/>
        </p:nvSpPr>
        <p:spPr bwMode="auto">
          <a:xfrm>
            <a:off x="5814740" y="1835855"/>
            <a:ext cx="752243" cy="461735"/>
          </a:xfrm>
          <a:custGeom>
            <a:avLst/>
            <a:gdLst/>
            <a:ahLst/>
            <a:cxnLst>
              <a:cxn ang="0">
                <a:pos x="375" y="24"/>
              </a:cxn>
              <a:cxn ang="0">
                <a:pos x="377" y="18"/>
              </a:cxn>
              <a:cxn ang="0">
                <a:pos x="373" y="8"/>
              </a:cxn>
              <a:cxn ang="0">
                <a:pos x="351" y="13"/>
              </a:cxn>
              <a:cxn ang="0">
                <a:pos x="354" y="2"/>
              </a:cxn>
              <a:cxn ang="0">
                <a:pos x="331" y="10"/>
              </a:cxn>
              <a:cxn ang="0">
                <a:pos x="313" y="11"/>
              </a:cxn>
              <a:cxn ang="0">
                <a:pos x="306" y="10"/>
              </a:cxn>
              <a:cxn ang="0">
                <a:pos x="292" y="5"/>
              </a:cxn>
              <a:cxn ang="0">
                <a:pos x="273" y="21"/>
              </a:cxn>
              <a:cxn ang="0">
                <a:pos x="256" y="16"/>
              </a:cxn>
              <a:cxn ang="0">
                <a:pos x="257" y="26"/>
              </a:cxn>
              <a:cxn ang="0">
                <a:pos x="237" y="22"/>
              </a:cxn>
              <a:cxn ang="0">
                <a:pos x="226" y="22"/>
              </a:cxn>
              <a:cxn ang="0">
                <a:pos x="216" y="33"/>
              </a:cxn>
              <a:cxn ang="0">
                <a:pos x="201" y="30"/>
              </a:cxn>
              <a:cxn ang="0">
                <a:pos x="192" y="41"/>
              </a:cxn>
              <a:cxn ang="0">
                <a:pos x="177" y="48"/>
              </a:cxn>
              <a:cxn ang="0">
                <a:pos x="175" y="48"/>
              </a:cxn>
              <a:cxn ang="0">
                <a:pos x="161" y="54"/>
              </a:cxn>
              <a:cxn ang="0">
                <a:pos x="156" y="63"/>
              </a:cxn>
              <a:cxn ang="0">
                <a:pos x="143" y="70"/>
              </a:cxn>
              <a:cxn ang="0">
                <a:pos x="124" y="81"/>
              </a:cxn>
              <a:cxn ang="0">
                <a:pos x="117" y="90"/>
              </a:cxn>
              <a:cxn ang="0">
                <a:pos x="113" y="96"/>
              </a:cxn>
              <a:cxn ang="0">
                <a:pos x="111" y="103"/>
              </a:cxn>
              <a:cxn ang="0">
                <a:pos x="96" y="112"/>
              </a:cxn>
              <a:cxn ang="0">
                <a:pos x="82" y="120"/>
              </a:cxn>
              <a:cxn ang="0">
                <a:pos x="95" y="129"/>
              </a:cxn>
              <a:cxn ang="0">
                <a:pos x="78" y="137"/>
              </a:cxn>
              <a:cxn ang="0">
                <a:pos x="63" y="136"/>
              </a:cxn>
              <a:cxn ang="0">
                <a:pos x="39" y="142"/>
              </a:cxn>
              <a:cxn ang="0">
                <a:pos x="38" y="151"/>
              </a:cxn>
              <a:cxn ang="0">
                <a:pos x="23" y="154"/>
              </a:cxn>
              <a:cxn ang="0">
                <a:pos x="12" y="159"/>
              </a:cxn>
              <a:cxn ang="0">
                <a:pos x="20" y="164"/>
              </a:cxn>
              <a:cxn ang="0">
                <a:pos x="4" y="170"/>
              </a:cxn>
              <a:cxn ang="0">
                <a:pos x="23" y="173"/>
              </a:cxn>
              <a:cxn ang="0">
                <a:pos x="35" y="176"/>
              </a:cxn>
              <a:cxn ang="0">
                <a:pos x="19" y="178"/>
              </a:cxn>
              <a:cxn ang="0">
                <a:pos x="0" y="184"/>
              </a:cxn>
              <a:cxn ang="0">
                <a:pos x="8" y="192"/>
              </a:cxn>
              <a:cxn ang="0">
                <a:pos x="24" y="187"/>
              </a:cxn>
              <a:cxn ang="0">
                <a:pos x="11" y="200"/>
              </a:cxn>
              <a:cxn ang="0">
                <a:pos x="6" y="209"/>
              </a:cxn>
              <a:cxn ang="0">
                <a:pos x="16" y="212"/>
              </a:cxn>
              <a:cxn ang="0">
                <a:pos x="24" y="228"/>
              </a:cxn>
              <a:cxn ang="0">
                <a:pos x="47" y="230"/>
              </a:cxn>
              <a:cxn ang="0">
                <a:pos x="82" y="211"/>
              </a:cxn>
              <a:cxn ang="0">
                <a:pos x="82" y="200"/>
              </a:cxn>
              <a:cxn ang="0">
                <a:pos x="93" y="214"/>
              </a:cxn>
              <a:cxn ang="0">
                <a:pos x="111" y="192"/>
              </a:cxn>
              <a:cxn ang="0">
                <a:pos x="107" y="154"/>
              </a:cxn>
              <a:cxn ang="0">
                <a:pos x="120" y="126"/>
              </a:cxn>
              <a:cxn ang="0">
                <a:pos x="144" y="95"/>
              </a:cxn>
              <a:cxn ang="0">
                <a:pos x="172" y="71"/>
              </a:cxn>
              <a:cxn ang="0">
                <a:pos x="195" y="55"/>
              </a:cxn>
              <a:cxn ang="0">
                <a:pos x="225" y="44"/>
              </a:cxn>
              <a:cxn ang="0">
                <a:pos x="242" y="35"/>
              </a:cxn>
              <a:cxn ang="0">
                <a:pos x="286" y="40"/>
              </a:cxn>
              <a:cxn ang="0">
                <a:pos x="317" y="24"/>
              </a:cxn>
              <a:cxn ang="0">
                <a:pos x="361" y="33"/>
              </a:cxn>
              <a:cxn ang="0">
                <a:pos x="390" y="24"/>
              </a:cxn>
            </a:cxnLst>
            <a:rect l="0" t="0" r="r" b="b"/>
            <a:pathLst>
              <a:path w="393" h="233">
                <a:moveTo>
                  <a:pt x="390" y="24"/>
                </a:moveTo>
                <a:lnTo>
                  <a:pt x="385" y="24"/>
                </a:lnTo>
                <a:lnTo>
                  <a:pt x="383" y="26"/>
                </a:lnTo>
                <a:lnTo>
                  <a:pt x="382" y="26"/>
                </a:lnTo>
                <a:lnTo>
                  <a:pt x="379" y="26"/>
                </a:lnTo>
                <a:lnTo>
                  <a:pt x="378" y="24"/>
                </a:lnTo>
                <a:lnTo>
                  <a:pt x="378" y="26"/>
                </a:lnTo>
                <a:lnTo>
                  <a:pt x="377" y="26"/>
                </a:lnTo>
                <a:lnTo>
                  <a:pt x="373" y="26"/>
                </a:lnTo>
                <a:lnTo>
                  <a:pt x="370" y="26"/>
                </a:lnTo>
                <a:lnTo>
                  <a:pt x="371" y="24"/>
                </a:lnTo>
                <a:lnTo>
                  <a:pt x="373" y="24"/>
                </a:lnTo>
                <a:lnTo>
                  <a:pt x="375" y="24"/>
                </a:lnTo>
                <a:lnTo>
                  <a:pt x="377" y="22"/>
                </a:lnTo>
                <a:lnTo>
                  <a:pt x="375" y="22"/>
                </a:lnTo>
                <a:lnTo>
                  <a:pt x="374" y="21"/>
                </a:lnTo>
                <a:lnTo>
                  <a:pt x="369" y="22"/>
                </a:lnTo>
                <a:lnTo>
                  <a:pt x="370" y="21"/>
                </a:lnTo>
                <a:lnTo>
                  <a:pt x="367" y="21"/>
                </a:lnTo>
                <a:lnTo>
                  <a:pt x="365" y="19"/>
                </a:lnTo>
                <a:lnTo>
                  <a:pt x="362" y="18"/>
                </a:lnTo>
                <a:lnTo>
                  <a:pt x="358" y="18"/>
                </a:lnTo>
                <a:lnTo>
                  <a:pt x="357" y="18"/>
                </a:lnTo>
                <a:lnTo>
                  <a:pt x="357" y="16"/>
                </a:lnTo>
                <a:lnTo>
                  <a:pt x="363" y="18"/>
                </a:lnTo>
                <a:lnTo>
                  <a:pt x="377" y="18"/>
                </a:lnTo>
                <a:lnTo>
                  <a:pt x="387" y="15"/>
                </a:lnTo>
                <a:lnTo>
                  <a:pt x="390" y="15"/>
                </a:lnTo>
                <a:lnTo>
                  <a:pt x="393" y="15"/>
                </a:lnTo>
                <a:lnTo>
                  <a:pt x="391" y="13"/>
                </a:lnTo>
                <a:lnTo>
                  <a:pt x="389" y="11"/>
                </a:lnTo>
                <a:lnTo>
                  <a:pt x="386" y="10"/>
                </a:lnTo>
                <a:lnTo>
                  <a:pt x="382" y="10"/>
                </a:lnTo>
                <a:lnTo>
                  <a:pt x="379" y="10"/>
                </a:lnTo>
                <a:lnTo>
                  <a:pt x="382" y="10"/>
                </a:lnTo>
                <a:lnTo>
                  <a:pt x="378" y="8"/>
                </a:lnTo>
                <a:lnTo>
                  <a:pt x="377" y="7"/>
                </a:lnTo>
                <a:lnTo>
                  <a:pt x="374" y="8"/>
                </a:lnTo>
                <a:lnTo>
                  <a:pt x="373" y="8"/>
                </a:lnTo>
                <a:lnTo>
                  <a:pt x="371" y="7"/>
                </a:lnTo>
                <a:lnTo>
                  <a:pt x="366" y="8"/>
                </a:lnTo>
                <a:lnTo>
                  <a:pt x="366" y="7"/>
                </a:lnTo>
                <a:lnTo>
                  <a:pt x="366" y="5"/>
                </a:lnTo>
                <a:lnTo>
                  <a:pt x="365" y="5"/>
                </a:lnTo>
                <a:lnTo>
                  <a:pt x="362" y="5"/>
                </a:lnTo>
                <a:lnTo>
                  <a:pt x="359" y="5"/>
                </a:lnTo>
                <a:lnTo>
                  <a:pt x="358" y="5"/>
                </a:lnTo>
                <a:lnTo>
                  <a:pt x="355" y="7"/>
                </a:lnTo>
                <a:lnTo>
                  <a:pt x="355" y="8"/>
                </a:lnTo>
                <a:lnTo>
                  <a:pt x="354" y="10"/>
                </a:lnTo>
                <a:lnTo>
                  <a:pt x="355" y="11"/>
                </a:lnTo>
                <a:lnTo>
                  <a:pt x="351" y="13"/>
                </a:lnTo>
                <a:lnTo>
                  <a:pt x="349" y="11"/>
                </a:lnTo>
                <a:lnTo>
                  <a:pt x="346" y="11"/>
                </a:lnTo>
                <a:lnTo>
                  <a:pt x="349" y="10"/>
                </a:lnTo>
                <a:lnTo>
                  <a:pt x="351" y="8"/>
                </a:lnTo>
                <a:lnTo>
                  <a:pt x="350" y="8"/>
                </a:lnTo>
                <a:lnTo>
                  <a:pt x="346" y="8"/>
                </a:lnTo>
                <a:lnTo>
                  <a:pt x="343" y="8"/>
                </a:lnTo>
                <a:lnTo>
                  <a:pt x="347" y="8"/>
                </a:lnTo>
                <a:lnTo>
                  <a:pt x="345" y="7"/>
                </a:lnTo>
                <a:lnTo>
                  <a:pt x="346" y="5"/>
                </a:lnTo>
                <a:lnTo>
                  <a:pt x="351" y="5"/>
                </a:lnTo>
                <a:lnTo>
                  <a:pt x="353" y="4"/>
                </a:lnTo>
                <a:lnTo>
                  <a:pt x="354" y="2"/>
                </a:lnTo>
                <a:lnTo>
                  <a:pt x="350" y="2"/>
                </a:lnTo>
                <a:lnTo>
                  <a:pt x="349" y="0"/>
                </a:lnTo>
                <a:lnTo>
                  <a:pt x="347" y="0"/>
                </a:lnTo>
                <a:lnTo>
                  <a:pt x="343" y="2"/>
                </a:lnTo>
                <a:lnTo>
                  <a:pt x="341" y="0"/>
                </a:lnTo>
                <a:lnTo>
                  <a:pt x="339" y="2"/>
                </a:lnTo>
                <a:lnTo>
                  <a:pt x="338" y="5"/>
                </a:lnTo>
                <a:lnTo>
                  <a:pt x="337" y="5"/>
                </a:lnTo>
                <a:lnTo>
                  <a:pt x="335" y="7"/>
                </a:lnTo>
                <a:lnTo>
                  <a:pt x="334" y="8"/>
                </a:lnTo>
                <a:lnTo>
                  <a:pt x="335" y="8"/>
                </a:lnTo>
                <a:lnTo>
                  <a:pt x="333" y="8"/>
                </a:lnTo>
                <a:lnTo>
                  <a:pt x="331" y="10"/>
                </a:lnTo>
                <a:lnTo>
                  <a:pt x="333" y="11"/>
                </a:lnTo>
                <a:lnTo>
                  <a:pt x="329" y="11"/>
                </a:lnTo>
                <a:lnTo>
                  <a:pt x="325" y="13"/>
                </a:lnTo>
                <a:lnTo>
                  <a:pt x="325" y="11"/>
                </a:lnTo>
                <a:lnTo>
                  <a:pt x="326" y="10"/>
                </a:lnTo>
                <a:lnTo>
                  <a:pt x="323" y="8"/>
                </a:lnTo>
                <a:lnTo>
                  <a:pt x="326" y="7"/>
                </a:lnTo>
                <a:lnTo>
                  <a:pt x="326" y="5"/>
                </a:lnTo>
                <a:lnTo>
                  <a:pt x="326" y="4"/>
                </a:lnTo>
                <a:lnTo>
                  <a:pt x="325" y="4"/>
                </a:lnTo>
                <a:lnTo>
                  <a:pt x="323" y="4"/>
                </a:lnTo>
                <a:lnTo>
                  <a:pt x="314" y="10"/>
                </a:lnTo>
                <a:lnTo>
                  <a:pt x="313" y="11"/>
                </a:lnTo>
                <a:lnTo>
                  <a:pt x="310" y="13"/>
                </a:lnTo>
                <a:lnTo>
                  <a:pt x="308" y="13"/>
                </a:lnTo>
                <a:lnTo>
                  <a:pt x="306" y="16"/>
                </a:lnTo>
                <a:lnTo>
                  <a:pt x="309" y="15"/>
                </a:lnTo>
                <a:lnTo>
                  <a:pt x="302" y="19"/>
                </a:lnTo>
                <a:lnTo>
                  <a:pt x="301" y="19"/>
                </a:lnTo>
                <a:lnTo>
                  <a:pt x="301" y="18"/>
                </a:lnTo>
                <a:lnTo>
                  <a:pt x="301" y="16"/>
                </a:lnTo>
                <a:lnTo>
                  <a:pt x="302" y="16"/>
                </a:lnTo>
                <a:lnTo>
                  <a:pt x="304" y="15"/>
                </a:lnTo>
                <a:lnTo>
                  <a:pt x="304" y="13"/>
                </a:lnTo>
                <a:lnTo>
                  <a:pt x="304" y="11"/>
                </a:lnTo>
                <a:lnTo>
                  <a:pt x="306" y="10"/>
                </a:lnTo>
                <a:lnTo>
                  <a:pt x="312" y="7"/>
                </a:lnTo>
                <a:lnTo>
                  <a:pt x="314" y="5"/>
                </a:lnTo>
                <a:lnTo>
                  <a:pt x="312" y="5"/>
                </a:lnTo>
                <a:lnTo>
                  <a:pt x="308" y="5"/>
                </a:lnTo>
                <a:lnTo>
                  <a:pt x="305" y="5"/>
                </a:lnTo>
                <a:lnTo>
                  <a:pt x="304" y="5"/>
                </a:lnTo>
                <a:lnTo>
                  <a:pt x="302" y="4"/>
                </a:lnTo>
                <a:lnTo>
                  <a:pt x="301" y="4"/>
                </a:lnTo>
                <a:lnTo>
                  <a:pt x="301" y="2"/>
                </a:lnTo>
                <a:lnTo>
                  <a:pt x="298" y="4"/>
                </a:lnTo>
                <a:lnTo>
                  <a:pt x="296" y="4"/>
                </a:lnTo>
                <a:lnTo>
                  <a:pt x="296" y="7"/>
                </a:lnTo>
                <a:lnTo>
                  <a:pt x="292" y="5"/>
                </a:lnTo>
                <a:lnTo>
                  <a:pt x="293" y="7"/>
                </a:lnTo>
                <a:lnTo>
                  <a:pt x="296" y="8"/>
                </a:lnTo>
                <a:lnTo>
                  <a:pt x="292" y="8"/>
                </a:lnTo>
                <a:lnTo>
                  <a:pt x="290" y="10"/>
                </a:lnTo>
                <a:lnTo>
                  <a:pt x="290" y="11"/>
                </a:lnTo>
                <a:lnTo>
                  <a:pt x="284" y="11"/>
                </a:lnTo>
                <a:lnTo>
                  <a:pt x="281" y="13"/>
                </a:lnTo>
                <a:lnTo>
                  <a:pt x="280" y="15"/>
                </a:lnTo>
                <a:lnTo>
                  <a:pt x="276" y="16"/>
                </a:lnTo>
                <a:lnTo>
                  <a:pt x="276" y="18"/>
                </a:lnTo>
                <a:lnTo>
                  <a:pt x="276" y="19"/>
                </a:lnTo>
                <a:lnTo>
                  <a:pt x="276" y="21"/>
                </a:lnTo>
                <a:lnTo>
                  <a:pt x="273" y="21"/>
                </a:lnTo>
                <a:lnTo>
                  <a:pt x="272" y="19"/>
                </a:lnTo>
                <a:lnTo>
                  <a:pt x="273" y="18"/>
                </a:lnTo>
                <a:lnTo>
                  <a:pt x="269" y="18"/>
                </a:lnTo>
                <a:lnTo>
                  <a:pt x="272" y="16"/>
                </a:lnTo>
                <a:lnTo>
                  <a:pt x="270" y="16"/>
                </a:lnTo>
                <a:lnTo>
                  <a:pt x="262" y="16"/>
                </a:lnTo>
                <a:lnTo>
                  <a:pt x="264" y="18"/>
                </a:lnTo>
                <a:lnTo>
                  <a:pt x="262" y="18"/>
                </a:lnTo>
                <a:lnTo>
                  <a:pt x="260" y="18"/>
                </a:lnTo>
                <a:lnTo>
                  <a:pt x="260" y="16"/>
                </a:lnTo>
                <a:lnTo>
                  <a:pt x="258" y="16"/>
                </a:lnTo>
                <a:lnTo>
                  <a:pt x="257" y="15"/>
                </a:lnTo>
                <a:lnTo>
                  <a:pt x="256" y="16"/>
                </a:lnTo>
                <a:lnTo>
                  <a:pt x="254" y="15"/>
                </a:lnTo>
                <a:lnTo>
                  <a:pt x="253" y="16"/>
                </a:lnTo>
                <a:lnTo>
                  <a:pt x="253" y="18"/>
                </a:lnTo>
                <a:lnTo>
                  <a:pt x="252" y="16"/>
                </a:lnTo>
                <a:lnTo>
                  <a:pt x="250" y="15"/>
                </a:lnTo>
                <a:lnTo>
                  <a:pt x="249" y="15"/>
                </a:lnTo>
                <a:lnTo>
                  <a:pt x="249" y="18"/>
                </a:lnTo>
                <a:lnTo>
                  <a:pt x="254" y="19"/>
                </a:lnTo>
                <a:lnTo>
                  <a:pt x="256" y="19"/>
                </a:lnTo>
                <a:lnTo>
                  <a:pt x="256" y="21"/>
                </a:lnTo>
                <a:lnTo>
                  <a:pt x="256" y="22"/>
                </a:lnTo>
                <a:lnTo>
                  <a:pt x="257" y="24"/>
                </a:lnTo>
                <a:lnTo>
                  <a:pt x="257" y="26"/>
                </a:lnTo>
                <a:lnTo>
                  <a:pt x="254" y="24"/>
                </a:lnTo>
                <a:lnTo>
                  <a:pt x="249" y="21"/>
                </a:lnTo>
                <a:lnTo>
                  <a:pt x="245" y="19"/>
                </a:lnTo>
                <a:lnTo>
                  <a:pt x="246" y="22"/>
                </a:lnTo>
                <a:lnTo>
                  <a:pt x="245" y="22"/>
                </a:lnTo>
                <a:lnTo>
                  <a:pt x="244" y="22"/>
                </a:lnTo>
                <a:lnTo>
                  <a:pt x="242" y="22"/>
                </a:lnTo>
                <a:lnTo>
                  <a:pt x="241" y="24"/>
                </a:lnTo>
                <a:lnTo>
                  <a:pt x="241" y="22"/>
                </a:lnTo>
                <a:lnTo>
                  <a:pt x="240" y="22"/>
                </a:lnTo>
                <a:lnTo>
                  <a:pt x="241" y="21"/>
                </a:lnTo>
                <a:lnTo>
                  <a:pt x="240" y="22"/>
                </a:lnTo>
                <a:lnTo>
                  <a:pt x="237" y="22"/>
                </a:lnTo>
                <a:lnTo>
                  <a:pt x="236" y="24"/>
                </a:lnTo>
                <a:lnTo>
                  <a:pt x="234" y="24"/>
                </a:lnTo>
                <a:lnTo>
                  <a:pt x="236" y="26"/>
                </a:lnTo>
                <a:lnTo>
                  <a:pt x="236" y="27"/>
                </a:lnTo>
                <a:lnTo>
                  <a:pt x="232" y="29"/>
                </a:lnTo>
                <a:lnTo>
                  <a:pt x="229" y="30"/>
                </a:lnTo>
                <a:lnTo>
                  <a:pt x="228" y="32"/>
                </a:lnTo>
                <a:lnTo>
                  <a:pt x="230" y="29"/>
                </a:lnTo>
                <a:lnTo>
                  <a:pt x="230" y="26"/>
                </a:lnTo>
                <a:lnTo>
                  <a:pt x="232" y="24"/>
                </a:lnTo>
                <a:lnTo>
                  <a:pt x="230" y="21"/>
                </a:lnTo>
                <a:lnTo>
                  <a:pt x="228" y="22"/>
                </a:lnTo>
                <a:lnTo>
                  <a:pt x="226" y="22"/>
                </a:lnTo>
                <a:lnTo>
                  <a:pt x="224" y="26"/>
                </a:lnTo>
                <a:lnTo>
                  <a:pt x="222" y="27"/>
                </a:lnTo>
                <a:lnTo>
                  <a:pt x="221" y="30"/>
                </a:lnTo>
                <a:lnTo>
                  <a:pt x="221" y="24"/>
                </a:lnTo>
                <a:lnTo>
                  <a:pt x="214" y="24"/>
                </a:lnTo>
                <a:lnTo>
                  <a:pt x="212" y="26"/>
                </a:lnTo>
                <a:lnTo>
                  <a:pt x="212" y="27"/>
                </a:lnTo>
                <a:lnTo>
                  <a:pt x="212" y="29"/>
                </a:lnTo>
                <a:lnTo>
                  <a:pt x="214" y="30"/>
                </a:lnTo>
                <a:lnTo>
                  <a:pt x="217" y="32"/>
                </a:lnTo>
                <a:lnTo>
                  <a:pt x="218" y="32"/>
                </a:lnTo>
                <a:lnTo>
                  <a:pt x="218" y="33"/>
                </a:lnTo>
                <a:lnTo>
                  <a:pt x="216" y="33"/>
                </a:lnTo>
                <a:lnTo>
                  <a:pt x="214" y="32"/>
                </a:lnTo>
                <a:lnTo>
                  <a:pt x="212" y="30"/>
                </a:lnTo>
                <a:lnTo>
                  <a:pt x="209" y="29"/>
                </a:lnTo>
                <a:lnTo>
                  <a:pt x="206" y="29"/>
                </a:lnTo>
                <a:lnTo>
                  <a:pt x="204" y="29"/>
                </a:lnTo>
                <a:lnTo>
                  <a:pt x="205" y="30"/>
                </a:lnTo>
                <a:lnTo>
                  <a:pt x="209" y="32"/>
                </a:lnTo>
                <a:lnTo>
                  <a:pt x="206" y="33"/>
                </a:lnTo>
                <a:lnTo>
                  <a:pt x="204" y="32"/>
                </a:lnTo>
                <a:lnTo>
                  <a:pt x="203" y="33"/>
                </a:lnTo>
                <a:lnTo>
                  <a:pt x="203" y="32"/>
                </a:lnTo>
                <a:lnTo>
                  <a:pt x="200" y="32"/>
                </a:lnTo>
                <a:lnTo>
                  <a:pt x="201" y="30"/>
                </a:lnTo>
                <a:lnTo>
                  <a:pt x="200" y="29"/>
                </a:lnTo>
                <a:lnTo>
                  <a:pt x="199" y="30"/>
                </a:lnTo>
                <a:lnTo>
                  <a:pt x="197" y="32"/>
                </a:lnTo>
                <a:lnTo>
                  <a:pt x="197" y="33"/>
                </a:lnTo>
                <a:lnTo>
                  <a:pt x="199" y="35"/>
                </a:lnTo>
                <a:lnTo>
                  <a:pt x="192" y="37"/>
                </a:lnTo>
                <a:lnTo>
                  <a:pt x="191" y="37"/>
                </a:lnTo>
                <a:lnTo>
                  <a:pt x="189" y="38"/>
                </a:lnTo>
                <a:lnTo>
                  <a:pt x="189" y="40"/>
                </a:lnTo>
                <a:lnTo>
                  <a:pt x="192" y="40"/>
                </a:lnTo>
                <a:lnTo>
                  <a:pt x="193" y="40"/>
                </a:lnTo>
                <a:lnTo>
                  <a:pt x="191" y="40"/>
                </a:lnTo>
                <a:lnTo>
                  <a:pt x="192" y="41"/>
                </a:lnTo>
                <a:lnTo>
                  <a:pt x="192" y="43"/>
                </a:lnTo>
                <a:lnTo>
                  <a:pt x="188" y="41"/>
                </a:lnTo>
                <a:lnTo>
                  <a:pt x="187" y="41"/>
                </a:lnTo>
                <a:lnTo>
                  <a:pt x="189" y="43"/>
                </a:lnTo>
                <a:lnTo>
                  <a:pt x="188" y="43"/>
                </a:lnTo>
                <a:lnTo>
                  <a:pt x="184" y="43"/>
                </a:lnTo>
                <a:lnTo>
                  <a:pt x="184" y="44"/>
                </a:lnTo>
                <a:lnTo>
                  <a:pt x="181" y="43"/>
                </a:lnTo>
                <a:lnTo>
                  <a:pt x="177" y="44"/>
                </a:lnTo>
                <a:lnTo>
                  <a:pt x="176" y="44"/>
                </a:lnTo>
                <a:lnTo>
                  <a:pt x="175" y="46"/>
                </a:lnTo>
                <a:lnTo>
                  <a:pt x="173" y="46"/>
                </a:lnTo>
                <a:lnTo>
                  <a:pt x="177" y="48"/>
                </a:lnTo>
                <a:lnTo>
                  <a:pt x="180" y="46"/>
                </a:lnTo>
                <a:lnTo>
                  <a:pt x="181" y="46"/>
                </a:lnTo>
                <a:lnTo>
                  <a:pt x="185" y="48"/>
                </a:lnTo>
                <a:lnTo>
                  <a:pt x="188" y="46"/>
                </a:lnTo>
                <a:lnTo>
                  <a:pt x="189" y="46"/>
                </a:lnTo>
                <a:lnTo>
                  <a:pt x="191" y="48"/>
                </a:lnTo>
                <a:lnTo>
                  <a:pt x="188" y="48"/>
                </a:lnTo>
                <a:lnTo>
                  <a:pt x="187" y="48"/>
                </a:lnTo>
                <a:lnTo>
                  <a:pt x="185" y="51"/>
                </a:lnTo>
                <a:lnTo>
                  <a:pt x="181" y="49"/>
                </a:lnTo>
                <a:lnTo>
                  <a:pt x="179" y="49"/>
                </a:lnTo>
                <a:lnTo>
                  <a:pt x="177" y="48"/>
                </a:lnTo>
                <a:lnTo>
                  <a:pt x="175" y="48"/>
                </a:lnTo>
                <a:lnTo>
                  <a:pt x="171" y="49"/>
                </a:lnTo>
                <a:lnTo>
                  <a:pt x="169" y="49"/>
                </a:lnTo>
                <a:lnTo>
                  <a:pt x="172" y="52"/>
                </a:lnTo>
                <a:lnTo>
                  <a:pt x="171" y="52"/>
                </a:lnTo>
                <a:lnTo>
                  <a:pt x="172" y="54"/>
                </a:lnTo>
                <a:lnTo>
                  <a:pt x="172" y="55"/>
                </a:lnTo>
                <a:lnTo>
                  <a:pt x="171" y="55"/>
                </a:lnTo>
                <a:lnTo>
                  <a:pt x="171" y="57"/>
                </a:lnTo>
                <a:lnTo>
                  <a:pt x="168" y="57"/>
                </a:lnTo>
                <a:lnTo>
                  <a:pt x="167" y="52"/>
                </a:lnTo>
                <a:lnTo>
                  <a:pt x="164" y="52"/>
                </a:lnTo>
                <a:lnTo>
                  <a:pt x="164" y="54"/>
                </a:lnTo>
                <a:lnTo>
                  <a:pt x="161" y="54"/>
                </a:lnTo>
                <a:lnTo>
                  <a:pt x="160" y="54"/>
                </a:lnTo>
                <a:lnTo>
                  <a:pt x="164" y="55"/>
                </a:lnTo>
                <a:lnTo>
                  <a:pt x="163" y="55"/>
                </a:lnTo>
                <a:lnTo>
                  <a:pt x="160" y="55"/>
                </a:lnTo>
                <a:lnTo>
                  <a:pt x="159" y="55"/>
                </a:lnTo>
                <a:lnTo>
                  <a:pt x="157" y="57"/>
                </a:lnTo>
                <a:lnTo>
                  <a:pt x="159" y="59"/>
                </a:lnTo>
                <a:lnTo>
                  <a:pt x="160" y="59"/>
                </a:lnTo>
                <a:lnTo>
                  <a:pt x="159" y="60"/>
                </a:lnTo>
                <a:lnTo>
                  <a:pt x="160" y="60"/>
                </a:lnTo>
                <a:lnTo>
                  <a:pt x="159" y="60"/>
                </a:lnTo>
                <a:lnTo>
                  <a:pt x="157" y="62"/>
                </a:lnTo>
                <a:lnTo>
                  <a:pt x="156" y="63"/>
                </a:lnTo>
                <a:lnTo>
                  <a:pt x="155" y="63"/>
                </a:lnTo>
                <a:lnTo>
                  <a:pt x="157" y="63"/>
                </a:lnTo>
                <a:lnTo>
                  <a:pt x="163" y="63"/>
                </a:lnTo>
                <a:lnTo>
                  <a:pt x="159" y="65"/>
                </a:lnTo>
                <a:lnTo>
                  <a:pt x="157" y="65"/>
                </a:lnTo>
                <a:lnTo>
                  <a:pt x="152" y="65"/>
                </a:lnTo>
                <a:lnTo>
                  <a:pt x="151" y="63"/>
                </a:lnTo>
                <a:lnTo>
                  <a:pt x="148" y="63"/>
                </a:lnTo>
                <a:lnTo>
                  <a:pt x="145" y="65"/>
                </a:lnTo>
                <a:lnTo>
                  <a:pt x="144" y="66"/>
                </a:lnTo>
                <a:lnTo>
                  <a:pt x="141" y="68"/>
                </a:lnTo>
                <a:lnTo>
                  <a:pt x="143" y="68"/>
                </a:lnTo>
                <a:lnTo>
                  <a:pt x="143" y="70"/>
                </a:lnTo>
                <a:lnTo>
                  <a:pt x="140" y="71"/>
                </a:lnTo>
                <a:lnTo>
                  <a:pt x="139" y="73"/>
                </a:lnTo>
                <a:lnTo>
                  <a:pt x="137" y="73"/>
                </a:lnTo>
                <a:lnTo>
                  <a:pt x="136" y="73"/>
                </a:lnTo>
                <a:lnTo>
                  <a:pt x="133" y="73"/>
                </a:lnTo>
                <a:lnTo>
                  <a:pt x="131" y="74"/>
                </a:lnTo>
                <a:lnTo>
                  <a:pt x="133" y="76"/>
                </a:lnTo>
                <a:lnTo>
                  <a:pt x="132" y="77"/>
                </a:lnTo>
                <a:lnTo>
                  <a:pt x="129" y="77"/>
                </a:lnTo>
                <a:lnTo>
                  <a:pt x="125" y="79"/>
                </a:lnTo>
                <a:lnTo>
                  <a:pt x="127" y="79"/>
                </a:lnTo>
                <a:lnTo>
                  <a:pt x="125" y="79"/>
                </a:lnTo>
                <a:lnTo>
                  <a:pt x="124" y="81"/>
                </a:lnTo>
                <a:lnTo>
                  <a:pt x="128" y="81"/>
                </a:lnTo>
                <a:lnTo>
                  <a:pt x="128" y="82"/>
                </a:lnTo>
                <a:lnTo>
                  <a:pt x="125" y="82"/>
                </a:lnTo>
                <a:lnTo>
                  <a:pt x="123" y="82"/>
                </a:lnTo>
                <a:lnTo>
                  <a:pt x="124" y="84"/>
                </a:lnTo>
                <a:lnTo>
                  <a:pt x="125" y="85"/>
                </a:lnTo>
                <a:lnTo>
                  <a:pt x="127" y="84"/>
                </a:lnTo>
                <a:lnTo>
                  <a:pt x="128" y="85"/>
                </a:lnTo>
                <a:lnTo>
                  <a:pt x="127" y="85"/>
                </a:lnTo>
                <a:lnTo>
                  <a:pt x="121" y="87"/>
                </a:lnTo>
                <a:lnTo>
                  <a:pt x="120" y="87"/>
                </a:lnTo>
                <a:lnTo>
                  <a:pt x="120" y="88"/>
                </a:lnTo>
                <a:lnTo>
                  <a:pt x="117" y="90"/>
                </a:lnTo>
                <a:lnTo>
                  <a:pt x="115" y="90"/>
                </a:lnTo>
                <a:lnTo>
                  <a:pt x="113" y="92"/>
                </a:lnTo>
                <a:lnTo>
                  <a:pt x="116" y="92"/>
                </a:lnTo>
                <a:lnTo>
                  <a:pt x="119" y="90"/>
                </a:lnTo>
                <a:lnTo>
                  <a:pt x="121" y="90"/>
                </a:lnTo>
                <a:lnTo>
                  <a:pt x="121" y="92"/>
                </a:lnTo>
                <a:lnTo>
                  <a:pt x="123" y="93"/>
                </a:lnTo>
                <a:lnTo>
                  <a:pt x="117" y="92"/>
                </a:lnTo>
                <a:lnTo>
                  <a:pt x="117" y="93"/>
                </a:lnTo>
                <a:lnTo>
                  <a:pt x="119" y="93"/>
                </a:lnTo>
                <a:lnTo>
                  <a:pt x="116" y="95"/>
                </a:lnTo>
                <a:lnTo>
                  <a:pt x="116" y="96"/>
                </a:lnTo>
                <a:lnTo>
                  <a:pt x="113" y="96"/>
                </a:lnTo>
                <a:lnTo>
                  <a:pt x="113" y="98"/>
                </a:lnTo>
                <a:lnTo>
                  <a:pt x="115" y="99"/>
                </a:lnTo>
                <a:lnTo>
                  <a:pt x="116" y="101"/>
                </a:lnTo>
                <a:lnTo>
                  <a:pt x="113" y="101"/>
                </a:lnTo>
                <a:lnTo>
                  <a:pt x="112" y="101"/>
                </a:lnTo>
                <a:lnTo>
                  <a:pt x="111" y="98"/>
                </a:lnTo>
                <a:lnTo>
                  <a:pt x="111" y="101"/>
                </a:lnTo>
                <a:lnTo>
                  <a:pt x="109" y="101"/>
                </a:lnTo>
                <a:lnTo>
                  <a:pt x="108" y="103"/>
                </a:lnTo>
                <a:lnTo>
                  <a:pt x="107" y="103"/>
                </a:lnTo>
                <a:lnTo>
                  <a:pt x="108" y="104"/>
                </a:lnTo>
                <a:lnTo>
                  <a:pt x="109" y="103"/>
                </a:lnTo>
                <a:lnTo>
                  <a:pt x="111" y="103"/>
                </a:lnTo>
                <a:lnTo>
                  <a:pt x="112" y="103"/>
                </a:lnTo>
                <a:lnTo>
                  <a:pt x="111" y="103"/>
                </a:lnTo>
                <a:lnTo>
                  <a:pt x="111" y="104"/>
                </a:lnTo>
                <a:lnTo>
                  <a:pt x="112" y="106"/>
                </a:lnTo>
                <a:lnTo>
                  <a:pt x="109" y="106"/>
                </a:lnTo>
                <a:lnTo>
                  <a:pt x="107" y="106"/>
                </a:lnTo>
                <a:lnTo>
                  <a:pt x="105" y="106"/>
                </a:lnTo>
                <a:lnTo>
                  <a:pt x="104" y="106"/>
                </a:lnTo>
                <a:lnTo>
                  <a:pt x="101" y="107"/>
                </a:lnTo>
                <a:lnTo>
                  <a:pt x="101" y="109"/>
                </a:lnTo>
                <a:lnTo>
                  <a:pt x="99" y="109"/>
                </a:lnTo>
                <a:lnTo>
                  <a:pt x="97" y="110"/>
                </a:lnTo>
                <a:lnTo>
                  <a:pt x="96" y="112"/>
                </a:lnTo>
                <a:lnTo>
                  <a:pt x="99" y="112"/>
                </a:lnTo>
                <a:lnTo>
                  <a:pt x="101" y="112"/>
                </a:lnTo>
                <a:lnTo>
                  <a:pt x="97" y="114"/>
                </a:lnTo>
                <a:lnTo>
                  <a:pt x="97" y="115"/>
                </a:lnTo>
                <a:lnTo>
                  <a:pt x="99" y="117"/>
                </a:lnTo>
                <a:lnTo>
                  <a:pt x="97" y="117"/>
                </a:lnTo>
                <a:lnTo>
                  <a:pt x="93" y="117"/>
                </a:lnTo>
                <a:lnTo>
                  <a:pt x="91" y="115"/>
                </a:lnTo>
                <a:lnTo>
                  <a:pt x="90" y="115"/>
                </a:lnTo>
                <a:lnTo>
                  <a:pt x="87" y="118"/>
                </a:lnTo>
                <a:lnTo>
                  <a:pt x="84" y="118"/>
                </a:lnTo>
                <a:lnTo>
                  <a:pt x="84" y="120"/>
                </a:lnTo>
                <a:lnTo>
                  <a:pt x="82" y="120"/>
                </a:lnTo>
                <a:lnTo>
                  <a:pt x="78" y="125"/>
                </a:lnTo>
                <a:lnTo>
                  <a:pt x="76" y="125"/>
                </a:lnTo>
                <a:lnTo>
                  <a:pt x="78" y="126"/>
                </a:lnTo>
                <a:lnTo>
                  <a:pt x="78" y="128"/>
                </a:lnTo>
                <a:lnTo>
                  <a:pt x="71" y="129"/>
                </a:lnTo>
                <a:lnTo>
                  <a:pt x="71" y="131"/>
                </a:lnTo>
                <a:lnTo>
                  <a:pt x="72" y="131"/>
                </a:lnTo>
                <a:lnTo>
                  <a:pt x="76" y="131"/>
                </a:lnTo>
                <a:lnTo>
                  <a:pt x="75" y="132"/>
                </a:lnTo>
                <a:lnTo>
                  <a:pt x="76" y="134"/>
                </a:lnTo>
                <a:lnTo>
                  <a:pt x="79" y="134"/>
                </a:lnTo>
                <a:lnTo>
                  <a:pt x="88" y="131"/>
                </a:lnTo>
                <a:lnTo>
                  <a:pt x="95" y="129"/>
                </a:lnTo>
                <a:lnTo>
                  <a:pt x="96" y="128"/>
                </a:lnTo>
                <a:lnTo>
                  <a:pt x="97" y="129"/>
                </a:lnTo>
                <a:lnTo>
                  <a:pt x="96" y="129"/>
                </a:lnTo>
                <a:lnTo>
                  <a:pt x="92" y="131"/>
                </a:lnTo>
                <a:lnTo>
                  <a:pt x="91" y="131"/>
                </a:lnTo>
                <a:lnTo>
                  <a:pt x="87" y="132"/>
                </a:lnTo>
                <a:lnTo>
                  <a:pt x="86" y="132"/>
                </a:lnTo>
                <a:lnTo>
                  <a:pt x="87" y="134"/>
                </a:lnTo>
                <a:lnTo>
                  <a:pt x="82" y="136"/>
                </a:lnTo>
                <a:lnTo>
                  <a:pt x="79" y="136"/>
                </a:lnTo>
                <a:lnTo>
                  <a:pt x="78" y="136"/>
                </a:lnTo>
                <a:lnTo>
                  <a:pt x="79" y="137"/>
                </a:lnTo>
                <a:lnTo>
                  <a:pt x="78" y="137"/>
                </a:lnTo>
                <a:lnTo>
                  <a:pt x="75" y="137"/>
                </a:lnTo>
                <a:lnTo>
                  <a:pt x="75" y="136"/>
                </a:lnTo>
                <a:lnTo>
                  <a:pt x="72" y="134"/>
                </a:lnTo>
                <a:lnTo>
                  <a:pt x="71" y="132"/>
                </a:lnTo>
                <a:lnTo>
                  <a:pt x="70" y="132"/>
                </a:lnTo>
                <a:lnTo>
                  <a:pt x="70" y="134"/>
                </a:lnTo>
                <a:lnTo>
                  <a:pt x="67" y="134"/>
                </a:lnTo>
                <a:lnTo>
                  <a:pt x="66" y="134"/>
                </a:lnTo>
                <a:lnTo>
                  <a:pt x="66" y="136"/>
                </a:lnTo>
                <a:lnTo>
                  <a:pt x="67" y="137"/>
                </a:lnTo>
                <a:lnTo>
                  <a:pt x="64" y="139"/>
                </a:lnTo>
                <a:lnTo>
                  <a:pt x="63" y="137"/>
                </a:lnTo>
                <a:lnTo>
                  <a:pt x="63" y="136"/>
                </a:lnTo>
                <a:lnTo>
                  <a:pt x="55" y="137"/>
                </a:lnTo>
                <a:lnTo>
                  <a:pt x="54" y="137"/>
                </a:lnTo>
                <a:lnTo>
                  <a:pt x="52" y="139"/>
                </a:lnTo>
                <a:lnTo>
                  <a:pt x="51" y="139"/>
                </a:lnTo>
                <a:lnTo>
                  <a:pt x="51" y="140"/>
                </a:lnTo>
                <a:lnTo>
                  <a:pt x="48" y="140"/>
                </a:lnTo>
                <a:lnTo>
                  <a:pt x="48" y="139"/>
                </a:lnTo>
                <a:lnTo>
                  <a:pt x="47" y="139"/>
                </a:lnTo>
                <a:lnTo>
                  <a:pt x="46" y="140"/>
                </a:lnTo>
                <a:lnTo>
                  <a:pt x="47" y="140"/>
                </a:lnTo>
                <a:lnTo>
                  <a:pt x="46" y="142"/>
                </a:lnTo>
                <a:lnTo>
                  <a:pt x="43" y="142"/>
                </a:lnTo>
                <a:lnTo>
                  <a:pt x="39" y="142"/>
                </a:lnTo>
                <a:lnTo>
                  <a:pt x="39" y="143"/>
                </a:lnTo>
                <a:lnTo>
                  <a:pt x="38" y="147"/>
                </a:lnTo>
                <a:lnTo>
                  <a:pt x="35" y="145"/>
                </a:lnTo>
                <a:lnTo>
                  <a:pt x="32" y="145"/>
                </a:lnTo>
                <a:lnTo>
                  <a:pt x="31" y="147"/>
                </a:lnTo>
                <a:lnTo>
                  <a:pt x="30" y="147"/>
                </a:lnTo>
                <a:lnTo>
                  <a:pt x="32" y="148"/>
                </a:lnTo>
                <a:lnTo>
                  <a:pt x="31" y="148"/>
                </a:lnTo>
                <a:lnTo>
                  <a:pt x="34" y="150"/>
                </a:lnTo>
                <a:lnTo>
                  <a:pt x="36" y="148"/>
                </a:lnTo>
                <a:lnTo>
                  <a:pt x="38" y="150"/>
                </a:lnTo>
                <a:lnTo>
                  <a:pt x="39" y="150"/>
                </a:lnTo>
                <a:lnTo>
                  <a:pt x="38" y="151"/>
                </a:lnTo>
                <a:lnTo>
                  <a:pt x="39" y="153"/>
                </a:lnTo>
                <a:lnTo>
                  <a:pt x="36" y="151"/>
                </a:lnTo>
                <a:lnTo>
                  <a:pt x="34" y="151"/>
                </a:lnTo>
                <a:lnTo>
                  <a:pt x="27" y="151"/>
                </a:lnTo>
                <a:lnTo>
                  <a:pt x="26" y="151"/>
                </a:lnTo>
                <a:lnTo>
                  <a:pt x="24" y="151"/>
                </a:lnTo>
                <a:lnTo>
                  <a:pt x="23" y="151"/>
                </a:lnTo>
                <a:lnTo>
                  <a:pt x="20" y="153"/>
                </a:lnTo>
                <a:lnTo>
                  <a:pt x="22" y="153"/>
                </a:lnTo>
                <a:lnTo>
                  <a:pt x="23" y="153"/>
                </a:lnTo>
                <a:lnTo>
                  <a:pt x="22" y="153"/>
                </a:lnTo>
                <a:lnTo>
                  <a:pt x="22" y="154"/>
                </a:lnTo>
                <a:lnTo>
                  <a:pt x="23" y="154"/>
                </a:lnTo>
                <a:lnTo>
                  <a:pt x="24" y="154"/>
                </a:lnTo>
                <a:lnTo>
                  <a:pt x="23" y="156"/>
                </a:lnTo>
                <a:lnTo>
                  <a:pt x="24" y="159"/>
                </a:lnTo>
                <a:lnTo>
                  <a:pt x="23" y="159"/>
                </a:lnTo>
                <a:lnTo>
                  <a:pt x="22" y="158"/>
                </a:lnTo>
                <a:lnTo>
                  <a:pt x="20" y="156"/>
                </a:lnTo>
                <a:lnTo>
                  <a:pt x="18" y="158"/>
                </a:lnTo>
                <a:lnTo>
                  <a:pt x="16" y="158"/>
                </a:lnTo>
                <a:lnTo>
                  <a:pt x="15" y="159"/>
                </a:lnTo>
                <a:lnTo>
                  <a:pt x="18" y="161"/>
                </a:lnTo>
                <a:lnTo>
                  <a:pt x="15" y="161"/>
                </a:lnTo>
                <a:lnTo>
                  <a:pt x="14" y="159"/>
                </a:lnTo>
                <a:lnTo>
                  <a:pt x="12" y="159"/>
                </a:lnTo>
                <a:lnTo>
                  <a:pt x="8" y="159"/>
                </a:lnTo>
                <a:lnTo>
                  <a:pt x="8" y="161"/>
                </a:lnTo>
                <a:lnTo>
                  <a:pt x="4" y="159"/>
                </a:lnTo>
                <a:lnTo>
                  <a:pt x="3" y="161"/>
                </a:lnTo>
                <a:lnTo>
                  <a:pt x="4" y="162"/>
                </a:lnTo>
                <a:lnTo>
                  <a:pt x="3" y="164"/>
                </a:lnTo>
                <a:lnTo>
                  <a:pt x="4" y="164"/>
                </a:lnTo>
                <a:lnTo>
                  <a:pt x="12" y="164"/>
                </a:lnTo>
                <a:lnTo>
                  <a:pt x="19" y="162"/>
                </a:lnTo>
                <a:lnTo>
                  <a:pt x="14" y="164"/>
                </a:lnTo>
                <a:lnTo>
                  <a:pt x="15" y="164"/>
                </a:lnTo>
                <a:lnTo>
                  <a:pt x="18" y="164"/>
                </a:lnTo>
                <a:lnTo>
                  <a:pt x="20" y="164"/>
                </a:lnTo>
                <a:lnTo>
                  <a:pt x="22" y="164"/>
                </a:lnTo>
                <a:lnTo>
                  <a:pt x="19" y="165"/>
                </a:lnTo>
                <a:lnTo>
                  <a:pt x="15" y="165"/>
                </a:lnTo>
                <a:lnTo>
                  <a:pt x="10" y="165"/>
                </a:lnTo>
                <a:lnTo>
                  <a:pt x="8" y="165"/>
                </a:lnTo>
                <a:lnTo>
                  <a:pt x="7" y="165"/>
                </a:lnTo>
                <a:lnTo>
                  <a:pt x="4" y="165"/>
                </a:lnTo>
                <a:lnTo>
                  <a:pt x="4" y="167"/>
                </a:lnTo>
                <a:lnTo>
                  <a:pt x="2" y="167"/>
                </a:lnTo>
                <a:lnTo>
                  <a:pt x="0" y="167"/>
                </a:lnTo>
                <a:lnTo>
                  <a:pt x="0" y="168"/>
                </a:lnTo>
                <a:lnTo>
                  <a:pt x="4" y="168"/>
                </a:lnTo>
                <a:lnTo>
                  <a:pt x="4" y="170"/>
                </a:lnTo>
                <a:lnTo>
                  <a:pt x="4" y="172"/>
                </a:lnTo>
                <a:lnTo>
                  <a:pt x="3" y="172"/>
                </a:lnTo>
                <a:lnTo>
                  <a:pt x="2" y="173"/>
                </a:lnTo>
                <a:lnTo>
                  <a:pt x="2" y="175"/>
                </a:lnTo>
                <a:lnTo>
                  <a:pt x="2" y="176"/>
                </a:lnTo>
                <a:lnTo>
                  <a:pt x="3" y="176"/>
                </a:lnTo>
                <a:lnTo>
                  <a:pt x="3" y="178"/>
                </a:lnTo>
                <a:lnTo>
                  <a:pt x="7" y="178"/>
                </a:lnTo>
                <a:lnTo>
                  <a:pt x="15" y="176"/>
                </a:lnTo>
                <a:lnTo>
                  <a:pt x="16" y="176"/>
                </a:lnTo>
                <a:lnTo>
                  <a:pt x="20" y="176"/>
                </a:lnTo>
                <a:lnTo>
                  <a:pt x="20" y="175"/>
                </a:lnTo>
                <a:lnTo>
                  <a:pt x="23" y="173"/>
                </a:lnTo>
                <a:lnTo>
                  <a:pt x="24" y="175"/>
                </a:lnTo>
                <a:lnTo>
                  <a:pt x="23" y="176"/>
                </a:lnTo>
                <a:lnTo>
                  <a:pt x="24" y="176"/>
                </a:lnTo>
                <a:lnTo>
                  <a:pt x="27" y="176"/>
                </a:lnTo>
                <a:lnTo>
                  <a:pt x="30" y="176"/>
                </a:lnTo>
                <a:lnTo>
                  <a:pt x="31" y="176"/>
                </a:lnTo>
                <a:lnTo>
                  <a:pt x="34" y="175"/>
                </a:lnTo>
                <a:lnTo>
                  <a:pt x="35" y="172"/>
                </a:lnTo>
                <a:lnTo>
                  <a:pt x="39" y="170"/>
                </a:lnTo>
                <a:lnTo>
                  <a:pt x="39" y="172"/>
                </a:lnTo>
                <a:lnTo>
                  <a:pt x="36" y="173"/>
                </a:lnTo>
                <a:lnTo>
                  <a:pt x="36" y="175"/>
                </a:lnTo>
                <a:lnTo>
                  <a:pt x="35" y="176"/>
                </a:lnTo>
                <a:lnTo>
                  <a:pt x="38" y="176"/>
                </a:lnTo>
                <a:lnTo>
                  <a:pt x="39" y="175"/>
                </a:lnTo>
                <a:lnTo>
                  <a:pt x="40" y="175"/>
                </a:lnTo>
                <a:lnTo>
                  <a:pt x="36" y="178"/>
                </a:lnTo>
                <a:lnTo>
                  <a:pt x="31" y="178"/>
                </a:lnTo>
                <a:lnTo>
                  <a:pt x="31" y="179"/>
                </a:lnTo>
                <a:lnTo>
                  <a:pt x="32" y="181"/>
                </a:lnTo>
                <a:lnTo>
                  <a:pt x="30" y="183"/>
                </a:lnTo>
                <a:lnTo>
                  <a:pt x="30" y="181"/>
                </a:lnTo>
                <a:lnTo>
                  <a:pt x="28" y="179"/>
                </a:lnTo>
                <a:lnTo>
                  <a:pt x="26" y="178"/>
                </a:lnTo>
                <a:lnTo>
                  <a:pt x="23" y="178"/>
                </a:lnTo>
                <a:lnTo>
                  <a:pt x="19" y="178"/>
                </a:lnTo>
                <a:lnTo>
                  <a:pt x="16" y="178"/>
                </a:lnTo>
                <a:lnTo>
                  <a:pt x="14" y="178"/>
                </a:lnTo>
                <a:lnTo>
                  <a:pt x="11" y="178"/>
                </a:lnTo>
                <a:lnTo>
                  <a:pt x="8" y="179"/>
                </a:lnTo>
                <a:lnTo>
                  <a:pt x="3" y="179"/>
                </a:lnTo>
                <a:lnTo>
                  <a:pt x="2" y="181"/>
                </a:lnTo>
                <a:lnTo>
                  <a:pt x="2" y="183"/>
                </a:lnTo>
                <a:lnTo>
                  <a:pt x="4" y="183"/>
                </a:lnTo>
                <a:lnTo>
                  <a:pt x="6" y="183"/>
                </a:lnTo>
                <a:lnTo>
                  <a:pt x="6" y="184"/>
                </a:lnTo>
                <a:lnTo>
                  <a:pt x="3" y="184"/>
                </a:lnTo>
                <a:lnTo>
                  <a:pt x="2" y="183"/>
                </a:lnTo>
                <a:lnTo>
                  <a:pt x="0" y="184"/>
                </a:lnTo>
                <a:lnTo>
                  <a:pt x="3" y="187"/>
                </a:lnTo>
                <a:lnTo>
                  <a:pt x="6" y="187"/>
                </a:lnTo>
                <a:lnTo>
                  <a:pt x="8" y="186"/>
                </a:lnTo>
                <a:lnTo>
                  <a:pt x="11" y="186"/>
                </a:lnTo>
                <a:lnTo>
                  <a:pt x="7" y="187"/>
                </a:lnTo>
                <a:lnTo>
                  <a:pt x="6" y="189"/>
                </a:lnTo>
                <a:lnTo>
                  <a:pt x="7" y="189"/>
                </a:lnTo>
                <a:lnTo>
                  <a:pt x="4" y="190"/>
                </a:lnTo>
                <a:lnTo>
                  <a:pt x="3" y="192"/>
                </a:lnTo>
                <a:lnTo>
                  <a:pt x="4" y="194"/>
                </a:lnTo>
                <a:lnTo>
                  <a:pt x="6" y="195"/>
                </a:lnTo>
                <a:lnTo>
                  <a:pt x="7" y="194"/>
                </a:lnTo>
                <a:lnTo>
                  <a:pt x="8" y="192"/>
                </a:lnTo>
                <a:lnTo>
                  <a:pt x="8" y="194"/>
                </a:lnTo>
                <a:lnTo>
                  <a:pt x="11" y="197"/>
                </a:lnTo>
                <a:lnTo>
                  <a:pt x="8" y="197"/>
                </a:lnTo>
                <a:lnTo>
                  <a:pt x="7" y="198"/>
                </a:lnTo>
                <a:lnTo>
                  <a:pt x="8" y="198"/>
                </a:lnTo>
                <a:lnTo>
                  <a:pt x="11" y="198"/>
                </a:lnTo>
                <a:lnTo>
                  <a:pt x="12" y="197"/>
                </a:lnTo>
                <a:lnTo>
                  <a:pt x="12" y="194"/>
                </a:lnTo>
                <a:lnTo>
                  <a:pt x="15" y="194"/>
                </a:lnTo>
                <a:lnTo>
                  <a:pt x="18" y="190"/>
                </a:lnTo>
                <a:lnTo>
                  <a:pt x="20" y="187"/>
                </a:lnTo>
                <a:lnTo>
                  <a:pt x="23" y="187"/>
                </a:lnTo>
                <a:lnTo>
                  <a:pt x="24" y="187"/>
                </a:lnTo>
                <a:lnTo>
                  <a:pt x="24" y="189"/>
                </a:lnTo>
                <a:lnTo>
                  <a:pt x="28" y="187"/>
                </a:lnTo>
                <a:lnTo>
                  <a:pt x="31" y="187"/>
                </a:lnTo>
                <a:lnTo>
                  <a:pt x="26" y="189"/>
                </a:lnTo>
                <a:lnTo>
                  <a:pt x="26" y="190"/>
                </a:lnTo>
                <a:lnTo>
                  <a:pt x="24" y="192"/>
                </a:lnTo>
                <a:lnTo>
                  <a:pt x="24" y="190"/>
                </a:lnTo>
                <a:lnTo>
                  <a:pt x="23" y="190"/>
                </a:lnTo>
                <a:lnTo>
                  <a:pt x="20" y="192"/>
                </a:lnTo>
                <a:lnTo>
                  <a:pt x="18" y="194"/>
                </a:lnTo>
                <a:lnTo>
                  <a:pt x="20" y="195"/>
                </a:lnTo>
                <a:lnTo>
                  <a:pt x="16" y="197"/>
                </a:lnTo>
                <a:lnTo>
                  <a:pt x="11" y="200"/>
                </a:lnTo>
                <a:lnTo>
                  <a:pt x="14" y="201"/>
                </a:lnTo>
                <a:lnTo>
                  <a:pt x="19" y="201"/>
                </a:lnTo>
                <a:lnTo>
                  <a:pt x="20" y="200"/>
                </a:lnTo>
                <a:lnTo>
                  <a:pt x="20" y="201"/>
                </a:lnTo>
                <a:lnTo>
                  <a:pt x="15" y="201"/>
                </a:lnTo>
                <a:lnTo>
                  <a:pt x="14" y="203"/>
                </a:lnTo>
                <a:lnTo>
                  <a:pt x="11" y="203"/>
                </a:lnTo>
                <a:lnTo>
                  <a:pt x="10" y="205"/>
                </a:lnTo>
                <a:lnTo>
                  <a:pt x="8" y="203"/>
                </a:lnTo>
                <a:lnTo>
                  <a:pt x="6" y="206"/>
                </a:lnTo>
                <a:lnTo>
                  <a:pt x="4" y="208"/>
                </a:lnTo>
                <a:lnTo>
                  <a:pt x="4" y="209"/>
                </a:lnTo>
                <a:lnTo>
                  <a:pt x="6" y="209"/>
                </a:lnTo>
                <a:lnTo>
                  <a:pt x="8" y="209"/>
                </a:lnTo>
                <a:lnTo>
                  <a:pt x="8" y="208"/>
                </a:lnTo>
                <a:lnTo>
                  <a:pt x="10" y="209"/>
                </a:lnTo>
                <a:lnTo>
                  <a:pt x="11" y="209"/>
                </a:lnTo>
                <a:lnTo>
                  <a:pt x="12" y="208"/>
                </a:lnTo>
                <a:lnTo>
                  <a:pt x="14" y="208"/>
                </a:lnTo>
                <a:lnTo>
                  <a:pt x="18" y="206"/>
                </a:lnTo>
                <a:lnTo>
                  <a:pt x="19" y="206"/>
                </a:lnTo>
                <a:lnTo>
                  <a:pt x="20" y="206"/>
                </a:lnTo>
                <a:lnTo>
                  <a:pt x="16" y="209"/>
                </a:lnTo>
                <a:lnTo>
                  <a:pt x="18" y="209"/>
                </a:lnTo>
                <a:lnTo>
                  <a:pt x="18" y="211"/>
                </a:lnTo>
                <a:lnTo>
                  <a:pt x="16" y="212"/>
                </a:lnTo>
                <a:lnTo>
                  <a:pt x="16" y="214"/>
                </a:lnTo>
                <a:lnTo>
                  <a:pt x="14" y="214"/>
                </a:lnTo>
                <a:lnTo>
                  <a:pt x="15" y="216"/>
                </a:lnTo>
                <a:lnTo>
                  <a:pt x="14" y="217"/>
                </a:lnTo>
                <a:lnTo>
                  <a:pt x="12" y="216"/>
                </a:lnTo>
                <a:lnTo>
                  <a:pt x="11" y="217"/>
                </a:lnTo>
                <a:lnTo>
                  <a:pt x="11" y="216"/>
                </a:lnTo>
                <a:lnTo>
                  <a:pt x="10" y="216"/>
                </a:lnTo>
                <a:lnTo>
                  <a:pt x="7" y="220"/>
                </a:lnTo>
                <a:lnTo>
                  <a:pt x="11" y="223"/>
                </a:lnTo>
                <a:lnTo>
                  <a:pt x="16" y="227"/>
                </a:lnTo>
                <a:lnTo>
                  <a:pt x="20" y="228"/>
                </a:lnTo>
                <a:lnTo>
                  <a:pt x="24" y="228"/>
                </a:lnTo>
                <a:lnTo>
                  <a:pt x="26" y="227"/>
                </a:lnTo>
                <a:lnTo>
                  <a:pt x="26" y="230"/>
                </a:lnTo>
                <a:lnTo>
                  <a:pt x="26" y="231"/>
                </a:lnTo>
                <a:lnTo>
                  <a:pt x="27" y="231"/>
                </a:lnTo>
                <a:lnTo>
                  <a:pt x="30" y="231"/>
                </a:lnTo>
                <a:lnTo>
                  <a:pt x="31" y="230"/>
                </a:lnTo>
                <a:lnTo>
                  <a:pt x="35" y="230"/>
                </a:lnTo>
                <a:lnTo>
                  <a:pt x="32" y="231"/>
                </a:lnTo>
                <a:lnTo>
                  <a:pt x="38" y="233"/>
                </a:lnTo>
                <a:lnTo>
                  <a:pt x="40" y="233"/>
                </a:lnTo>
                <a:lnTo>
                  <a:pt x="44" y="230"/>
                </a:lnTo>
                <a:lnTo>
                  <a:pt x="46" y="228"/>
                </a:lnTo>
                <a:lnTo>
                  <a:pt x="47" y="230"/>
                </a:lnTo>
                <a:lnTo>
                  <a:pt x="52" y="228"/>
                </a:lnTo>
                <a:lnTo>
                  <a:pt x="58" y="223"/>
                </a:lnTo>
                <a:lnTo>
                  <a:pt x="62" y="222"/>
                </a:lnTo>
                <a:lnTo>
                  <a:pt x="63" y="220"/>
                </a:lnTo>
                <a:lnTo>
                  <a:pt x="64" y="219"/>
                </a:lnTo>
                <a:lnTo>
                  <a:pt x="70" y="216"/>
                </a:lnTo>
                <a:lnTo>
                  <a:pt x="68" y="214"/>
                </a:lnTo>
                <a:lnTo>
                  <a:pt x="72" y="216"/>
                </a:lnTo>
                <a:lnTo>
                  <a:pt x="76" y="216"/>
                </a:lnTo>
                <a:lnTo>
                  <a:pt x="78" y="214"/>
                </a:lnTo>
                <a:lnTo>
                  <a:pt x="79" y="212"/>
                </a:lnTo>
                <a:lnTo>
                  <a:pt x="79" y="211"/>
                </a:lnTo>
                <a:lnTo>
                  <a:pt x="82" y="211"/>
                </a:lnTo>
                <a:lnTo>
                  <a:pt x="82" y="208"/>
                </a:lnTo>
                <a:lnTo>
                  <a:pt x="79" y="208"/>
                </a:lnTo>
                <a:lnTo>
                  <a:pt x="78" y="206"/>
                </a:lnTo>
                <a:lnTo>
                  <a:pt x="79" y="206"/>
                </a:lnTo>
                <a:lnTo>
                  <a:pt x="79" y="205"/>
                </a:lnTo>
                <a:lnTo>
                  <a:pt x="79" y="203"/>
                </a:lnTo>
                <a:lnTo>
                  <a:pt x="80" y="203"/>
                </a:lnTo>
                <a:lnTo>
                  <a:pt x="82" y="205"/>
                </a:lnTo>
                <a:lnTo>
                  <a:pt x="82" y="206"/>
                </a:lnTo>
                <a:lnTo>
                  <a:pt x="83" y="206"/>
                </a:lnTo>
                <a:lnTo>
                  <a:pt x="83" y="205"/>
                </a:lnTo>
                <a:lnTo>
                  <a:pt x="82" y="203"/>
                </a:lnTo>
                <a:lnTo>
                  <a:pt x="82" y="200"/>
                </a:lnTo>
                <a:lnTo>
                  <a:pt x="83" y="200"/>
                </a:lnTo>
                <a:lnTo>
                  <a:pt x="84" y="200"/>
                </a:lnTo>
                <a:lnTo>
                  <a:pt x="86" y="200"/>
                </a:lnTo>
                <a:lnTo>
                  <a:pt x="86" y="201"/>
                </a:lnTo>
                <a:lnTo>
                  <a:pt x="84" y="201"/>
                </a:lnTo>
                <a:lnTo>
                  <a:pt x="84" y="203"/>
                </a:lnTo>
                <a:lnTo>
                  <a:pt x="84" y="205"/>
                </a:lnTo>
                <a:lnTo>
                  <a:pt x="86" y="209"/>
                </a:lnTo>
                <a:lnTo>
                  <a:pt x="86" y="211"/>
                </a:lnTo>
                <a:lnTo>
                  <a:pt x="88" y="211"/>
                </a:lnTo>
                <a:lnTo>
                  <a:pt x="91" y="212"/>
                </a:lnTo>
                <a:lnTo>
                  <a:pt x="92" y="212"/>
                </a:lnTo>
                <a:lnTo>
                  <a:pt x="93" y="214"/>
                </a:lnTo>
                <a:lnTo>
                  <a:pt x="93" y="219"/>
                </a:lnTo>
                <a:lnTo>
                  <a:pt x="95" y="216"/>
                </a:lnTo>
                <a:lnTo>
                  <a:pt x="96" y="217"/>
                </a:lnTo>
                <a:lnTo>
                  <a:pt x="97" y="216"/>
                </a:lnTo>
                <a:lnTo>
                  <a:pt x="100" y="209"/>
                </a:lnTo>
                <a:lnTo>
                  <a:pt x="99" y="208"/>
                </a:lnTo>
                <a:lnTo>
                  <a:pt x="99" y="205"/>
                </a:lnTo>
                <a:lnTo>
                  <a:pt x="103" y="201"/>
                </a:lnTo>
                <a:lnTo>
                  <a:pt x="103" y="200"/>
                </a:lnTo>
                <a:lnTo>
                  <a:pt x="109" y="198"/>
                </a:lnTo>
                <a:lnTo>
                  <a:pt x="111" y="197"/>
                </a:lnTo>
                <a:lnTo>
                  <a:pt x="112" y="194"/>
                </a:lnTo>
                <a:lnTo>
                  <a:pt x="111" y="192"/>
                </a:lnTo>
                <a:lnTo>
                  <a:pt x="112" y="187"/>
                </a:lnTo>
                <a:lnTo>
                  <a:pt x="111" y="183"/>
                </a:lnTo>
                <a:lnTo>
                  <a:pt x="107" y="179"/>
                </a:lnTo>
                <a:lnTo>
                  <a:pt x="108" y="179"/>
                </a:lnTo>
                <a:lnTo>
                  <a:pt x="112" y="178"/>
                </a:lnTo>
                <a:lnTo>
                  <a:pt x="115" y="176"/>
                </a:lnTo>
                <a:lnTo>
                  <a:pt x="117" y="173"/>
                </a:lnTo>
                <a:lnTo>
                  <a:pt x="116" y="170"/>
                </a:lnTo>
                <a:lnTo>
                  <a:pt x="111" y="168"/>
                </a:lnTo>
                <a:lnTo>
                  <a:pt x="108" y="165"/>
                </a:lnTo>
                <a:lnTo>
                  <a:pt x="107" y="162"/>
                </a:lnTo>
                <a:lnTo>
                  <a:pt x="108" y="156"/>
                </a:lnTo>
                <a:lnTo>
                  <a:pt x="107" y="154"/>
                </a:lnTo>
                <a:lnTo>
                  <a:pt x="105" y="153"/>
                </a:lnTo>
                <a:lnTo>
                  <a:pt x="105" y="151"/>
                </a:lnTo>
                <a:lnTo>
                  <a:pt x="107" y="150"/>
                </a:lnTo>
                <a:lnTo>
                  <a:pt x="107" y="147"/>
                </a:lnTo>
                <a:lnTo>
                  <a:pt x="108" y="143"/>
                </a:lnTo>
                <a:lnTo>
                  <a:pt x="109" y="142"/>
                </a:lnTo>
                <a:lnTo>
                  <a:pt x="108" y="142"/>
                </a:lnTo>
                <a:lnTo>
                  <a:pt x="107" y="140"/>
                </a:lnTo>
                <a:lnTo>
                  <a:pt x="105" y="137"/>
                </a:lnTo>
                <a:lnTo>
                  <a:pt x="107" y="134"/>
                </a:lnTo>
                <a:lnTo>
                  <a:pt x="108" y="132"/>
                </a:lnTo>
                <a:lnTo>
                  <a:pt x="115" y="128"/>
                </a:lnTo>
                <a:lnTo>
                  <a:pt x="120" y="126"/>
                </a:lnTo>
                <a:lnTo>
                  <a:pt x="125" y="125"/>
                </a:lnTo>
                <a:lnTo>
                  <a:pt x="131" y="126"/>
                </a:lnTo>
                <a:lnTo>
                  <a:pt x="135" y="126"/>
                </a:lnTo>
                <a:lnTo>
                  <a:pt x="137" y="125"/>
                </a:lnTo>
                <a:lnTo>
                  <a:pt x="137" y="123"/>
                </a:lnTo>
                <a:lnTo>
                  <a:pt x="137" y="120"/>
                </a:lnTo>
                <a:lnTo>
                  <a:pt x="136" y="118"/>
                </a:lnTo>
                <a:lnTo>
                  <a:pt x="132" y="117"/>
                </a:lnTo>
                <a:lnTo>
                  <a:pt x="132" y="115"/>
                </a:lnTo>
                <a:lnTo>
                  <a:pt x="137" y="110"/>
                </a:lnTo>
                <a:lnTo>
                  <a:pt x="141" y="106"/>
                </a:lnTo>
                <a:lnTo>
                  <a:pt x="144" y="98"/>
                </a:lnTo>
                <a:lnTo>
                  <a:pt x="144" y="95"/>
                </a:lnTo>
                <a:lnTo>
                  <a:pt x="144" y="92"/>
                </a:lnTo>
                <a:lnTo>
                  <a:pt x="144" y="90"/>
                </a:lnTo>
                <a:lnTo>
                  <a:pt x="147" y="88"/>
                </a:lnTo>
                <a:lnTo>
                  <a:pt x="149" y="88"/>
                </a:lnTo>
                <a:lnTo>
                  <a:pt x="155" y="87"/>
                </a:lnTo>
                <a:lnTo>
                  <a:pt x="156" y="85"/>
                </a:lnTo>
                <a:lnTo>
                  <a:pt x="156" y="84"/>
                </a:lnTo>
                <a:lnTo>
                  <a:pt x="157" y="81"/>
                </a:lnTo>
                <a:lnTo>
                  <a:pt x="164" y="77"/>
                </a:lnTo>
                <a:lnTo>
                  <a:pt x="167" y="76"/>
                </a:lnTo>
                <a:lnTo>
                  <a:pt x="169" y="74"/>
                </a:lnTo>
                <a:lnTo>
                  <a:pt x="172" y="73"/>
                </a:lnTo>
                <a:lnTo>
                  <a:pt x="172" y="71"/>
                </a:lnTo>
                <a:lnTo>
                  <a:pt x="172" y="70"/>
                </a:lnTo>
                <a:lnTo>
                  <a:pt x="168" y="66"/>
                </a:lnTo>
                <a:lnTo>
                  <a:pt x="169" y="65"/>
                </a:lnTo>
                <a:lnTo>
                  <a:pt x="173" y="63"/>
                </a:lnTo>
                <a:lnTo>
                  <a:pt x="175" y="62"/>
                </a:lnTo>
                <a:lnTo>
                  <a:pt x="175" y="60"/>
                </a:lnTo>
                <a:lnTo>
                  <a:pt x="176" y="57"/>
                </a:lnTo>
                <a:lnTo>
                  <a:pt x="179" y="57"/>
                </a:lnTo>
                <a:lnTo>
                  <a:pt x="184" y="54"/>
                </a:lnTo>
                <a:lnTo>
                  <a:pt x="187" y="54"/>
                </a:lnTo>
                <a:lnTo>
                  <a:pt x="191" y="54"/>
                </a:lnTo>
                <a:lnTo>
                  <a:pt x="193" y="55"/>
                </a:lnTo>
                <a:lnTo>
                  <a:pt x="195" y="55"/>
                </a:lnTo>
                <a:lnTo>
                  <a:pt x="196" y="54"/>
                </a:lnTo>
                <a:lnTo>
                  <a:pt x="199" y="52"/>
                </a:lnTo>
                <a:lnTo>
                  <a:pt x="199" y="51"/>
                </a:lnTo>
                <a:lnTo>
                  <a:pt x="199" y="48"/>
                </a:lnTo>
                <a:lnTo>
                  <a:pt x="200" y="46"/>
                </a:lnTo>
                <a:lnTo>
                  <a:pt x="201" y="46"/>
                </a:lnTo>
                <a:lnTo>
                  <a:pt x="204" y="46"/>
                </a:lnTo>
                <a:lnTo>
                  <a:pt x="212" y="46"/>
                </a:lnTo>
                <a:lnTo>
                  <a:pt x="224" y="48"/>
                </a:lnTo>
                <a:lnTo>
                  <a:pt x="226" y="48"/>
                </a:lnTo>
                <a:lnTo>
                  <a:pt x="228" y="46"/>
                </a:lnTo>
                <a:lnTo>
                  <a:pt x="225" y="46"/>
                </a:lnTo>
                <a:lnTo>
                  <a:pt x="225" y="44"/>
                </a:lnTo>
                <a:lnTo>
                  <a:pt x="226" y="43"/>
                </a:lnTo>
                <a:lnTo>
                  <a:pt x="228" y="41"/>
                </a:lnTo>
                <a:lnTo>
                  <a:pt x="229" y="41"/>
                </a:lnTo>
                <a:lnTo>
                  <a:pt x="229" y="40"/>
                </a:lnTo>
                <a:lnTo>
                  <a:pt x="229" y="38"/>
                </a:lnTo>
                <a:lnTo>
                  <a:pt x="228" y="38"/>
                </a:lnTo>
                <a:lnTo>
                  <a:pt x="228" y="37"/>
                </a:lnTo>
                <a:lnTo>
                  <a:pt x="229" y="37"/>
                </a:lnTo>
                <a:lnTo>
                  <a:pt x="234" y="37"/>
                </a:lnTo>
                <a:lnTo>
                  <a:pt x="236" y="35"/>
                </a:lnTo>
                <a:lnTo>
                  <a:pt x="238" y="35"/>
                </a:lnTo>
                <a:lnTo>
                  <a:pt x="240" y="35"/>
                </a:lnTo>
                <a:lnTo>
                  <a:pt x="242" y="35"/>
                </a:lnTo>
                <a:lnTo>
                  <a:pt x="242" y="33"/>
                </a:lnTo>
                <a:lnTo>
                  <a:pt x="242" y="32"/>
                </a:lnTo>
                <a:lnTo>
                  <a:pt x="245" y="32"/>
                </a:lnTo>
                <a:lnTo>
                  <a:pt x="249" y="32"/>
                </a:lnTo>
                <a:lnTo>
                  <a:pt x="253" y="33"/>
                </a:lnTo>
                <a:lnTo>
                  <a:pt x="261" y="38"/>
                </a:lnTo>
                <a:lnTo>
                  <a:pt x="262" y="41"/>
                </a:lnTo>
                <a:lnTo>
                  <a:pt x="264" y="41"/>
                </a:lnTo>
                <a:lnTo>
                  <a:pt x="270" y="43"/>
                </a:lnTo>
                <a:lnTo>
                  <a:pt x="274" y="43"/>
                </a:lnTo>
                <a:lnTo>
                  <a:pt x="278" y="43"/>
                </a:lnTo>
                <a:lnTo>
                  <a:pt x="282" y="43"/>
                </a:lnTo>
                <a:lnTo>
                  <a:pt x="286" y="40"/>
                </a:lnTo>
                <a:lnTo>
                  <a:pt x="289" y="41"/>
                </a:lnTo>
                <a:lnTo>
                  <a:pt x="292" y="43"/>
                </a:lnTo>
                <a:lnTo>
                  <a:pt x="293" y="43"/>
                </a:lnTo>
                <a:lnTo>
                  <a:pt x="296" y="43"/>
                </a:lnTo>
                <a:lnTo>
                  <a:pt x="300" y="43"/>
                </a:lnTo>
                <a:lnTo>
                  <a:pt x="304" y="41"/>
                </a:lnTo>
                <a:lnTo>
                  <a:pt x="306" y="40"/>
                </a:lnTo>
                <a:lnTo>
                  <a:pt x="313" y="38"/>
                </a:lnTo>
                <a:lnTo>
                  <a:pt x="313" y="37"/>
                </a:lnTo>
                <a:lnTo>
                  <a:pt x="313" y="33"/>
                </a:lnTo>
                <a:lnTo>
                  <a:pt x="313" y="32"/>
                </a:lnTo>
                <a:lnTo>
                  <a:pt x="314" y="27"/>
                </a:lnTo>
                <a:lnTo>
                  <a:pt x="317" y="24"/>
                </a:lnTo>
                <a:lnTo>
                  <a:pt x="319" y="22"/>
                </a:lnTo>
                <a:lnTo>
                  <a:pt x="323" y="21"/>
                </a:lnTo>
                <a:lnTo>
                  <a:pt x="330" y="21"/>
                </a:lnTo>
                <a:lnTo>
                  <a:pt x="341" y="19"/>
                </a:lnTo>
                <a:lnTo>
                  <a:pt x="347" y="19"/>
                </a:lnTo>
                <a:lnTo>
                  <a:pt x="349" y="19"/>
                </a:lnTo>
                <a:lnTo>
                  <a:pt x="351" y="21"/>
                </a:lnTo>
                <a:lnTo>
                  <a:pt x="354" y="22"/>
                </a:lnTo>
                <a:lnTo>
                  <a:pt x="359" y="22"/>
                </a:lnTo>
                <a:lnTo>
                  <a:pt x="365" y="26"/>
                </a:lnTo>
                <a:lnTo>
                  <a:pt x="366" y="29"/>
                </a:lnTo>
                <a:lnTo>
                  <a:pt x="366" y="30"/>
                </a:lnTo>
                <a:lnTo>
                  <a:pt x="361" y="33"/>
                </a:lnTo>
                <a:lnTo>
                  <a:pt x="361" y="35"/>
                </a:lnTo>
                <a:lnTo>
                  <a:pt x="363" y="37"/>
                </a:lnTo>
                <a:lnTo>
                  <a:pt x="366" y="35"/>
                </a:lnTo>
                <a:lnTo>
                  <a:pt x="367" y="33"/>
                </a:lnTo>
                <a:lnTo>
                  <a:pt x="377" y="30"/>
                </a:lnTo>
                <a:lnTo>
                  <a:pt x="378" y="30"/>
                </a:lnTo>
                <a:lnTo>
                  <a:pt x="379" y="27"/>
                </a:lnTo>
                <a:lnTo>
                  <a:pt x="386" y="29"/>
                </a:lnTo>
                <a:lnTo>
                  <a:pt x="389" y="27"/>
                </a:lnTo>
                <a:lnTo>
                  <a:pt x="390" y="27"/>
                </a:lnTo>
                <a:lnTo>
                  <a:pt x="391" y="26"/>
                </a:lnTo>
                <a:lnTo>
                  <a:pt x="391" y="24"/>
                </a:lnTo>
                <a:lnTo>
                  <a:pt x="390" y="24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74" name="Freeform 473"/>
          <p:cNvSpPr>
            <a:spLocks/>
          </p:cNvSpPr>
          <p:nvPr/>
        </p:nvSpPr>
        <p:spPr bwMode="auto">
          <a:xfrm>
            <a:off x="6220095" y="1835855"/>
            <a:ext cx="346888" cy="64428"/>
          </a:xfrm>
          <a:custGeom>
            <a:avLst/>
            <a:gdLst/>
            <a:ahLst/>
            <a:cxnLst>
              <a:cxn ang="0">
                <a:pos x="170" y="26"/>
              </a:cxn>
              <a:cxn ang="0">
                <a:pos x="165" y="26"/>
              </a:cxn>
              <a:cxn ang="0">
                <a:pos x="161" y="24"/>
              </a:cxn>
              <a:cxn ang="0">
                <a:pos x="162" y="21"/>
              </a:cxn>
              <a:cxn ang="0">
                <a:pos x="153" y="19"/>
              </a:cxn>
              <a:cxn ang="0">
                <a:pos x="145" y="16"/>
              </a:cxn>
              <a:cxn ang="0">
                <a:pos x="178" y="15"/>
              </a:cxn>
              <a:cxn ang="0">
                <a:pos x="174" y="10"/>
              </a:cxn>
              <a:cxn ang="0">
                <a:pos x="166" y="8"/>
              </a:cxn>
              <a:cxn ang="0">
                <a:pos x="159" y="7"/>
              </a:cxn>
              <a:cxn ang="0">
                <a:pos x="153" y="5"/>
              </a:cxn>
              <a:cxn ang="0">
                <a:pos x="143" y="7"/>
              </a:cxn>
              <a:cxn ang="0">
                <a:pos x="139" y="13"/>
              </a:cxn>
              <a:cxn ang="0">
                <a:pos x="139" y="8"/>
              </a:cxn>
              <a:cxn ang="0">
                <a:pos x="135" y="8"/>
              </a:cxn>
              <a:cxn ang="0">
                <a:pos x="141" y="4"/>
              </a:cxn>
              <a:cxn ang="0">
                <a:pos x="135" y="0"/>
              </a:cxn>
              <a:cxn ang="0">
                <a:pos x="126" y="5"/>
              </a:cxn>
              <a:cxn ang="0">
                <a:pos x="123" y="8"/>
              </a:cxn>
              <a:cxn ang="0">
                <a:pos x="117" y="11"/>
              </a:cxn>
              <a:cxn ang="0">
                <a:pos x="111" y="8"/>
              </a:cxn>
              <a:cxn ang="0">
                <a:pos x="113" y="4"/>
              </a:cxn>
              <a:cxn ang="0">
                <a:pos x="98" y="13"/>
              </a:cxn>
              <a:cxn ang="0">
                <a:pos x="90" y="19"/>
              </a:cxn>
              <a:cxn ang="0">
                <a:pos x="90" y="16"/>
              </a:cxn>
              <a:cxn ang="0">
                <a:pos x="94" y="10"/>
              </a:cxn>
              <a:cxn ang="0">
                <a:pos x="96" y="5"/>
              </a:cxn>
              <a:cxn ang="0">
                <a:pos x="89" y="4"/>
              </a:cxn>
              <a:cxn ang="0">
                <a:pos x="84" y="7"/>
              </a:cxn>
              <a:cxn ang="0">
                <a:pos x="80" y="8"/>
              </a:cxn>
              <a:cxn ang="0">
                <a:pos x="69" y="13"/>
              </a:cxn>
              <a:cxn ang="0">
                <a:pos x="64" y="19"/>
              </a:cxn>
              <a:cxn ang="0">
                <a:pos x="61" y="18"/>
              </a:cxn>
              <a:cxn ang="0">
                <a:pos x="50" y="16"/>
              </a:cxn>
              <a:cxn ang="0">
                <a:pos x="48" y="16"/>
              </a:cxn>
              <a:cxn ang="0">
                <a:pos x="42" y="15"/>
              </a:cxn>
              <a:cxn ang="0">
                <a:pos x="38" y="15"/>
              </a:cxn>
              <a:cxn ang="0">
                <a:pos x="44" y="19"/>
              </a:cxn>
              <a:cxn ang="0">
                <a:pos x="45" y="26"/>
              </a:cxn>
              <a:cxn ang="0">
                <a:pos x="34" y="22"/>
              </a:cxn>
              <a:cxn ang="0">
                <a:pos x="29" y="24"/>
              </a:cxn>
              <a:cxn ang="0">
                <a:pos x="28" y="22"/>
              </a:cxn>
              <a:cxn ang="0">
                <a:pos x="24" y="26"/>
              </a:cxn>
              <a:cxn ang="0">
                <a:pos x="16" y="32"/>
              </a:cxn>
              <a:cxn ang="0">
                <a:pos x="18" y="21"/>
              </a:cxn>
              <a:cxn ang="0">
                <a:pos x="10" y="27"/>
              </a:cxn>
              <a:cxn ang="0">
                <a:pos x="0" y="26"/>
              </a:cxn>
              <a:cxn ang="0">
                <a:pos x="5" y="32"/>
              </a:cxn>
              <a:cxn ang="0">
                <a:pos x="2" y="32"/>
              </a:cxn>
            </a:cxnLst>
            <a:rect l="0" t="0" r="r" b="b"/>
            <a:pathLst>
              <a:path w="181" h="33">
                <a:moveTo>
                  <a:pt x="178" y="24"/>
                </a:moveTo>
                <a:lnTo>
                  <a:pt x="173" y="24"/>
                </a:lnTo>
                <a:lnTo>
                  <a:pt x="171" y="26"/>
                </a:lnTo>
                <a:lnTo>
                  <a:pt x="170" y="26"/>
                </a:lnTo>
                <a:lnTo>
                  <a:pt x="167" y="26"/>
                </a:lnTo>
                <a:lnTo>
                  <a:pt x="166" y="24"/>
                </a:lnTo>
                <a:lnTo>
                  <a:pt x="166" y="26"/>
                </a:lnTo>
                <a:lnTo>
                  <a:pt x="165" y="26"/>
                </a:lnTo>
                <a:lnTo>
                  <a:pt x="161" y="26"/>
                </a:lnTo>
                <a:lnTo>
                  <a:pt x="158" y="26"/>
                </a:lnTo>
                <a:lnTo>
                  <a:pt x="159" y="24"/>
                </a:lnTo>
                <a:lnTo>
                  <a:pt x="161" y="24"/>
                </a:lnTo>
                <a:lnTo>
                  <a:pt x="163" y="24"/>
                </a:lnTo>
                <a:lnTo>
                  <a:pt x="165" y="22"/>
                </a:lnTo>
                <a:lnTo>
                  <a:pt x="163" y="22"/>
                </a:lnTo>
                <a:lnTo>
                  <a:pt x="162" y="21"/>
                </a:lnTo>
                <a:lnTo>
                  <a:pt x="157" y="22"/>
                </a:lnTo>
                <a:lnTo>
                  <a:pt x="158" y="21"/>
                </a:lnTo>
                <a:lnTo>
                  <a:pt x="155" y="21"/>
                </a:lnTo>
                <a:lnTo>
                  <a:pt x="153" y="19"/>
                </a:lnTo>
                <a:lnTo>
                  <a:pt x="150" y="18"/>
                </a:lnTo>
                <a:lnTo>
                  <a:pt x="146" y="18"/>
                </a:lnTo>
                <a:lnTo>
                  <a:pt x="145" y="18"/>
                </a:lnTo>
                <a:lnTo>
                  <a:pt x="145" y="16"/>
                </a:lnTo>
                <a:lnTo>
                  <a:pt x="151" y="18"/>
                </a:lnTo>
                <a:lnTo>
                  <a:pt x="165" y="18"/>
                </a:lnTo>
                <a:lnTo>
                  <a:pt x="175" y="15"/>
                </a:lnTo>
                <a:lnTo>
                  <a:pt x="178" y="15"/>
                </a:lnTo>
                <a:lnTo>
                  <a:pt x="181" y="15"/>
                </a:lnTo>
                <a:lnTo>
                  <a:pt x="179" y="13"/>
                </a:lnTo>
                <a:lnTo>
                  <a:pt x="177" y="11"/>
                </a:lnTo>
                <a:lnTo>
                  <a:pt x="174" y="10"/>
                </a:lnTo>
                <a:lnTo>
                  <a:pt x="170" y="10"/>
                </a:lnTo>
                <a:lnTo>
                  <a:pt x="167" y="10"/>
                </a:lnTo>
                <a:lnTo>
                  <a:pt x="170" y="10"/>
                </a:lnTo>
                <a:lnTo>
                  <a:pt x="166" y="8"/>
                </a:lnTo>
                <a:lnTo>
                  <a:pt x="165" y="7"/>
                </a:lnTo>
                <a:lnTo>
                  <a:pt x="162" y="8"/>
                </a:lnTo>
                <a:lnTo>
                  <a:pt x="161" y="8"/>
                </a:lnTo>
                <a:lnTo>
                  <a:pt x="159" y="7"/>
                </a:lnTo>
                <a:lnTo>
                  <a:pt x="154" y="8"/>
                </a:lnTo>
                <a:lnTo>
                  <a:pt x="154" y="7"/>
                </a:lnTo>
                <a:lnTo>
                  <a:pt x="154" y="5"/>
                </a:lnTo>
                <a:lnTo>
                  <a:pt x="153" y="5"/>
                </a:lnTo>
                <a:lnTo>
                  <a:pt x="150" y="5"/>
                </a:lnTo>
                <a:lnTo>
                  <a:pt x="147" y="5"/>
                </a:lnTo>
                <a:lnTo>
                  <a:pt x="146" y="5"/>
                </a:lnTo>
                <a:lnTo>
                  <a:pt x="143" y="7"/>
                </a:lnTo>
                <a:lnTo>
                  <a:pt x="143" y="8"/>
                </a:lnTo>
                <a:lnTo>
                  <a:pt x="142" y="10"/>
                </a:lnTo>
                <a:lnTo>
                  <a:pt x="143" y="11"/>
                </a:lnTo>
                <a:lnTo>
                  <a:pt x="139" y="13"/>
                </a:lnTo>
                <a:lnTo>
                  <a:pt x="137" y="11"/>
                </a:lnTo>
                <a:lnTo>
                  <a:pt x="134" y="11"/>
                </a:lnTo>
                <a:lnTo>
                  <a:pt x="137" y="10"/>
                </a:lnTo>
                <a:lnTo>
                  <a:pt x="139" y="8"/>
                </a:lnTo>
                <a:lnTo>
                  <a:pt x="138" y="8"/>
                </a:lnTo>
                <a:lnTo>
                  <a:pt x="134" y="8"/>
                </a:lnTo>
                <a:lnTo>
                  <a:pt x="131" y="8"/>
                </a:lnTo>
                <a:lnTo>
                  <a:pt x="135" y="8"/>
                </a:lnTo>
                <a:lnTo>
                  <a:pt x="133" y="7"/>
                </a:lnTo>
                <a:lnTo>
                  <a:pt x="134" y="5"/>
                </a:lnTo>
                <a:lnTo>
                  <a:pt x="139" y="5"/>
                </a:lnTo>
                <a:lnTo>
                  <a:pt x="141" y="4"/>
                </a:lnTo>
                <a:lnTo>
                  <a:pt x="142" y="2"/>
                </a:lnTo>
                <a:lnTo>
                  <a:pt x="138" y="2"/>
                </a:lnTo>
                <a:lnTo>
                  <a:pt x="137" y="0"/>
                </a:lnTo>
                <a:lnTo>
                  <a:pt x="135" y="0"/>
                </a:lnTo>
                <a:lnTo>
                  <a:pt x="131" y="2"/>
                </a:lnTo>
                <a:lnTo>
                  <a:pt x="129" y="0"/>
                </a:lnTo>
                <a:lnTo>
                  <a:pt x="127" y="2"/>
                </a:lnTo>
                <a:lnTo>
                  <a:pt x="126" y="5"/>
                </a:lnTo>
                <a:lnTo>
                  <a:pt x="125" y="5"/>
                </a:lnTo>
                <a:lnTo>
                  <a:pt x="123" y="7"/>
                </a:lnTo>
                <a:lnTo>
                  <a:pt x="122" y="8"/>
                </a:lnTo>
                <a:lnTo>
                  <a:pt x="123" y="8"/>
                </a:lnTo>
                <a:lnTo>
                  <a:pt x="121" y="8"/>
                </a:lnTo>
                <a:lnTo>
                  <a:pt x="119" y="10"/>
                </a:lnTo>
                <a:lnTo>
                  <a:pt x="121" y="11"/>
                </a:lnTo>
                <a:lnTo>
                  <a:pt x="117" y="11"/>
                </a:lnTo>
                <a:lnTo>
                  <a:pt x="113" y="13"/>
                </a:lnTo>
                <a:lnTo>
                  <a:pt x="113" y="11"/>
                </a:lnTo>
                <a:lnTo>
                  <a:pt x="114" y="10"/>
                </a:lnTo>
                <a:lnTo>
                  <a:pt x="111" y="8"/>
                </a:lnTo>
                <a:lnTo>
                  <a:pt x="114" y="7"/>
                </a:lnTo>
                <a:lnTo>
                  <a:pt x="114" y="5"/>
                </a:lnTo>
                <a:lnTo>
                  <a:pt x="114" y="4"/>
                </a:lnTo>
                <a:lnTo>
                  <a:pt x="113" y="4"/>
                </a:lnTo>
                <a:lnTo>
                  <a:pt x="111" y="4"/>
                </a:lnTo>
                <a:lnTo>
                  <a:pt x="102" y="10"/>
                </a:lnTo>
                <a:lnTo>
                  <a:pt x="101" y="11"/>
                </a:lnTo>
                <a:lnTo>
                  <a:pt x="98" y="13"/>
                </a:lnTo>
                <a:lnTo>
                  <a:pt x="96" y="13"/>
                </a:lnTo>
                <a:lnTo>
                  <a:pt x="94" y="16"/>
                </a:lnTo>
                <a:lnTo>
                  <a:pt x="97" y="15"/>
                </a:lnTo>
                <a:lnTo>
                  <a:pt x="90" y="19"/>
                </a:lnTo>
                <a:lnTo>
                  <a:pt x="89" y="19"/>
                </a:lnTo>
                <a:lnTo>
                  <a:pt x="89" y="18"/>
                </a:lnTo>
                <a:lnTo>
                  <a:pt x="89" y="16"/>
                </a:lnTo>
                <a:lnTo>
                  <a:pt x="90" y="16"/>
                </a:lnTo>
                <a:lnTo>
                  <a:pt x="92" y="15"/>
                </a:lnTo>
                <a:lnTo>
                  <a:pt x="92" y="13"/>
                </a:lnTo>
                <a:lnTo>
                  <a:pt x="92" y="11"/>
                </a:lnTo>
                <a:lnTo>
                  <a:pt x="94" y="10"/>
                </a:lnTo>
                <a:lnTo>
                  <a:pt x="100" y="7"/>
                </a:lnTo>
                <a:lnTo>
                  <a:pt x="102" y="5"/>
                </a:lnTo>
                <a:lnTo>
                  <a:pt x="100" y="5"/>
                </a:lnTo>
                <a:lnTo>
                  <a:pt x="96" y="5"/>
                </a:lnTo>
                <a:lnTo>
                  <a:pt x="93" y="5"/>
                </a:lnTo>
                <a:lnTo>
                  <a:pt x="92" y="5"/>
                </a:lnTo>
                <a:lnTo>
                  <a:pt x="90" y="4"/>
                </a:lnTo>
                <a:lnTo>
                  <a:pt x="89" y="4"/>
                </a:lnTo>
                <a:lnTo>
                  <a:pt x="89" y="2"/>
                </a:lnTo>
                <a:lnTo>
                  <a:pt x="86" y="4"/>
                </a:lnTo>
                <a:lnTo>
                  <a:pt x="84" y="4"/>
                </a:lnTo>
                <a:lnTo>
                  <a:pt x="84" y="7"/>
                </a:lnTo>
                <a:lnTo>
                  <a:pt x="80" y="5"/>
                </a:lnTo>
                <a:lnTo>
                  <a:pt x="81" y="7"/>
                </a:lnTo>
                <a:lnTo>
                  <a:pt x="84" y="8"/>
                </a:lnTo>
                <a:lnTo>
                  <a:pt x="80" y="8"/>
                </a:lnTo>
                <a:lnTo>
                  <a:pt x="78" y="10"/>
                </a:lnTo>
                <a:lnTo>
                  <a:pt x="78" y="11"/>
                </a:lnTo>
                <a:lnTo>
                  <a:pt x="72" y="11"/>
                </a:lnTo>
                <a:lnTo>
                  <a:pt x="69" y="13"/>
                </a:lnTo>
                <a:lnTo>
                  <a:pt x="68" y="15"/>
                </a:lnTo>
                <a:lnTo>
                  <a:pt x="64" y="16"/>
                </a:lnTo>
                <a:lnTo>
                  <a:pt x="64" y="18"/>
                </a:lnTo>
                <a:lnTo>
                  <a:pt x="64" y="19"/>
                </a:lnTo>
                <a:lnTo>
                  <a:pt x="64" y="21"/>
                </a:lnTo>
                <a:lnTo>
                  <a:pt x="61" y="21"/>
                </a:lnTo>
                <a:lnTo>
                  <a:pt x="60" y="19"/>
                </a:lnTo>
                <a:lnTo>
                  <a:pt x="61" y="18"/>
                </a:lnTo>
                <a:lnTo>
                  <a:pt x="57" y="18"/>
                </a:lnTo>
                <a:lnTo>
                  <a:pt x="60" y="16"/>
                </a:lnTo>
                <a:lnTo>
                  <a:pt x="58" y="16"/>
                </a:lnTo>
                <a:lnTo>
                  <a:pt x="50" y="16"/>
                </a:lnTo>
                <a:lnTo>
                  <a:pt x="52" y="18"/>
                </a:lnTo>
                <a:lnTo>
                  <a:pt x="50" y="18"/>
                </a:lnTo>
                <a:lnTo>
                  <a:pt x="48" y="18"/>
                </a:lnTo>
                <a:lnTo>
                  <a:pt x="48" y="16"/>
                </a:lnTo>
                <a:lnTo>
                  <a:pt x="46" y="16"/>
                </a:lnTo>
                <a:lnTo>
                  <a:pt x="45" y="15"/>
                </a:lnTo>
                <a:lnTo>
                  <a:pt x="44" y="16"/>
                </a:lnTo>
                <a:lnTo>
                  <a:pt x="42" y="15"/>
                </a:lnTo>
                <a:lnTo>
                  <a:pt x="41" y="16"/>
                </a:lnTo>
                <a:lnTo>
                  <a:pt x="41" y="18"/>
                </a:lnTo>
                <a:lnTo>
                  <a:pt x="40" y="16"/>
                </a:lnTo>
                <a:lnTo>
                  <a:pt x="38" y="15"/>
                </a:lnTo>
                <a:lnTo>
                  <a:pt x="37" y="15"/>
                </a:lnTo>
                <a:lnTo>
                  <a:pt x="37" y="18"/>
                </a:lnTo>
                <a:lnTo>
                  <a:pt x="42" y="19"/>
                </a:lnTo>
                <a:lnTo>
                  <a:pt x="44" y="19"/>
                </a:lnTo>
                <a:lnTo>
                  <a:pt x="44" y="21"/>
                </a:lnTo>
                <a:lnTo>
                  <a:pt x="44" y="22"/>
                </a:lnTo>
                <a:lnTo>
                  <a:pt x="45" y="24"/>
                </a:lnTo>
                <a:lnTo>
                  <a:pt x="45" y="26"/>
                </a:lnTo>
                <a:lnTo>
                  <a:pt x="42" y="24"/>
                </a:lnTo>
                <a:lnTo>
                  <a:pt x="37" y="21"/>
                </a:lnTo>
                <a:lnTo>
                  <a:pt x="33" y="19"/>
                </a:lnTo>
                <a:lnTo>
                  <a:pt x="34" y="22"/>
                </a:lnTo>
                <a:lnTo>
                  <a:pt x="33" y="22"/>
                </a:lnTo>
                <a:lnTo>
                  <a:pt x="32" y="22"/>
                </a:lnTo>
                <a:lnTo>
                  <a:pt x="30" y="22"/>
                </a:lnTo>
                <a:lnTo>
                  <a:pt x="29" y="24"/>
                </a:lnTo>
                <a:lnTo>
                  <a:pt x="29" y="22"/>
                </a:lnTo>
                <a:lnTo>
                  <a:pt x="28" y="22"/>
                </a:lnTo>
                <a:lnTo>
                  <a:pt x="29" y="21"/>
                </a:lnTo>
                <a:lnTo>
                  <a:pt x="28" y="22"/>
                </a:lnTo>
                <a:lnTo>
                  <a:pt x="25" y="22"/>
                </a:lnTo>
                <a:lnTo>
                  <a:pt x="24" y="24"/>
                </a:lnTo>
                <a:lnTo>
                  <a:pt x="22" y="24"/>
                </a:lnTo>
                <a:lnTo>
                  <a:pt x="24" y="26"/>
                </a:lnTo>
                <a:lnTo>
                  <a:pt x="24" y="27"/>
                </a:lnTo>
                <a:lnTo>
                  <a:pt x="20" y="29"/>
                </a:lnTo>
                <a:lnTo>
                  <a:pt x="17" y="30"/>
                </a:lnTo>
                <a:lnTo>
                  <a:pt x="16" y="32"/>
                </a:lnTo>
                <a:lnTo>
                  <a:pt x="18" y="29"/>
                </a:lnTo>
                <a:lnTo>
                  <a:pt x="18" y="26"/>
                </a:lnTo>
                <a:lnTo>
                  <a:pt x="20" y="24"/>
                </a:lnTo>
                <a:lnTo>
                  <a:pt x="18" y="21"/>
                </a:lnTo>
                <a:lnTo>
                  <a:pt x="16" y="22"/>
                </a:lnTo>
                <a:lnTo>
                  <a:pt x="14" y="22"/>
                </a:lnTo>
                <a:lnTo>
                  <a:pt x="12" y="26"/>
                </a:lnTo>
                <a:lnTo>
                  <a:pt x="10" y="27"/>
                </a:lnTo>
                <a:lnTo>
                  <a:pt x="9" y="30"/>
                </a:lnTo>
                <a:lnTo>
                  <a:pt x="9" y="24"/>
                </a:lnTo>
                <a:lnTo>
                  <a:pt x="2" y="24"/>
                </a:lnTo>
                <a:lnTo>
                  <a:pt x="0" y="26"/>
                </a:lnTo>
                <a:lnTo>
                  <a:pt x="0" y="27"/>
                </a:lnTo>
                <a:lnTo>
                  <a:pt x="0" y="29"/>
                </a:lnTo>
                <a:lnTo>
                  <a:pt x="2" y="30"/>
                </a:lnTo>
                <a:lnTo>
                  <a:pt x="5" y="32"/>
                </a:lnTo>
                <a:lnTo>
                  <a:pt x="6" y="32"/>
                </a:lnTo>
                <a:lnTo>
                  <a:pt x="6" y="33"/>
                </a:lnTo>
                <a:lnTo>
                  <a:pt x="4" y="33"/>
                </a:lnTo>
                <a:lnTo>
                  <a:pt x="2" y="32"/>
                </a:lnTo>
                <a:lnTo>
                  <a:pt x="0" y="3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75" name="Freeform 474"/>
          <p:cNvSpPr>
            <a:spLocks/>
          </p:cNvSpPr>
          <p:nvPr/>
        </p:nvSpPr>
        <p:spPr bwMode="auto">
          <a:xfrm>
            <a:off x="5953105" y="1893840"/>
            <a:ext cx="266988" cy="212614"/>
          </a:xfrm>
          <a:custGeom>
            <a:avLst/>
            <a:gdLst/>
            <a:ahLst/>
            <a:cxnLst>
              <a:cxn ang="0">
                <a:pos x="133" y="0"/>
              </a:cxn>
              <a:cxn ang="0">
                <a:pos x="133" y="3"/>
              </a:cxn>
              <a:cxn ang="0">
                <a:pos x="130" y="1"/>
              </a:cxn>
              <a:cxn ang="0">
                <a:pos x="126" y="4"/>
              </a:cxn>
              <a:cxn ang="0">
                <a:pos x="118" y="9"/>
              </a:cxn>
              <a:cxn ang="0">
                <a:pos x="120" y="11"/>
              </a:cxn>
              <a:cxn ang="0">
                <a:pos x="116" y="12"/>
              </a:cxn>
              <a:cxn ang="0">
                <a:pos x="113" y="15"/>
              </a:cxn>
              <a:cxn ang="0">
                <a:pos x="104" y="17"/>
              </a:cxn>
              <a:cxn ang="0">
                <a:pos x="110" y="17"/>
              </a:cxn>
              <a:cxn ang="0">
                <a:pos x="120" y="19"/>
              </a:cxn>
              <a:cxn ang="0">
                <a:pos x="110" y="20"/>
              </a:cxn>
              <a:cxn ang="0">
                <a:pos x="100" y="20"/>
              </a:cxn>
              <a:cxn ang="0">
                <a:pos x="101" y="25"/>
              </a:cxn>
              <a:cxn ang="0">
                <a:pos x="97" y="28"/>
              </a:cxn>
              <a:cxn ang="0">
                <a:pos x="90" y="25"/>
              </a:cxn>
              <a:cxn ang="0">
                <a:pos x="89" y="26"/>
              </a:cxn>
              <a:cxn ang="0">
                <a:pos x="89" y="30"/>
              </a:cxn>
              <a:cxn ang="0">
                <a:pos x="86" y="33"/>
              </a:cxn>
              <a:cxn ang="0">
                <a:pos x="92" y="34"/>
              </a:cxn>
              <a:cxn ang="0">
                <a:pos x="80" y="34"/>
              </a:cxn>
              <a:cxn ang="0">
                <a:pos x="70" y="39"/>
              </a:cxn>
              <a:cxn ang="0">
                <a:pos x="68" y="44"/>
              </a:cxn>
              <a:cxn ang="0">
                <a:pos x="60" y="45"/>
              </a:cxn>
              <a:cxn ang="0">
                <a:pos x="54" y="50"/>
              </a:cxn>
              <a:cxn ang="0">
                <a:pos x="57" y="52"/>
              </a:cxn>
              <a:cxn ang="0">
                <a:pos x="53" y="55"/>
              </a:cxn>
              <a:cxn ang="0">
                <a:pos x="56" y="56"/>
              </a:cxn>
              <a:cxn ang="0">
                <a:pos x="46" y="61"/>
              </a:cxn>
              <a:cxn ang="0">
                <a:pos x="48" y="61"/>
              </a:cxn>
              <a:cxn ang="0">
                <a:pos x="46" y="63"/>
              </a:cxn>
              <a:cxn ang="0">
                <a:pos x="45" y="67"/>
              </a:cxn>
              <a:cxn ang="0">
                <a:pos x="45" y="72"/>
              </a:cxn>
              <a:cxn ang="0">
                <a:pos x="40" y="72"/>
              </a:cxn>
              <a:cxn ang="0">
                <a:pos x="37" y="75"/>
              </a:cxn>
              <a:cxn ang="0">
                <a:pos x="40" y="74"/>
              </a:cxn>
              <a:cxn ang="0">
                <a:pos x="36" y="77"/>
              </a:cxn>
              <a:cxn ang="0">
                <a:pos x="30" y="80"/>
              </a:cxn>
              <a:cxn ang="0">
                <a:pos x="28" y="83"/>
              </a:cxn>
              <a:cxn ang="0">
                <a:pos x="28" y="88"/>
              </a:cxn>
              <a:cxn ang="0">
                <a:pos x="19" y="86"/>
              </a:cxn>
              <a:cxn ang="0">
                <a:pos x="11" y="91"/>
              </a:cxn>
              <a:cxn ang="0">
                <a:pos x="7" y="99"/>
              </a:cxn>
              <a:cxn ang="0">
                <a:pos x="5" y="102"/>
              </a:cxn>
              <a:cxn ang="0">
                <a:pos x="17" y="102"/>
              </a:cxn>
              <a:cxn ang="0">
                <a:pos x="25" y="100"/>
              </a:cxn>
              <a:cxn ang="0">
                <a:pos x="15" y="103"/>
              </a:cxn>
              <a:cxn ang="0">
                <a:pos x="7" y="107"/>
              </a:cxn>
              <a:cxn ang="0">
                <a:pos x="4" y="107"/>
              </a:cxn>
            </a:cxnLst>
            <a:rect l="0" t="0" r="r" b="b"/>
            <a:pathLst>
              <a:path w="141" h="108">
                <a:moveTo>
                  <a:pt x="141" y="1"/>
                </a:moveTo>
                <a:lnTo>
                  <a:pt x="138" y="0"/>
                </a:lnTo>
                <a:lnTo>
                  <a:pt x="135" y="0"/>
                </a:lnTo>
                <a:lnTo>
                  <a:pt x="133" y="0"/>
                </a:lnTo>
                <a:lnTo>
                  <a:pt x="134" y="1"/>
                </a:lnTo>
                <a:lnTo>
                  <a:pt x="138" y="3"/>
                </a:lnTo>
                <a:lnTo>
                  <a:pt x="135" y="4"/>
                </a:lnTo>
                <a:lnTo>
                  <a:pt x="133" y="3"/>
                </a:lnTo>
                <a:lnTo>
                  <a:pt x="132" y="4"/>
                </a:lnTo>
                <a:lnTo>
                  <a:pt x="132" y="3"/>
                </a:lnTo>
                <a:lnTo>
                  <a:pt x="129" y="3"/>
                </a:lnTo>
                <a:lnTo>
                  <a:pt x="130" y="1"/>
                </a:lnTo>
                <a:lnTo>
                  <a:pt x="129" y="0"/>
                </a:lnTo>
                <a:lnTo>
                  <a:pt x="128" y="1"/>
                </a:lnTo>
                <a:lnTo>
                  <a:pt x="126" y="3"/>
                </a:lnTo>
                <a:lnTo>
                  <a:pt x="126" y="4"/>
                </a:lnTo>
                <a:lnTo>
                  <a:pt x="128" y="6"/>
                </a:lnTo>
                <a:lnTo>
                  <a:pt x="121" y="8"/>
                </a:lnTo>
                <a:lnTo>
                  <a:pt x="120" y="8"/>
                </a:lnTo>
                <a:lnTo>
                  <a:pt x="118" y="9"/>
                </a:lnTo>
                <a:lnTo>
                  <a:pt x="118" y="11"/>
                </a:lnTo>
                <a:lnTo>
                  <a:pt x="121" y="11"/>
                </a:lnTo>
                <a:lnTo>
                  <a:pt x="122" y="11"/>
                </a:lnTo>
                <a:lnTo>
                  <a:pt x="120" y="11"/>
                </a:lnTo>
                <a:lnTo>
                  <a:pt x="121" y="12"/>
                </a:lnTo>
                <a:lnTo>
                  <a:pt x="121" y="14"/>
                </a:lnTo>
                <a:lnTo>
                  <a:pt x="117" y="12"/>
                </a:lnTo>
                <a:lnTo>
                  <a:pt x="116" y="12"/>
                </a:lnTo>
                <a:lnTo>
                  <a:pt x="118" y="14"/>
                </a:lnTo>
                <a:lnTo>
                  <a:pt x="117" y="14"/>
                </a:lnTo>
                <a:lnTo>
                  <a:pt x="113" y="14"/>
                </a:lnTo>
                <a:lnTo>
                  <a:pt x="113" y="15"/>
                </a:lnTo>
                <a:lnTo>
                  <a:pt x="110" y="14"/>
                </a:lnTo>
                <a:lnTo>
                  <a:pt x="106" y="15"/>
                </a:lnTo>
                <a:lnTo>
                  <a:pt x="105" y="15"/>
                </a:lnTo>
                <a:lnTo>
                  <a:pt x="104" y="17"/>
                </a:lnTo>
                <a:lnTo>
                  <a:pt x="102" y="17"/>
                </a:lnTo>
                <a:lnTo>
                  <a:pt x="106" y="19"/>
                </a:lnTo>
                <a:lnTo>
                  <a:pt x="109" y="17"/>
                </a:lnTo>
                <a:lnTo>
                  <a:pt x="110" y="17"/>
                </a:lnTo>
                <a:lnTo>
                  <a:pt x="114" y="19"/>
                </a:lnTo>
                <a:lnTo>
                  <a:pt x="117" y="17"/>
                </a:lnTo>
                <a:lnTo>
                  <a:pt x="118" y="17"/>
                </a:lnTo>
                <a:lnTo>
                  <a:pt x="120" y="19"/>
                </a:lnTo>
                <a:lnTo>
                  <a:pt x="117" y="19"/>
                </a:lnTo>
                <a:lnTo>
                  <a:pt x="116" y="19"/>
                </a:lnTo>
                <a:lnTo>
                  <a:pt x="114" y="22"/>
                </a:lnTo>
                <a:lnTo>
                  <a:pt x="110" y="20"/>
                </a:lnTo>
                <a:lnTo>
                  <a:pt x="108" y="20"/>
                </a:lnTo>
                <a:lnTo>
                  <a:pt x="106" y="19"/>
                </a:lnTo>
                <a:lnTo>
                  <a:pt x="104" y="19"/>
                </a:lnTo>
                <a:lnTo>
                  <a:pt x="100" y="20"/>
                </a:lnTo>
                <a:lnTo>
                  <a:pt x="98" y="20"/>
                </a:lnTo>
                <a:lnTo>
                  <a:pt x="101" y="23"/>
                </a:lnTo>
                <a:lnTo>
                  <a:pt x="100" y="23"/>
                </a:lnTo>
                <a:lnTo>
                  <a:pt x="101" y="25"/>
                </a:lnTo>
                <a:lnTo>
                  <a:pt x="101" y="26"/>
                </a:lnTo>
                <a:lnTo>
                  <a:pt x="100" y="26"/>
                </a:lnTo>
                <a:lnTo>
                  <a:pt x="100" y="28"/>
                </a:lnTo>
                <a:lnTo>
                  <a:pt x="97" y="28"/>
                </a:lnTo>
                <a:lnTo>
                  <a:pt x="96" y="23"/>
                </a:lnTo>
                <a:lnTo>
                  <a:pt x="93" y="23"/>
                </a:lnTo>
                <a:lnTo>
                  <a:pt x="93" y="25"/>
                </a:lnTo>
                <a:lnTo>
                  <a:pt x="90" y="25"/>
                </a:lnTo>
                <a:lnTo>
                  <a:pt x="89" y="25"/>
                </a:lnTo>
                <a:lnTo>
                  <a:pt x="93" y="26"/>
                </a:lnTo>
                <a:lnTo>
                  <a:pt x="92" y="26"/>
                </a:lnTo>
                <a:lnTo>
                  <a:pt x="89" y="26"/>
                </a:lnTo>
                <a:lnTo>
                  <a:pt x="88" y="26"/>
                </a:lnTo>
                <a:lnTo>
                  <a:pt x="86" y="28"/>
                </a:lnTo>
                <a:lnTo>
                  <a:pt x="88" y="30"/>
                </a:lnTo>
                <a:lnTo>
                  <a:pt x="89" y="30"/>
                </a:lnTo>
                <a:lnTo>
                  <a:pt x="88" y="31"/>
                </a:lnTo>
                <a:lnTo>
                  <a:pt x="89" y="31"/>
                </a:lnTo>
                <a:lnTo>
                  <a:pt x="88" y="31"/>
                </a:lnTo>
                <a:lnTo>
                  <a:pt x="86" y="33"/>
                </a:lnTo>
                <a:lnTo>
                  <a:pt x="85" y="34"/>
                </a:lnTo>
                <a:lnTo>
                  <a:pt x="84" y="34"/>
                </a:lnTo>
                <a:lnTo>
                  <a:pt x="86" y="34"/>
                </a:lnTo>
                <a:lnTo>
                  <a:pt x="92" y="34"/>
                </a:lnTo>
                <a:lnTo>
                  <a:pt x="88" y="36"/>
                </a:lnTo>
                <a:lnTo>
                  <a:pt x="86" y="36"/>
                </a:lnTo>
                <a:lnTo>
                  <a:pt x="81" y="36"/>
                </a:lnTo>
                <a:lnTo>
                  <a:pt x="80" y="34"/>
                </a:lnTo>
                <a:lnTo>
                  <a:pt x="77" y="34"/>
                </a:lnTo>
                <a:lnTo>
                  <a:pt x="74" y="36"/>
                </a:lnTo>
                <a:lnTo>
                  <a:pt x="73" y="37"/>
                </a:lnTo>
                <a:lnTo>
                  <a:pt x="70" y="39"/>
                </a:lnTo>
                <a:lnTo>
                  <a:pt x="72" y="39"/>
                </a:lnTo>
                <a:lnTo>
                  <a:pt x="72" y="41"/>
                </a:lnTo>
                <a:lnTo>
                  <a:pt x="69" y="42"/>
                </a:lnTo>
                <a:lnTo>
                  <a:pt x="68" y="44"/>
                </a:lnTo>
                <a:lnTo>
                  <a:pt x="66" y="44"/>
                </a:lnTo>
                <a:lnTo>
                  <a:pt x="65" y="44"/>
                </a:lnTo>
                <a:lnTo>
                  <a:pt x="62" y="44"/>
                </a:lnTo>
                <a:lnTo>
                  <a:pt x="60" y="45"/>
                </a:lnTo>
                <a:lnTo>
                  <a:pt x="62" y="47"/>
                </a:lnTo>
                <a:lnTo>
                  <a:pt x="61" y="48"/>
                </a:lnTo>
                <a:lnTo>
                  <a:pt x="58" y="48"/>
                </a:lnTo>
                <a:lnTo>
                  <a:pt x="54" y="50"/>
                </a:lnTo>
                <a:lnTo>
                  <a:pt x="56" y="50"/>
                </a:lnTo>
                <a:lnTo>
                  <a:pt x="54" y="50"/>
                </a:lnTo>
                <a:lnTo>
                  <a:pt x="53" y="52"/>
                </a:lnTo>
                <a:lnTo>
                  <a:pt x="57" y="52"/>
                </a:lnTo>
                <a:lnTo>
                  <a:pt x="57" y="53"/>
                </a:lnTo>
                <a:lnTo>
                  <a:pt x="54" y="53"/>
                </a:lnTo>
                <a:lnTo>
                  <a:pt x="52" y="53"/>
                </a:lnTo>
                <a:lnTo>
                  <a:pt x="53" y="55"/>
                </a:lnTo>
                <a:lnTo>
                  <a:pt x="54" y="56"/>
                </a:lnTo>
                <a:lnTo>
                  <a:pt x="56" y="55"/>
                </a:lnTo>
                <a:lnTo>
                  <a:pt x="57" y="56"/>
                </a:lnTo>
                <a:lnTo>
                  <a:pt x="56" y="56"/>
                </a:lnTo>
                <a:lnTo>
                  <a:pt x="50" y="58"/>
                </a:lnTo>
                <a:lnTo>
                  <a:pt x="49" y="58"/>
                </a:lnTo>
                <a:lnTo>
                  <a:pt x="49" y="59"/>
                </a:lnTo>
                <a:lnTo>
                  <a:pt x="46" y="61"/>
                </a:lnTo>
                <a:lnTo>
                  <a:pt x="44" y="61"/>
                </a:lnTo>
                <a:lnTo>
                  <a:pt x="42" y="63"/>
                </a:lnTo>
                <a:lnTo>
                  <a:pt x="45" y="63"/>
                </a:lnTo>
                <a:lnTo>
                  <a:pt x="48" y="61"/>
                </a:lnTo>
                <a:lnTo>
                  <a:pt x="50" y="61"/>
                </a:lnTo>
                <a:lnTo>
                  <a:pt x="50" y="63"/>
                </a:lnTo>
                <a:lnTo>
                  <a:pt x="52" y="64"/>
                </a:lnTo>
                <a:lnTo>
                  <a:pt x="46" y="63"/>
                </a:lnTo>
                <a:lnTo>
                  <a:pt x="46" y="64"/>
                </a:lnTo>
                <a:lnTo>
                  <a:pt x="48" y="64"/>
                </a:lnTo>
                <a:lnTo>
                  <a:pt x="45" y="66"/>
                </a:lnTo>
                <a:lnTo>
                  <a:pt x="45" y="67"/>
                </a:lnTo>
                <a:lnTo>
                  <a:pt x="42" y="67"/>
                </a:lnTo>
                <a:lnTo>
                  <a:pt x="42" y="69"/>
                </a:lnTo>
                <a:lnTo>
                  <a:pt x="44" y="70"/>
                </a:lnTo>
                <a:lnTo>
                  <a:pt x="45" y="72"/>
                </a:lnTo>
                <a:lnTo>
                  <a:pt x="42" y="72"/>
                </a:lnTo>
                <a:lnTo>
                  <a:pt x="41" y="72"/>
                </a:lnTo>
                <a:lnTo>
                  <a:pt x="40" y="69"/>
                </a:lnTo>
                <a:lnTo>
                  <a:pt x="40" y="72"/>
                </a:lnTo>
                <a:lnTo>
                  <a:pt x="38" y="72"/>
                </a:lnTo>
                <a:lnTo>
                  <a:pt x="37" y="74"/>
                </a:lnTo>
                <a:lnTo>
                  <a:pt x="36" y="74"/>
                </a:lnTo>
                <a:lnTo>
                  <a:pt x="37" y="75"/>
                </a:lnTo>
                <a:lnTo>
                  <a:pt x="38" y="74"/>
                </a:lnTo>
                <a:lnTo>
                  <a:pt x="40" y="74"/>
                </a:lnTo>
                <a:lnTo>
                  <a:pt x="41" y="74"/>
                </a:lnTo>
                <a:lnTo>
                  <a:pt x="40" y="74"/>
                </a:lnTo>
                <a:lnTo>
                  <a:pt x="40" y="75"/>
                </a:lnTo>
                <a:lnTo>
                  <a:pt x="41" y="77"/>
                </a:lnTo>
                <a:lnTo>
                  <a:pt x="38" y="77"/>
                </a:lnTo>
                <a:lnTo>
                  <a:pt x="36" y="77"/>
                </a:lnTo>
                <a:lnTo>
                  <a:pt x="34" y="77"/>
                </a:lnTo>
                <a:lnTo>
                  <a:pt x="33" y="77"/>
                </a:lnTo>
                <a:lnTo>
                  <a:pt x="30" y="78"/>
                </a:lnTo>
                <a:lnTo>
                  <a:pt x="30" y="80"/>
                </a:lnTo>
                <a:lnTo>
                  <a:pt x="28" y="80"/>
                </a:lnTo>
                <a:lnTo>
                  <a:pt x="26" y="81"/>
                </a:lnTo>
                <a:lnTo>
                  <a:pt x="25" y="83"/>
                </a:lnTo>
                <a:lnTo>
                  <a:pt x="28" y="83"/>
                </a:lnTo>
                <a:lnTo>
                  <a:pt x="30" y="83"/>
                </a:lnTo>
                <a:lnTo>
                  <a:pt x="26" y="85"/>
                </a:lnTo>
                <a:lnTo>
                  <a:pt x="26" y="86"/>
                </a:lnTo>
                <a:lnTo>
                  <a:pt x="28" y="88"/>
                </a:lnTo>
                <a:lnTo>
                  <a:pt x="26" y="88"/>
                </a:lnTo>
                <a:lnTo>
                  <a:pt x="22" y="88"/>
                </a:lnTo>
                <a:lnTo>
                  <a:pt x="20" y="86"/>
                </a:lnTo>
                <a:lnTo>
                  <a:pt x="19" y="86"/>
                </a:lnTo>
                <a:lnTo>
                  <a:pt x="16" y="89"/>
                </a:lnTo>
                <a:lnTo>
                  <a:pt x="13" y="89"/>
                </a:lnTo>
                <a:lnTo>
                  <a:pt x="13" y="91"/>
                </a:lnTo>
                <a:lnTo>
                  <a:pt x="11" y="91"/>
                </a:lnTo>
                <a:lnTo>
                  <a:pt x="7" y="96"/>
                </a:lnTo>
                <a:lnTo>
                  <a:pt x="5" y="96"/>
                </a:lnTo>
                <a:lnTo>
                  <a:pt x="7" y="97"/>
                </a:lnTo>
                <a:lnTo>
                  <a:pt x="7" y="99"/>
                </a:lnTo>
                <a:lnTo>
                  <a:pt x="0" y="100"/>
                </a:lnTo>
                <a:lnTo>
                  <a:pt x="0" y="102"/>
                </a:lnTo>
                <a:lnTo>
                  <a:pt x="1" y="102"/>
                </a:lnTo>
                <a:lnTo>
                  <a:pt x="5" y="102"/>
                </a:lnTo>
                <a:lnTo>
                  <a:pt x="4" y="103"/>
                </a:lnTo>
                <a:lnTo>
                  <a:pt x="5" y="105"/>
                </a:lnTo>
                <a:lnTo>
                  <a:pt x="8" y="105"/>
                </a:lnTo>
                <a:lnTo>
                  <a:pt x="17" y="102"/>
                </a:lnTo>
                <a:lnTo>
                  <a:pt x="24" y="100"/>
                </a:lnTo>
                <a:lnTo>
                  <a:pt x="25" y="99"/>
                </a:lnTo>
                <a:lnTo>
                  <a:pt x="26" y="100"/>
                </a:lnTo>
                <a:lnTo>
                  <a:pt x="25" y="100"/>
                </a:lnTo>
                <a:lnTo>
                  <a:pt x="21" y="102"/>
                </a:lnTo>
                <a:lnTo>
                  <a:pt x="20" y="102"/>
                </a:lnTo>
                <a:lnTo>
                  <a:pt x="16" y="103"/>
                </a:lnTo>
                <a:lnTo>
                  <a:pt x="15" y="103"/>
                </a:lnTo>
                <a:lnTo>
                  <a:pt x="16" y="105"/>
                </a:lnTo>
                <a:lnTo>
                  <a:pt x="11" y="107"/>
                </a:lnTo>
                <a:lnTo>
                  <a:pt x="8" y="107"/>
                </a:lnTo>
                <a:lnTo>
                  <a:pt x="7" y="107"/>
                </a:lnTo>
                <a:lnTo>
                  <a:pt x="8" y="108"/>
                </a:lnTo>
                <a:lnTo>
                  <a:pt x="7" y="108"/>
                </a:lnTo>
                <a:lnTo>
                  <a:pt x="4" y="108"/>
                </a:lnTo>
                <a:lnTo>
                  <a:pt x="4" y="107"/>
                </a:lnTo>
                <a:lnTo>
                  <a:pt x="1" y="105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76" name="Freeform 475"/>
          <p:cNvSpPr>
            <a:spLocks/>
          </p:cNvSpPr>
          <p:nvPr/>
        </p:nvSpPr>
        <p:spPr bwMode="auto">
          <a:xfrm>
            <a:off x="5828382" y="1898135"/>
            <a:ext cx="559310" cy="399455"/>
          </a:xfrm>
          <a:custGeom>
            <a:avLst/>
            <a:gdLst/>
            <a:ahLst/>
            <a:cxnLst>
              <a:cxn ang="0">
                <a:pos x="11" y="174"/>
              </a:cxn>
              <a:cxn ang="0">
                <a:pos x="11" y="177"/>
              </a:cxn>
              <a:cxn ang="0">
                <a:pos x="7" y="182"/>
              </a:cxn>
              <a:cxn ang="0">
                <a:pos x="4" y="185"/>
              </a:cxn>
              <a:cxn ang="0">
                <a:pos x="4" y="191"/>
              </a:cxn>
              <a:cxn ang="0">
                <a:pos x="19" y="195"/>
              </a:cxn>
              <a:cxn ang="0">
                <a:pos x="23" y="199"/>
              </a:cxn>
              <a:cxn ang="0">
                <a:pos x="31" y="201"/>
              </a:cxn>
              <a:cxn ang="0">
                <a:pos x="40" y="198"/>
              </a:cxn>
              <a:cxn ang="0">
                <a:pos x="56" y="188"/>
              </a:cxn>
              <a:cxn ang="0">
                <a:pos x="65" y="184"/>
              </a:cxn>
              <a:cxn ang="0">
                <a:pos x="72" y="179"/>
              </a:cxn>
              <a:cxn ang="0">
                <a:pos x="71" y="174"/>
              </a:cxn>
              <a:cxn ang="0">
                <a:pos x="73" y="171"/>
              </a:cxn>
              <a:cxn ang="0">
                <a:pos x="76" y="173"/>
              </a:cxn>
              <a:cxn ang="0">
                <a:pos x="77" y="168"/>
              </a:cxn>
              <a:cxn ang="0">
                <a:pos x="77" y="171"/>
              </a:cxn>
              <a:cxn ang="0">
                <a:pos x="81" y="179"/>
              </a:cxn>
              <a:cxn ang="0">
                <a:pos x="86" y="187"/>
              </a:cxn>
              <a:cxn ang="0">
                <a:pos x="93" y="177"/>
              </a:cxn>
              <a:cxn ang="0">
                <a:pos x="96" y="168"/>
              </a:cxn>
              <a:cxn ang="0">
                <a:pos x="104" y="160"/>
              </a:cxn>
              <a:cxn ang="0">
                <a:pos x="101" y="147"/>
              </a:cxn>
              <a:cxn ang="0">
                <a:pos x="109" y="138"/>
              </a:cxn>
              <a:cxn ang="0">
                <a:pos x="101" y="124"/>
              </a:cxn>
              <a:cxn ang="0">
                <a:pos x="100" y="118"/>
              </a:cxn>
              <a:cxn ang="0">
                <a:pos x="101" y="110"/>
              </a:cxn>
              <a:cxn ang="0">
                <a:pos x="101" y="100"/>
              </a:cxn>
              <a:cxn ang="0">
                <a:pos x="124" y="94"/>
              </a:cxn>
              <a:cxn ang="0">
                <a:pos x="130" y="88"/>
              </a:cxn>
              <a:cxn ang="0">
                <a:pos x="130" y="78"/>
              </a:cxn>
              <a:cxn ang="0">
                <a:pos x="137" y="60"/>
              </a:cxn>
              <a:cxn ang="0">
                <a:pos x="148" y="55"/>
              </a:cxn>
              <a:cxn ang="0">
                <a:pos x="157" y="45"/>
              </a:cxn>
              <a:cxn ang="0">
                <a:pos x="165" y="39"/>
              </a:cxn>
              <a:cxn ang="0">
                <a:pos x="166" y="31"/>
              </a:cxn>
              <a:cxn ang="0">
                <a:pos x="172" y="25"/>
              </a:cxn>
              <a:cxn ang="0">
                <a:pos x="186" y="23"/>
              </a:cxn>
              <a:cxn ang="0">
                <a:pos x="192" y="19"/>
              </a:cxn>
              <a:cxn ang="0">
                <a:pos x="197" y="14"/>
              </a:cxn>
              <a:cxn ang="0">
                <a:pos x="221" y="14"/>
              </a:cxn>
              <a:cxn ang="0">
                <a:pos x="221" y="9"/>
              </a:cxn>
              <a:cxn ang="0">
                <a:pos x="221" y="6"/>
              </a:cxn>
              <a:cxn ang="0">
                <a:pos x="229" y="3"/>
              </a:cxn>
              <a:cxn ang="0">
                <a:pos x="235" y="1"/>
              </a:cxn>
              <a:cxn ang="0">
                <a:pos x="246" y="1"/>
              </a:cxn>
              <a:cxn ang="0">
                <a:pos x="263" y="11"/>
              </a:cxn>
              <a:cxn ang="0">
                <a:pos x="279" y="8"/>
              </a:cxn>
              <a:cxn ang="0">
                <a:pos x="289" y="11"/>
              </a:cxn>
            </a:cxnLst>
            <a:rect l="0" t="0" r="r" b="b"/>
            <a:pathLst>
              <a:path w="293" h="201">
                <a:moveTo>
                  <a:pt x="4" y="177"/>
                </a:moveTo>
                <a:lnTo>
                  <a:pt x="5" y="176"/>
                </a:lnTo>
                <a:lnTo>
                  <a:pt x="7" y="176"/>
                </a:lnTo>
                <a:lnTo>
                  <a:pt x="11" y="174"/>
                </a:lnTo>
                <a:lnTo>
                  <a:pt x="12" y="174"/>
                </a:lnTo>
                <a:lnTo>
                  <a:pt x="13" y="174"/>
                </a:lnTo>
                <a:lnTo>
                  <a:pt x="9" y="177"/>
                </a:lnTo>
                <a:lnTo>
                  <a:pt x="11" y="177"/>
                </a:lnTo>
                <a:lnTo>
                  <a:pt x="11" y="179"/>
                </a:lnTo>
                <a:lnTo>
                  <a:pt x="9" y="180"/>
                </a:lnTo>
                <a:lnTo>
                  <a:pt x="9" y="182"/>
                </a:lnTo>
                <a:lnTo>
                  <a:pt x="7" y="182"/>
                </a:lnTo>
                <a:lnTo>
                  <a:pt x="8" y="184"/>
                </a:lnTo>
                <a:lnTo>
                  <a:pt x="7" y="185"/>
                </a:lnTo>
                <a:lnTo>
                  <a:pt x="5" y="184"/>
                </a:lnTo>
                <a:lnTo>
                  <a:pt x="4" y="185"/>
                </a:lnTo>
                <a:lnTo>
                  <a:pt x="4" y="184"/>
                </a:lnTo>
                <a:lnTo>
                  <a:pt x="3" y="184"/>
                </a:lnTo>
                <a:lnTo>
                  <a:pt x="0" y="188"/>
                </a:lnTo>
                <a:lnTo>
                  <a:pt x="4" y="191"/>
                </a:lnTo>
                <a:lnTo>
                  <a:pt x="9" y="195"/>
                </a:lnTo>
                <a:lnTo>
                  <a:pt x="13" y="196"/>
                </a:lnTo>
                <a:lnTo>
                  <a:pt x="17" y="196"/>
                </a:lnTo>
                <a:lnTo>
                  <a:pt x="19" y="195"/>
                </a:lnTo>
                <a:lnTo>
                  <a:pt x="19" y="198"/>
                </a:lnTo>
                <a:lnTo>
                  <a:pt x="19" y="199"/>
                </a:lnTo>
                <a:lnTo>
                  <a:pt x="20" y="199"/>
                </a:lnTo>
                <a:lnTo>
                  <a:pt x="23" y="199"/>
                </a:lnTo>
                <a:lnTo>
                  <a:pt x="24" y="198"/>
                </a:lnTo>
                <a:lnTo>
                  <a:pt x="28" y="198"/>
                </a:lnTo>
                <a:lnTo>
                  <a:pt x="25" y="199"/>
                </a:lnTo>
                <a:lnTo>
                  <a:pt x="31" y="201"/>
                </a:lnTo>
                <a:lnTo>
                  <a:pt x="33" y="201"/>
                </a:lnTo>
                <a:lnTo>
                  <a:pt x="37" y="198"/>
                </a:lnTo>
                <a:lnTo>
                  <a:pt x="39" y="196"/>
                </a:lnTo>
                <a:lnTo>
                  <a:pt x="40" y="198"/>
                </a:lnTo>
                <a:lnTo>
                  <a:pt x="45" y="196"/>
                </a:lnTo>
                <a:lnTo>
                  <a:pt x="51" y="191"/>
                </a:lnTo>
                <a:lnTo>
                  <a:pt x="55" y="190"/>
                </a:lnTo>
                <a:lnTo>
                  <a:pt x="56" y="188"/>
                </a:lnTo>
                <a:lnTo>
                  <a:pt x="57" y="187"/>
                </a:lnTo>
                <a:lnTo>
                  <a:pt x="63" y="184"/>
                </a:lnTo>
                <a:lnTo>
                  <a:pt x="61" y="182"/>
                </a:lnTo>
                <a:lnTo>
                  <a:pt x="65" y="184"/>
                </a:lnTo>
                <a:lnTo>
                  <a:pt x="69" y="184"/>
                </a:lnTo>
                <a:lnTo>
                  <a:pt x="71" y="182"/>
                </a:lnTo>
                <a:lnTo>
                  <a:pt x="72" y="180"/>
                </a:lnTo>
                <a:lnTo>
                  <a:pt x="72" y="179"/>
                </a:lnTo>
                <a:lnTo>
                  <a:pt x="75" y="179"/>
                </a:lnTo>
                <a:lnTo>
                  <a:pt x="75" y="176"/>
                </a:lnTo>
                <a:lnTo>
                  <a:pt x="72" y="176"/>
                </a:lnTo>
                <a:lnTo>
                  <a:pt x="71" y="174"/>
                </a:lnTo>
                <a:lnTo>
                  <a:pt x="72" y="174"/>
                </a:lnTo>
                <a:lnTo>
                  <a:pt x="72" y="173"/>
                </a:lnTo>
                <a:lnTo>
                  <a:pt x="72" y="171"/>
                </a:lnTo>
                <a:lnTo>
                  <a:pt x="73" y="171"/>
                </a:lnTo>
                <a:lnTo>
                  <a:pt x="75" y="173"/>
                </a:lnTo>
                <a:lnTo>
                  <a:pt x="75" y="174"/>
                </a:lnTo>
                <a:lnTo>
                  <a:pt x="76" y="174"/>
                </a:lnTo>
                <a:lnTo>
                  <a:pt x="76" y="173"/>
                </a:lnTo>
                <a:lnTo>
                  <a:pt x="75" y="171"/>
                </a:lnTo>
                <a:lnTo>
                  <a:pt x="75" y="168"/>
                </a:lnTo>
                <a:lnTo>
                  <a:pt x="76" y="168"/>
                </a:lnTo>
                <a:lnTo>
                  <a:pt x="77" y="168"/>
                </a:lnTo>
                <a:lnTo>
                  <a:pt x="79" y="168"/>
                </a:lnTo>
                <a:lnTo>
                  <a:pt x="79" y="169"/>
                </a:lnTo>
                <a:lnTo>
                  <a:pt x="77" y="169"/>
                </a:lnTo>
                <a:lnTo>
                  <a:pt x="77" y="171"/>
                </a:lnTo>
                <a:lnTo>
                  <a:pt x="77" y="173"/>
                </a:lnTo>
                <a:lnTo>
                  <a:pt x="79" y="177"/>
                </a:lnTo>
                <a:lnTo>
                  <a:pt x="79" y="179"/>
                </a:lnTo>
                <a:lnTo>
                  <a:pt x="81" y="179"/>
                </a:lnTo>
                <a:lnTo>
                  <a:pt x="84" y="180"/>
                </a:lnTo>
                <a:lnTo>
                  <a:pt x="85" y="180"/>
                </a:lnTo>
                <a:lnTo>
                  <a:pt x="86" y="182"/>
                </a:lnTo>
                <a:lnTo>
                  <a:pt x="86" y="187"/>
                </a:lnTo>
                <a:lnTo>
                  <a:pt x="88" y="184"/>
                </a:lnTo>
                <a:lnTo>
                  <a:pt x="89" y="185"/>
                </a:lnTo>
                <a:lnTo>
                  <a:pt x="90" y="184"/>
                </a:lnTo>
                <a:lnTo>
                  <a:pt x="93" y="177"/>
                </a:lnTo>
                <a:lnTo>
                  <a:pt x="92" y="176"/>
                </a:lnTo>
                <a:lnTo>
                  <a:pt x="92" y="173"/>
                </a:lnTo>
                <a:lnTo>
                  <a:pt x="96" y="169"/>
                </a:lnTo>
                <a:lnTo>
                  <a:pt x="96" y="168"/>
                </a:lnTo>
                <a:lnTo>
                  <a:pt x="102" y="166"/>
                </a:lnTo>
                <a:lnTo>
                  <a:pt x="104" y="165"/>
                </a:lnTo>
                <a:lnTo>
                  <a:pt x="105" y="162"/>
                </a:lnTo>
                <a:lnTo>
                  <a:pt x="104" y="160"/>
                </a:lnTo>
                <a:lnTo>
                  <a:pt x="105" y="155"/>
                </a:lnTo>
                <a:lnTo>
                  <a:pt x="104" y="151"/>
                </a:lnTo>
                <a:lnTo>
                  <a:pt x="100" y="147"/>
                </a:lnTo>
                <a:lnTo>
                  <a:pt x="101" y="147"/>
                </a:lnTo>
                <a:lnTo>
                  <a:pt x="105" y="146"/>
                </a:lnTo>
                <a:lnTo>
                  <a:pt x="108" y="144"/>
                </a:lnTo>
                <a:lnTo>
                  <a:pt x="110" y="141"/>
                </a:lnTo>
                <a:lnTo>
                  <a:pt x="109" y="138"/>
                </a:lnTo>
                <a:lnTo>
                  <a:pt x="104" y="136"/>
                </a:lnTo>
                <a:lnTo>
                  <a:pt x="101" y="133"/>
                </a:lnTo>
                <a:lnTo>
                  <a:pt x="100" y="130"/>
                </a:lnTo>
                <a:lnTo>
                  <a:pt x="101" y="124"/>
                </a:lnTo>
                <a:lnTo>
                  <a:pt x="100" y="122"/>
                </a:lnTo>
                <a:lnTo>
                  <a:pt x="98" y="121"/>
                </a:lnTo>
                <a:lnTo>
                  <a:pt x="98" y="119"/>
                </a:lnTo>
                <a:lnTo>
                  <a:pt x="100" y="118"/>
                </a:lnTo>
                <a:lnTo>
                  <a:pt x="100" y="115"/>
                </a:lnTo>
                <a:lnTo>
                  <a:pt x="101" y="111"/>
                </a:lnTo>
                <a:lnTo>
                  <a:pt x="102" y="110"/>
                </a:lnTo>
                <a:lnTo>
                  <a:pt x="101" y="110"/>
                </a:lnTo>
                <a:lnTo>
                  <a:pt x="100" y="108"/>
                </a:lnTo>
                <a:lnTo>
                  <a:pt x="98" y="105"/>
                </a:lnTo>
                <a:lnTo>
                  <a:pt x="100" y="102"/>
                </a:lnTo>
                <a:lnTo>
                  <a:pt x="101" y="100"/>
                </a:lnTo>
                <a:lnTo>
                  <a:pt x="108" y="96"/>
                </a:lnTo>
                <a:lnTo>
                  <a:pt x="113" y="94"/>
                </a:lnTo>
                <a:lnTo>
                  <a:pt x="118" y="93"/>
                </a:lnTo>
                <a:lnTo>
                  <a:pt x="124" y="94"/>
                </a:lnTo>
                <a:lnTo>
                  <a:pt x="128" y="94"/>
                </a:lnTo>
                <a:lnTo>
                  <a:pt x="130" y="93"/>
                </a:lnTo>
                <a:lnTo>
                  <a:pt x="130" y="91"/>
                </a:lnTo>
                <a:lnTo>
                  <a:pt x="130" y="88"/>
                </a:lnTo>
                <a:lnTo>
                  <a:pt x="129" y="86"/>
                </a:lnTo>
                <a:lnTo>
                  <a:pt x="125" y="85"/>
                </a:lnTo>
                <a:lnTo>
                  <a:pt x="125" y="83"/>
                </a:lnTo>
                <a:lnTo>
                  <a:pt x="130" y="78"/>
                </a:lnTo>
                <a:lnTo>
                  <a:pt x="134" y="74"/>
                </a:lnTo>
                <a:lnTo>
                  <a:pt x="137" y="66"/>
                </a:lnTo>
                <a:lnTo>
                  <a:pt x="137" y="63"/>
                </a:lnTo>
                <a:lnTo>
                  <a:pt x="137" y="60"/>
                </a:lnTo>
                <a:lnTo>
                  <a:pt x="137" y="58"/>
                </a:lnTo>
                <a:lnTo>
                  <a:pt x="140" y="56"/>
                </a:lnTo>
                <a:lnTo>
                  <a:pt x="142" y="56"/>
                </a:lnTo>
                <a:lnTo>
                  <a:pt x="148" y="55"/>
                </a:lnTo>
                <a:lnTo>
                  <a:pt x="149" y="53"/>
                </a:lnTo>
                <a:lnTo>
                  <a:pt x="149" y="52"/>
                </a:lnTo>
                <a:lnTo>
                  <a:pt x="150" y="49"/>
                </a:lnTo>
                <a:lnTo>
                  <a:pt x="157" y="45"/>
                </a:lnTo>
                <a:lnTo>
                  <a:pt x="160" y="44"/>
                </a:lnTo>
                <a:lnTo>
                  <a:pt x="162" y="42"/>
                </a:lnTo>
                <a:lnTo>
                  <a:pt x="165" y="41"/>
                </a:lnTo>
                <a:lnTo>
                  <a:pt x="165" y="39"/>
                </a:lnTo>
                <a:lnTo>
                  <a:pt x="165" y="38"/>
                </a:lnTo>
                <a:lnTo>
                  <a:pt x="161" y="34"/>
                </a:lnTo>
                <a:lnTo>
                  <a:pt x="162" y="33"/>
                </a:lnTo>
                <a:lnTo>
                  <a:pt x="166" y="31"/>
                </a:lnTo>
                <a:lnTo>
                  <a:pt x="168" y="30"/>
                </a:lnTo>
                <a:lnTo>
                  <a:pt x="168" y="28"/>
                </a:lnTo>
                <a:lnTo>
                  <a:pt x="169" y="25"/>
                </a:lnTo>
                <a:lnTo>
                  <a:pt x="172" y="25"/>
                </a:lnTo>
                <a:lnTo>
                  <a:pt x="177" y="22"/>
                </a:lnTo>
                <a:lnTo>
                  <a:pt x="180" y="22"/>
                </a:lnTo>
                <a:lnTo>
                  <a:pt x="184" y="22"/>
                </a:lnTo>
                <a:lnTo>
                  <a:pt x="186" y="23"/>
                </a:lnTo>
                <a:lnTo>
                  <a:pt x="188" y="23"/>
                </a:lnTo>
                <a:lnTo>
                  <a:pt x="189" y="22"/>
                </a:lnTo>
                <a:lnTo>
                  <a:pt x="192" y="20"/>
                </a:lnTo>
                <a:lnTo>
                  <a:pt x="192" y="19"/>
                </a:lnTo>
                <a:lnTo>
                  <a:pt x="192" y="16"/>
                </a:lnTo>
                <a:lnTo>
                  <a:pt x="193" y="14"/>
                </a:lnTo>
                <a:lnTo>
                  <a:pt x="194" y="14"/>
                </a:lnTo>
                <a:lnTo>
                  <a:pt x="197" y="14"/>
                </a:lnTo>
                <a:lnTo>
                  <a:pt x="205" y="14"/>
                </a:lnTo>
                <a:lnTo>
                  <a:pt x="217" y="16"/>
                </a:lnTo>
                <a:lnTo>
                  <a:pt x="219" y="16"/>
                </a:lnTo>
                <a:lnTo>
                  <a:pt x="221" y="14"/>
                </a:lnTo>
                <a:lnTo>
                  <a:pt x="218" y="14"/>
                </a:lnTo>
                <a:lnTo>
                  <a:pt x="218" y="12"/>
                </a:lnTo>
                <a:lnTo>
                  <a:pt x="219" y="11"/>
                </a:lnTo>
                <a:lnTo>
                  <a:pt x="221" y="9"/>
                </a:lnTo>
                <a:lnTo>
                  <a:pt x="222" y="9"/>
                </a:lnTo>
                <a:lnTo>
                  <a:pt x="222" y="8"/>
                </a:lnTo>
                <a:lnTo>
                  <a:pt x="222" y="6"/>
                </a:lnTo>
                <a:lnTo>
                  <a:pt x="221" y="6"/>
                </a:lnTo>
                <a:lnTo>
                  <a:pt x="221" y="5"/>
                </a:lnTo>
                <a:lnTo>
                  <a:pt x="222" y="5"/>
                </a:lnTo>
                <a:lnTo>
                  <a:pt x="227" y="5"/>
                </a:lnTo>
                <a:lnTo>
                  <a:pt x="229" y="3"/>
                </a:lnTo>
                <a:lnTo>
                  <a:pt x="231" y="3"/>
                </a:lnTo>
                <a:lnTo>
                  <a:pt x="233" y="3"/>
                </a:lnTo>
                <a:lnTo>
                  <a:pt x="235" y="3"/>
                </a:lnTo>
                <a:lnTo>
                  <a:pt x="235" y="1"/>
                </a:lnTo>
                <a:lnTo>
                  <a:pt x="235" y="0"/>
                </a:lnTo>
                <a:lnTo>
                  <a:pt x="238" y="0"/>
                </a:lnTo>
                <a:lnTo>
                  <a:pt x="242" y="0"/>
                </a:lnTo>
                <a:lnTo>
                  <a:pt x="246" y="1"/>
                </a:lnTo>
                <a:lnTo>
                  <a:pt x="254" y="6"/>
                </a:lnTo>
                <a:lnTo>
                  <a:pt x="255" y="9"/>
                </a:lnTo>
                <a:lnTo>
                  <a:pt x="257" y="9"/>
                </a:lnTo>
                <a:lnTo>
                  <a:pt x="263" y="11"/>
                </a:lnTo>
                <a:lnTo>
                  <a:pt x="267" y="11"/>
                </a:lnTo>
                <a:lnTo>
                  <a:pt x="271" y="11"/>
                </a:lnTo>
                <a:lnTo>
                  <a:pt x="275" y="11"/>
                </a:lnTo>
                <a:lnTo>
                  <a:pt x="279" y="8"/>
                </a:lnTo>
                <a:lnTo>
                  <a:pt x="282" y="9"/>
                </a:lnTo>
                <a:lnTo>
                  <a:pt x="285" y="11"/>
                </a:lnTo>
                <a:lnTo>
                  <a:pt x="286" y="11"/>
                </a:lnTo>
                <a:lnTo>
                  <a:pt x="289" y="11"/>
                </a:lnTo>
                <a:lnTo>
                  <a:pt x="293" y="1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77" name="Freeform 476"/>
          <p:cNvSpPr>
            <a:spLocks/>
          </p:cNvSpPr>
          <p:nvPr/>
        </p:nvSpPr>
        <p:spPr bwMode="auto">
          <a:xfrm>
            <a:off x="6387691" y="1874512"/>
            <a:ext cx="175394" cy="47248"/>
          </a:xfrm>
          <a:custGeom>
            <a:avLst/>
            <a:gdLst/>
            <a:ahLst/>
            <a:cxnLst>
              <a:cxn ang="0">
                <a:pos x="0" y="24"/>
              </a:cxn>
              <a:cxn ang="0">
                <a:pos x="4" y="22"/>
              </a:cxn>
              <a:cxn ang="0">
                <a:pos x="6" y="21"/>
              </a:cxn>
              <a:cxn ang="0">
                <a:pos x="13" y="19"/>
              </a:cxn>
              <a:cxn ang="0">
                <a:pos x="13" y="18"/>
              </a:cxn>
              <a:cxn ang="0">
                <a:pos x="13" y="14"/>
              </a:cxn>
              <a:cxn ang="0">
                <a:pos x="13" y="13"/>
              </a:cxn>
              <a:cxn ang="0">
                <a:pos x="14" y="8"/>
              </a:cxn>
              <a:cxn ang="0">
                <a:pos x="17" y="5"/>
              </a:cxn>
              <a:cxn ang="0">
                <a:pos x="19" y="3"/>
              </a:cxn>
              <a:cxn ang="0">
                <a:pos x="23" y="2"/>
              </a:cxn>
              <a:cxn ang="0">
                <a:pos x="30" y="2"/>
              </a:cxn>
              <a:cxn ang="0">
                <a:pos x="41" y="0"/>
              </a:cxn>
              <a:cxn ang="0">
                <a:pos x="47" y="0"/>
              </a:cxn>
              <a:cxn ang="0">
                <a:pos x="49" y="0"/>
              </a:cxn>
              <a:cxn ang="0">
                <a:pos x="51" y="2"/>
              </a:cxn>
              <a:cxn ang="0">
                <a:pos x="54" y="3"/>
              </a:cxn>
              <a:cxn ang="0">
                <a:pos x="59" y="3"/>
              </a:cxn>
              <a:cxn ang="0">
                <a:pos x="65" y="7"/>
              </a:cxn>
              <a:cxn ang="0">
                <a:pos x="66" y="10"/>
              </a:cxn>
              <a:cxn ang="0">
                <a:pos x="66" y="11"/>
              </a:cxn>
              <a:cxn ang="0">
                <a:pos x="61" y="14"/>
              </a:cxn>
              <a:cxn ang="0">
                <a:pos x="61" y="16"/>
              </a:cxn>
              <a:cxn ang="0">
                <a:pos x="63" y="18"/>
              </a:cxn>
              <a:cxn ang="0">
                <a:pos x="66" y="16"/>
              </a:cxn>
              <a:cxn ang="0">
                <a:pos x="67" y="14"/>
              </a:cxn>
              <a:cxn ang="0">
                <a:pos x="77" y="11"/>
              </a:cxn>
              <a:cxn ang="0">
                <a:pos x="78" y="11"/>
              </a:cxn>
              <a:cxn ang="0">
                <a:pos x="79" y="8"/>
              </a:cxn>
              <a:cxn ang="0">
                <a:pos x="86" y="10"/>
              </a:cxn>
              <a:cxn ang="0">
                <a:pos x="89" y="8"/>
              </a:cxn>
              <a:cxn ang="0">
                <a:pos x="90" y="8"/>
              </a:cxn>
              <a:cxn ang="0">
                <a:pos x="91" y="7"/>
              </a:cxn>
              <a:cxn ang="0">
                <a:pos x="91" y="5"/>
              </a:cxn>
              <a:cxn ang="0">
                <a:pos x="90" y="5"/>
              </a:cxn>
            </a:cxnLst>
            <a:rect l="0" t="0" r="r" b="b"/>
            <a:pathLst>
              <a:path w="91" h="24">
                <a:moveTo>
                  <a:pt x="0" y="24"/>
                </a:moveTo>
                <a:lnTo>
                  <a:pt x="4" y="22"/>
                </a:lnTo>
                <a:lnTo>
                  <a:pt x="6" y="21"/>
                </a:lnTo>
                <a:lnTo>
                  <a:pt x="13" y="19"/>
                </a:lnTo>
                <a:lnTo>
                  <a:pt x="13" y="18"/>
                </a:lnTo>
                <a:lnTo>
                  <a:pt x="13" y="14"/>
                </a:lnTo>
                <a:lnTo>
                  <a:pt x="13" y="13"/>
                </a:lnTo>
                <a:lnTo>
                  <a:pt x="14" y="8"/>
                </a:lnTo>
                <a:lnTo>
                  <a:pt x="17" y="5"/>
                </a:lnTo>
                <a:lnTo>
                  <a:pt x="19" y="3"/>
                </a:lnTo>
                <a:lnTo>
                  <a:pt x="23" y="2"/>
                </a:lnTo>
                <a:lnTo>
                  <a:pt x="30" y="2"/>
                </a:lnTo>
                <a:lnTo>
                  <a:pt x="41" y="0"/>
                </a:lnTo>
                <a:lnTo>
                  <a:pt x="47" y="0"/>
                </a:lnTo>
                <a:lnTo>
                  <a:pt x="49" y="0"/>
                </a:lnTo>
                <a:lnTo>
                  <a:pt x="51" y="2"/>
                </a:lnTo>
                <a:lnTo>
                  <a:pt x="54" y="3"/>
                </a:lnTo>
                <a:lnTo>
                  <a:pt x="59" y="3"/>
                </a:lnTo>
                <a:lnTo>
                  <a:pt x="65" y="7"/>
                </a:lnTo>
                <a:lnTo>
                  <a:pt x="66" y="10"/>
                </a:lnTo>
                <a:lnTo>
                  <a:pt x="66" y="11"/>
                </a:lnTo>
                <a:lnTo>
                  <a:pt x="61" y="14"/>
                </a:lnTo>
                <a:lnTo>
                  <a:pt x="61" y="16"/>
                </a:lnTo>
                <a:lnTo>
                  <a:pt x="63" y="18"/>
                </a:lnTo>
                <a:lnTo>
                  <a:pt x="66" y="16"/>
                </a:lnTo>
                <a:lnTo>
                  <a:pt x="67" y="14"/>
                </a:lnTo>
                <a:lnTo>
                  <a:pt x="77" y="11"/>
                </a:lnTo>
                <a:lnTo>
                  <a:pt x="78" y="11"/>
                </a:lnTo>
                <a:lnTo>
                  <a:pt x="79" y="8"/>
                </a:lnTo>
                <a:lnTo>
                  <a:pt x="86" y="10"/>
                </a:lnTo>
                <a:lnTo>
                  <a:pt x="89" y="8"/>
                </a:lnTo>
                <a:lnTo>
                  <a:pt x="90" y="8"/>
                </a:lnTo>
                <a:lnTo>
                  <a:pt x="91" y="7"/>
                </a:lnTo>
                <a:lnTo>
                  <a:pt x="91" y="5"/>
                </a:lnTo>
                <a:lnTo>
                  <a:pt x="90" y="5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78" name="Freeform 477"/>
          <p:cNvSpPr>
            <a:spLocks/>
          </p:cNvSpPr>
          <p:nvPr/>
        </p:nvSpPr>
        <p:spPr bwMode="auto">
          <a:xfrm>
            <a:off x="6305842" y="2497318"/>
            <a:ext cx="524230" cy="281336"/>
          </a:xfrm>
          <a:custGeom>
            <a:avLst/>
            <a:gdLst/>
            <a:ahLst/>
            <a:cxnLst>
              <a:cxn ang="0">
                <a:pos x="44" y="80"/>
              </a:cxn>
              <a:cxn ang="0">
                <a:pos x="17" y="77"/>
              </a:cxn>
              <a:cxn ang="0">
                <a:pos x="0" y="71"/>
              </a:cxn>
              <a:cxn ang="0">
                <a:pos x="9" y="52"/>
              </a:cxn>
              <a:cxn ang="0">
                <a:pos x="28" y="29"/>
              </a:cxn>
              <a:cxn ang="0">
                <a:pos x="21" y="15"/>
              </a:cxn>
              <a:cxn ang="0">
                <a:pos x="35" y="8"/>
              </a:cxn>
              <a:cxn ang="0">
                <a:pos x="60" y="8"/>
              </a:cxn>
              <a:cxn ang="0">
                <a:pos x="76" y="11"/>
              </a:cxn>
              <a:cxn ang="0">
                <a:pos x="86" y="16"/>
              </a:cxn>
              <a:cxn ang="0">
                <a:pos x="98" y="15"/>
              </a:cxn>
              <a:cxn ang="0">
                <a:pos x="112" y="18"/>
              </a:cxn>
              <a:cxn ang="0">
                <a:pos x="126" y="19"/>
              </a:cxn>
              <a:cxn ang="0">
                <a:pos x="130" y="8"/>
              </a:cxn>
              <a:cxn ang="0">
                <a:pos x="149" y="5"/>
              </a:cxn>
              <a:cxn ang="0">
                <a:pos x="162" y="0"/>
              </a:cxn>
              <a:cxn ang="0">
                <a:pos x="182" y="4"/>
              </a:cxn>
              <a:cxn ang="0">
                <a:pos x="182" y="11"/>
              </a:cxn>
              <a:cxn ang="0">
                <a:pos x="193" y="19"/>
              </a:cxn>
              <a:cxn ang="0">
                <a:pos x="202" y="30"/>
              </a:cxn>
              <a:cxn ang="0">
                <a:pos x="213" y="33"/>
              </a:cxn>
              <a:cxn ang="0">
                <a:pos x="233" y="33"/>
              </a:cxn>
              <a:cxn ang="0">
                <a:pos x="246" y="40"/>
              </a:cxn>
              <a:cxn ang="0">
                <a:pos x="261" y="46"/>
              </a:cxn>
              <a:cxn ang="0">
                <a:pos x="271" y="49"/>
              </a:cxn>
              <a:cxn ang="0">
                <a:pos x="271" y="62"/>
              </a:cxn>
              <a:cxn ang="0">
                <a:pos x="267" y="71"/>
              </a:cxn>
              <a:cxn ang="0">
                <a:pos x="258" y="80"/>
              </a:cxn>
              <a:cxn ang="0">
                <a:pos x="245" y="90"/>
              </a:cxn>
              <a:cxn ang="0">
                <a:pos x="225" y="98"/>
              </a:cxn>
              <a:cxn ang="0">
                <a:pos x="210" y="102"/>
              </a:cxn>
              <a:cxn ang="0">
                <a:pos x="197" y="112"/>
              </a:cxn>
              <a:cxn ang="0">
                <a:pos x="197" y="109"/>
              </a:cxn>
              <a:cxn ang="0">
                <a:pos x="193" y="112"/>
              </a:cxn>
              <a:cxn ang="0">
                <a:pos x="185" y="110"/>
              </a:cxn>
              <a:cxn ang="0">
                <a:pos x="179" y="112"/>
              </a:cxn>
              <a:cxn ang="0">
                <a:pos x="186" y="113"/>
              </a:cxn>
              <a:cxn ang="0">
                <a:pos x="194" y="118"/>
              </a:cxn>
              <a:cxn ang="0">
                <a:pos x="203" y="124"/>
              </a:cxn>
              <a:cxn ang="0">
                <a:pos x="217" y="123"/>
              </a:cxn>
              <a:cxn ang="0">
                <a:pos x="213" y="129"/>
              </a:cxn>
              <a:cxn ang="0">
                <a:pos x="189" y="135"/>
              </a:cxn>
              <a:cxn ang="0">
                <a:pos x="185" y="140"/>
              </a:cxn>
              <a:cxn ang="0">
                <a:pos x="174" y="134"/>
              </a:cxn>
              <a:cxn ang="0">
                <a:pos x="166" y="126"/>
              </a:cxn>
              <a:cxn ang="0">
                <a:pos x="169" y="117"/>
              </a:cxn>
              <a:cxn ang="0">
                <a:pos x="170" y="110"/>
              </a:cxn>
              <a:cxn ang="0">
                <a:pos x="152" y="109"/>
              </a:cxn>
              <a:cxn ang="0">
                <a:pos x="154" y="104"/>
              </a:cxn>
              <a:cxn ang="0">
                <a:pos x="144" y="102"/>
              </a:cxn>
              <a:cxn ang="0">
                <a:pos x="132" y="104"/>
              </a:cxn>
              <a:cxn ang="0">
                <a:pos x="122" y="107"/>
              </a:cxn>
              <a:cxn ang="0">
                <a:pos x="120" y="117"/>
              </a:cxn>
              <a:cxn ang="0">
                <a:pos x="114" y="115"/>
              </a:cxn>
              <a:cxn ang="0">
                <a:pos x="108" y="124"/>
              </a:cxn>
              <a:cxn ang="0">
                <a:pos x="93" y="121"/>
              </a:cxn>
              <a:cxn ang="0">
                <a:pos x="100" y="115"/>
              </a:cxn>
              <a:cxn ang="0">
                <a:pos x="109" y="106"/>
              </a:cxn>
              <a:cxn ang="0">
                <a:pos x="120" y="99"/>
              </a:cxn>
              <a:cxn ang="0">
                <a:pos x="112" y="88"/>
              </a:cxn>
              <a:cxn ang="0">
                <a:pos x="108" y="79"/>
              </a:cxn>
              <a:cxn ang="0">
                <a:pos x="93" y="74"/>
              </a:cxn>
              <a:cxn ang="0">
                <a:pos x="72" y="69"/>
              </a:cxn>
            </a:cxnLst>
            <a:rect l="0" t="0" r="r" b="b"/>
            <a:pathLst>
              <a:path w="274" h="142">
                <a:moveTo>
                  <a:pt x="69" y="73"/>
                </a:moveTo>
                <a:lnTo>
                  <a:pt x="66" y="73"/>
                </a:lnTo>
                <a:lnTo>
                  <a:pt x="57" y="77"/>
                </a:lnTo>
                <a:lnTo>
                  <a:pt x="52" y="77"/>
                </a:lnTo>
                <a:lnTo>
                  <a:pt x="48" y="79"/>
                </a:lnTo>
                <a:lnTo>
                  <a:pt x="44" y="80"/>
                </a:lnTo>
                <a:lnTo>
                  <a:pt x="41" y="80"/>
                </a:lnTo>
                <a:lnTo>
                  <a:pt x="37" y="77"/>
                </a:lnTo>
                <a:lnTo>
                  <a:pt x="33" y="77"/>
                </a:lnTo>
                <a:lnTo>
                  <a:pt x="29" y="79"/>
                </a:lnTo>
                <a:lnTo>
                  <a:pt x="23" y="79"/>
                </a:lnTo>
                <a:lnTo>
                  <a:pt x="17" y="77"/>
                </a:lnTo>
                <a:lnTo>
                  <a:pt x="13" y="77"/>
                </a:lnTo>
                <a:lnTo>
                  <a:pt x="11" y="79"/>
                </a:lnTo>
                <a:lnTo>
                  <a:pt x="9" y="76"/>
                </a:lnTo>
                <a:lnTo>
                  <a:pt x="8" y="74"/>
                </a:lnTo>
                <a:lnTo>
                  <a:pt x="4" y="73"/>
                </a:lnTo>
                <a:lnTo>
                  <a:pt x="0" y="71"/>
                </a:lnTo>
                <a:lnTo>
                  <a:pt x="1" y="65"/>
                </a:lnTo>
                <a:lnTo>
                  <a:pt x="5" y="58"/>
                </a:lnTo>
                <a:lnTo>
                  <a:pt x="7" y="58"/>
                </a:lnTo>
                <a:lnTo>
                  <a:pt x="9" y="57"/>
                </a:lnTo>
                <a:lnTo>
                  <a:pt x="9" y="55"/>
                </a:lnTo>
                <a:lnTo>
                  <a:pt x="9" y="52"/>
                </a:lnTo>
                <a:lnTo>
                  <a:pt x="15" y="44"/>
                </a:lnTo>
                <a:lnTo>
                  <a:pt x="19" y="40"/>
                </a:lnTo>
                <a:lnTo>
                  <a:pt x="24" y="36"/>
                </a:lnTo>
                <a:lnTo>
                  <a:pt x="28" y="33"/>
                </a:lnTo>
                <a:lnTo>
                  <a:pt x="29" y="32"/>
                </a:lnTo>
                <a:lnTo>
                  <a:pt x="28" y="29"/>
                </a:lnTo>
                <a:lnTo>
                  <a:pt x="28" y="26"/>
                </a:lnTo>
                <a:lnTo>
                  <a:pt x="25" y="24"/>
                </a:lnTo>
                <a:lnTo>
                  <a:pt x="25" y="22"/>
                </a:lnTo>
                <a:lnTo>
                  <a:pt x="23" y="19"/>
                </a:lnTo>
                <a:lnTo>
                  <a:pt x="23" y="16"/>
                </a:lnTo>
                <a:lnTo>
                  <a:pt x="21" y="15"/>
                </a:lnTo>
                <a:lnTo>
                  <a:pt x="23" y="13"/>
                </a:lnTo>
                <a:lnTo>
                  <a:pt x="25" y="13"/>
                </a:lnTo>
                <a:lnTo>
                  <a:pt x="28" y="13"/>
                </a:lnTo>
                <a:lnTo>
                  <a:pt x="32" y="11"/>
                </a:lnTo>
                <a:lnTo>
                  <a:pt x="33" y="10"/>
                </a:lnTo>
                <a:lnTo>
                  <a:pt x="35" y="8"/>
                </a:lnTo>
                <a:lnTo>
                  <a:pt x="36" y="8"/>
                </a:lnTo>
                <a:lnTo>
                  <a:pt x="48" y="7"/>
                </a:lnTo>
                <a:lnTo>
                  <a:pt x="49" y="7"/>
                </a:lnTo>
                <a:lnTo>
                  <a:pt x="55" y="7"/>
                </a:lnTo>
                <a:lnTo>
                  <a:pt x="57" y="7"/>
                </a:lnTo>
                <a:lnTo>
                  <a:pt x="60" y="8"/>
                </a:lnTo>
                <a:lnTo>
                  <a:pt x="65" y="10"/>
                </a:lnTo>
                <a:lnTo>
                  <a:pt x="66" y="10"/>
                </a:lnTo>
                <a:lnTo>
                  <a:pt x="69" y="10"/>
                </a:lnTo>
                <a:lnTo>
                  <a:pt x="72" y="10"/>
                </a:lnTo>
                <a:lnTo>
                  <a:pt x="73" y="11"/>
                </a:lnTo>
                <a:lnTo>
                  <a:pt x="76" y="11"/>
                </a:lnTo>
                <a:lnTo>
                  <a:pt x="76" y="13"/>
                </a:lnTo>
                <a:lnTo>
                  <a:pt x="77" y="15"/>
                </a:lnTo>
                <a:lnTo>
                  <a:pt x="82" y="15"/>
                </a:lnTo>
                <a:lnTo>
                  <a:pt x="82" y="16"/>
                </a:lnTo>
                <a:lnTo>
                  <a:pt x="84" y="16"/>
                </a:lnTo>
                <a:lnTo>
                  <a:pt x="86" y="16"/>
                </a:lnTo>
                <a:lnTo>
                  <a:pt x="88" y="15"/>
                </a:lnTo>
                <a:lnTo>
                  <a:pt x="90" y="15"/>
                </a:lnTo>
                <a:lnTo>
                  <a:pt x="92" y="15"/>
                </a:lnTo>
                <a:lnTo>
                  <a:pt x="94" y="15"/>
                </a:lnTo>
                <a:lnTo>
                  <a:pt x="96" y="16"/>
                </a:lnTo>
                <a:lnTo>
                  <a:pt x="98" y="15"/>
                </a:lnTo>
                <a:lnTo>
                  <a:pt x="100" y="16"/>
                </a:lnTo>
                <a:lnTo>
                  <a:pt x="101" y="18"/>
                </a:lnTo>
                <a:lnTo>
                  <a:pt x="106" y="13"/>
                </a:lnTo>
                <a:lnTo>
                  <a:pt x="109" y="16"/>
                </a:lnTo>
                <a:lnTo>
                  <a:pt x="110" y="18"/>
                </a:lnTo>
                <a:lnTo>
                  <a:pt x="112" y="18"/>
                </a:lnTo>
                <a:lnTo>
                  <a:pt x="114" y="18"/>
                </a:lnTo>
                <a:lnTo>
                  <a:pt x="117" y="18"/>
                </a:lnTo>
                <a:lnTo>
                  <a:pt x="121" y="16"/>
                </a:lnTo>
                <a:lnTo>
                  <a:pt x="124" y="18"/>
                </a:lnTo>
                <a:lnTo>
                  <a:pt x="125" y="18"/>
                </a:lnTo>
                <a:lnTo>
                  <a:pt x="126" y="19"/>
                </a:lnTo>
                <a:lnTo>
                  <a:pt x="129" y="19"/>
                </a:lnTo>
                <a:lnTo>
                  <a:pt x="130" y="18"/>
                </a:lnTo>
                <a:lnTo>
                  <a:pt x="129" y="13"/>
                </a:lnTo>
                <a:lnTo>
                  <a:pt x="130" y="11"/>
                </a:lnTo>
                <a:lnTo>
                  <a:pt x="130" y="10"/>
                </a:lnTo>
                <a:lnTo>
                  <a:pt x="130" y="8"/>
                </a:lnTo>
                <a:lnTo>
                  <a:pt x="136" y="5"/>
                </a:lnTo>
                <a:lnTo>
                  <a:pt x="138" y="4"/>
                </a:lnTo>
                <a:lnTo>
                  <a:pt x="140" y="4"/>
                </a:lnTo>
                <a:lnTo>
                  <a:pt x="142" y="4"/>
                </a:lnTo>
                <a:lnTo>
                  <a:pt x="148" y="4"/>
                </a:lnTo>
                <a:lnTo>
                  <a:pt x="149" y="5"/>
                </a:lnTo>
                <a:lnTo>
                  <a:pt x="152" y="5"/>
                </a:lnTo>
                <a:lnTo>
                  <a:pt x="153" y="4"/>
                </a:lnTo>
                <a:lnTo>
                  <a:pt x="156" y="4"/>
                </a:lnTo>
                <a:lnTo>
                  <a:pt x="156" y="2"/>
                </a:lnTo>
                <a:lnTo>
                  <a:pt x="157" y="0"/>
                </a:lnTo>
                <a:lnTo>
                  <a:pt x="162" y="0"/>
                </a:lnTo>
                <a:lnTo>
                  <a:pt x="165" y="0"/>
                </a:lnTo>
                <a:lnTo>
                  <a:pt x="169" y="0"/>
                </a:lnTo>
                <a:lnTo>
                  <a:pt x="173" y="0"/>
                </a:lnTo>
                <a:lnTo>
                  <a:pt x="177" y="0"/>
                </a:lnTo>
                <a:lnTo>
                  <a:pt x="181" y="2"/>
                </a:lnTo>
                <a:lnTo>
                  <a:pt x="182" y="4"/>
                </a:lnTo>
                <a:lnTo>
                  <a:pt x="182" y="5"/>
                </a:lnTo>
                <a:lnTo>
                  <a:pt x="185" y="7"/>
                </a:lnTo>
                <a:lnTo>
                  <a:pt x="186" y="8"/>
                </a:lnTo>
                <a:lnTo>
                  <a:pt x="186" y="10"/>
                </a:lnTo>
                <a:lnTo>
                  <a:pt x="185" y="11"/>
                </a:lnTo>
                <a:lnTo>
                  <a:pt x="182" y="11"/>
                </a:lnTo>
                <a:lnTo>
                  <a:pt x="183" y="13"/>
                </a:lnTo>
                <a:lnTo>
                  <a:pt x="183" y="15"/>
                </a:lnTo>
                <a:lnTo>
                  <a:pt x="185" y="18"/>
                </a:lnTo>
                <a:lnTo>
                  <a:pt x="186" y="18"/>
                </a:lnTo>
                <a:lnTo>
                  <a:pt x="189" y="19"/>
                </a:lnTo>
                <a:lnTo>
                  <a:pt x="193" y="19"/>
                </a:lnTo>
                <a:lnTo>
                  <a:pt x="195" y="19"/>
                </a:lnTo>
                <a:lnTo>
                  <a:pt x="197" y="19"/>
                </a:lnTo>
                <a:lnTo>
                  <a:pt x="198" y="21"/>
                </a:lnTo>
                <a:lnTo>
                  <a:pt x="201" y="24"/>
                </a:lnTo>
                <a:lnTo>
                  <a:pt x="203" y="29"/>
                </a:lnTo>
                <a:lnTo>
                  <a:pt x="202" y="30"/>
                </a:lnTo>
                <a:lnTo>
                  <a:pt x="203" y="32"/>
                </a:lnTo>
                <a:lnTo>
                  <a:pt x="205" y="33"/>
                </a:lnTo>
                <a:lnTo>
                  <a:pt x="206" y="35"/>
                </a:lnTo>
                <a:lnTo>
                  <a:pt x="209" y="33"/>
                </a:lnTo>
                <a:lnTo>
                  <a:pt x="211" y="33"/>
                </a:lnTo>
                <a:lnTo>
                  <a:pt x="213" y="33"/>
                </a:lnTo>
                <a:lnTo>
                  <a:pt x="217" y="35"/>
                </a:lnTo>
                <a:lnTo>
                  <a:pt x="218" y="35"/>
                </a:lnTo>
                <a:lnTo>
                  <a:pt x="221" y="36"/>
                </a:lnTo>
                <a:lnTo>
                  <a:pt x="227" y="35"/>
                </a:lnTo>
                <a:lnTo>
                  <a:pt x="231" y="33"/>
                </a:lnTo>
                <a:lnTo>
                  <a:pt x="233" y="33"/>
                </a:lnTo>
                <a:lnTo>
                  <a:pt x="234" y="35"/>
                </a:lnTo>
                <a:lnTo>
                  <a:pt x="238" y="40"/>
                </a:lnTo>
                <a:lnTo>
                  <a:pt x="241" y="41"/>
                </a:lnTo>
                <a:lnTo>
                  <a:pt x="243" y="41"/>
                </a:lnTo>
                <a:lnTo>
                  <a:pt x="243" y="40"/>
                </a:lnTo>
                <a:lnTo>
                  <a:pt x="246" y="40"/>
                </a:lnTo>
                <a:lnTo>
                  <a:pt x="247" y="41"/>
                </a:lnTo>
                <a:lnTo>
                  <a:pt x="250" y="41"/>
                </a:lnTo>
                <a:lnTo>
                  <a:pt x="251" y="43"/>
                </a:lnTo>
                <a:lnTo>
                  <a:pt x="253" y="44"/>
                </a:lnTo>
                <a:lnTo>
                  <a:pt x="258" y="44"/>
                </a:lnTo>
                <a:lnTo>
                  <a:pt x="261" y="46"/>
                </a:lnTo>
                <a:lnTo>
                  <a:pt x="263" y="46"/>
                </a:lnTo>
                <a:lnTo>
                  <a:pt x="267" y="47"/>
                </a:lnTo>
                <a:lnTo>
                  <a:pt x="269" y="47"/>
                </a:lnTo>
                <a:lnTo>
                  <a:pt x="271" y="47"/>
                </a:lnTo>
                <a:lnTo>
                  <a:pt x="273" y="49"/>
                </a:lnTo>
                <a:lnTo>
                  <a:pt x="271" y="49"/>
                </a:lnTo>
                <a:lnTo>
                  <a:pt x="274" y="55"/>
                </a:lnTo>
                <a:lnTo>
                  <a:pt x="271" y="58"/>
                </a:lnTo>
                <a:lnTo>
                  <a:pt x="267" y="58"/>
                </a:lnTo>
                <a:lnTo>
                  <a:pt x="269" y="60"/>
                </a:lnTo>
                <a:lnTo>
                  <a:pt x="270" y="60"/>
                </a:lnTo>
                <a:lnTo>
                  <a:pt x="271" y="62"/>
                </a:lnTo>
                <a:lnTo>
                  <a:pt x="267" y="63"/>
                </a:lnTo>
                <a:lnTo>
                  <a:pt x="266" y="65"/>
                </a:lnTo>
                <a:lnTo>
                  <a:pt x="266" y="66"/>
                </a:lnTo>
                <a:lnTo>
                  <a:pt x="267" y="68"/>
                </a:lnTo>
                <a:lnTo>
                  <a:pt x="269" y="69"/>
                </a:lnTo>
                <a:lnTo>
                  <a:pt x="267" y="71"/>
                </a:lnTo>
                <a:lnTo>
                  <a:pt x="270" y="71"/>
                </a:lnTo>
                <a:lnTo>
                  <a:pt x="269" y="76"/>
                </a:lnTo>
                <a:lnTo>
                  <a:pt x="267" y="80"/>
                </a:lnTo>
                <a:lnTo>
                  <a:pt x="265" y="80"/>
                </a:lnTo>
                <a:lnTo>
                  <a:pt x="261" y="80"/>
                </a:lnTo>
                <a:lnTo>
                  <a:pt x="258" y="80"/>
                </a:lnTo>
                <a:lnTo>
                  <a:pt x="254" y="79"/>
                </a:lnTo>
                <a:lnTo>
                  <a:pt x="253" y="80"/>
                </a:lnTo>
                <a:lnTo>
                  <a:pt x="250" y="84"/>
                </a:lnTo>
                <a:lnTo>
                  <a:pt x="246" y="84"/>
                </a:lnTo>
                <a:lnTo>
                  <a:pt x="245" y="87"/>
                </a:lnTo>
                <a:lnTo>
                  <a:pt x="245" y="90"/>
                </a:lnTo>
                <a:lnTo>
                  <a:pt x="245" y="93"/>
                </a:lnTo>
                <a:lnTo>
                  <a:pt x="238" y="93"/>
                </a:lnTo>
                <a:lnTo>
                  <a:pt x="234" y="95"/>
                </a:lnTo>
                <a:lnTo>
                  <a:pt x="231" y="96"/>
                </a:lnTo>
                <a:lnTo>
                  <a:pt x="230" y="96"/>
                </a:lnTo>
                <a:lnTo>
                  <a:pt x="225" y="98"/>
                </a:lnTo>
                <a:lnTo>
                  <a:pt x="223" y="101"/>
                </a:lnTo>
                <a:lnTo>
                  <a:pt x="221" y="99"/>
                </a:lnTo>
                <a:lnTo>
                  <a:pt x="214" y="101"/>
                </a:lnTo>
                <a:lnTo>
                  <a:pt x="213" y="102"/>
                </a:lnTo>
                <a:lnTo>
                  <a:pt x="213" y="101"/>
                </a:lnTo>
                <a:lnTo>
                  <a:pt x="210" y="102"/>
                </a:lnTo>
                <a:lnTo>
                  <a:pt x="207" y="102"/>
                </a:lnTo>
                <a:lnTo>
                  <a:pt x="203" y="106"/>
                </a:lnTo>
                <a:lnTo>
                  <a:pt x="202" y="106"/>
                </a:lnTo>
                <a:lnTo>
                  <a:pt x="201" y="107"/>
                </a:lnTo>
                <a:lnTo>
                  <a:pt x="199" y="110"/>
                </a:lnTo>
                <a:lnTo>
                  <a:pt x="197" y="112"/>
                </a:lnTo>
                <a:lnTo>
                  <a:pt x="198" y="110"/>
                </a:lnTo>
                <a:lnTo>
                  <a:pt x="199" y="109"/>
                </a:lnTo>
                <a:lnTo>
                  <a:pt x="201" y="109"/>
                </a:lnTo>
                <a:lnTo>
                  <a:pt x="199" y="104"/>
                </a:lnTo>
                <a:lnTo>
                  <a:pt x="198" y="104"/>
                </a:lnTo>
                <a:lnTo>
                  <a:pt x="197" y="109"/>
                </a:lnTo>
                <a:lnTo>
                  <a:pt x="194" y="110"/>
                </a:lnTo>
                <a:lnTo>
                  <a:pt x="194" y="113"/>
                </a:lnTo>
                <a:lnTo>
                  <a:pt x="194" y="115"/>
                </a:lnTo>
                <a:lnTo>
                  <a:pt x="193" y="115"/>
                </a:lnTo>
                <a:lnTo>
                  <a:pt x="191" y="112"/>
                </a:lnTo>
                <a:lnTo>
                  <a:pt x="193" y="112"/>
                </a:lnTo>
                <a:lnTo>
                  <a:pt x="191" y="110"/>
                </a:lnTo>
                <a:lnTo>
                  <a:pt x="190" y="112"/>
                </a:lnTo>
                <a:lnTo>
                  <a:pt x="189" y="113"/>
                </a:lnTo>
                <a:lnTo>
                  <a:pt x="189" y="112"/>
                </a:lnTo>
                <a:lnTo>
                  <a:pt x="189" y="110"/>
                </a:lnTo>
                <a:lnTo>
                  <a:pt x="185" y="110"/>
                </a:lnTo>
                <a:lnTo>
                  <a:pt x="183" y="109"/>
                </a:lnTo>
                <a:lnTo>
                  <a:pt x="183" y="107"/>
                </a:lnTo>
                <a:lnTo>
                  <a:pt x="182" y="110"/>
                </a:lnTo>
                <a:lnTo>
                  <a:pt x="177" y="109"/>
                </a:lnTo>
                <a:lnTo>
                  <a:pt x="178" y="110"/>
                </a:lnTo>
                <a:lnTo>
                  <a:pt x="179" y="112"/>
                </a:lnTo>
                <a:lnTo>
                  <a:pt x="181" y="110"/>
                </a:lnTo>
                <a:lnTo>
                  <a:pt x="182" y="112"/>
                </a:lnTo>
                <a:lnTo>
                  <a:pt x="182" y="113"/>
                </a:lnTo>
                <a:lnTo>
                  <a:pt x="183" y="115"/>
                </a:lnTo>
                <a:lnTo>
                  <a:pt x="185" y="113"/>
                </a:lnTo>
                <a:lnTo>
                  <a:pt x="186" y="113"/>
                </a:lnTo>
                <a:lnTo>
                  <a:pt x="189" y="113"/>
                </a:lnTo>
                <a:lnTo>
                  <a:pt x="190" y="113"/>
                </a:lnTo>
                <a:lnTo>
                  <a:pt x="189" y="117"/>
                </a:lnTo>
                <a:lnTo>
                  <a:pt x="191" y="117"/>
                </a:lnTo>
                <a:lnTo>
                  <a:pt x="191" y="118"/>
                </a:lnTo>
                <a:lnTo>
                  <a:pt x="194" y="118"/>
                </a:lnTo>
                <a:lnTo>
                  <a:pt x="197" y="120"/>
                </a:lnTo>
                <a:lnTo>
                  <a:pt x="197" y="123"/>
                </a:lnTo>
                <a:lnTo>
                  <a:pt x="197" y="124"/>
                </a:lnTo>
                <a:lnTo>
                  <a:pt x="198" y="124"/>
                </a:lnTo>
                <a:lnTo>
                  <a:pt x="202" y="126"/>
                </a:lnTo>
                <a:lnTo>
                  <a:pt x="203" y="124"/>
                </a:lnTo>
                <a:lnTo>
                  <a:pt x="206" y="126"/>
                </a:lnTo>
                <a:lnTo>
                  <a:pt x="209" y="123"/>
                </a:lnTo>
                <a:lnTo>
                  <a:pt x="210" y="123"/>
                </a:lnTo>
                <a:lnTo>
                  <a:pt x="211" y="124"/>
                </a:lnTo>
                <a:lnTo>
                  <a:pt x="213" y="123"/>
                </a:lnTo>
                <a:lnTo>
                  <a:pt x="217" y="123"/>
                </a:lnTo>
                <a:lnTo>
                  <a:pt x="219" y="123"/>
                </a:lnTo>
                <a:lnTo>
                  <a:pt x="219" y="124"/>
                </a:lnTo>
                <a:lnTo>
                  <a:pt x="218" y="126"/>
                </a:lnTo>
                <a:lnTo>
                  <a:pt x="218" y="128"/>
                </a:lnTo>
                <a:lnTo>
                  <a:pt x="218" y="129"/>
                </a:lnTo>
                <a:lnTo>
                  <a:pt x="213" y="129"/>
                </a:lnTo>
                <a:lnTo>
                  <a:pt x="213" y="131"/>
                </a:lnTo>
                <a:lnTo>
                  <a:pt x="203" y="129"/>
                </a:lnTo>
                <a:lnTo>
                  <a:pt x="198" y="132"/>
                </a:lnTo>
                <a:lnTo>
                  <a:pt x="197" y="134"/>
                </a:lnTo>
                <a:lnTo>
                  <a:pt x="193" y="134"/>
                </a:lnTo>
                <a:lnTo>
                  <a:pt x="189" y="135"/>
                </a:lnTo>
                <a:lnTo>
                  <a:pt x="190" y="135"/>
                </a:lnTo>
                <a:lnTo>
                  <a:pt x="189" y="135"/>
                </a:lnTo>
                <a:lnTo>
                  <a:pt x="187" y="137"/>
                </a:lnTo>
                <a:lnTo>
                  <a:pt x="186" y="139"/>
                </a:lnTo>
                <a:lnTo>
                  <a:pt x="186" y="140"/>
                </a:lnTo>
                <a:lnTo>
                  <a:pt x="185" y="140"/>
                </a:lnTo>
                <a:lnTo>
                  <a:pt x="181" y="142"/>
                </a:lnTo>
                <a:lnTo>
                  <a:pt x="177" y="142"/>
                </a:lnTo>
                <a:lnTo>
                  <a:pt x="175" y="140"/>
                </a:lnTo>
                <a:lnTo>
                  <a:pt x="173" y="139"/>
                </a:lnTo>
                <a:lnTo>
                  <a:pt x="174" y="137"/>
                </a:lnTo>
                <a:lnTo>
                  <a:pt x="174" y="134"/>
                </a:lnTo>
                <a:lnTo>
                  <a:pt x="174" y="132"/>
                </a:lnTo>
                <a:lnTo>
                  <a:pt x="174" y="131"/>
                </a:lnTo>
                <a:lnTo>
                  <a:pt x="173" y="128"/>
                </a:lnTo>
                <a:lnTo>
                  <a:pt x="170" y="128"/>
                </a:lnTo>
                <a:lnTo>
                  <a:pt x="169" y="128"/>
                </a:lnTo>
                <a:lnTo>
                  <a:pt x="166" y="126"/>
                </a:lnTo>
                <a:lnTo>
                  <a:pt x="164" y="124"/>
                </a:lnTo>
                <a:lnTo>
                  <a:pt x="160" y="124"/>
                </a:lnTo>
                <a:lnTo>
                  <a:pt x="160" y="123"/>
                </a:lnTo>
                <a:lnTo>
                  <a:pt x="162" y="121"/>
                </a:lnTo>
                <a:lnTo>
                  <a:pt x="166" y="118"/>
                </a:lnTo>
                <a:lnTo>
                  <a:pt x="169" y="117"/>
                </a:lnTo>
                <a:lnTo>
                  <a:pt x="177" y="115"/>
                </a:lnTo>
                <a:lnTo>
                  <a:pt x="177" y="113"/>
                </a:lnTo>
                <a:lnTo>
                  <a:pt x="175" y="112"/>
                </a:lnTo>
                <a:lnTo>
                  <a:pt x="174" y="110"/>
                </a:lnTo>
                <a:lnTo>
                  <a:pt x="173" y="112"/>
                </a:lnTo>
                <a:lnTo>
                  <a:pt x="170" y="110"/>
                </a:lnTo>
                <a:lnTo>
                  <a:pt x="168" y="110"/>
                </a:lnTo>
                <a:lnTo>
                  <a:pt x="165" y="110"/>
                </a:lnTo>
                <a:lnTo>
                  <a:pt x="160" y="112"/>
                </a:lnTo>
                <a:lnTo>
                  <a:pt x="154" y="110"/>
                </a:lnTo>
                <a:lnTo>
                  <a:pt x="153" y="109"/>
                </a:lnTo>
                <a:lnTo>
                  <a:pt x="152" y="109"/>
                </a:lnTo>
                <a:lnTo>
                  <a:pt x="148" y="109"/>
                </a:lnTo>
                <a:lnTo>
                  <a:pt x="152" y="106"/>
                </a:lnTo>
                <a:lnTo>
                  <a:pt x="146" y="106"/>
                </a:lnTo>
                <a:lnTo>
                  <a:pt x="145" y="104"/>
                </a:lnTo>
                <a:lnTo>
                  <a:pt x="148" y="104"/>
                </a:lnTo>
                <a:lnTo>
                  <a:pt x="154" y="104"/>
                </a:lnTo>
                <a:lnTo>
                  <a:pt x="153" y="102"/>
                </a:lnTo>
                <a:lnTo>
                  <a:pt x="150" y="101"/>
                </a:lnTo>
                <a:lnTo>
                  <a:pt x="149" y="99"/>
                </a:lnTo>
                <a:lnTo>
                  <a:pt x="149" y="101"/>
                </a:lnTo>
                <a:lnTo>
                  <a:pt x="146" y="101"/>
                </a:lnTo>
                <a:lnTo>
                  <a:pt x="144" y="102"/>
                </a:lnTo>
                <a:lnTo>
                  <a:pt x="145" y="99"/>
                </a:lnTo>
                <a:lnTo>
                  <a:pt x="142" y="101"/>
                </a:lnTo>
                <a:lnTo>
                  <a:pt x="140" y="102"/>
                </a:lnTo>
                <a:lnTo>
                  <a:pt x="136" y="102"/>
                </a:lnTo>
                <a:lnTo>
                  <a:pt x="133" y="104"/>
                </a:lnTo>
                <a:lnTo>
                  <a:pt x="132" y="104"/>
                </a:lnTo>
                <a:lnTo>
                  <a:pt x="132" y="106"/>
                </a:lnTo>
                <a:lnTo>
                  <a:pt x="128" y="110"/>
                </a:lnTo>
                <a:lnTo>
                  <a:pt x="126" y="110"/>
                </a:lnTo>
                <a:lnTo>
                  <a:pt x="126" y="107"/>
                </a:lnTo>
                <a:lnTo>
                  <a:pt x="124" y="107"/>
                </a:lnTo>
                <a:lnTo>
                  <a:pt x="122" y="107"/>
                </a:lnTo>
                <a:lnTo>
                  <a:pt x="124" y="109"/>
                </a:lnTo>
                <a:lnTo>
                  <a:pt x="126" y="110"/>
                </a:lnTo>
                <a:lnTo>
                  <a:pt x="126" y="112"/>
                </a:lnTo>
                <a:lnTo>
                  <a:pt x="125" y="115"/>
                </a:lnTo>
                <a:lnTo>
                  <a:pt x="124" y="117"/>
                </a:lnTo>
                <a:lnTo>
                  <a:pt x="120" y="117"/>
                </a:lnTo>
                <a:lnTo>
                  <a:pt x="118" y="117"/>
                </a:lnTo>
                <a:lnTo>
                  <a:pt x="117" y="118"/>
                </a:lnTo>
                <a:lnTo>
                  <a:pt x="117" y="120"/>
                </a:lnTo>
                <a:lnTo>
                  <a:pt x="116" y="118"/>
                </a:lnTo>
                <a:lnTo>
                  <a:pt x="116" y="117"/>
                </a:lnTo>
                <a:lnTo>
                  <a:pt x="114" y="115"/>
                </a:lnTo>
                <a:lnTo>
                  <a:pt x="114" y="120"/>
                </a:lnTo>
                <a:lnTo>
                  <a:pt x="116" y="123"/>
                </a:lnTo>
                <a:lnTo>
                  <a:pt x="114" y="124"/>
                </a:lnTo>
                <a:lnTo>
                  <a:pt x="113" y="123"/>
                </a:lnTo>
                <a:lnTo>
                  <a:pt x="110" y="123"/>
                </a:lnTo>
                <a:lnTo>
                  <a:pt x="108" y="124"/>
                </a:lnTo>
                <a:lnTo>
                  <a:pt x="104" y="124"/>
                </a:lnTo>
                <a:lnTo>
                  <a:pt x="101" y="126"/>
                </a:lnTo>
                <a:lnTo>
                  <a:pt x="98" y="126"/>
                </a:lnTo>
                <a:lnTo>
                  <a:pt x="94" y="123"/>
                </a:lnTo>
                <a:lnTo>
                  <a:pt x="93" y="123"/>
                </a:lnTo>
                <a:lnTo>
                  <a:pt x="93" y="121"/>
                </a:lnTo>
                <a:lnTo>
                  <a:pt x="94" y="121"/>
                </a:lnTo>
                <a:lnTo>
                  <a:pt x="97" y="121"/>
                </a:lnTo>
                <a:lnTo>
                  <a:pt x="97" y="118"/>
                </a:lnTo>
                <a:lnTo>
                  <a:pt x="97" y="117"/>
                </a:lnTo>
                <a:lnTo>
                  <a:pt x="100" y="117"/>
                </a:lnTo>
                <a:lnTo>
                  <a:pt x="100" y="115"/>
                </a:lnTo>
                <a:lnTo>
                  <a:pt x="101" y="113"/>
                </a:lnTo>
                <a:lnTo>
                  <a:pt x="104" y="112"/>
                </a:lnTo>
                <a:lnTo>
                  <a:pt x="104" y="107"/>
                </a:lnTo>
                <a:lnTo>
                  <a:pt x="105" y="106"/>
                </a:lnTo>
                <a:lnTo>
                  <a:pt x="108" y="104"/>
                </a:lnTo>
                <a:lnTo>
                  <a:pt x="109" y="106"/>
                </a:lnTo>
                <a:lnTo>
                  <a:pt x="110" y="104"/>
                </a:lnTo>
                <a:lnTo>
                  <a:pt x="117" y="106"/>
                </a:lnTo>
                <a:lnTo>
                  <a:pt x="118" y="106"/>
                </a:lnTo>
                <a:lnTo>
                  <a:pt x="120" y="104"/>
                </a:lnTo>
                <a:lnTo>
                  <a:pt x="118" y="102"/>
                </a:lnTo>
                <a:lnTo>
                  <a:pt x="120" y="99"/>
                </a:lnTo>
                <a:lnTo>
                  <a:pt x="118" y="98"/>
                </a:lnTo>
                <a:lnTo>
                  <a:pt x="118" y="96"/>
                </a:lnTo>
                <a:lnTo>
                  <a:pt x="114" y="95"/>
                </a:lnTo>
                <a:lnTo>
                  <a:pt x="112" y="91"/>
                </a:lnTo>
                <a:lnTo>
                  <a:pt x="113" y="90"/>
                </a:lnTo>
                <a:lnTo>
                  <a:pt x="112" y="88"/>
                </a:lnTo>
                <a:lnTo>
                  <a:pt x="109" y="88"/>
                </a:lnTo>
                <a:lnTo>
                  <a:pt x="109" y="87"/>
                </a:lnTo>
                <a:lnTo>
                  <a:pt x="106" y="85"/>
                </a:lnTo>
                <a:lnTo>
                  <a:pt x="108" y="82"/>
                </a:lnTo>
                <a:lnTo>
                  <a:pt x="108" y="80"/>
                </a:lnTo>
                <a:lnTo>
                  <a:pt x="108" y="79"/>
                </a:lnTo>
                <a:lnTo>
                  <a:pt x="106" y="77"/>
                </a:lnTo>
                <a:lnTo>
                  <a:pt x="104" y="77"/>
                </a:lnTo>
                <a:lnTo>
                  <a:pt x="101" y="74"/>
                </a:lnTo>
                <a:lnTo>
                  <a:pt x="98" y="74"/>
                </a:lnTo>
                <a:lnTo>
                  <a:pt x="94" y="74"/>
                </a:lnTo>
                <a:lnTo>
                  <a:pt x="93" y="74"/>
                </a:lnTo>
                <a:lnTo>
                  <a:pt x="88" y="71"/>
                </a:lnTo>
                <a:lnTo>
                  <a:pt x="85" y="69"/>
                </a:lnTo>
                <a:lnTo>
                  <a:pt x="81" y="69"/>
                </a:lnTo>
                <a:lnTo>
                  <a:pt x="76" y="69"/>
                </a:lnTo>
                <a:lnTo>
                  <a:pt x="74" y="69"/>
                </a:lnTo>
                <a:lnTo>
                  <a:pt x="72" y="69"/>
                </a:lnTo>
                <a:lnTo>
                  <a:pt x="70" y="71"/>
                </a:lnTo>
                <a:lnTo>
                  <a:pt x="69" y="73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79" name="Freeform 478"/>
          <p:cNvSpPr>
            <a:spLocks/>
          </p:cNvSpPr>
          <p:nvPr/>
        </p:nvSpPr>
        <p:spPr bwMode="auto">
          <a:xfrm>
            <a:off x="6305842" y="2497318"/>
            <a:ext cx="524230" cy="221203"/>
          </a:xfrm>
          <a:custGeom>
            <a:avLst/>
            <a:gdLst/>
            <a:ahLst/>
            <a:cxnLst>
              <a:cxn ang="0">
                <a:pos x="52" y="77"/>
              </a:cxn>
              <a:cxn ang="0">
                <a:pos x="37" y="77"/>
              </a:cxn>
              <a:cxn ang="0">
                <a:pos x="17" y="77"/>
              </a:cxn>
              <a:cxn ang="0">
                <a:pos x="8" y="74"/>
              </a:cxn>
              <a:cxn ang="0">
                <a:pos x="5" y="58"/>
              </a:cxn>
              <a:cxn ang="0">
                <a:pos x="9" y="52"/>
              </a:cxn>
              <a:cxn ang="0">
                <a:pos x="28" y="33"/>
              </a:cxn>
              <a:cxn ang="0">
                <a:pos x="25" y="24"/>
              </a:cxn>
              <a:cxn ang="0">
                <a:pos x="21" y="15"/>
              </a:cxn>
              <a:cxn ang="0">
                <a:pos x="32" y="11"/>
              </a:cxn>
              <a:cxn ang="0">
                <a:pos x="48" y="7"/>
              </a:cxn>
              <a:cxn ang="0">
                <a:pos x="60" y="8"/>
              </a:cxn>
              <a:cxn ang="0">
                <a:pos x="72" y="10"/>
              </a:cxn>
              <a:cxn ang="0">
                <a:pos x="77" y="15"/>
              </a:cxn>
              <a:cxn ang="0">
                <a:pos x="86" y="16"/>
              </a:cxn>
              <a:cxn ang="0">
                <a:pos x="94" y="15"/>
              </a:cxn>
              <a:cxn ang="0">
                <a:pos x="101" y="18"/>
              </a:cxn>
              <a:cxn ang="0">
                <a:pos x="112" y="18"/>
              </a:cxn>
              <a:cxn ang="0">
                <a:pos x="124" y="18"/>
              </a:cxn>
              <a:cxn ang="0">
                <a:pos x="130" y="18"/>
              </a:cxn>
              <a:cxn ang="0">
                <a:pos x="130" y="8"/>
              </a:cxn>
              <a:cxn ang="0">
                <a:pos x="142" y="4"/>
              </a:cxn>
              <a:cxn ang="0">
                <a:pos x="153" y="4"/>
              </a:cxn>
              <a:cxn ang="0">
                <a:pos x="162" y="0"/>
              </a:cxn>
              <a:cxn ang="0">
                <a:pos x="177" y="0"/>
              </a:cxn>
              <a:cxn ang="0">
                <a:pos x="185" y="7"/>
              </a:cxn>
              <a:cxn ang="0">
                <a:pos x="182" y="11"/>
              </a:cxn>
              <a:cxn ang="0">
                <a:pos x="186" y="18"/>
              </a:cxn>
              <a:cxn ang="0">
                <a:pos x="197" y="19"/>
              </a:cxn>
              <a:cxn ang="0">
                <a:pos x="202" y="30"/>
              </a:cxn>
              <a:cxn ang="0">
                <a:pos x="209" y="33"/>
              </a:cxn>
              <a:cxn ang="0">
                <a:pos x="218" y="35"/>
              </a:cxn>
              <a:cxn ang="0">
                <a:pos x="233" y="33"/>
              </a:cxn>
              <a:cxn ang="0">
                <a:pos x="243" y="41"/>
              </a:cxn>
              <a:cxn ang="0">
                <a:pos x="250" y="41"/>
              </a:cxn>
              <a:cxn ang="0">
                <a:pos x="261" y="46"/>
              </a:cxn>
              <a:cxn ang="0">
                <a:pos x="271" y="47"/>
              </a:cxn>
              <a:cxn ang="0">
                <a:pos x="271" y="58"/>
              </a:cxn>
              <a:cxn ang="0">
                <a:pos x="271" y="62"/>
              </a:cxn>
              <a:cxn ang="0">
                <a:pos x="267" y="68"/>
              </a:cxn>
              <a:cxn ang="0">
                <a:pos x="269" y="76"/>
              </a:cxn>
              <a:cxn ang="0">
                <a:pos x="258" y="80"/>
              </a:cxn>
              <a:cxn ang="0">
                <a:pos x="246" y="84"/>
              </a:cxn>
              <a:cxn ang="0">
                <a:pos x="238" y="93"/>
              </a:cxn>
              <a:cxn ang="0">
                <a:pos x="225" y="98"/>
              </a:cxn>
              <a:cxn ang="0">
                <a:pos x="213" y="102"/>
              </a:cxn>
              <a:cxn ang="0">
                <a:pos x="203" y="106"/>
              </a:cxn>
              <a:cxn ang="0">
                <a:pos x="197" y="112"/>
              </a:cxn>
              <a:cxn ang="0">
                <a:pos x="199" y="104"/>
              </a:cxn>
            </a:cxnLst>
            <a:rect l="0" t="0" r="r" b="b"/>
            <a:pathLst>
              <a:path w="274" h="112">
                <a:moveTo>
                  <a:pt x="69" y="73"/>
                </a:moveTo>
                <a:lnTo>
                  <a:pt x="66" y="73"/>
                </a:lnTo>
                <a:lnTo>
                  <a:pt x="57" y="77"/>
                </a:lnTo>
                <a:lnTo>
                  <a:pt x="52" y="77"/>
                </a:lnTo>
                <a:lnTo>
                  <a:pt x="48" y="79"/>
                </a:lnTo>
                <a:lnTo>
                  <a:pt x="44" y="80"/>
                </a:lnTo>
                <a:lnTo>
                  <a:pt x="41" y="80"/>
                </a:lnTo>
                <a:lnTo>
                  <a:pt x="37" y="77"/>
                </a:lnTo>
                <a:lnTo>
                  <a:pt x="33" y="77"/>
                </a:lnTo>
                <a:lnTo>
                  <a:pt x="29" y="79"/>
                </a:lnTo>
                <a:lnTo>
                  <a:pt x="23" y="79"/>
                </a:lnTo>
                <a:lnTo>
                  <a:pt x="17" y="77"/>
                </a:lnTo>
                <a:lnTo>
                  <a:pt x="13" y="77"/>
                </a:lnTo>
                <a:lnTo>
                  <a:pt x="11" y="79"/>
                </a:lnTo>
                <a:lnTo>
                  <a:pt x="9" y="76"/>
                </a:lnTo>
                <a:lnTo>
                  <a:pt x="8" y="74"/>
                </a:lnTo>
                <a:lnTo>
                  <a:pt x="4" y="73"/>
                </a:lnTo>
                <a:lnTo>
                  <a:pt x="0" y="71"/>
                </a:lnTo>
                <a:lnTo>
                  <a:pt x="1" y="65"/>
                </a:lnTo>
                <a:lnTo>
                  <a:pt x="5" y="58"/>
                </a:lnTo>
                <a:lnTo>
                  <a:pt x="7" y="58"/>
                </a:lnTo>
                <a:lnTo>
                  <a:pt x="9" y="57"/>
                </a:lnTo>
                <a:lnTo>
                  <a:pt x="9" y="55"/>
                </a:lnTo>
                <a:lnTo>
                  <a:pt x="9" y="52"/>
                </a:lnTo>
                <a:lnTo>
                  <a:pt x="15" y="44"/>
                </a:lnTo>
                <a:lnTo>
                  <a:pt x="19" y="40"/>
                </a:lnTo>
                <a:lnTo>
                  <a:pt x="24" y="36"/>
                </a:lnTo>
                <a:lnTo>
                  <a:pt x="28" y="33"/>
                </a:lnTo>
                <a:lnTo>
                  <a:pt x="29" y="32"/>
                </a:lnTo>
                <a:lnTo>
                  <a:pt x="28" y="29"/>
                </a:lnTo>
                <a:lnTo>
                  <a:pt x="28" y="26"/>
                </a:lnTo>
                <a:lnTo>
                  <a:pt x="25" y="24"/>
                </a:lnTo>
                <a:lnTo>
                  <a:pt x="25" y="22"/>
                </a:lnTo>
                <a:lnTo>
                  <a:pt x="23" y="19"/>
                </a:lnTo>
                <a:lnTo>
                  <a:pt x="23" y="16"/>
                </a:lnTo>
                <a:lnTo>
                  <a:pt x="21" y="15"/>
                </a:lnTo>
                <a:lnTo>
                  <a:pt x="23" y="13"/>
                </a:lnTo>
                <a:lnTo>
                  <a:pt x="25" y="13"/>
                </a:lnTo>
                <a:lnTo>
                  <a:pt x="28" y="13"/>
                </a:lnTo>
                <a:lnTo>
                  <a:pt x="32" y="11"/>
                </a:lnTo>
                <a:lnTo>
                  <a:pt x="33" y="10"/>
                </a:lnTo>
                <a:lnTo>
                  <a:pt x="35" y="8"/>
                </a:lnTo>
                <a:lnTo>
                  <a:pt x="36" y="8"/>
                </a:lnTo>
                <a:lnTo>
                  <a:pt x="48" y="7"/>
                </a:lnTo>
                <a:lnTo>
                  <a:pt x="49" y="7"/>
                </a:lnTo>
                <a:lnTo>
                  <a:pt x="55" y="7"/>
                </a:lnTo>
                <a:lnTo>
                  <a:pt x="57" y="7"/>
                </a:lnTo>
                <a:lnTo>
                  <a:pt x="60" y="8"/>
                </a:lnTo>
                <a:lnTo>
                  <a:pt x="65" y="10"/>
                </a:lnTo>
                <a:lnTo>
                  <a:pt x="66" y="10"/>
                </a:lnTo>
                <a:lnTo>
                  <a:pt x="69" y="10"/>
                </a:lnTo>
                <a:lnTo>
                  <a:pt x="72" y="10"/>
                </a:lnTo>
                <a:lnTo>
                  <a:pt x="73" y="11"/>
                </a:lnTo>
                <a:lnTo>
                  <a:pt x="76" y="11"/>
                </a:lnTo>
                <a:lnTo>
                  <a:pt x="76" y="13"/>
                </a:lnTo>
                <a:lnTo>
                  <a:pt x="77" y="15"/>
                </a:lnTo>
                <a:lnTo>
                  <a:pt x="82" y="15"/>
                </a:lnTo>
                <a:lnTo>
                  <a:pt x="82" y="16"/>
                </a:lnTo>
                <a:lnTo>
                  <a:pt x="84" y="16"/>
                </a:lnTo>
                <a:lnTo>
                  <a:pt x="86" y="16"/>
                </a:lnTo>
                <a:lnTo>
                  <a:pt x="88" y="15"/>
                </a:lnTo>
                <a:lnTo>
                  <a:pt x="90" y="15"/>
                </a:lnTo>
                <a:lnTo>
                  <a:pt x="92" y="15"/>
                </a:lnTo>
                <a:lnTo>
                  <a:pt x="94" y="15"/>
                </a:lnTo>
                <a:lnTo>
                  <a:pt x="96" y="16"/>
                </a:lnTo>
                <a:lnTo>
                  <a:pt x="98" y="15"/>
                </a:lnTo>
                <a:lnTo>
                  <a:pt x="100" y="16"/>
                </a:lnTo>
                <a:lnTo>
                  <a:pt x="101" y="18"/>
                </a:lnTo>
                <a:lnTo>
                  <a:pt x="106" y="13"/>
                </a:lnTo>
                <a:lnTo>
                  <a:pt x="109" y="16"/>
                </a:lnTo>
                <a:lnTo>
                  <a:pt x="110" y="18"/>
                </a:lnTo>
                <a:lnTo>
                  <a:pt x="112" y="18"/>
                </a:lnTo>
                <a:lnTo>
                  <a:pt x="114" y="18"/>
                </a:lnTo>
                <a:lnTo>
                  <a:pt x="117" y="18"/>
                </a:lnTo>
                <a:lnTo>
                  <a:pt x="121" y="16"/>
                </a:lnTo>
                <a:lnTo>
                  <a:pt x="124" y="18"/>
                </a:lnTo>
                <a:lnTo>
                  <a:pt x="125" y="18"/>
                </a:lnTo>
                <a:lnTo>
                  <a:pt x="126" y="19"/>
                </a:lnTo>
                <a:lnTo>
                  <a:pt x="129" y="19"/>
                </a:lnTo>
                <a:lnTo>
                  <a:pt x="130" y="18"/>
                </a:lnTo>
                <a:lnTo>
                  <a:pt x="129" y="13"/>
                </a:lnTo>
                <a:lnTo>
                  <a:pt x="130" y="11"/>
                </a:lnTo>
                <a:lnTo>
                  <a:pt x="130" y="10"/>
                </a:lnTo>
                <a:lnTo>
                  <a:pt x="130" y="8"/>
                </a:lnTo>
                <a:lnTo>
                  <a:pt x="136" y="5"/>
                </a:lnTo>
                <a:lnTo>
                  <a:pt x="138" y="4"/>
                </a:lnTo>
                <a:lnTo>
                  <a:pt x="140" y="4"/>
                </a:lnTo>
                <a:lnTo>
                  <a:pt x="142" y="4"/>
                </a:lnTo>
                <a:lnTo>
                  <a:pt x="148" y="4"/>
                </a:lnTo>
                <a:lnTo>
                  <a:pt x="149" y="5"/>
                </a:lnTo>
                <a:lnTo>
                  <a:pt x="152" y="5"/>
                </a:lnTo>
                <a:lnTo>
                  <a:pt x="153" y="4"/>
                </a:lnTo>
                <a:lnTo>
                  <a:pt x="156" y="4"/>
                </a:lnTo>
                <a:lnTo>
                  <a:pt x="156" y="2"/>
                </a:lnTo>
                <a:lnTo>
                  <a:pt x="157" y="0"/>
                </a:lnTo>
                <a:lnTo>
                  <a:pt x="162" y="0"/>
                </a:lnTo>
                <a:lnTo>
                  <a:pt x="165" y="0"/>
                </a:lnTo>
                <a:lnTo>
                  <a:pt x="169" y="0"/>
                </a:lnTo>
                <a:lnTo>
                  <a:pt x="173" y="0"/>
                </a:lnTo>
                <a:lnTo>
                  <a:pt x="177" y="0"/>
                </a:lnTo>
                <a:lnTo>
                  <a:pt x="181" y="2"/>
                </a:lnTo>
                <a:lnTo>
                  <a:pt x="182" y="4"/>
                </a:lnTo>
                <a:lnTo>
                  <a:pt x="182" y="5"/>
                </a:lnTo>
                <a:lnTo>
                  <a:pt x="185" y="7"/>
                </a:lnTo>
                <a:lnTo>
                  <a:pt x="186" y="8"/>
                </a:lnTo>
                <a:lnTo>
                  <a:pt x="186" y="10"/>
                </a:lnTo>
                <a:lnTo>
                  <a:pt x="185" y="11"/>
                </a:lnTo>
                <a:lnTo>
                  <a:pt x="182" y="11"/>
                </a:lnTo>
                <a:lnTo>
                  <a:pt x="183" y="13"/>
                </a:lnTo>
                <a:lnTo>
                  <a:pt x="183" y="15"/>
                </a:lnTo>
                <a:lnTo>
                  <a:pt x="185" y="18"/>
                </a:lnTo>
                <a:lnTo>
                  <a:pt x="186" y="18"/>
                </a:lnTo>
                <a:lnTo>
                  <a:pt x="189" y="19"/>
                </a:lnTo>
                <a:lnTo>
                  <a:pt x="193" y="19"/>
                </a:lnTo>
                <a:lnTo>
                  <a:pt x="195" y="19"/>
                </a:lnTo>
                <a:lnTo>
                  <a:pt x="197" y="19"/>
                </a:lnTo>
                <a:lnTo>
                  <a:pt x="198" y="21"/>
                </a:lnTo>
                <a:lnTo>
                  <a:pt x="201" y="24"/>
                </a:lnTo>
                <a:lnTo>
                  <a:pt x="203" y="29"/>
                </a:lnTo>
                <a:lnTo>
                  <a:pt x="202" y="30"/>
                </a:lnTo>
                <a:lnTo>
                  <a:pt x="203" y="32"/>
                </a:lnTo>
                <a:lnTo>
                  <a:pt x="205" y="33"/>
                </a:lnTo>
                <a:lnTo>
                  <a:pt x="206" y="35"/>
                </a:lnTo>
                <a:lnTo>
                  <a:pt x="209" y="33"/>
                </a:lnTo>
                <a:lnTo>
                  <a:pt x="211" y="33"/>
                </a:lnTo>
                <a:lnTo>
                  <a:pt x="213" y="33"/>
                </a:lnTo>
                <a:lnTo>
                  <a:pt x="217" y="35"/>
                </a:lnTo>
                <a:lnTo>
                  <a:pt x="218" y="35"/>
                </a:lnTo>
                <a:lnTo>
                  <a:pt x="221" y="36"/>
                </a:lnTo>
                <a:lnTo>
                  <a:pt x="227" y="35"/>
                </a:lnTo>
                <a:lnTo>
                  <a:pt x="231" y="33"/>
                </a:lnTo>
                <a:lnTo>
                  <a:pt x="233" y="33"/>
                </a:lnTo>
                <a:lnTo>
                  <a:pt x="234" y="35"/>
                </a:lnTo>
                <a:lnTo>
                  <a:pt x="238" y="40"/>
                </a:lnTo>
                <a:lnTo>
                  <a:pt x="241" y="41"/>
                </a:lnTo>
                <a:lnTo>
                  <a:pt x="243" y="41"/>
                </a:lnTo>
                <a:lnTo>
                  <a:pt x="243" y="40"/>
                </a:lnTo>
                <a:lnTo>
                  <a:pt x="246" y="40"/>
                </a:lnTo>
                <a:lnTo>
                  <a:pt x="247" y="41"/>
                </a:lnTo>
                <a:lnTo>
                  <a:pt x="250" y="41"/>
                </a:lnTo>
                <a:lnTo>
                  <a:pt x="251" y="43"/>
                </a:lnTo>
                <a:lnTo>
                  <a:pt x="253" y="44"/>
                </a:lnTo>
                <a:lnTo>
                  <a:pt x="258" y="44"/>
                </a:lnTo>
                <a:lnTo>
                  <a:pt x="261" y="46"/>
                </a:lnTo>
                <a:lnTo>
                  <a:pt x="263" y="46"/>
                </a:lnTo>
                <a:lnTo>
                  <a:pt x="267" y="47"/>
                </a:lnTo>
                <a:lnTo>
                  <a:pt x="269" y="47"/>
                </a:lnTo>
                <a:lnTo>
                  <a:pt x="271" y="47"/>
                </a:lnTo>
                <a:lnTo>
                  <a:pt x="273" y="49"/>
                </a:lnTo>
                <a:lnTo>
                  <a:pt x="271" y="49"/>
                </a:lnTo>
                <a:lnTo>
                  <a:pt x="274" y="55"/>
                </a:lnTo>
                <a:lnTo>
                  <a:pt x="271" y="58"/>
                </a:lnTo>
                <a:lnTo>
                  <a:pt x="267" y="58"/>
                </a:lnTo>
                <a:lnTo>
                  <a:pt x="269" y="60"/>
                </a:lnTo>
                <a:lnTo>
                  <a:pt x="270" y="60"/>
                </a:lnTo>
                <a:lnTo>
                  <a:pt x="271" y="62"/>
                </a:lnTo>
                <a:lnTo>
                  <a:pt x="267" y="63"/>
                </a:lnTo>
                <a:lnTo>
                  <a:pt x="266" y="65"/>
                </a:lnTo>
                <a:lnTo>
                  <a:pt x="266" y="66"/>
                </a:lnTo>
                <a:lnTo>
                  <a:pt x="267" y="68"/>
                </a:lnTo>
                <a:lnTo>
                  <a:pt x="269" y="69"/>
                </a:lnTo>
                <a:lnTo>
                  <a:pt x="267" y="71"/>
                </a:lnTo>
                <a:lnTo>
                  <a:pt x="270" y="71"/>
                </a:lnTo>
                <a:lnTo>
                  <a:pt x="269" y="76"/>
                </a:lnTo>
                <a:lnTo>
                  <a:pt x="267" y="80"/>
                </a:lnTo>
                <a:lnTo>
                  <a:pt x="265" y="80"/>
                </a:lnTo>
                <a:lnTo>
                  <a:pt x="261" y="80"/>
                </a:lnTo>
                <a:lnTo>
                  <a:pt x="258" y="80"/>
                </a:lnTo>
                <a:lnTo>
                  <a:pt x="254" y="79"/>
                </a:lnTo>
                <a:lnTo>
                  <a:pt x="253" y="80"/>
                </a:lnTo>
                <a:lnTo>
                  <a:pt x="250" y="84"/>
                </a:lnTo>
                <a:lnTo>
                  <a:pt x="246" y="84"/>
                </a:lnTo>
                <a:lnTo>
                  <a:pt x="245" y="87"/>
                </a:lnTo>
                <a:lnTo>
                  <a:pt x="245" y="90"/>
                </a:lnTo>
                <a:lnTo>
                  <a:pt x="245" y="93"/>
                </a:lnTo>
                <a:lnTo>
                  <a:pt x="238" y="93"/>
                </a:lnTo>
                <a:lnTo>
                  <a:pt x="234" y="95"/>
                </a:lnTo>
                <a:lnTo>
                  <a:pt x="231" y="96"/>
                </a:lnTo>
                <a:lnTo>
                  <a:pt x="230" y="96"/>
                </a:lnTo>
                <a:lnTo>
                  <a:pt x="225" y="98"/>
                </a:lnTo>
                <a:lnTo>
                  <a:pt x="223" y="101"/>
                </a:lnTo>
                <a:lnTo>
                  <a:pt x="221" y="99"/>
                </a:lnTo>
                <a:lnTo>
                  <a:pt x="214" y="101"/>
                </a:lnTo>
                <a:lnTo>
                  <a:pt x="213" y="102"/>
                </a:lnTo>
                <a:lnTo>
                  <a:pt x="213" y="101"/>
                </a:lnTo>
                <a:lnTo>
                  <a:pt x="210" y="102"/>
                </a:lnTo>
                <a:lnTo>
                  <a:pt x="207" y="102"/>
                </a:lnTo>
                <a:lnTo>
                  <a:pt x="203" y="106"/>
                </a:lnTo>
                <a:lnTo>
                  <a:pt x="202" y="106"/>
                </a:lnTo>
                <a:lnTo>
                  <a:pt x="201" y="107"/>
                </a:lnTo>
                <a:lnTo>
                  <a:pt x="199" y="110"/>
                </a:lnTo>
                <a:lnTo>
                  <a:pt x="197" y="112"/>
                </a:lnTo>
                <a:lnTo>
                  <a:pt x="198" y="110"/>
                </a:lnTo>
                <a:lnTo>
                  <a:pt x="199" y="109"/>
                </a:lnTo>
                <a:lnTo>
                  <a:pt x="201" y="109"/>
                </a:lnTo>
                <a:lnTo>
                  <a:pt x="199" y="104"/>
                </a:lnTo>
                <a:lnTo>
                  <a:pt x="198" y="104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80" name="Freeform 479"/>
          <p:cNvSpPr>
            <a:spLocks/>
          </p:cNvSpPr>
          <p:nvPr/>
        </p:nvSpPr>
        <p:spPr bwMode="auto">
          <a:xfrm>
            <a:off x="6440310" y="2632616"/>
            <a:ext cx="284527" cy="146038"/>
          </a:xfrm>
          <a:custGeom>
            <a:avLst/>
            <a:gdLst/>
            <a:ahLst/>
            <a:cxnLst>
              <a:cxn ang="0">
                <a:pos x="125" y="41"/>
              </a:cxn>
              <a:cxn ang="0">
                <a:pos x="124" y="46"/>
              </a:cxn>
              <a:cxn ang="0">
                <a:pos x="122" y="41"/>
              </a:cxn>
              <a:cxn ang="0">
                <a:pos x="120" y="43"/>
              </a:cxn>
              <a:cxn ang="0">
                <a:pos x="114" y="40"/>
              </a:cxn>
              <a:cxn ang="0">
                <a:pos x="108" y="40"/>
              </a:cxn>
              <a:cxn ang="0">
                <a:pos x="112" y="41"/>
              </a:cxn>
              <a:cxn ang="0">
                <a:pos x="114" y="46"/>
              </a:cxn>
              <a:cxn ang="0">
                <a:pos x="120" y="44"/>
              </a:cxn>
              <a:cxn ang="0">
                <a:pos x="122" y="48"/>
              </a:cxn>
              <a:cxn ang="0">
                <a:pos x="128" y="51"/>
              </a:cxn>
              <a:cxn ang="0">
                <a:pos x="129" y="55"/>
              </a:cxn>
              <a:cxn ang="0">
                <a:pos x="137" y="57"/>
              </a:cxn>
              <a:cxn ang="0">
                <a:pos x="142" y="55"/>
              </a:cxn>
              <a:cxn ang="0">
                <a:pos x="150" y="54"/>
              </a:cxn>
              <a:cxn ang="0">
                <a:pos x="149" y="59"/>
              </a:cxn>
              <a:cxn ang="0">
                <a:pos x="144" y="62"/>
              </a:cxn>
              <a:cxn ang="0">
                <a:pos x="128" y="65"/>
              </a:cxn>
              <a:cxn ang="0">
                <a:pos x="121" y="66"/>
              </a:cxn>
              <a:cxn ang="0">
                <a:pos x="117" y="70"/>
              </a:cxn>
              <a:cxn ang="0">
                <a:pos x="112" y="73"/>
              </a:cxn>
              <a:cxn ang="0">
                <a:pos x="104" y="70"/>
              </a:cxn>
              <a:cxn ang="0">
                <a:pos x="105" y="63"/>
              </a:cxn>
              <a:cxn ang="0">
                <a:pos x="101" y="59"/>
              </a:cxn>
              <a:cxn ang="0">
                <a:pos x="95" y="55"/>
              </a:cxn>
              <a:cxn ang="0">
                <a:pos x="93" y="52"/>
              </a:cxn>
              <a:cxn ang="0">
                <a:pos x="108" y="46"/>
              </a:cxn>
              <a:cxn ang="0">
                <a:pos x="105" y="41"/>
              </a:cxn>
              <a:cxn ang="0">
                <a:pos x="99" y="41"/>
              </a:cxn>
              <a:cxn ang="0">
                <a:pos x="85" y="41"/>
              </a:cxn>
              <a:cxn ang="0">
                <a:pos x="79" y="40"/>
              </a:cxn>
              <a:cxn ang="0">
                <a:pos x="76" y="35"/>
              </a:cxn>
              <a:cxn ang="0">
                <a:pos x="84" y="33"/>
              </a:cxn>
              <a:cxn ang="0">
                <a:pos x="80" y="32"/>
              </a:cxn>
              <a:cxn ang="0">
                <a:pos x="76" y="30"/>
              </a:cxn>
              <a:cxn ang="0">
                <a:pos x="67" y="33"/>
              </a:cxn>
              <a:cxn ang="0">
                <a:pos x="63" y="37"/>
              </a:cxn>
              <a:cxn ang="0">
                <a:pos x="57" y="38"/>
              </a:cxn>
              <a:cxn ang="0">
                <a:pos x="55" y="40"/>
              </a:cxn>
              <a:cxn ang="0">
                <a:pos x="56" y="46"/>
              </a:cxn>
              <a:cxn ang="0">
                <a:pos x="49" y="48"/>
              </a:cxn>
              <a:cxn ang="0">
                <a:pos x="47" y="49"/>
              </a:cxn>
              <a:cxn ang="0">
                <a:pos x="45" y="51"/>
              </a:cxn>
              <a:cxn ang="0">
                <a:pos x="44" y="54"/>
              </a:cxn>
              <a:cxn ang="0">
                <a:pos x="35" y="55"/>
              </a:cxn>
              <a:cxn ang="0">
                <a:pos x="25" y="54"/>
              </a:cxn>
              <a:cxn ang="0">
                <a:pos x="25" y="52"/>
              </a:cxn>
              <a:cxn ang="0">
                <a:pos x="28" y="48"/>
              </a:cxn>
              <a:cxn ang="0">
                <a:pos x="32" y="44"/>
              </a:cxn>
              <a:cxn ang="0">
                <a:pos x="36" y="37"/>
              </a:cxn>
              <a:cxn ang="0">
                <a:pos x="41" y="35"/>
              </a:cxn>
              <a:cxn ang="0">
                <a:pos x="51" y="35"/>
              </a:cxn>
              <a:cxn ang="0">
                <a:pos x="49" y="29"/>
              </a:cxn>
              <a:cxn ang="0">
                <a:pos x="43" y="22"/>
              </a:cxn>
              <a:cxn ang="0">
                <a:pos x="40" y="19"/>
              </a:cxn>
              <a:cxn ang="0">
                <a:pos x="39" y="13"/>
              </a:cxn>
              <a:cxn ang="0">
                <a:pos x="37" y="8"/>
              </a:cxn>
              <a:cxn ang="0">
                <a:pos x="29" y="5"/>
              </a:cxn>
              <a:cxn ang="0">
                <a:pos x="19" y="2"/>
              </a:cxn>
              <a:cxn ang="0">
                <a:pos x="7" y="0"/>
              </a:cxn>
              <a:cxn ang="0">
                <a:pos x="1" y="2"/>
              </a:cxn>
            </a:cxnLst>
            <a:rect l="0" t="0" r="r" b="b"/>
            <a:pathLst>
              <a:path w="150" h="73">
                <a:moveTo>
                  <a:pt x="129" y="35"/>
                </a:moveTo>
                <a:lnTo>
                  <a:pt x="128" y="40"/>
                </a:lnTo>
                <a:lnTo>
                  <a:pt x="125" y="41"/>
                </a:lnTo>
                <a:lnTo>
                  <a:pt x="125" y="44"/>
                </a:lnTo>
                <a:lnTo>
                  <a:pt x="125" y="46"/>
                </a:lnTo>
                <a:lnTo>
                  <a:pt x="124" y="46"/>
                </a:lnTo>
                <a:lnTo>
                  <a:pt x="122" y="43"/>
                </a:lnTo>
                <a:lnTo>
                  <a:pt x="124" y="43"/>
                </a:lnTo>
                <a:lnTo>
                  <a:pt x="122" y="41"/>
                </a:lnTo>
                <a:lnTo>
                  <a:pt x="121" y="43"/>
                </a:lnTo>
                <a:lnTo>
                  <a:pt x="120" y="44"/>
                </a:lnTo>
                <a:lnTo>
                  <a:pt x="120" y="43"/>
                </a:lnTo>
                <a:lnTo>
                  <a:pt x="120" y="41"/>
                </a:lnTo>
                <a:lnTo>
                  <a:pt x="116" y="41"/>
                </a:lnTo>
                <a:lnTo>
                  <a:pt x="114" y="40"/>
                </a:lnTo>
                <a:lnTo>
                  <a:pt x="114" y="38"/>
                </a:lnTo>
                <a:lnTo>
                  <a:pt x="113" y="41"/>
                </a:lnTo>
                <a:lnTo>
                  <a:pt x="108" y="40"/>
                </a:lnTo>
                <a:lnTo>
                  <a:pt x="109" y="41"/>
                </a:lnTo>
                <a:lnTo>
                  <a:pt x="110" y="43"/>
                </a:lnTo>
                <a:lnTo>
                  <a:pt x="112" y="41"/>
                </a:lnTo>
                <a:lnTo>
                  <a:pt x="113" y="43"/>
                </a:lnTo>
                <a:lnTo>
                  <a:pt x="113" y="44"/>
                </a:lnTo>
                <a:lnTo>
                  <a:pt x="114" y="46"/>
                </a:lnTo>
                <a:lnTo>
                  <a:pt x="116" y="44"/>
                </a:lnTo>
                <a:lnTo>
                  <a:pt x="117" y="44"/>
                </a:lnTo>
                <a:lnTo>
                  <a:pt x="120" y="44"/>
                </a:lnTo>
                <a:lnTo>
                  <a:pt x="121" y="44"/>
                </a:lnTo>
                <a:lnTo>
                  <a:pt x="120" y="48"/>
                </a:lnTo>
                <a:lnTo>
                  <a:pt x="122" y="48"/>
                </a:lnTo>
                <a:lnTo>
                  <a:pt x="122" y="49"/>
                </a:lnTo>
                <a:lnTo>
                  <a:pt x="125" y="49"/>
                </a:lnTo>
                <a:lnTo>
                  <a:pt x="128" y="51"/>
                </a:lnTo>
                <a:lnTo>
                  <a:pt x="128" y="54"/>
                </a:lnTo>
                <a:lnTo>
                  <a:pt x="128" y="55"/>
                </a:lnTo>
                <a:lnTo>
                  <a:pt x="129" y="55"/>
                </a:lnTo>
                <a:lnTo>
                  <a:pt x="133" y="57"/>
                </a:lnTo>
                <a:lnTo>
                  <a:pt x="134" y="55"/>
                </a:lnTo>
                <a:lnTo>
                  <a:pt x="137" y="57"/>
                </a:lnTo>
                <a:lnTo>
                  <a:pt x="140" y="54"/>
                </a:lnTo>
                <a:lnTo>
                  <a:pt x="141" y="54"/>
                </a:lnTo>
                <a:lnTo>
                  <a:pt x="142" y="55"/>
                </a:lnTo>
                <a:lnTo>
                  <a:pt x="144" y="54"/>
                </a:lnTo>
                <a:lnTo>
                  <a:pt x="148" y="54"/>
                </a:lnTo>
                <a:lnTo>
                  <a:pt x="150" y="54"/>
                </a:lnTo>
                <a:lnTo>
                  <a:pt x="150" y="55"/>
                </a:lnTo>
                <a:lnTo>
                  <a:pt x="149" y="57"/>
                </a:lnTo>
                <a:lnTo>
                  <a:pt x="149" y="59"/>
                </a:lnTo>
                <a:lnTo>
                  <a:pt x="149" y="60"/>
                </a:lnTo>
                <a:lnTo>
                  <a:pt x="144" y="60"/>
                </a:lnTo>
                <a:lnTo>
                  <a:pt x="144" y="62"/>
                </a:lnTo>
                <a:lnTo>
                  <a:pt x="134" y="60"/>
                </a:lnTo>
                <a:lnTo>
                  <a:pt x="129" y="63"/>
                </a:lnTo>
                <a:lnTo>
                  <a:pt x="128" y="65"/>
                </a:lnTo>
                <a:lnTo>
                  <a:pt x="124" y="65"/>
                </a:lnTo>
                <a:lnTo>
                  <a:pt x="120" y="66"/>
                </a:lnTo>
                <a:lnTo>
                  <a:pt x="121" y="66"/>
                </a:lnTo>
                <a:lnTo>
                  <a:pt x="120" y="66"/>
                </a:lnTo>
                <a:lnTo>
                  <a:pt x="118" y="68"/>
                </a:lnTo>
                <a:lnTo>
                  <a:pt x="117" y="70"/>
                </a:lnTo>
                <a:lnTo>
                  <a:pt x="117" y="71"/>
                </a:lnTo>
                <a:lnTo>
                  <a:pt x="116" y="71"/>
                </a:lnTo>
                <a:lnTo>
                  <a:pt x="112" y="73"/>
                </a:lnTo>
                <a:lnTo>
                  <a:pt x="108" y="73"/>
                </a:lnTo>
                <a:lnTo>
                  <a:pt x="106" y="71"/>
                </a:lnTo>
                <a:lnTo>
                  <a:pt x="104" y="70"/>
                </a:lnTo>
                <a:lnTo>
                  <a:pt x="105" y="68"/>
                </a:lnTo>
                <a:lnTo>
                  <a:pt x="105" y="65"/>
                </a:lnTo>
                <a:lnTo>
                  <a:pt x="105" y="63"/>
                </a:lnTo>
                <a:lnTo>
                  <a:pt x="105" y="62"/>
                </a:lnTo>
                <a:lnTo>
                  <a:pt x="104" y="59"/>
                </a:lnTo>
                <a:lnTo>
                  <a:pt x="101" y="59"/>
                </a:lnTo>
                <a:lnTo>
                  <a:pt x="100" y="59"/>
                </a:lnTo>
                <a:lnTo>
                  <a:pt x="97" y="57"/>
                </a:lnTo>
                <a:lnTo>
                  <a:pt x="95" y="55"/>
                </a:lnTo>
                <a:lnTo>
                  <a:pt x="91" y="55"/>
                </a:lnTo>
                <a:lnTo>
                  <a:pt x="91" y="54"/>
                </a:lnTo>
                <a:lnTo>
                  <a:pt x="93" y="52"/>
                </a:lnTo>
                <a:lnTo>
                  <a:pt x="97" y="49"/>
                </a:lnTo>
                <a:lnTo>
                  <a:pt x="100" y="48"/>
                </a:lnTo>
                <a:lnTo>
                  <a:pt x="108" y="46"/>
                </a:lnTo>
                <a:lnTo>
                  <a:pt x="108" y="44"/>
                </a:lnTo>
                <a:lnTo>
                  <a:pt x="106" y="43"/>
                </a:lnTo>
                <a:lnTo>
                  <a:pt x="105" y="41"/>
                </a:lnTo>
                <a:lnTo>
                  <a:pt x="104" y="43"/>
                </a:lnTo>
                <a:lnTo>
                  <a:pt x="101" y="41"/>
                </a:lnTo>
                <a:lnTo>
                  <a:pt x="99" y="41"/>
                </a:lnTo>
                <a:lnTo>
                  <a:pt x="96" y="41"/>
                </a:lnTo>
                <a:lnTo>
                  <a:pt x="91" y="43"/>
                </a:lnTo>
                <a:lnTo>
                  <a:pt x="85" y="41"/>
                </a:lnTo>
                <a:lnTo>
                  <a:pt x="84" y="40"/>
                </a:lnTo>
                <a:lnTo>
                  <a:pt x="83" y="40"/>
                </a:lnTo>
                <a:lnTo>
                  <a:pt x="79" y="40"/>
                </a:lnTo>
                <a:lnTo>
                  <a:pt x="83" y="37"/>
                </a:lnTo>
                <a:lnTo>
                  <a:pt x="77" y="37"/>
                </a:lnTo>
                <a:lnTo>
                  <a:pt x="76" y="35"/>
                </a:lnTo>
                <a:lnTo>
                  <a:pt x="79" y="35"/>
                </a:lnTo>
                <a:lnTo>
                  <a:pt x="85" y="35"/>
                </a:lnTo>
                <a:lnTo>
                  <a:pt x="84" y="33"/>
                </a:lnTo>
                <a:lnTo>
                  <a:pt x="81" y="32"/>
                </a:lnTo>
                <a:lnTo>
                  <a:pt x="80" y="30"/>
                </a:lnTo>
                <a:lnTo>
                  <a:pt x="80" y="32"/>
                </a:lnTo>
                <a:lnTo>
                  <a:pt x="77" y="32"/>
                </a:lnTo>
                <a:lnTo>
                  <a:pt x="75" y="33"/>
                </a:lnTo>
                <a:lnTo>
                  <a:pt x="76" y="30"/>
                </a:lnTo>
                <a:lnTo>
                  <a:pt x="73" y="32"/>
                </a:lnTo>
                <a:lnTo>
                  <a:pt x="71" y="33"/>
                </a:lnTo>
                <a:lnTo>
                  <a:pt x="67" y="33"/>
                </a:lnTo>
                <a:lnTo>
                  <a:pt x="64" y="35"/>
                </a:lnTo>
                <a:lnTo>
                  <a:pt x="63" y="35"/>
                </a:lnTo>
                <a:lnTo>
                  <a:pt x="63" y="37"/>
                </a:lnTo>
                <a:lnTo>
                  <a:pt x="59" y="41"/>
                </a:lnTo>
                <a:lnTo>
                  <a:pt x="57" y="41"/>
                </a:lnTo>
                <a:lnTo>
                  <a:pt x="57" y="38"/>
                </a:lnTo>
                <a:lnTo>
                  <a:pt x="55" y="38"/>
                </a:lnTo>
                <a:lnTo>
                  <a:pt x="53" y="38"/>
                </a:lnTo>
                <a:lnTo>
                  <a:pt x="55" y="40"/>
                </a:lnTo>
                <a:lnTo>
                  <a:pt x="57" y="41"/>
                </a:lnTo>
                <a:lnTo>
                  <a:pt x="57" y="43"/>
                </a:lnTo>
                <a:lnTo>
                  <a:pt x="56" y="46"/>
                </a:lnTo>
                <a:lnTo>
                  <a:pt x="55" y="48"/>
                </a:lnTo>
                <a:lnTo>
                  <a:pt x="51" y="48"/>
                </a:lnTo>
                <a:lnTo>
                  <a:pt x="49" y="48"/>
                </a:lnTo>
                <a:lnTo>
                  <a:pt x="48" y="49"/>
                </a:lnTo>
                <a:lnTo>
                  <a:pt x="48" y="51"/>
                </a:lnTo>
                <a:lnTo>
                  <a:pt x="47" y="49"/>
                </a:lnTo>
                <a:lnTo>
                  <a:pt x="47" y="48"/>
                </a:lnTo>
                <a:lnTo>
                  <a:pt x="45" y="46"/>
                </a:lnTo>
                <a:lnTo>
                  <a:pt x="45" y="51"/>
                </a:lnTo>
                <a:lnTo>
                  <a:pt x="47" y="54"/>
                </a:lnTo>
                <a:lnTo>
                  <a:pt x="45" y="55"/>
                </a:lnTo>
                <a:lnTo>
                  <a:pt x="44" y="54"/>
                </a:lnTo>
                <a:lnTo>
                  <a:pt x="41" y="54"/>
                </a:lnTo>
                <a:lnTo>
                  <a:pt x="39" y="55"/>
                </a:lnTo>
                <a:lnTo>
                  <a:pt x="35" y="55"/>
                </a:lnTo>
                <a:lnTo>
                  <a:pt x="32" y="57"/>
                </a:lnTo>
                <a:lnTo>
                  <a:pt x="29" y="57"/>
                </a:lnTo>
                <a:lnTo>
                  <a:pt x="25" y="54"/>
                </a:lnTo>
                <a:lnTo>
                  <a:pt x="24" y="54"/>
                </a:lnTo>
                <a:lnTo>
                  <a:pt x="24" y="52"/>
                </a:lnTo>
                <a:lnTo>
                  <a:pt x="25" y="52"/>
                </a:lnTo>
                <a:lnTo>
                  <a:pt x="28" y="52"/>
                </a:lnTo>
                <a:lnTo>
                  <a:pt x="28" y="49"/>
                </a:lnTo>
                <a:lnTo>
                  <a:pt x="28" y="48"/>
                </a:lnTo>
                <a:lnTo>
                  <a:pt x="31" y="48"/>
                </a:lnTo>
                <a:lnTo>
                  <a:pt x="31" y="46"/>
                </a:lnTo>
                <a:lnTo>
                  <a:pt x="32" y="44"/>
                </a:lnTo>
                <a:lnTo>
                  <a:pt x="35" y="43"/>
                </a:lnTo>
                <a:lnTo>
                  <a:pt x="35" y="38"/>
                </a:lnTo>
                <a:lnTo>
                  <a:pt x="36" y="37"/>
                </a:lnTo>
                <a:lnTo>
                  <a:pt x="39" y="35"/>
                </a:lnTo>
                <a:lnTo>
                  <a:pt x="40" y="37"/>
                </a:lnTo>
                <a:lnTo>
                  <a:pt x="41" y="35"/>
                </a:lnTo>
                <a:lnTo>
                  <a:pt x="48" y="37"/>
                </a:lnTo>
                <a:lnTo>
                  <a:pt x="49" y="37"/>
                </a:lnTo>
                <a:lnTo>
                  <a:pt x="51" y="35"/>
                </a:lnTo>
                <a:lnTo>
                  <a:pt x="49" y="33"/>
                </a:lnTo>
                <a:lnTo>
                  <a:pt x="51" y="30"/>
                </a:lnTo>
                <a:lnTo>
                  <a:pt x="49" y="29"/>
                </a:lnTo>
                <a:lnTo>
                  <a:pt x="49" y="27"/>
                </a:lnTo>
                <a:lnTo>
                  <a:pt x="45" y="26"/>
                </a:lnTo>
                <a:lnTo>
                  <a:pt x="43" y="22"/>
                </a:lnTo>
                <a:lnTo>
                  <a:pt x="44" y="21"/>
                </a:lnTo>
                <a:lnTo>
                  <a:pt x="43" y="19"/>
                </a:lnTo>
                <a:lnTo>
                  <a:pt x="40" y="19"/>
                </a:lnTo>
                <a:lnTo>
                  <a:pt x="40" y="18"/>
                </a:lnTo>
                <a:lnTo>
                  <a:pt x="37" y="16"/>
                </a:lnTo>
                <a:lnTo>
                  <a:pt x="39" y="13"/>
                </a:lnTo>
                <a:lnTo>
                  <a:pt x="39" y="11"/>
                </a:lnTo>
                <a:lnTo>
                  <a:pt x="39" y="10"/>
                </a:lnTo>
                <a:lnTo>
                  <a:pt x="37" y="8"/>
                </a:lnTo>
                <a:lnTo>
                  <a:pt x="35" y="8"/>
                </a:lnTo>
                <a:lnTo>
                  <a:pt x="32" y="5"/>
                </a:lnTo>
                <a:lnTo>
                  <a:pt x="29" y="5"/>
                </a:lnTo>
                <a:lnTo>
                  <a:pt x="25" y="5"/>
                </a:lnTo>
                <a:lnTo>
                  <a:pt x="24" y="5"/>
                </a:lnTo>
                <a:lnTo>
                  <a:pt x="19" y="2"/>
                </a:lnTo>
                <a:lnTo>
                  <a:pt x="16" y="0"/>
                </a:lnTo>
                <a:lnTo>
                  <a:pt x="12" y="0"/>
                </a:lnTo>
                <a:lnTo>
                  <a:pt x="7" y="0"/>
                </a:lnTo>
                <a:lnTo>
                  <a:pt x="5" y="0"/>
                </a:lnTo>
                <a:lnTo>
                  <a:pt x="3" y="0"/>
                </a:lnTo>
                <a:lnTo>
                  <a:pt x="1" y="2"/>
                </a:lnTo>
                <a:lnTo>
                  <a:pt x="0" y="4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81" name="Freeform 480"/>
          <p:cNvSpPr>
            <a:spLocks/>
          </p:cNvSpPr>
          <p:nvPr/>
        </p:nvSpPr>
        <p:spPr bwMode="auto">
          <a:xfrm>
            <a:off x="6015468" y="2540270"/>
            <a:ext cx="196831" cy="90200"/>
          </a:xfrm>
          <a:custGeom>
            <a:avLst/>
            <a:gdLst/>
            <a:ahLst/>
            <a:cxnLst>
              <a:cxn ang="0">
                <a:pos x="102" y="30"/>
              </a:cxn>
              <a:cxn ang="0">
                <a:pos x="99" y="32"/>
              </a:cxn>
              <a:cxn ang="0">
                <a:pos x="95" y="33"/>
              </a:cxn>
              <a:cxn ang="0">
                <a:pos x="93" y="36"/>
              </a:cxn>
              <a:cxn ang="0">
                <a:pos x="89" y="40"/>
              </a:cxn>
              <a:cxn ang="0">
                <a:pos x="87" y="43"/>
              </a:cxn>
              <a:cxn ang="0">
                <a:pos x="80" y="43"/>
              </a:cxn>
              <a:cxn ang="0">
                <a:pos x="76" y="44"/>
              </a:cxn>
              <a:cxn ang="0">
                <a:pos x="75" y="44"/>
              </a:cxn>
              <a:cxn ang="0">
                <a:pos x="63" y="43"/>
              </a:cxn>
              <a:cxn ang="0">
                <a:pos x="57" y="38"/>
              </a:cxn>
              <a:cxn ang="0">
                <a:pos x="45" y="40"/>
              </a:cxn>
              <a:cxn ang="0">
                <a:pos x="43" y="44"/>
              </a:cxn>
              <a:cxn ang="0">
                <a:pos x="37" y="44"/>
              </a:cxn>
              <a:cxn ang="0">
                <a:pos x="32" y="43"/>
              </a:cxn>
              <a:cxn ang="0">
                <a:pos x="27" y="41"/>
              </a:cxn>
              <a:cxn ang="0">
                <a:pos x="17" y="33"/>
              </a:cxn>
              <a:cxn ang="0">
                <a:pos x="7" y="27"/>
              </a:cxn>
              <a:cxn ang="0">
                <a:pos x="7" y="21"/>
              </a:cxn>
              <a:cxn ang="0">
                <a:pos x="0" y="18"/>
              </a:cxn>
              <a:cxn ang="0">
                <a:pos x="1" y="14"/>
              </a:cxn>
              <a:cxn ang="0">
                <a:pos x="7" y="14"/>
              </a:cxn>
              <a:cxn ang="0">
                <a:pos x="16" y="11"/>
              </a:cxn>
              <a:cxn ang="0">
                <a:pos x="23" y="8"/>
              </a:cxn>
              <a:cxn ang="0">
                <a:pos x="35" y="0"/>
              </a:cxn>
              <a:cxn ang="0">
                <a:pos x="39" y="4"/>
              </a:cxn>
              <a:cxn ang="0">
                <a:pos x="43" y="5"/>
              </a:cxn>
              <a:cxn ang="0">
                <a:pos x="48" y="2"/>
              </a:cxn>
              <a:cxn ang="0">
                <a:pos x="53" y="5"/>
              </a:cxn>
              <a:cxn ang="0">
                <a:pos x="61" y="7"/>
              </a:cxn>
              <a:cxn ang="0">
                <a:pos x="67" y="10"/>
              </a:cxn>
              <a:cxn ang="0">
                <a:pos x="71" y="16"/>
              </a:cxn>
              <a:cxn ang="0">
                <a:pos x="76" y="16"/>
              </a:cxn>
              <a:cxn ang="0">
                <a:pos x="76" y="13"/>
              </a:cxn>
              <a:cxn ang="0">
                <a:pos x="88" y="14"/>
              </a:cxn>
              <a:cxn ang="0">
                <a:pos x="91" y="19"/>
              </a:cxn>
              <a:cxn ang="0">
                <a:pos x="95" y="21"/>
              </a:cxn>
              <a:cxn ang="0">
                <a:pos x="104" y="29"/>
              </a:cxn>
            </a:cxnLst>
            <a:rect l="0" t="0" r="r" b="b"/>
            <a:pathLst>
              <a:path w="104" h="46">
                <a:moveTo>
                  <a:pt x="104" y="29"/>
                </a:moveTo>
                <a:lnTo>
                  <a:pt x="102" y="30"/>
                </a:lnTo>
                <a:lnTo>
                  <a:pt x="100" y="30"/>
                </a:lnTo>
                <a:lnTo>
                  <a:pt x="99" y="32"/>
                </a:lnTo>
                <a:lnTo>
                  <a:pt x="97" y="33"/>
                </a:lnTo>
                <a:lnTo>
                  <a:pt x="95" y="33"/>
                </a:lnTo>
                <a:lnTo>
                  <a:pt x="93" y="35"/>
                </a:lnTo>
                <a:lnTo>
                  <a:pt x="93" y="36"/>
                </a:lnTo>
                <a:lnTo>
                  <a:pt x="92" y="38"/>
                </a:lnTo>
                <a:lnTo>
                  <a:pt x="89" y="40"/>
                </a:lnTo>
                <a:lnTo>
                  <a:pt x="89" y="41"/>
                </a:lnTo>
                <a:lnTo>
                  <a:pt x="87" y="43"/>
                </a:lnTo>
                <a:lnTo>
                  <a:pt x="81" y="43"/>
                </a:lnTo>
                <a:lnTo>
                  <a:pt x="80" y="43"/>
                </a:lnTo>
                <a:lnTo>
                  <a:pt x="79" y="43"/>
                </a:lnTo>
                <a:lnTo>
                  <a:pt x="76" y="44"/>
                </a:lnTo>
                <a:lnTo>
                  <a:pt x="75" y="46"/>
                </a:lnTo>
                <a:lnTo>
                  <a:pt x="75" y="44"/>
                </a:lnTo>
                <a:lnTo>
                  <a:pt x="73" y="41"/>
                </a:lnTo>
                <a:lnTo>
                  <a:pt x="63" y="43"/>
                </a:lnTo>
                <a:lnTo>
                  <a:pt x="59" y="40"/>
                </a:lnTo>
                <a:lnTo>
                  <a:pt x="57" y="38"/>
                </a:lnTo>
                <a:lnTo>
                  <a:pt x="48" y="38"/>
                </a:lnTo>
                <a:lnTo>
                  <a:pt x="45" y="40"/>
                </a:lnTo>
                <a:lnTo>
                  <a:pt x="45" y="43"/>
                </a:lnTo>
                <a:lnTo>
                  <a:pt x="43" y="44"/>
                </a:lnTo>
                <a:lnTo>
                  <a:pt x="40" y="44"/>
                </a:lnTo>
                <a:lnTo>
                  <a:pt x="37" y="44"/>
                </a:lnTo>
                <a:lnTo>
                  <a:pt x="33" y="44"/>
                </a:lnTo>
                <a:lnTo>
                  <a:pt x="32" y="43"/>
                </a:lnTo>
                <a:lnTo>
                  <a:pt x="28" y="43"/>
                </a:lnTo>
                <a:lnTo>
                  <a:pt x="27" y="41"/>
                </a:lnTo>
                <a:lnTo>
                  <a:pt x="20" y="36"/>
                </a:lnTo>
                <a:lnTo>
                  <a:pt x="17" y="33"/>
                </a:lnTo>
                <a:lnTo>
                  <a:pt x="9" y="29"/>
                </a:lnTo>
                <a:lnTo>
                  <a:pt x="7" y="27"/>
                </a:lnTo>
                <a:lnTo>
                  <a:pt x="7" y="22"/>
                </a:lnTo>
                <a:lnTo>
                  <a:pt x="7" y="21"/>
                </a:lnTo>
                <a:lnTo>
                  <a:pt x="3" y="19"/>
                </a:lnTo>
                <a:lnTo>
                  <a:pt x="0" y="18"/>
                </a:lnTo>
                <a:lnTo>
                  <a:pt x="0" y="14"/>
                </a:lnTo>
                <a:lnTo>
                  <a:pt x="1" y="14"/>
                </a:lnTo>
                <a:lnTo>
                  <a:pt x="5" y="18"/>
                </a:lnTo>
                <a:lnTo>
                  <a:pt x="7" y="14"/>
                </a:lnTo>
                <a:lnTo>
                  <a:pt x="12" y="13"/>
                </a:lnTo>
                <a:lnTo>
                  <a:pt x="16" y="11"/>
                </a:lnTo>
                <a:lnTo>
                  <a:pt x="21" y="10"/>
                </a:lnTo>
                <a:lnTo>
                  <a:pt x="23" y="8"/>
                </a:lnTo>
                <a:lnTo>
                  <a:pt x="33" y="5"/>
                </a:lnTo>
                <a:lnTo>
                  <a:pt x="35" y="0"/>
                </a:lnTo>
                <a:lnTo>
                  <a:pt x="37" y="0"/>
                </a:lnTo>
                <a:lnTo>
                  <a:pt x="39" y="4"/>
                </a:lnTo>
                <a:lnTo>
                  <a:pt x="41" y="5"/>
                </a:lnTo>
                <a:lnTo>
                  <a:pt x="43" y="5"/>
                </a:lnTo>
                <a:lnTo>
                  <a:pt x="44" y="5"/>
                </a:lnTo>
                <a:lnTo>
                  <a:pt x="48" y="2"/>
                </a:lnTo>
                <a:lnTo>
                  <a:pt x="51" y="4"/>
                </a:lnTo>
                <a:lnTo>
                  <a:pt x="53" y="5"/>
                </a:lnTo>
                <a:lnTo>
                  <a:pt x="55" y="5"/>
                </a:lnTo>
                <a:lnTo>
                  <a:pt x="61" y="7"/>
                </a:lnTo>
                <a:lnTo>
                  <a:pt x="63" y="8"/>
                </a:lnTo>
                <a:lnTo>
                  <a:pt x="67" y="10"/>
                </a:lnTo>
                <a:lnTo>
                  <a:pt x="65" y="13"/>
                </a:lnTo>
                <a:lnTo>
                  <a:pt x="71" y="16"/>
                </a:lnTo>
                <a:lnTo>
                  <a:pt x="73" y="18"/>
                </a:lnTo>
                <a:lnTo>
                  <a:pt x="76" y="16"/>
                </a:lnTo>
                <a:lnTo>
                  <a:pt x="75" y="14"/>
                </a:lnTo>
                <a:lnTo>
                  <a:pt x="76" y="13"/>
                </a:lnTo>
                <a:lnTo>
                  <a:pt x="83" y="14"/>
                </a:lnTo>
                <a:lnTo>
                  <a:pt x="88" y="14"/>
                </a:lnTo>
                <a:lnTo>
                  <a:pt x="88" y="19"/>
                </a:lnTo>
                <a:lnTo>
                  <a:pt x="91" y="19"/>
                </a:lnTo>
                <a:lnTo>
                  <a:pt x="92" y="19"/>
                </a:lnTo>
                <a:lnTo>
                  <a:pt x="95" y="21"/>
                </a:lnTo>
                <a:lnTo>
                  <a:pt x="100" y="27"/>
                </a:lnTo>
                <a:lnTo>
                  <a:pt x="104" y="29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82" name="Freeform 481"/>
          <p:cNvSpPr>
            <a:spLocks/>
          </p:cNvSpPr>
          <p:nvPr/>
        </p:nvSpPr>
        <p:spPr bwMode="auto">
          <a:xfrm>
            <a:off x="6015468" y="2540270"/>
            <a:ext cx="196831" cy="90200"/>
          </a:xfrm>
          <a:custGeom>
            <a:avLst/>
            <a:gdLst/>
            <a:ahLst/>
            <a:cxnLst>
              <a:cxn ang="0">
                <a:pos x="102" y="30"/>
              </a:cxn>
              <a:cxn ang="0">
                <a:pos x="99" y="32"/>
              </a:cxn>
              <a:cxn ang="0">
                <a:pos x="95" y="33"/>
              </a:cxn>
              <a:cxn ang="0">
                <a:pos x="93" y="36"/>
              </a:cxn>
              <a:cxn ang="0">
                <a:pos x="89" y="40"/>
              </a:cxn>
              <a:cxn ang="0">
                <a:pos x="87" y="43"/>
              </a:cxn>
              <a:cxn ang="0">
                <a:pos x="80" y="43"/>
              </a:cxn>
              <a:cxn ang="0">
                <a:pos x="76" y="44"/>
              </a:cxn>
              <a:cxn ang="0">
                <a:pos x="75" y="44"/>
              </a:cxn>
              <a:cxn ang="0">
                <a:pos x="63" y="43"/>
              </a:cxn>
              <a:cxn ang="0">
                <a:pos x="57" y="38"/>
              </a:cxn>
              <a:cxn ang="0">
                <a:pos x="45" y="40"/>
              </a:cxn>
              <a:cxn ang="0">
                <a:pos x="43" y="44"/>
              </a:cxn>
              <a:cxn ang="0">
                <a:pos x="37" y="44"/>
              </a:cxn>
              <a:cxn ang="0">
                <a:pos x="32" y="43"/>
              </a:cxn>
              <a:cxn ang="0">
                <a:pos x="27" y="41"/>
              </a:cxn>
              <a:cxn ang="0">
                <a:pos x="17" y="33"/>
              </a:cxn>
              <a:cxn ang="0">
                <a:pos x="7" y="27"/>
              </a:cxn>
              <a:cxn ang="0">
                <a:pos x="7" y="21"/>
              </a:cxn>
              <a:cxn ang="0">
                <a:pos x="0" y="18"/>
              </a:cxn>
              <a:cxn ang="0">
                <a:pos x="1" y="14"/>
              </a:cxn>
              <a:cxn ang="0">
                <a:pos x="7" y="14"/>
              </a:cxn>
              <a:cxn ang="0">
                <a:pos x="16" y="11"/>
              </a:cxn>
              <a:cxn ang="0">
                <a:pos x="23" y="8"/>
              </a:cxn>
              <a:cxn ang="0">
                <a:pos x="35" y="0"/>
              </a:cxn>
              <a:cxn ang="0">
                <a:pos x="39" y="4"/>
              </a:cxn>
              <a:cxn ang="0">
                <a:pos x="43" y="5"/>
              </a:cxn>
              <a:cxn ang="0">
                <a:pos x="48" y="2"/>
              </a:cxn>
              <a:cxn ang="0">
                <a:pos x="53" y="5"/>
              </a:cxn>
              <a:cxn ang="0">
                <a:pos x="61" y="7"/>
              </a:cxn>
              <a:cxn ang="0">
                <a:pos x="67" y="10"/>
              </a:cxn>
              <a:cxn ang="0">
                <a:pos x="71" y="16"/>
              </a:cxn>
              <a:cxn ang="0">
                <a:pos x="76" y="16"/>
              </a:cxn>
              <a:cxn ang="0">
                <a:pos x="76" y="13"/>
              </a:cxn>
              <a:cxn ang="0">
                <a:pos x="88" y="14"/>
              </a:cxn>
              <a:cxn ang="0">
                <a:pos x="91" y="19"/>
              </a:cxn>
              <a:cxn ang="0">
                <a:pos x="95" y="21"/>
              </a:cxn>
              <a:cxn ang="0">
                <a:pos x="104" y="29"/>
              </a:cxn>
            </a:cxnLst>
            <a:rect l="0" t="0" r="r" b="b"/>
            <a:pathLst>
              <a:path w="104" h="46">
                <a:moveTo>
                  <a:pt x="104" y="29"/>
                </a:moveTo>
                <a:lnTo>
                  <a:pt x="102" y="30"/>
                </a:lnTo>
                <a:lnTo>
                  <a:pt x="100" y="30"/>
                </a:lnTo>
                <a:lnTo>
                  <a:pt x="99" y="32"/>
                </a:lnTo>
                <a:lnTo>
                  <a:pt x="97" y="33"/>
                </a:lnTo>
                <a:lnTo>
                  <a:pt x="95" y="33"/>
                </a:lnTo>
                <a:lnTo>
                  <a:pt x="93" y="35"/>
                </a:lnTo>
                <a:lnTo>
                  <a:pt x="93" y="36"/>
                </a:lnTo>
                <a:lnTo>
                  <a:pt x="92" y="38"/>
                </a:lnTo>
                <a:lnTo>
                  <a:pt x="89" y="40"/>
                </a:lnTo>
                <a:lnTo>
                  <a:pt x="89" y="41"/>
                </a:lnTo>
                <a:lnTo>
                  <a:pt x="87" y="43"/>
                </a:lnTo>
                <a:lnTo>
                  <a:pt x="81" y="43"/>
                </a:lnTo>
                <a:lnTo>
                  <a:pt x="80" y="43"/>
                </a:lnTo>
                <a:lnTo>
                  <a:pt x="79" y="43"/>
                </a:lnTo>
                <a:lnTo>
                  <a:pt x="76" y="44"/>
                </a:lnTo>
                <a:lnTo>
                  <a:pt x="75" y="46"/>
                </a:lnTo>
                <a:lnTo>
                  <a:pt x="75" y="44"/>
                </a:lnTo>
                <a:lnTo>
                  <a:pt x="73" y="41"/>
                </a:lnTo>
                <a:lnTo>
                  <a:pt x="63" y="43"/>
                </a:lnTo>
                <a:lnTo>
                  <a:pt x="59" y="40"/>
                </a:lnTo>
                <a:lnTo>
                  <a:pt x="57" y="38"/>
                </a:lnTo>
                <a:lnTo>
                  <a:pt x="48" y="38"/>
                </a:lnTo>
                <a:lnTo>
                  <a:pt x="45" y="40"/>
                </a:lnTo>
                <a:lnTo>
                  <a:pt x="45" y="43"/>
                </a:lnTo>
                <a:lnTo>
                  <a:pt x="43" y="44"/>
                </a:lnTo>
                <a:lnTo>
                  <a:pt x="40" y="44"/>
                </a:lnTo>
                <a:lnTo>
                  <a:pt x="37" y="44"/>
                </a:lnTo>
                <a:lnTo>
                  <a:pt x="33" y="44"/>
                </a:lnTo>
                <a:lnTo>
                  <a:pt x="32" y="43"/>
                </a:lnTo>
                <a:lnTo>
                  <a:pt x="28" y="43"/>
                </a:lnTo>
                <a:lnTo>
                  <a:pt x="27" y="41"/>
                </a:lnTo>
                <a:lnTo>
                  <a:pt x="20" y="36"/>
                </a:lnTo>
                <a:lnTo>
                  <a:pt x="17" y="33"/>
                </a:lnTo>
                <a:lnTo>
                  <a:pt x="9" y="29"/>
                </a:lnTo>
                <a:lnTo>
                  <a:pt x="7" y="27"/>
                </a:lnTo>
                <a:lnTo>
                  <a:pt x="7" y="22"/>
                </a:lnTo>
                <a:lnTo>
                  <a:pt x="7" y="21"/>
                </a:lnTo>
                <a:lnTo>
                  <a:pt x="3" y="19"/>
                </a:lnTo>
                <a:lnTo>
                  <a:pt x="0" y="18"/>
                </a:lnTo>
                <a:lnTo>
                  <a:pt x="0" y="14"/>
                </a:lnTo>
                <a:lnTo>
                  <a:pt x="1" y="14"/>
                </a:lnTo>
                <a:lnTo>
                  <a:pt x="5" y="18"/>
                </a:lnTo>
                <a:lnTo>
                  <a:pt x="7" y="14"/>
                </a:lnTo>
                <a:lnTo>
                  <a:pt x="12" y="13"/>
                </a:lnTo>
                <a:lnTo>
                  <a:pt x="16" y="11"/>
                </a:lnTo>
                <a:lnTo>
                  <a:pt x="21" y="10"/>
                </a:lnTo>
                <a:lnTo>
                  <a:pt x="23" y="8"/>
                </a:lnTo>
                <a:lnTo>
                  <a:pt x="33" y="5"/>
                </a:lnTo>
                <a:lnTo>
                  <a:pt x="35" y="0"/>
                </a:lnTo>
                <a:lnTo>
                  <a:pt x="37" y="0"/>
                </a:lnTo>
                <a:lnTo>
                  <a:pt x="39" y="4"/>
                </a:lnTo>
                <a:lnTo>
                  <a:pt x="41" y="5"/>
                </a:lnTo>
                <a:lnTo>
                  <a:pt x="43" y="5"/>
                </a:lnTo>
                <a:lnTo>
                  <a:pt x="44" y="5"/>
                </a:lnTo>
                <a:lnTo>
                  <a:pt x="48" y="2"/>
                </a:lnTo>
                <a:lnTo>
                  <a:pt x="51" y="4"/>
                </a:lnTo>
                <a:lnTo>
                  <a:pt x="53" y="5"/>
                </a:lnTo>
                <a:lnTo>
                  <a:pt x="55" y="5"/>
                </a:lnTo>
                <a:lnTo>
                  <a:pt x="61" y="7"/>
                </a:lnTo>
                <a:lnTo>
                  <a:pt x="63" y="8"/>
                </a:lnTo>
                <a:lnTo>
                  <a:pt x="67" y="10"/>
                </a:lnTo>
                <a:lnTo>
                  <a:pt x="65" y="13"/>
                </a:lnTo>
                <a:lnTo>
                  <a:pt x="71" y="16"/>
                </a:lnTo>
                <a:lnTo>
                  <a:pt x="73" y="18"/>
                </a:lnTo>
                <a:lnTo>
                  <a:pt x="76" y="16"/>
                </a:lnTo>
                <a:lnTo>
                  <a:pt x="75" y="14"/>
                </a:lnTo>
                <a:lnTo>
                  <a:pt x="76" y="13"/>
                </a:lnTo>
                <a:lnTo>
                  <a:pt x="83" y="14"/>
                </a:lnTo>
                <a:lnTo>
                  <a:pt x="88" y="14"/>
                </a:lnTo>
                <a:lnTo>
                  <a:pt x="88" y="19"/>
                </a:lnTo>
                <a:lnTo>
                  <a:pt x="91" y="19"/>
                </a:lnTo>
                <a:lnTo>
                  <a:pt x="92" y="19"/>
                </a:lnTo>
                <a:lnTo>
                  <a:pt x="95" y="21"/>
                </a:lnTo>
                <a:lnTo>
                  <a:pt x="100" y="27"/>
                </a:lnTo>
                <a:lnTo>
                  <a:pt x="104" y="29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83" name="Freeform 482"/>
          <p:cNvSpPr>
            <a:spLocks/>
          </p:cNvSpPr>
          <p:nvPr/>
        </p:nvSpPr>
        <p:spPr bwMode="auto">
          <a:xfrm>
            <a:off x="5845923" y="2662682"/>
            <a:ext cx="126672" cy="62281"/>
          </a:xfrm>
          <a:custGeom>
            <a:avLst/>
            <a:gdLst/>
            <a:ahLst/>
            <a:cxnLst>
              <a:cxn ang="0">
                <a:pos x="15" y="29"/>
              </a:cxn>
              <a:cxn ang="0">
                <a:pos x="12" y="26"/>
              </a:cxn>
              <a:cxn ang="0">
                <a:pos x="11" y="22"/>
              </a:cxn>
              <a:cxn ang="0">
                <a:pos x="3" y="26"/>
              </a:cxn>
              <a:cxn ang="0">
                <a:pos x="0" y="26"/>
              </a:cxn>
              <a:cxn ang="0">
                <a:pos x="1" y="18"/>
              </a:cxn>
              <a:cxn ang="0">
                <a:pos x="4" y="17"/>
              </a:cxn>
              <a:cxn ang="0">
                <a:pos x="7" y="15"/>
              </a:cxn>
              <a:cxn ang="0">
                <a:pos x="8" y="11"/>
              </a:cxn>
              <a:cxn ang="0">
                <a:pos x="13" y="4"/>
              </a:cxn>
              <a:cxn ang="0">
                <a:pos x="20" y="3"/>
              </a:cxn>
              <a:cxn ang="0">
                <a:pos x="24" y="1"/>
              </a:cxn>
              <a:cxn ang="0">
                <a:pos x="35" y="1"/>
              </a:cxn>
              <a:cxn ang="0">
                <a:pos x="48" y="1"/>
              </a:cxn>
              <a:cxn ang="0">
                <a:pos x="55" y="4"/>
              </a:cxn>
              <a:cxn ang="0">
                <a:pos x="53" y="9"/>
              </a:cxn>
              <a:cxn ang="0">
                <a:pos x="57" y="12"/>
              </a:cxn>
              <a:cxn ang="0">
                <a:pos x="63" y="14"/>
              </a:cxn>
              <a:cxn ang="0">
                <a:pos x="67" y="14"/>
              </a:cxn>
              <a:cxn ang="0">
                <a:pos x="67" y="18"/>
              </a:cxn>
              <a:cxn ang="0">
                <a:pos x="63" y="18"/>
              </a:cxn>
              <a:cxn ang="0">
                <a:pos x="61" y="22"/>
              </a:cxn>
              <a:cxn ang="0">
                <a:pos x="63" y="25"/>
              </a:cxn>
              <a:cxn ang="0">
                <a:pos x="53" y="23"/>
              </a:cxn>
              <a:cxn ang="0">
                <a:pos x="49" y="22"/>
              </a:cxn>
              <a:cxn ang="0">
                <a:pos x="47" y="28"/>
              </a:cxn>
              <a:cxn ang="0">
                <a:pos x="45" y="31"/>
              </a:cxn>
              <a:cxn ang="0">
                <a:pos x="41" y="28"/>
              </a:cxn>
              <a:cxn ang="0">
                <a:pos x="36" y="22"/>
              </a:cxn>
              <a:cxn ang="0">
                <a:pos x="32" y="25"/>
              </a:cxn>
              <a:cxn ang="0">
                <a:pos x="31" y="28"/>
              </a:cxn>
              <a:cxn ang="0">
                <a:pos x="24" y="29"/>
              </a:cxn>
              <a:cxn ang="0">
                <a:pos x="15" y="31"/>
              </a:cxn>
            </a:cxnLst>
            <a:rect l="0" t="0" r="r" b="b"/>
            <a:pathLst>
              <a:path w="67" h="31">
                <a:moveTo>
                  <a:pt x="15" y="31"/>
                </a:moveTo>
                <a:lnTo>
                  <a:pt x="15" y="29"/>
                </a:lnTo>
                <a:lnTo>
                  <a:pt x="12" y="29"/>
                </a:lnTo>
                <a:lnTo>
                  <a:pt x="12" y="26"/>
                </a:lnTo>
                <a:lnTo>
                  <a:pt x="12" y="23"/>
                </a:lnTo>
                <a:lnTo>
                  <a:pt x="11" y="22"/>
                </a:lnTo>
                <a:lnTo>
                  <a:pt x="7" y="22"/>
                </a:lnTo>
                <a:lnTo>
                  <a:pt x="3" y="26"/>
                </a:lnTo>
                <a:lnTo>
                  <a:pt x="1" y="26"/>
                </a:lnTo>
                <a:lnTo>
                  <a:pt x="0" y="26"/>
                </a:lnTo>
                <a:lnTo>
                  <a:pt x="0" y="22"/>
                </a:lnTo>
                <a:lnTo>
                  <a:pt x="1" y="18"/>
                </a:lnTo>
                <a:lnTo>
                  <a:pt x="3" y="18"/>
                </a:lnTo>
                <a:lnTo>
                  <a:pt x="4" y="17"/>
                </a:lnTo>
                <a:lnTo>
                  <a:pt x="5" y="15"/>
                </a:lnTo>
                <a:lnTo>
                  <a:pt x="7" y="15"/>
                </a:lnTo>
                <a:lnTo>
                  <a:pt x="7" y="12"/>
                </a:lnTo>
                <a:lnTo>
                  <a:pt x="8" y="11"/>
                </a:lnTo>
                <a:lnTo>
                  <a:pt x="15" y="4"/>
                </a:lnTo>
                <a:lnTo>
                  <a:pt x="13" y="4"/>
                </a:lnTo>
                <a:lnTo>
                  <a:pt x="15" y="3"/>
                </a:lnTo>
                <a:lnTo>
                  <a:pt x="20" y="3"/>
                </a:lnTo>
                <a:lnTo>
                  <a:pt x="21" y="1"/>
                </a:lnTo>
                <a:lnTo>
                  <a:pt x="24" y="1"/>
                </a:lnTo>
                <a:lnTo>
                  <a:pt x="25" y="1"/>
                </a:lnTo>
                <a:lnTo>
                  <a:pt x="35" y="1"/>
                </a:lnTo>
                <a:lnTo>
                  <a:pt x="43" y="0"/>
                </a:lnTo>
                <a:lnTo>
                  <a:pt x="48" y="1"/>
                </a:lnTo>
                <a:lnTo>
                  <a:pt x="52" y="3"/>
                </a:lnTo>
                <a:lnTo>
                  <a:pt x="55" y="4"/>
                </a:lnTo>
                <a:lnTo>
                  <a:pt x="53" y="6"/>
                </a:lnTo>
                <a:lnTo>
                  <a:pt x="53" y="9"/>
                </a:lnTo>
                <a:lnTo>
                  <a:pt x="56" y="12"/>
                </a:lnTo>
                <a:lnTo>
                  <a:pt x="57" y="12"/>
                </a:lnTo>
                <a:lnTo>
                  <a:pt x="60" y="14"/>
                </a:lnTo>
                <a:lnTo>
                  <a:pt x="63" y="14"/>
                </a:lnTo>
                <a:lnTo>
                  <a:pt x="65" y="12"/>
                </a:lnTo>
                <a:lnTo>
                  <a:pt x="67" y="14"/>
                </a:lnTo>
                <a:lnTo>
                  <a:pt x="67" y="17"/>
                </a:lnTo>
                <a:lnTo>
                  <a:pt x="67" y="18"/>
                </a:lnTo>
                <a:lnTo>
                  <a:pt x="65" y="18"/>
                </a:lnTo>
                <a:lnTo>
                  <a:pt x="63" y="18"/>
                </a:lnTo>
                <a:lnTo>
                  <a:pt x="61" y="20"/>
                </a:lnTo>
                <a:lnTo>
                  <a:pt x="61" y="22"/>
                </a:lnTo>
                <a:lnTo>
                  <a:pt x="63" y="23"/>
                </a:lnTo>
                <a:lnTo>
                  <a:pt x="63" y="25"/>
                </a:lnTo>
                <a:lnTo>
                  <a:pt x="56" y="23"/>
                </a:lnTo>
                <a:lnTo>
                  <a:pt x="53" y="23"/>
                </a:lnTo>
                <a:lnTo>
                  <a:pt x="52" y="22"/>
                </a:lnTo>
                <a:lnTo>
                  <a:pt x="49" y="22"/>
                </a:lnTo>
                <a:lnTo>
                  <a:pt x="49" y="23"/>
                </a:lnTo>
                <a:lnTo>
                  <a:pt x="47" y="28"/>
                </a:lnTo>
                <a:lnTo>
                  <a:pt x="45" y="29"/>
                </a:lnTo>
                <a:lnTo>
                  <a:pt x="45" y="31"/>
                </a:lnTo>
                <a:lnTo>
                  <a:pt x="43" y="29"/>
                </a:lnTo>
                <a:lnTo>
                  <a:pt x="41" y="28"/>
                </a:lnTo>
                <a:lnTo>
                  <a:pt x="39" y="26"/>
                </a:lnTo>
                <a:lnTo>
                  <a:pt x="36" y="22"/>
                </a:lnTo>
                <a:lnTo>
                  <a:pt x="33" y="23"/>
                </a:lnTo>
                <a:lnTo>
                  <a:pt x="32" y="25"/>
                </a:lnTo>
                <a:lnTo>
                  <a:pt x="32" y="28"/>
                </a:lnTo>
                <a:lnTo>
                  <a:pt x="31" y="28"/>
                </a:lnTo>
                <a:lnTo>
                  <a:pt x="28" y="31"/>
                </a:lnTo>
                <a:lnTo>
                  <a:pt x="24" y="29"/>
                </a:lnTo>
                <a:lnTo>
                  <a:pt x="17" y="31"/>
                </a:lnTo>
                <a:lnTo>
                  <a:pt x="15" y="31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84" name="Freeform 483"/>
          <p:cNvSpPr>
            <a:spLocks/>
          </p:cNvSpPr>
          <p:nvPr/>
        </p:nvSpPr>
        <p:spPr bwMode="auto">
          <a:xfrm>
            <a:off x="5845923" y="2662682"/>
            <a:ext cx="126672" cy="62281"/>
          </a:xfrm>
          <a:custGeom>
            <a:avLst/>
            <a:gdLst/>
            <a:ahLst/>
            <a:cxnLst>
              <a:cxn ang="0">
                <a:pos x="15" y="29"/>
              </a:cxn>
              <a:cxn ang="0">
                <a:pos x="12" y="26"/>
              </a:cxn>
              <a:cxn ang="0">
                <a:pos x="11" y="22"/>
              </a:cxn>
              <a:cxn ang="0">
                <a:pos x="3" y="26"/>
              </a:cxn>
              <a:cxn ang="0">
                <a:pos x="0" y="26"/>
              </a:cxn>
              <a:cxn ang="0">
                <a:pos x="1" y="18"/>
              </a:cxn>
              <a:cxn ang="0">
                <a:pos x="4" y="17"/>
              </a:cxn>
              <a:cxn ang="0">
                <a:pos x="7" y="15"/>
              </a:cxn>
              <a:cxn ang="0">
                <a:pos x="8" y="11"/>
              </a:cxn>
              <a:cxn ang="0">
                <a:pos x="13" y="4"/>
              </a:cxn>
              <a:cxn ang="0">
                <a:pos x="20" y="3"/>
              </a:cxn>
              <a:cxn ang="0">
                <a:pos x="24" y="1"/>
              </a:cxn>
              <a:cxn ang="0">
                <a:pos x="35" y="1"/>
              </a:cxn>
              <a:cxn ang="0">
                <a:pos x="48" y="1"/>
              </a:cxn>
              <a:cxn ang="0">
                <a:pos x="55" y="4"/>
              </a:cxn>
              <a:cxn ang="0">
                <a:pos x="53" y="9"/>
              </a:cxn>
              <a:cxn ang="0">
                <a:pos x="57" y="12"/>
              </a:cxn>
              <a:cxn ang="0">
                <a:pos x="63" y="14"/>
              </a:cxn>
              <a:cxn ang="0">
                <a:pos x="67" y="14"/>
              </a:cxn>
              <a:cxn ang="0">
                <a:pos x="67" y="18"/>
              </a:cxn>
              <a:cxn ang="0">
                <a:pos x="63" y="18"/>
              </a:cxn>
              <a:cxn ang="0">
                <a:pos x="61" y="22"/>
              </a:cxn>
              <a:cxn ang="0">
                <a:pos x="63" y="25"/>
              </a:cxn>
              <a:cxn ang="0">
                <a:pos x="53" y="23"/>
              </a:cxn>
              <a:cxn ang="0">
                <a:pos x="49" y="22"/>
              </a:cxn>
              <a:cxn ang="0">
                <a:pos x="47" y="28"/>
              </a:cxn>
              <a:cxn ang="0">
                <a:pos x="45" y="31"/>
              </a:cxn>
              <a:cxn ang="0">
                <a:pos x="41" y="28"/>
              </a:cxn>
              <a:cxn ang="0">
                <a:pos x="36" y="22"/>
              </a:cxn>
              <a:cxn ang="0">
                <a:pos x="32" y="25"/>
              </a:cxn>
              <a:cxn ang="0">
                <a:pos x="31" y="28"/>
              </a:cxn>
              <a:cxn ang="0">
                <a:pos x="24" y="29"/>
              </a:cxn>
              <a:cxn ang="0">
                <a:pos x="15" y="31"/>
              </a:cxn>
            </a:cxnLst>
            <a:rect l="0" t="0" r="r" b="b"/>
            <a:pathLst>
              <a:path w="67" h="31">
                <a:moveTo>
                  <a:pt x="15" y="31"/>
                </a:moveTo>
                <a:lnTo>
                  <a:pt x="15" y="29"/>
                </a:lnTo>
                <a:lnTo>
                  <a:pt x="12" y="29"/>
                </a:lnTo>
                <a:lnTo>
                  <a:pt x="12" y="26"/>
                </a:lnTo>
                <a:lnTo>
                  <a:pt x="12" y="23"/>
                </a:lnTo>
                <a:lnTo>
                  <a:pt x="11" y="22"/>
                </a:lnTo>
                <a:lnTo>
                  <a:pt x="7" y="22"/>
                </a:lnTo>
                <a:lnTo>
                  <a:pt x="3" y="26"/>
                </a:lnTo>
                <a:lnTo>
                  <a:pt x="1" y="26"/>
                </a:lnTo>
                <a:lnTo>
                  <a:pt x="0" y="26"/>
                </a:lnTo>
                <a:lnTo>
                  <a:pt x="0" y="22"/>
                </a:lnTo>
                <a:lnTo>
                  <a:pt x="1" y="18"/>
                </a:lnTo>
                <a:lnTo>
                  <a:pt x="3" y="18"/>
                </a:lnTo>
                <a:lnTo>
                  <a:pt x="4" y="17"/>
                </a:lnTo>
                <a:lnTo>
                  <a:pt x="5" y="15"/>
                </a:lnTo>
                <a:lnTo>
                  <a:pt x="7" y="15"/>
                </a:lnTo>
                <a:lnTo>
                  <a:pt x="7" y="12"/>
                </a:lnTo>
                <a:lnTo>
                  <a:pt x="8" y="11"/>
                </a:lnTo>
                <a:lnTo>
                  <a:pt x="15" y="4"/>
                </a:lnTo>
                <a:lnTo>
                  <a:pt x="13" y="4"/>
                </a:lnTo>
                <a:lnTo>
                  <a:pt x="15" y="3"/>
                </a:lnTo>
                <a:lnTo>
                  <a:pt x="20" y="3"/>
                </a:lnTo>
                <a:lnTo>
                  <a:pt x="21" y="1"/>
                </a:lnTo>
                <a:lnTo>
                  <a:pt x="24" y="1"/>
                </a:lnTo>
                <a:lnTo>
                  <a:pt x="25" y="1"/>
                </a:lnTo>
                <a:lnTo>
                  <a:pt x="35" y="1"/>
                </a:lnTo>
                <a:lnTo>
                  <a:pt x="43" y="0"/>
                </a:lnTo>
                <a:lnTo>
                  <a:pt x="48" y="1"/>
                </a:lnTo>
                <a:lnTo>
                  <a:pt x="52" y="3"/>
                </a:lnTo>
                <a:lnTo>
                  <a:pt x="55" y="4"/>
                </a:lnTo>
                <a:lnTo>
                  <a:pt x="53" y="6"/>
                </a:lnTo>
                <a:lnTo>
                  <a:pt x="53" y="9"/>
                </a:lnTo>
                <a:lnTo>
                  <a:pt x="56" y="12"/>
                </a:lnTo>
                <a:lnTo>
                  <a:pt x="57" y="12"/>
                </a:lnTo>
                <a:lnTo>
                  <a:pt x="60" y="14"/>
                </a:lnTo>
                <a:lnTo>
                  <a:pt x="63" y="14"/>
                </a:lnTo>
                <a:lnTo>
                  <a:pt x="65" y="12"/>
                </a:lnTo>
                <a:lnTo>
                  <a:pt x="67" y="14"/>
                </a:lnTo>
                <a:lnTo>
                  <a:pt x="67" y="17"/>
                </a:lnTo>
                <a:lnTo>
                  <a:pt x="67" y="18"/>
                </a:lnTo>
                <a:lnTo>
                  <a:pt x="65" y="18"/>
                </a:lnTo>
                <a:lnTo>
                  <a:pt x="63" y="18"/>
                </a:lnTo>
                <a:lnTo>
                  <a:pt x="61" y="20"/>
                </a:lnTo>
                <a:lnTo>
                  <a:pt x="61" y="22"/>
                </a:lnTo>
                <a:lnTo>
                  <a:pt x="63" y="23"/>
                </a:lnTo>
                <a:lnTo>
                  <a:pt x="63" y="25"/>
                </a:lnTo>
                <a:lnTo>
                  <a:pt x="56" y="23"/>
                </a:lnTo>
                <a:lnTo>
                  <a:pt x="53" y="23"/>
                </a:lnTo>
                <a:lnTo>
                  <a:pt x="52" y="22"/>
                </a:lnTo>
                <a:lnTo>
                  <a:pt x="49" y="22"/>
                </a:lnTo>
                <a:lnTo>
                  <a:pt x="49" y="23"/>
                </a:lnTo>
                <a:lnTo>
                  <a:pt x="47" y="28"/>
                </a:lnTo>
                <a:lnTo>
                  <a:pt x="45" y="29"/>
                </a:lnTo>
                <a:lnTo>
                  <a:pt x="45" y="31"/>
                </a:lnTo>
                <a:lnTo>
                  <a:pt x="43" y="29"/>
                </a:lnTo>
                <a:lnTo>
                  <a:pt x="41" y="28"/>
                </a:lnTo>
                <a:lnTo>
                  <a:pt x="39" y="26"/>
                </a:lnTo>
                <a:lnTo>
                  <a:pt x="36" y="22"/>
                </a:lnTo>
                <a:lnTo>
                  <a:pt x="33" y="23"/>
                </a:lnTo>
                <a:lnTo>
                  <a:pt x="32" y="25"/>
                </a:lnTo>
                <a:lnTo>
                  <a:pt x="32" y="28"/>
                </a:lnTo>
                <a:lnTo>
                  <a:pt x="31" y="28"/>
                </a:lnTo>
                <a:lnTo>
                  <a:pt x="28" y="31"/>
                </a:lnTo>
                <a:lnTo>
                  <a:pt x="24" y="29"/>
                </a:lnTo>
                <a:lnTo>
                  <a:pt x="17" y="31"/>
                </a:lnTo>
                <a:lnTo>
                  <a:pt x="15" y="31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85" name="Freeform 484"/>
          <p:cNvSpPr>
            <a:spLocks/>
          </p:cNvSpPr>
          <p:nvPr/>
        </p:nvSpPr>
        <p:spPr bwMode="auto">
          <a:xfrm>
            <a:off x="5752378" y="2527383"/>
            <a:ext cx="99389" cy="66576"/>
          </a:xfrm>
          <a:custGeom>
            <a:avLst/>
            <a:gdLst/>
            <a:ahLst/>
            <a:cxnLst>
              <a:cxn ang="0">
                <a:pos x="44" y="33"/>
              </a:cxn>
              <a:cxn ang="0">
                <a:pos x="41" y="33"/>
              </a:cxn>
              <a:cxn ang="0">
                <a:pos x="39" y="33"/>
              </a:cxn>
              <a:cxn ang="0">
                <a:pos x="37" y="31"/>
              </a:cxn>
              <a:cxn ang="0">
                <a:pos x="33" y="30"/>
              </a:cxn>
              <a:cxn ang="0">
                <a:pos x="35" y="30"/>
              </a:cxn>
              <a:cxn ang="0">
                <a:pos x="33" y="28"/>
              </a:cxn>
              <a:cxn ang="0">
                <a:pos x="33" y="24"/>
              </a:cxn>
              <a:cxn ang="0">
                <a:pos x="31" y="24"/>
              </a:cxn>
              <a:cxn ang="0">
                <a:pos x="29" y="25"/>
              </a:cxn>
              <a:cxn ang="0">
                <a:pos x="28" y="27"/>
              </a:cxn>
              <a:cxn ang="0">
                <a:pos x="25" y="27"/>
              </a:cxn>
              <a:cxn ang="0">
                <a:pos x="23" y="27"/>
              </a:cxn>
              <a:cxn ang="0">
                <a:pos x="23" y="24"/>
              </a:cxn>
              <a:cxn ang="0">
                <a:pos x="21" y="20"/>
              </a:cxn>
              <a:cxn ang="0">
                <a:pos x="20" y="20"/>
              </a:cxn>
              <a:cxn ang="0">
                <a:pos x="16" y="19"/>
              </a:cxn>
              <a:cxn ang="0">
                <a:pos x="12" y="17"/>
              </a:cxn>
              <a:cxn ang="0">
                <a:pos x="10" y="17"/>
              </a:cxn>
              <a:cxn ang="0">
                <a:pos x="7" y="13"/>
              </a:cxn>
              <a:cxn ang="0">
                <a:pos x="4" y="13"/>
              </a:cxn>
              <a:cxn ang="0">
                <a:pos x="2" y="13"/>
              </a:cxn>
              <a:cxn ang="0">
                <a:pos x="0" y="11"/>
              </a:cxn>
              <a:cxn ang="0">
                <a:pos x="0" y="6"/>
              </a:cxn>
              <a:cxn ang="0">
                <a:pos x="7" y="3"/>
              </a:cxn>
              <a:cxn ang="0">
                <a:pos x="10" y="3"/>
              </a:cxn>
              <a:cxn ang="0">
                <a:pos x="12" y="2"/>
              </a:cxn>
              <a:cxn ang="0">
                <a:pos x="12" y="3"/>
              </a:cxn>
              <a:cxn ang="0">
                <a:pos x="16" y="5"/>
              </a:cxn>
              <a:cxn ang="0">
                <a:pos x="21" y="3"/>
              </a:cxn>
              <a:cxn ang="0">
                <a:pos x="25" y="2"/>
              </a:cxn>
              <a:cxn ang="0">
                <a:pos x="29" y="0"/>
              </a:cxn>
              <a:cxn ang="0">
                <a:pos x="33" y="0"/>
              </a:cxn>
              <a:cxn ang="0">
                <a:pos x="35" y="2"/>
              </a:cxn>
              <a:cxn ang="0">
                <a:pos x="36" y="2"/>
              </a:cxn>
              <a:cxn ang="0">
                <a:pos x="36" y="3"/>
              </a:cxn>
              <a:cxn ang="0">
                <a:pos x="39" y="5"/>
              </a:cxn>
              <a:cxn ang="0">
                <a:pos x="41" y="5"/>
              </a:cxn>
              <a:cxn ang="0">
                <a:pos x="43" y="5"/>
              </a:cxn>
              <a:cxn ang="0">
                <a:pos x="43" y="8"/>
              </a:cxn>
              <a:cxn ang="0">
                <a:pos x="43" y="10"/>
              </a:cxn>
              <a:cxn ang="0">
                <a:pos x="43" y="11"/>
              </a:cxn>
              <a:cxn ang="0">
                <a:pos x="45" y="13"/>
              </a:cxn>
              <a:cxn ang="0">
                <a:pos x="48" y="13"/>
              </a:cxn>
              <a:cxn ang="0">
                <a:pos x="49" y="14"/>
              </a:cxn>
              <a:cxn ang="0">
                <a:pos x="51" y="16"/>
              </a:cxn>
              <a:cxn ang="0">
                <a:pos x="52" y="19"/>
              </a:cxn>
              <a:cxn ang="0">
                <a:pos x="52" y="20"/>
              </a:cxn>
              <a:cxn ang="0">
                <a:pos x="49" y="24"/>
              </a:cxn>
              <a:cxn ang="0">
                <a:pos x="47" y="24"/>
              </a:cxn>
              <a:cxn ang="0">
                <a:pos x="45" y="25"/>
              </a:cxn>
              <a:cxn ang="0">
                <a:pos x="43" y="28"/>
              </a:cxn>
              <a:cxn ang="0">
                <a:pos x="44" y="30"/>
              </a:cxn>
              <a:cxn ang="0">
                <a:pos x="44" y="33"/>
              </a:cxn>
            </a:cxnLst>
            <a:rect l="0" t="0" r="r" b="b"/>
            <a:pathLst>
              <a:path w="52" h="33">
                <a:moveTo>
                  <a:pt x="44" y="33"/>
                </a:moveTo>
                <a:lnTo>
                  <a:pt x="41" y="33"/>
                </a:lnTo>
                <a:lnTo>
                  <a:pt x="39" y="33"/>
                </a:lnTo>
                <a:lnTo>
                  <a:pt x="37" y="31"/>
                </a:lnTo>
                <a:lnTo>
                  <a:pt x="33" y="30"/>
                </a:lnTo>
                <a:lnTo>
                  <a:pt x="35" y="30"/>
                </a:lnTo>
                <a:lnTo>
                  <a:pt x="33" y="28"/>
                </a:lnTo>
                <a:lnTo>
                  <a:pt x="33" y="24"/>
                </a:lnTo>
                <a:lnTo>
                  <a:pt x="31" y="24"/>
                </a:lnTo>
                <a:lnTo>
                  <a:pt x="29" y="25"/>
                </a:lnTo>
                <a:lnTo>
                  <a:pt x="28" y="27"/>
                </a:lnTo>
                <a:lnTo>
                  <a:pt x="25" y="27"/>
                </a:lnTo>
                <a:lnTo>
                  <a:pt x="23" y="27"/>
                </a:lnTo>
                <a:lnTo>
                  <a:pt x="23" y="24"/>
                </a:lnTo>
                <a:lnTo>
                  <a:pt x="21" y="20"/>
                </a:lnTo>
                <a:lnTo>
                  <a:pt x="20" y="20"/>
                </a:lnTo>
                <a:lnTo>
                  <a:pt x="16" y="19"/>
                </a:lnTo>
                <a:lnTo>
                  <a:pt x="12" y="17"/>
                </a:lnTo>
                <a:lnTo>
                  <a:pt x="10" y="17"/>
                </a:lnTo>
                <a:lnTo>
                  <a:pt x="7" y="13"/>
                </a:lnTo>
                <a:lnTo>
                  <a:pt x="4" y="13"/>
                </a:lnTo>
                <a:lnTo>
                  <a:pt x="2" y="13"/>
                </a:lnTo>
                <a:lnTo>
                  <a:pt x="0" y="11"/>
                </a:lnTo>
                <a:lnTo>
                  <a:pt x="0" y="6"/>
                </a:lnTo>
                <a:lnTo>
                  <a:pt x="7" y="3"/>
                </a:lnTo>
                <a:lnTo>
                  <a:pt x="10" y="3"/>
                </a:lnTo>
                <a:lnTo>
                  <a:pt x="12" y="2"/>
                </a:lnTo>
                <a:lnTo>
                  <a:pt x="12" y="3"/>
                </a:lnTo>
                <a:lnTo>
                  <a:pt x="16" y="5"/>
                </a:lnTo>
                <a:lnTo>
                  <a:pt x="21" y="3"/>
                </a:lnTo>
                <a:lnTo>
                  <a:pt x="25" y="2"/>
                </a:lnTo>
                <a:lnTo>
                  <a:pt x="29" y="0"/>
                </a:lnTo>
                <a:lnTo>
                  <a:pt x="33" y="0"/>
                </a:lnTo>
                <a:lnTo>
                  <a:pt x="35" y="2"/>
                </a:lnTo>
                <a:lnTo>
                  <a:pt x="36" y="2"/>
                </a:lnTo>
                <a:lnTo>
                  <a:pt x="36" y="3"/>
                </a:lnTo>
                <a:lnTo>
                  <a:pt x="39" y="5"/>
                </a:lnTo>
                <a:lnTo>
                  <a:pt x="41" y="5"/>
                </a:lnTo>
                <a:lnTo>
                  <a:pt x="43" y="5"/>
                </a:lnTo>
                <a:lnTo>
                  <a:pt x="43" y="8"/>
                </a:lnTo>
                <a:lnTo>
                  <a:pt x="43" y="10"/>
                </a:lnTo>
                <a:lnTo>
                  <a:pt x="43" y="11"/>
                </a:lnTo>
                <a:lnTo>
                  <a:pt x="45" y="13"/>
                </a:lnTo>
                <a:lnTo>
                  <a:pt x="48" y="13"/>
                </a:lnTo>
                <a:lnTo>
                  <a:pt x="49" y="14"/>
                </a:lnTo>
                <a:lnTo>
                  <a:pt x="51" y="16"/>
                </a:lnTo>
                <a:lnTo>
                  <a:pt x="52" y="19"/>
                </a:lnTo>
                <a:lnTo>
                  <a:pt x="52" y="20"/>
                </a:lnTo>
                <a:lnTo>
                  <a:pt x="49" y="24"/>
                </a:lnTo>
                <a:lnTo>
                  <a:pt x="47" y="24"/>
                </a:lnTo>
                <a:lnTo>
                  <a:pt x="45" y="25"/>
                </a:lnTo>
                <a:lnTo>
                  <a:pt x="43" y="28"/>
                </a:lnTo>
                <a:lnTo>
                  <a:pt x="44" y="30"/>
                </a:lnTo>
                <a:lnTo>
                  <a:pt x="44" y="33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86" name="Freeform 485"/>
          <p:cNvSpPr>
            <a:spLocks/>
          </p:cNvSpPr>
          <p:nvPr/>
        </p:nvSpPr>
        <p:spPr bwMode="auto">
          <a:xfrm>
            <a:off x="5752378" y="2527383"/>
            <a:ext cx="99389" cy="66576"/>
          </a:xfrm>
          <a:custGeom>
            <a:avLst/>
            <a:gdLst/>
            <a:ahLst/>
            <a:cxnLst>
              <a:cxn ang="0">
                <a:pos x="44" y="33"/>
              </a:cxn>
              <a:cxn ang="0">
                <a:pos x="41" y="33"/>
              </a:cxn>
              <a:cxn ang="0">
                <a:pos x="39" y="33"/>
              </a:cxn>
              <a:cxn ang="0">
                <a:pos x="37" y="31"/>
              </a:cxn>
              <a:cxn ang="0">
                <a:pos x="33" y="30"/>
              </a:cxn>
              <a:cxn ang="0">
                <a:pos x="35" y="30"/>
              </a:cxn>
              <a:cxn ang="0">
                <a:pos x="33" y="28"/>
              </a:cxn>
              <a:cxn ang="0">
                <a:pos x="33" y="24"/>
              </a:cxn>
              <a:cxn ang="0">
                <a:pos x="31" y="24"/>
              </a:cxn>
              <a:cxn ang="0">
                <a:pos x="29" y="25"/>
              </a:cxn>
              <a:cxn ang="0">
                <a:pos x="28" y="27"/>
              </a:cxn>
              <a:cxn ang="0">
                <a:pos x="25" y="27"/>
              </a:cxn>
              <a:cxn ang="0">
                <a:pos x="23" y="27"/>
              </a:cxn>
              <a:cxn ang="0">
                <a:pos x="23" y="24"/>
              </a:cxn>
              <a:cxn ang="0">
                <a:pos x="21" y="20"/>
              </a:cxn>
              <a:cxn ang="0">
                <a:pos x="20" y="20"/>
              </a:cxn>
              <a:cxn ang="0">
                <a:pos x="16" y="19"/>
              </a:cxn>
              <a:cxn ang="0">
                <a:pos x="12" y="17"/>
              </a:cxn>
              <a:cxn ang="0">
                <a:pos x="10" y="17"/>
              </a:cxn>
              <a:cxn ang="0">
                <a:pos x="7" y="13"/>
              </a:cxn>
              <a:cxn ang="0">
                <a:pos x="4" y="13"/>
              </a:cxn>
              <a:cxn ang="0">
                <a:pos x="2" y="13"/>
              </a:cxn>
              <a:cxn ang="0">
                <a:pos x="0" y="11"/>
              </a:cxn>
              <a:cxn ang="0">
                <a:pos x="0" y="6"/>
              </a:cxn>
              <a:cxn ang="0">
                <a:pos x="7" y="3"/>
              </a:cxn>
              <a:cxn ang="0">
                <a:pos x="10" y="3"/>
              </a:cxn>
              <a:cxn ang="0">
                <a:pos x="12" y="2"/>
              </a:cxn>
              <a:cxn ang="0">
                <a:pos x="12" y="3"/>
              </a:cxn>
              <a:cxn ang="0">
                <a:pos x="16" y="5"/>
              </a:cxn>
              <a:cxn ang="0">
                <a:pos x="21" y="3"/>
              </a:cxn>
              <a:cxn ang="0">
                <a:pos x="25" y="2"/>
              </a:cxn>
              <a:cxn ang="0">
                <a:pos x="29" y="0"/>
              </a:cxn>
              <a:cxn ang="0">
                <a:pos x="33" y="0"/>
              </a:cxn>
              <a:cxn ang="0">
                <a:pos x="35" y="2"/>
              </a:cxn>
              <a:cxn ang="0">
                <a:pos x="36" y="2"/>
              </a:cxn>
              <a:cxn ang="0">
                <a:pos x="36" y="3"/>
              </a:cxn>
              <a:cxn ang="0">
                <a:pos x="39" y="5"/>
              </a:cxn>
              <a:cxn ang="0">
                <a:pos x="41" y="5"/>
              </a:cxn>
              <a:cxn ang="0">
                <a:pos x="43" y="5"/>
              </a:cxn>
              <a:cxn ang="0">
                <a:pos x="43" y="8"/>
              </a:cxn>
              <a:cxn ang="0">
                <a:pos x="43" y="10"/>
              </a:cxn>
              <a:cxn ang="0">
                <a:pos x="43" y="11"/>
              </a:cxn>
              <a:cxn ang="0">
                <a:pos x="45" y="13"/>
              </a:cxn>
              <a:cxn ang="0">
                <a:pos x="48" y="13"/>
              </a:cxn>
              <a:cxn ang="0">
                <a:pos x="49" y="14"/>
              </a:cxn>
              <a:cxn ang="0">
                <a:pos x="51" y="16"/>
              </a:cxn>
              <a:cxn ang="0">
                <a:pos x="52" y="19"/>
              </a:cxn>
              <a:cxn ang="0">
                <a:pos x="52" y="20"/>
              </a:cxn>
              <a:cxn ang="0">
                <a:pos x="49" y="24"/>
              </a:cxn>
              <a:cxn ang="0">
                <a:pos x="47" y="24"/>
              </a:cxn>
              <a:cxn ang="0">
                <a:pos x="45" y="25"/>
              </a:cxn>
              <a:cxn ang="0">
                <a:pos x="43" y="28"/>
              </a:cxn>
              <a:cxn ang="0">
                <a:pos x="44" y="30"/>
              </a:cxn>
              <a:cxn ang="0">
                <a:pos x="44" y="33"/>
              </a:cxn>
            </a:cxnLst>
            <a:rect l="0" t="0" r="r" b="b"/>
            <a:pathLst>
              <a:path w="52" h="33">
                <a:moveTo>
                  <a:pt x="44" y="33"/>
                </a:moveTo>
                <a:lnTo>
                  <a:pt x="41" y="33"/>
                </a:lnTo>
                <a:lnTo>
                  <a:pt x="39" y="33"/>
                </a:lnTo>
                <a:lnTo>
                  <a:pt x="37" y="31"/>
                </a:lnTo>
                <a:lnTo>
                  <a:pt x="33" y="30"/>
                </a:lnTo>
                <a:lnTo>
                  <a:pt x="35" y="30"/>
                </a:lnTo>
                <a:lnTo>
                  <a:pt x="33" y="28"/>
                </a:lnTo>
                <a:lnTo>
                  <a:pt x="33" y="24"/>
                </a:lnTo>
                <a:lnTo>
                  <a:pt x="31" y="24"/>
                </a:lnTo>
                <a:lnTo>
                  <a:pt x="29" y="25"/>
                </a:lnTo>
                <a:lnTo>
                  <a:pt x="28" y="27"/>
                </a:lnTo>
                <a:lnTo>
                  <a:pt x="25" y="27"/>
                </a:lnTo>
                <a:lnTo>
                  <a:pt x="23" y="27"/>
                </a:lnTo>
                <a:lnTo>
                  <a:pt x="23" y="24"/>
                </a:lnTo>
                <a:lnTo>
                  <a:pt x="21" y="20"/>
                </a:lnTo>
                <a:lnTo>
                  <a:pt x="20" y="20"/>
                </a:lnTo>
                <a:lnTo>
                  <a:pt x="16" y="19"/>
                </a:lnTo>
                <a:lnTo>
                  <a:pt x="12" y="17"/>
                </a:lnTo>
                <a:lnTo>
                  <a:pt x="10" y="17"/>
                </a:lnTo>
                <a:lnTo>
                  <a:pt x="7" y="13"/>
                </a:lnTo>
                <a:lnTo>
                  <a:pt x="4" y="13"/>
                </a:lnTo>
                <a:lnTo>
                  <a:pt x="2" y="13"/>
                </a:lnTo>
                <a:lnTo>
                  <a:pt x="0" y="11"/>
                </a:lnTo>
                <a:lnTo>
                  <a:pt x="0" y="6"/>
                </a:lnTo>
                <a:lnTo>
                  <a:pt x="7" y="3"/>
                </a:lnTo>
                <a:lnTo>
                  <a:pt x="10" y="3"/>
                </a:lnTo>
                <a:lnTo>
                  <a:pt x="12" y="2"/>
                </a:lnTo>
                <a:lnTo>
                  <a:pt x="12" y="3"/>
                </a:lnTo>
                <a:lnTo>
                  <a:pt x="16" y="5"/>
                </a:lnTo>
                <a:lnTo>
                  <a:pt x="21" y="3"/>
                </a:lnTo>
                <a:lnTo>
                  <a:pt x="25" y="2"/>
                </a:lnTo>
                <a:lnTo>
                  <a:pt x="29" y="0"/>
                </a:lnTo>
                <a:lnTo>
                  <a:pt x="33" y="0"/>
                </a:lnTo>
                <a:lnTo>
                  <a:pt x="35" y="2"/>
                </a:lnTo>
                <a:lnTo>
                  <a:pt x="36" y="2"/>
                </a:lnTo>
                <a:lnTo>
                  <a:pt x="36" y="3"/>
                </a:lnTo>
                <a:lnTo>
                  <a:pt x="39" y="5"/>
                </a:lnTo>
                <a:lnTo>
                  <a:pt x="41" y="5"/>
                </a:lnTo>
                <a:lnTo>
                  <a:pt x="43" y="5"/>
                </a:lnTo>
                <a:lnTo>
                  <a:pt x="43" y="8"/>
                </a:lnTo>
                <a:lnTo>
                  <a:pt x="43" y="10"/>
                </a:lnTo>
                <a:lnTo>
                  <a:pt x="43" y="11"/>
                </a:lnTo>
                <a:lnTo>
                  <a:pt x="45" y="13"/>
                </a:lnTo>
                <a:lnTo>
                  <a:pt x="48" y="13"/>
                </a:lnTo>
                <a:lnTo>
                  <a:pt x="49" y="14"/>
                </a:lnTo>
                <a:lnTo>
                  <a:pt x="51" y="16"/>
                </a:lnTo>
                <a:lnTo>
                  <a:pt x="52" y="19"/>
                </a:lnTo>
                <a:lnTo>
                  <a:pt x="52" y="20"/>
                </a:lnTo>
                <a:lnTo>
                  <a:pt x="49" y="24"/>
                </a:lnTo>
                <a:lnTo>
                  <a:pt x="47" y="24"/>
                </a:lnTo>
                <a:lnTo>
                  <a:pt x="45" y="25"/>
                </a:lnTo>
                <a:lnTo>
                  <a:pt x="43" y="28"/>
                </a:lnTo>
                <a:lnTo>
                  <a:pt x="44" y="30"/>
                </a:lnTo>
                <a:lnTo>
                  <a:pt x="44" y="33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87" name="Freeform 486"/>
          <p:cNvSpPr>
            <a:spLocks/>
          </p:cNvSpPr>
          <p:nvPr/>
        </p:nvSpPr>
        <p:spPr bwMode="auto">
          <a:xfrm>
            <a:off x="5715350" y="2845231"/>
            <a:ext cx="9745" cy="4295"/>
          </a:xfrm>
          <a:custGeom>
            <a:avLst/>
            <a:gdLst/>
            <a:ahLst/>
            <a:cxnLst>
              <a:cxn ang="0">
                <a:pos x="4" y="1"/>
              </a:cxn>
              <a:cxn ang="0">
                <a:pos x="6" y="1"/>
              </a:cxn>
              <a:cxn ang="0">
                <a:pos x="4" y="3"/>
              </a:cxn>
              <a:cxn ang="0">
                <a:pos x="3" y="3"/>
              </a:cxn>
              <a:cxn ang="0">
                <a:pos x="2" y="1"/>
              </a:cxn>
              <a:cxn ang="0">
                <a:pos x="0" y="0"/>
              </a:cxn>
              <a:cxn ang="0">
                <a:pos x="3" y="0"/>
              </a:cxn>
              <a:cxn ang="0">
                <a:pos x="4" y="1"/>
              </a:cxn>
            </a:cxnLst>
            <a:rect l="0" t="0" r="r" b="b"/>
            <a:pathLst>
              <a:path w="6" h="3">
                <a:moveTo>
                  <a:pt x="4" y="1"/>
                </a:moveTo>
                <a:lnTo>
                  <a:pt x="6" y="1"/>
                </a:lnTo>
                <a:lnTo>
                  <a:pt x="4" y="3"/>
                </a:lnTo>
                <a:lnTo>
                  <a:pt x="3" y="3"/>
                </a:lnTo>
                <a:lnTo>
                  <a:pt x="2" y="1"/>
                </a:lnTo>
                <a:lnTo>
                  <a:pt x="0" y="0"/>
                </a:lnTo>
                <a:lnTo>
                  <a:pt x="3" y="0"/>
                </a:lnTo>
                <a:lnTo>
                  <a:pt x="4" y="1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88" name="Freeform 487"/>
          <p:cNvSpPr>
            <a:spLocks/>
          </p:cNvSpPr>
          <p:nvPr/>
        </p:nvSpPr>
        <p:spPr bwMode="auto">
          <a:xfrm>
            <a:off x="5715350" y="2845231"/>
            <a:ext cx="9745" cy="4295"/>
          </a:xfrm>
          <a:custGeom>
            <a:avLst/>
            <a:gdLst/>
            <a:ahLst/>
            <a:cxnLst>
              <a:cxn ang="0">
                <a:pos x="4" y="1"/>
              </a:cxn>
              <a:cxn ang="0">
                <a:pos x="6" y="1"/>
              </a:cxn>
              <a:cxn ang="0">
                <a:pos x="4" y="3"/>
              </a:cxn>
              <a:cxn ang="0">
                <a:pos x="3" y="3"/>
              </a:cxn>
              <a:cxn ang="0">
                <a:pos x="2" y="1"/>
              </a:cxn>
              <a:cxn ang="0">
                <a:pos x="0" y="0"/>
              </a:cxn>
              <a:cxn ang="0">
                <a:pos x="3" y="0"/>
              </a:cxn>
              <a:cxn ang="0">
                <a:pos x="4" y="1"/>
              </a:cxn>
            </a:cxnLst>
            <a:rect l="0" t="0" r="r" b="b"/>
            <a:pathLst>
              <a:path w="6" h="3">
                <a:moveTo>
                  <a:pt x="4" y="1"/>
                </a:moveTo>
                <a:lnTo>
                  <a:pt x="6" y="1"/>
                </a:lnTo>
                <a:lnTo>
                  <a:pt x="4" y="3"/>
                </a:lnTo>
                <a:lnTo>
                  <a:pt x="3" y="3"/>
                </a:lnTo>
                <a:lnTo>
                  <a:pt x="2" y="1"/>
                </a:lnTo>
                <a:lnTo>
                  <a:pt x="0" y="0"/>
                </a:lnTo>
                <a:lnTo>
                  <a:pt x="3" y="0"/>
                </a:lnTo>
                <a:lnTo>
                  <a:pt x="4" y="1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89" name="Freeform 488"/>
          <p:cNvSpPr>
            <a:spLocks/>
          </p:cNvSpPr>
          <p:nvPr/>
        </p:nvSpPr>
        <p:spPr bwMode="auto">
          <a:xfrm>
            <a:off x="5411335" y="2802278"/>
            <a:ext cx="360532" cy="266304"/>
          </a:xfrm>
          <a:custGeom>
            <a:avLst/>
            <a:gdLst/>
            <a:ahLst/>
            <a:cxnLst>
              <a:cxn ang="0">
                <a:pos x="28" y="109"/>
              </a:cxn>
              <a:cxn ang="0">
                <a:pos x="36" y="101"/>
              </a:cxn>
              <a:cxn ang="0">
                <a:pos x="30" y="91"/>
              </a:cxn>
              <a:cxn ang="0">
                <a:pos x="34" y="83"/>
              </a:cxn>
              <a:cxn ang="0">
                <a:pos x="29" y="73"/>
              </a:cxn>
              <a:cxn ang="0">
                <a:pos x="37" y="68"/>
              </a:cxn>
              <a:cxn ang="0">
                <a:pos x="36" y="62"/>
              </a:cxn>
              <a:cxn ang="0">
                <a:pos x="38" y="51"/>
              </a:cxn>
              <a:cxn ang="0">
                <a:pos x="46" y="40"/>
              </a:cxn>
              <a:cxn ang="0">
                <a:pos x="42" y="33"/>
              </a:cxn>
              <a:cxn ang="0">
                <a:pos x="30" y="33"/>
              </a:cxn>
              <a:cxn ang="0">
                <a:pos x="18" y="32"/>
              </a:cxn>
              <a:cxn ang="0">
                <a:pos x="9" y="32"/>
              </a:cxn>
              <a:cxn ang="0">
                <a:pos x="6" y="30"/>
              </a:cxn>
              <a:cxn ang="0">
                <a:pos x="6" y="25"/>
              </a:cxn>
              <a:cxn ang="0">
                <a:pos x="8" y="19"/>
              </a:cxn>
              <a:cxn ang="0">
                <a:pos x="5" y="16"/>
              </a:cxn>
              <a:cxn ang="0">
                <a:pos x="5" y="8"/>
              </a:cxn>
              <a:cxn ang="0">
                <a:pos x="14" y="5"/>
              </a:cxn>
              <a:cxn ang="0">
                <a:pos x="22" y="0"/>
              </a:cxn>
              <a:cxn ang="0">
                <a:pos x="36" y="3"/>
              </a:cxn>
              <a:cxn ang="0">
                <a:pos x="53" y="2"/>
              </a:cxn>
              <a:cxn ang="0">
                <a:pos x="70" y="5"/>
              </a:cxn>
              <a:cxn ang="0">
                <a:pos x="83" y="5"/>
              </a:cxn>
              <a:cxn ang="0">
                <a:pos x="101" y="5"/>
              </a:cxn>
              <a:cxn ang="0">
                <a:pos x="111" y="7"/>
              </a:cxn>
              <a:cxn ang="0">
                <a:pos x="121" y="13"/>
              </a:cxn>
              <a:cxn ang="0">
                <a:pos x="129" y="16"/>
              </a:cxn>
              <a:cxn ang="0">
                <a:pos x="147" y="19"/>
              </a:cxn>
              <a:cxn ang="0">
                <a:pos x="155" y="18"/>
              </a:cxn>
              <a:cxn ang="0">
                <a:pos x="162" y="24"/>
              </a:cxn>
              <a:cxn ang="0">
                <a:pos x="163" y="22"/>
              </a:cxn>
              <a:cxn ang="0">
                <a:pos x="177" y="24"/>
              </a:cxn>
              <a:cxn ang="0">
                <a:pos x="186" y="24"/>
              </a:cxn>
              <a:cxn ang="0">
                <a:pos x="186" y="27"/>
              </a:cxn>
              <a:cxn ang="0">
                <a:pos x="185" y="35"/>
              </a:cxn>
              <a:cxn ang="0">
                <a:pos x="154" y="49"/>
              </a:cxn>
              <a:cxn ang="0">
                <a:pos x="149" y="57"/>
              </a:cxn>
              <a:cxn ang="0">
                <a:pos x="135" y="73"/>
              </a:cxn>
              <a:cxn ang="0">
                <a:pos x="134" y="79"/>
              </a:cxn>
              <a:cxn ang="0">
                <a:pos x="137" y="83"/>
              </a:cxn>
              <a:cxn ang="0">
                <a:pos x="141" y="87"/>
              </a:cxn>
              <a:cxn ang="0">
                <a:pos x="137" y="93"/>
              </a:cxn>
              <a:cxn ang="0">
                <a:pos x="130" y="101"/>
              </a:cxn>
              <a:cxn ang="0">
                <a:pos x="127" y="107"/>
              </a:cxn>
              <a:cxn ang="0">
                <a:pos x="114" y="115"/>
              </a:cxn>
              <a:cxn ang="0">
                <a:pos x="109" y="123"/>
              </a:cxn>
              <a:cxn ang="0">
                <a:pos x="99" y="124"/>
              </a:cxn>
              <a:cxn ang="0">
                <a:pos x="87" y="124"/>
              </a:cxn>
              <a:cxn ang="0">
                <a:pos x="70" y="127"/>
              </a:cxn>
              <a:cxn ang="0">
                <a:pos x="62" y="132"/>
              </a:cxn>
              <a:cxn ang="0">
                <a:pos x="57" y="135"/>
              </a:cxn>
              <a:cxn ang="0">
                <a:pos x="46" y="129"/>
              </a:cxn>
              <a:cxn ang="0">
                <a:pos x="44" y="123"/>
              </a:cxn>
              <a:cxn ang="0">
                <a:pos x="41" y="118"/>
              </a:cxn>
              <a:cxn ang="0">
                <a:pos x="29" y="116"/>
              </a:cxn>
            </a:cxnLst>
            <a:rect l="0" t="0" r="r" b="b"/>
            <a:pathLst>
              <a:path w="189" h="135">
                <a:moveTo>
                  <a:pt x="29" y="116"/>
                </a:moveTo>
                <a:lnTo>
                  <a:pt x="28" y="112"/>
                </a:lnTo>
                <a:lnTo>
                  <a:pt x="28" y="109"/>
                </a:lnTo>
                <a:lnTo>
                  <a:pt x="29" y="105"/>
                </a:lnTo>
                <a:lnTo>
                  <a:pt x="33" y="104"/>
                </a:lnTo>
                <a:lnTo>
                  <a:pt x="36" y="101"/>
                </a:lnTo>
                <a:lnTo>
                  <a:pt x="34" y="98"/>
                </a:lnTo>
                <a:lnTo>
                  <a:pt x="32" y="96"/>
                </a:lnTo>
                <a:lnTo>
                  <a:pt x="30" y="91"/>
                </a:lnTo>
                <a:lnTo>
                  <a:pt x="30" y="88"/>
                </a:lnTo>
                <a:lnTo>
                  <a:pt x="33" y="85"/>
                </a:lnTo>
                <a:lnTo>
                  <a:pt x="34" y="83"/>
                </a:lnTo>
                <a:lnTo>
                  <a:pt x="33" y="82"/>
                </a:lnTo>
                <a:lnTo>
                  <a:pt x="30" y="77"/>
                </a:lnTo>
                <a:lnTo>
                  <a:pt x="29" y="73"/>
                </a:lnTo>
                <a:lnTo>
                  <a:pt x="32" y="71"/>
                </a:lnTo>
                <a:lnTo>
                  <a:pt x="34" y="71"/>
                </a:lnTo>
                <a:lnTo>
                  <a:pt x="37" y="68"/>
                </a:lnTo>
                <a:lnTo>
                  <a:pt x="37" y="66"/>
                </a:lnTo>
                <a:lnTo>
                  <a:pt x="36" y="63"/>
                </a:lnTo>
                <a:lnTo>
                  <a:pt x="36" y="62"/>
                </a:lnTo>
                <a:lnTo>
                  <a:pt x="37" y="58"/>
                </a:lnTo>
                <a:lnTo>
                  <a:pt x="38" y="54"/>
                </a:lnTo>
                <a:lnTo>
                  <a:pt x="38" y="51"/>
                </a:lnTo>
                <a:lnTo>
                  <a:pt x="38" y="49"/>
                </a:lnTo>
                <a:lnTo>
                  <a:pt x="44" y="43"/>
                </a:lnTo>
                <a:lnTo>
                  <a:pt x="46" y="40"/>
                </a:lnTo>
                <a:lnTo>
                  <a:pt x="46" y="38"/>
                </a:lnTo>
                <a:lnTo>
                  <a:pt x="44" y="35"/>
                </a:lnTo>
                <a:lnTo>
                  <a:pt x="42" y="33"/>
                </a:lnTo>
                <a:lnTo>
                  <a:pt x="38" y="32"/>
                </a:lnTo>
                <a:lnTo>
                  <a:pt x="33" y="32"/>
                </a:lnTo>
                <a:lnTo>
                  <a:pt x="30" y="33"/>
                </a:lnTo>
                <a:lnTo>
                  <a:pt x="24" y="33"/>
                </a:lnTo>
                <a:lnTo>
                  <a:pt x="20" y="33"/>
                </a:lnTo>
                <a:lnTo>
                  <a:pt x="18" y="32"/>
                </a:lnTo>
                <a:lnTo>
                  <a:pt x="17" y="30"/>
                </a:lnTo>
                <a:lnTo>
                  <a:pt x="13" y="30"/>
                </a:lnTo>
                <a:lnTo>
                  <a:pt x="9" y="32"/>
                </a:lnTo>
                <a:lnTo>
                  <a:pt x="8" y="33"/>
                </a:lnTo>
                <a:lnTo>
                  <a:pt x="6" y="33"/>
                </a:lnTo>
                <a:lnTo>
                  <a:pt x="6" y="30"/>
                </a:lnTo>
                <a:lnTo>
                  <a:pt x="8" y="27"/>
                </a:lnTo>
                <a:lnTo>
                  <a:pt x="9" y="25"/>
                </a:lnTo>
                <a:lnTo>
                  <a:pt x="6" y="25"/>
                </a:lnTo>
                <a:lnTo>
                  <a:pt x="8" y="24"/>
                </a:lnTo>
                <a:lnTo>
                  <a:pt x="5" y="22"/>
                </a:lnTo>
                <a:lnTo>
                  <a:pt x="8" y="19"/>
                </a:lnTo>
                <a:lnTo>
                  <a:pt x="6" y="19"/>
                </a:lnTo>
                <a:lnTo>
                  <a:pt x="4" y="19"/>
                </a:lnTo>
                <a:lnTo>
                  <a:pt x="5" y="16"/>
                </a:lnTo>
                <a:lnTo>
                  <a:pt x="0" y="13"/>
                </a:lnTo>
                <a:lnTo>
                  <a:pt x="1" y="10"/>
                </a:lnTo>
                <a:lnTo>
                  <a:pt x="5" y="8"/>
                </a:lnTo>
                <a:lnTo>
                  <a:pt x="8" y="8"/>
                </a:lnTo>
                <a:lnTo>
                  <a:pt x="13" y="7"/>
                </a:lnTo>
                <a:lnTo>
                  <a:pt x="14" y="5"/>
                </a:lnTo>
                <a:lnTo>
                  <a:pt x="14" y="3"/>
                </a:lnTo>
                <a:lnTo>
                  <a:pt x="17" y="2"/>
                </a:lnTo>
                <a:lnTo>
                  <a:pt x="22" y="0"/>
                </a:lnTo>
                <a:lnTo>
                  <a:pt x="26" y="0"/>
                </a:lnTo>
                <a:lnTo>
                  <a:pt x="30" y="2"/>
                </a:lnTo>
                <a:lnTo>
                  <a:pt x="36" y="3"/>
                </a:lnTo>
                <a:lnTo>
                  <a:pt x="46" y="3"/>
                </a:lnTo>
                <a:lnTo>
                  <a:pt x="49" y="2"/>
                </a:lnTo>
                <a:lnTo>
                  <a:pt x="53" y="2"/>
                </a:lnTo>
                <a:lnTo>
                  <a:pt x="58" y="3"/>
                </a:lnTo>
                <a:lnTo>
                  <a:pt x="61" y="3"/>
                </a:lnTo>
                <a:lnTo>
                  <a:pt x="70" y="5"/>
                </a:lnTo>
                <a:lnTo>
                  <a:pt x="76" y="5"/>
                </a:lnTo>
                <a:lnTo>
                  <a:pt x="81" y="5"/>
                </a:lnTo>
                <a:lnTo>
                  <a:pt x="83" y="5"/>
                </a:lnTo>
                <a:lnTo>
                  <a:pt x="87" y="5"/>
                </a:lnTo>
                <a:lnTo>
                  <a:pt x="93" y="7"/>
                </a:lnTo>
                <a:lnTo>
                  <a:pt x="101" y="5"/>
                </a:lnTo>
                <a:lnTo>
                  <a:pt x="105" y="7"/>
                </a:lnTo>
                <a:lnTo>
                  <a:pt x="109" y="7"/>
                </a:lnTo>
                <a:lnTo>
                  <a:pt x="111" y="7"/>
                </a:lnTo>
                <a:lnTo>
                  <a:pt x="113" y="8"/>
                </a:lnTo>
                <a:lnTo>
                  <a:pt x="118" y="11"/>
                </a:lnTo>
                <a:lnTo>
                  <a:pt x="121" y="13"/>
                </a:lnTo>
                <a:lnTo>
                  <a:pt x="123" y="13"/>
                </a:lnTo>
                <a:lnTo>
                  <a:pt x="127" y="14"/>
                </a:lnTo>
                <a:lnTo>
                  <a:pt x="129" y="16"/>
                </a:lnTo>
                <a:lnTo>
                  <a:pt x="141" y="19"/>
                </a:lnTo>
                <a:lnTo>
                  <a:pt x="146" y="19"/>
                </a:lnTo>
                <a:lnTo>
                  <a:pt x="147" y="19"/>
                </a:lnTo>
                <a:lnTo>
                  <a:pt x="150" y="18"/>
                </a:lnTo>
                <a:lnTo>
                  <a:pt x="153" y="18"/>
                </a:lnTo>
                <a:lnTo>
                  <a:pt x="155" y="18"/>
                </a:lnTo>
                <a:lnTo>
                  <a:pt x="159" y="21"/>
                </a:lnTo>
                <a:lnTo>
                  <a:pt x="161" y="22"/>
                </a:lnTo>
                <a:lnTo>
                  <a:pt x="162" y="24"/>
                </a:lnTo>
                <a:lnTo>
                  <a:pt x="163" y="24"/>
                </a:lnTo>
                <a:lnTo>
                  <a:pt x="165" y="22"/>
                </a:lnTo>
                <a:lnTo>
                  <a:pt x="163" y="22"/>
                </a:lnTo>
                <a:lnTo>
                  <a:pt x="167" y="24"/>
                </a:lnTo>
                <a:lnTo>
                  <a:pt x="169" y="24"/>
                </a:lnTo>
                <a:lnTo>
                  <a:pt x="177" y="24"/>
                </a:lnTo>
                <a:lnTo>
                  <a:pt x="181" y="24"/>
                </a:lnTo>
                <a:lnTo>
                  <a:pt x="185" y="24"/>
                </a:lnTo>
                <a:lnTo>
                  <a:pt x="186" y="24"/>
                </a:lnTo>
                <a:lnTo>
                  <a:pt x="189" y="24"/>
                </a:lnTo>
                <a:lnTo>
                  <a:pt x="189" y="25"/>
                </a:lnTo>
                <a:lnTo>
                  <a:pt x="186" y="27"/>
                </a:lnTo>
                <a:lnTo>
                  <a:pt x="186" y="30"/>
                </a:lnTo>
                <a:lnTo>
                  <a:pt x="187" y="32"/>
                </a:lnTo>
                <a:lnTo>
                  <a:pt x="185" y="35"/>
                </a:lnTo>
                <a:lnTo>
                  <a:pt x="174" y="40"/>
                </a:lnTo>
                <a:lnTo>
                  <a:pt x="171" y="43"/>
                </a:lnTo>
                <a:lnTo>
                  <a:pt x="154" y="49"/>
                </a:lnTo>
                <a:lnTo>
                  <a:pt x="151" y="52"/>
                </a:lnTo>
                <a:lnTo>
                  <a:pt x="151" y="54"/>
                </a:lnTo>
                <a:lnTo>
                  <a:pt x="149" y="57"/>
                </a:lnTo>
                <a:lnTo>
                  <a:pt x="146" y="60"/>
                </a:lnTo>
                <a:lnTo>
                  <a:pt x="141" y="66"/>
                </a:lnTo>
                <a:lnTo>
                  <a:pt x="135" y="73"/>
                </a:lnTo>
                <a:lnTo>
                  <a:pt x="135" y="76"/>
                </a:lnTo>
                <a:lnTo>
                  <a:pt x="134" y="77"/>
                </a:lnTo>
                <a:lnTo>
                  <a:pt x="134" y="79"/>
                </a:lnTo>
                <a:lnTo>
                  <a:pt x="135" y="80"/>
                </a:lnTo>
                <a:lnTo>
                  <a:pt x="135" y="82"/>
                </a:lnTo>
                <a:lnTo>
                  <a:pt x="137" y="83"/>
                </a:lnTo>
                <a:lnTo>
                  <a:pt x="138" y="85"/>
                </a:lnTo>
                <a:lnTo>
                  <a:pt x="139" y="87"/>
                </a:lnTo>
                <a:lnTo>
                  <a:pt x="141" y="87"/>
                </a:lnTo>
                <a:lnTo>
                  <a:pt x="142" y="88"/>
                </a:lnTo>
                <a:lnTo>
                  <a:pt x="141" y="90"/>
                </a:lnTo>
                <a:lnTo>
                  <a:pt x="137" y="93"/>
                </a:lnTo>
                <a:lnTo>
                  <a:pt x="134" y="94"/>
                </a:lnTo>
                <a:lnTo>
                  <a:pt x="133" y="96"/>
                </a:lnTo>
                <a:lnTo>
                  <a:pt x="130" y="101"/>
                </a:lnTo>
                <a:lnTo>
                  <a:pt x="130" y="102"/>
                </a:lnTo>
                <a:lnTo>
                  <a:pt x="129" y="105"/>
                </a:lnTo>
                <a:lnTo>
                  <a:pt x="127" y="107"/>
                </a:lnTo>
                <a:lnTo>
                  <a:pt x="129" y="109"/>
                </a:lnTo>
                <a:lnTo>
                  <a:pt x="119" y="110"/>
                </a:lnTo>
                <a:lnTo>
                  <a:pt x="114" y="115"/>
                </a:lnTo>
                <a:lnTo>
                  <a:pt x="111" y="120"/>
                </a:lnTo>
                <a:lnTo>
                  <a:pt x="110" y="121"/>
                </a:lnTo>
                <a:lnTo>
                  <a:pt x="109" y="123"/>
                </a:lnTo>
                <a:lnTo>
                  <a:pt x="107" y="124"/>
                </a:lnTo>
                <a:lnTo>
                  <a:pt x="103" y="123"/>
                </a:lnTo>
                <a:lnTo>
                  <a:pt x="99" y="124"/>
                </a:lnTo>
                <a:lnTo>
                  <a:pt x="97" y="124"/>
                </a:lnTo>
                <a:lnTo>
                  <a:pt x="91" y="123"/>
                </a:lnTo>
                <a:lnTo>
                  <a:pt x="87" y="124"/>
                </a:lnTo>
                <a:lnTo>
                  <a:pt x="83" y="124"/>
                </a:lnTo>
                <a:lnTo>
                  <a:pt x="74" y="124"/>
                </a:lnTo>
                <a:lnTo>
                  <a:pt x="70" y="127"/>
                </a:lnTo>
                <a:lnTo>
                  <a:pt x="68" y="129"/>
                </a:lnTo>
                <a:lnTo>
                  <a:pt x="64" y="129"/>
                </a:lnTo>
                <a:lnTo>
                  <a:pt x="62" y="132"/>
                </a:lnTo>
                <a:lnTo>
                  <a:pt x="61" y="134"/>
                </a:lnTo>
                <a:lnTo>
                  <a:pt x="60" y="135"/>
                </a:lnTo>
                <a:lnTo>
                  <a:pt x="57" y="135"/>
                </a:lnTo>
                <a:lnTo>
                  <a:pt x="53" y="135"/>
                </a:lnTo>
                <a:lnTo>
                  <a:pt x="49" y="132"/>
                </a:lnTo>
                <a:lnTo>
                  <a:pt x="46" y="129"/>
                </a:lnTo>
                <a:lnTo>
                  <a:pt x="46" y="126"/>
                </a:lnTo>
                <a:lnTo>
                  <a:pt x="44" y="124"/>
                </a:lnTo>
                <a:lnTo>
                  <a:pt x="44" y="123"/>
                </a:lnTo>
                <a:lnTo>
                  <a:pt x="44" y="121"/>
                </a:lnTo>
                <a:lnTo>
                  <a:pt x="42" y="120"/>
                </a:lnTo>
                <a:lnTo>
                  <a:pt x="41" y="118"/>
                </a:lnTo>
                <a:lnTo>
                  <a:pt x="37" y="116"/>
                </a:lnTo>
                <a:lnTo>
                  <a:pt x="34" y="115"/>
                </a:lnTo>
                <a:lnTo>
                  <a:pt x="29" y="116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90" name="Freeform 489"/>
          <p:cNvSpPr>
            <a:spLocks/>
          </p:cNvSpPr>
          <p:nvPr/>
        </p:nvSpPr>
        <p:spPr bwMode="auto">
          <a:xfrm>
            <a:off x="5411335" y="2802278"/>
            <a:ext cx="360532" cy="266304"/>
          </a:xfrm>
          <a:custGeom>
            <a:avLst/>
            <a:gdLst/>
            <a:ahLst/>
            <a:cxnLst>
              <a:cxn ang="0">
                <a:pos x="28" y="109"/>
              </a:cxn>
              <a:cxn ang="0">
                <a:pos x="36" y="101"/>
              </a:cxn>
              <a:cxn ang="0">
                <a:pos x="30" y="91"/>
              </a:cxn>
              <a:cxn ang="0">
                <a:pos x="34" y="83"/>
              </a:cxn>
              <a:cxn ang="0">
                <a:pos x="29" y="73"/>
              </a:cxn>
              <a:cxn ang="0">
                <a:pos x="37" y="68"/>
              </a:cxn>
              <a:cxn ang="0">
                <a:pos x="36" y="62"/>
              </a:cxn>
              <a:cxn ang="0">
                <a:pos x="38" y="51"/>
              </a:cxn>
              <a:cxn ang="0">
                <a:pos x="46" y="40"/>
              </a:cxn>
              <a:cxn ang="0">
                <a:pos x="42" y="33"/>
              </a:cxn>
              <a:cxn ang="0">
                <a:pos x="30" y="33"/>
              </a:cxn>
              <a:cxn ang="0">
                <a:pos x="18" y="32"/>
              </a:cxn>
              <a:cxn ang="0">
                <a:pos x="9" y="32"/>
              </a:cxn>
              <a:cxn ang="0">
                <a:pos x="6" y="30"/>
              </a:cxn>
              <a:cxn ang="0">
                <a:pos x="6" y="25"/>
              </a:cxn>
              <a:cxn ang="0">
                <a:pos x="8" y="19"/>
              </a:cxn>
              <a:cxn ang="0">
                <a:pos x="5" y="16"/>
              </a:cxn>
              <a:cxn ang="0">
                <a:pos x="5" y="8"/>
              </a:cxn>
              <a:cxn ang="0">
                <a:pos x="14" y="5"/>
              </a:cxn>
              <a:cxn ang="0">
                <a:pos x="22" y="0"/>
              </a:cxn>
              <a:cxn ang="0">
                <a:pos x="36" y="3"/>
              </a:cxn>
              <a:cxn ang="0">
                <a:pos x="53" y="2"/>
              </a:cxn>
              <a:cxn ang="0">
                <a:pos x="70" y="5"/>
              </a:cxn>
              <a:cxn ang="0">
                <a:pos x="83" y="5"/>
              </a:cxn>
              <a:cxn ang="0">
                <a:pos x="101" y="5"/>
              </a:cxn>
              <a:cxn ang="0">
                <a:pos x="111" y="7"/>
              </a:cxn>
              <a:cxn ang="0">
                <a:pos x="121" y="13"/>
              </a:cxn>
              <a:cxn ang="0">
                <a:pos x="129" y="16"/>
              </a:cxn>
              <a:cxn ang="0">
                <a:pos x="147" y="19"/>
              </a:cxn>
              <a:cxn ang="0">
                <a:pos x="155" y="18"/>
              </a:cxn>
              <a:cxn ang="0">
                <a:pos x="162" y="24"/>
              </a:cxn>
              <a:cxn ang="0">
                <a:pos x="163" y="22"/>
              </a:cxn>
              <a:cxn ang="0">
                <a:pos x="177" y="24"/>
              </a:cxn>
              <a:cxn ang="0">
                <a:pos x="186" y="24"/>
              </a:cxn>
              <a:cxn ang="0">
                <a:pos x="186" y="27"/>
              </a:cxn>
              <a:cxn ang="0">
                <a:pos x="185" y="35"/>
              </a:cxn>
              <a:cxn ang="0">
                <a:pos x="154" y="49"/>
              </a:cxn>
              <a:cxn ang="0">
                <a:pos x="149" y="57"/>
              </a:cxn>
              <a:cxn ang="0">
                <a:pos x="135" y="73"/>
              </a:cxn>
              <a:cxn ang="0">
                <a:pos x="134" y="79"/>
              </a:cxn>
              <a:cxn ang="0">
                <a:pos x="137" y="83"/>
              </a:cxn>
              <a:cxn ang="0">
                <a:pos x="141" y="87"/>
              </a:cxn>
              <a:cxn ang="0">
                <a:pos x="137" y="93"/>
              </a:cxn>
              <a:cxn ang="0">
                <a:pos x="130" y="101"/>
              </a:cxn>
              <a:cxn ang="0">
                <a:pos x="127" y="107"/>
              </a:cxn>
              <a:cxn ang="0">
                <a:pos x="114" y="115"/>
              </a:cxn>
              <a:cxn ang="0">
                <a:pos x="109" y="123"/>
              </a:cxn>
              <a:cxn ang="0">
                <a:pos x="99" y="124"/>
              </a:cxn>
              <a:cxn ang="0">
                <a:pos x="87" y="124"/>
              </a:cxn>
              <a:cxn ang="0">
                <a:pos x="70" y="127"/>
              </a:cxn>
              <a:cxn ang="0">
                <a:pos x="62" y="132"/>
              </a:cxn>
              <a:cxn ang="0">
                <a:pos x="57" y="135"/>
              </a:cxn>
              <a:cxn ang="0">
                <a:pos x="46" y="129"/>
              </a:cxn>
              <a:cxn ang="0">
                <a:pos x="44" y="123"/>
              </a:cxn>
              <a:cxn ang="0">
                <a:pos x="41" y="118"/>
              </a:cxn>
              <a:cxn ang="0">
                <a:pos x="29" y="116"/>
              </a:cxn>
            </a:cxnLst>
            <a:rect l="0" t="0" r="r" b="b"/>
            <a:pathLst>
              <a:path w="189" h="135">
                <a:moveTo>
                  <a:pt x="29" y="116"/>
                </a:moveTo>
                <a:lnTo>
                  <a:pt x="28" y="112"/>
                </a:lnTo>
                <a:lnTo>
                  <a:pt x="28" y="109"/>
                </a:lnTo>
                <a:lnTo>
                  <a:pt x="29" y="105"/>
                </a:lnTo>
                <a:lnTo>
                  <a:pt x="33" y="104"/>
                </a:lnTo>
                <a:lnTo>
                  <a:pt x="36" y="101"/>
                </a:lnTo>
                <a:lnTo>
                  <a:pt x="34" y="98"/>
                </a:lnTo>
                <a:lnTo>
                  <a:pt x="32" y="96"/>
                </a:lnTo>
                <a:lnTo>
                  <a:pt x="30" y="91"/>
                </a:lnTo>
                <a:lnTo>
                  <a:pt x="30" y="88"/>
                </a:lnTo>
                <a:lnTo>
                  <a:pt x="33" y="85"/>
                </a:lnTo>
                <a:lnTo>
                  <a:pt x="34" y="83"/>
                </a:lnTo>
                <a:lnTo>
                  <a:pt x="33" y="82"/>
                </a:lnTo>
                <a:lnTo>
                  <a:pt x="30" y="77"/>
                </a:lnTo>
                <a:lnTo>
                  <a:pt x="29" y="73"/>
                </a:lnTo>
                <a:lnTo>
                  <a:pt x="32" y="71"/>
                </a:lnTo>
                <a:lnTo>
                  <a:pt x="34" y="71"/>
                </a:lnTo>
                <a:lnTo>
                  <a:pt x="37" y="68"/>
                </a:lnTo>
                <a:lnTo>
                  <a:pt x="37" y="66"/>
                </a:lnTo>
                <a:lnTo>
                  <a:pt x="36" y="63"/>
                </a:lnTo>
                <a:lnTo>
                  <a:pt x="36" y="62"/>
                </a:lnTo>
                <a:lnTo>
                  <a:pt x="37" y="58"/>
                </a:lnTo>
                <a:lnTo>
                  <a:pt x="38" y="54"/>
                </a:lnTo>
                <a:lnTo>
                  <a:pt x="38" y="51"/>
                </a:lnTo>
                <a:lnTo>
                  <a:pt x="38" y="49"/>
                </a:lnTo>
                <a:lnTo>
                  <a:pt x="44" y="43"/>
                </a:lnTo>
                <a:lnTo>
                  <a:pt x="46" y="40"/>
                </a:lnTo>
                <a:lnTo>
                  <a:pt x="46" y="38"/>
                </a:lnTo>
                <a:lnTo>
                  <a:pt x="44" y="35"/>
                </a:lnTo>
                <a:lnTo>
                  <a:pt x="42" y="33"/>
                </a:lnTo>
                <a:lnTo>
                  <a:pt x="38" y="32"/>
                </a:lnTo>
                <a:lnTo>
                  <a:pt x="33" y="32"/>
                </a:lnTo>
                <a:lnTo>
                  <a:pt x="30" y="33"/>
                </a:lnTo>
                <a:lnTo>
                  <a:pt x="24" y="33"/>
                </a:lnTo>
                <a:lnTo>
                  <a:pt x="20" y="33"/>
                </a:lnTo>
                <a:lnTo>
                  <a:pt x="18" y="32"/>
                </a:lnTo>
                <a:lnTo>
                  <a:pt x="17" y="30"/>
                </a:lnTo>
                <a:lnTo>
                  <a:pt x="13" y="30"/>
                </a:lnTo>
                <a:lnTo>
                  <a:pt x="9" y="32"/>
                </a:lnTo>
                <a:lnTo>
                  <a:pt x="8" y="33"/>
                </a:lnTo>
                <a:lnTo>
                  <a:pt x="6" y="33"/>
                </a:lnTo>
                <a:lnTo>
                  <a:pt x="6" y="30"/>
                </a:lnTo>
                <a:lnTo>
                  <a:pt x="8" y="27"/>
                </a:lnTo>
                <a:lnTo>
                  <a:pt x="9" y="25"/>
                </a:lnTo>
                <a:lnTo>
                  <a:pt x="6" y="25"/>
                </a:lnTo>
                <a:lnTo>
                  <a:pt x="8" y="24"/>
                </a:lnTo>
                <a:lnTo>
                  <a:pt x="5" y="22"/>
                </a:lnTo>
                <a:lnTo>
                  <a:pt x="8" y="19"/>
                </a:lnTo>
                <a:lnTo>
                  <a:pt x="6" y="19"/>
                </a:lnTo>
                <a:lnTo>
                  <a:pt x="4" y="19"/>
                </a:lnTo>
                <a:lnTo>
                  <a:pt x="5" y="16"/>
                </a:lnTo>
                <a:lnTo>
                  <a:pt x="0" y="13"/>
                </a:lnTo>
                <a:lnTo>
                  <a:pt x="1" y="10"/>
                </a:lnTo>
                <a:lnTo>
                  <a:pt x="5" y="8"/>
                </a:lnTo>
                <a:lnTo>
                  <a:pt x="8" y="8"/>
                </a:lnTo>
                <a:lnTo>
                  <a:pt x="13" y="7"/>
                </a:lnTo>
                <a:lnTo>
                  <a:pt x="14" y="5"/>
                </a:lnTo>
                <a:lnTo>
                  <a:pt x="14" y="3"/>
                </a:lnTo>
                <a:lnTo>
                  <a:pt x="17" y="2"/>
                </a:lnTo>
                <a:lnTo>
                  <a:pt x="22" y="0"/>
                </a:lnTo>
                <a:lnTo>
                  <a:pt x="26" y="0"/>
                </a:lnTo>
                <a:lnTo>
                  <a:pt x="30" y="2"/>
                </a:lnTo>
                <a:lnTo>
                  <a:pt x="36" y="3"/>
                </a:lnTo>
                <a:lnTo>
                  <a:pt x="46" y="3"/>
                </a:lnTo>
                <a:lnTo>
                  <a:pt x="49" y="2"/>
                </a:lnTo>
                <a:lnTo>
                  <a:pt x="53" y="2"/>
                </a:lnTo>
                <a:lnTo>
                  <a:pt x="58" y="3"/>
                </a:lnTo>
                <a:lnTo>
                  <a:pt x="61" y="3"/>
                </a:lnTo>
                <a:lnTo>
                  <a:pt x="70" y="5"/>
                </a:lnTo>
                <a:lnTo>
                  <a:pt x="76" y="5"/>
                </a:lnTo>
                <a:lnTo>
                  <a:pt x="81" y="5"/>
                </a:lnTo>
                <a:lnTo>
                  <a:pt x="83" y="5"/>
                </a:lnTo>
                <a:lnTo>
                  <a:pt x="87" y="5"/>
                </a:lnTo>
                <a:lnTo>
                  <a:pt x="93" y="7"/>
                </a:lnTo>
                <a:lnTo>
                  <a:pt x="101" y="5"/>
                </a:lnTo>
                <a:lnTo>
                  <a:pt x="105" y="7"/>
                </a:lnTo>
                <a:lnTo>
                  <a:pt x="109" y="7"/>
                </a:lnTo>
                <a:lnTo>
                  <a:pt x="111" y="7"/>
                </a:lnTo>
                <a:lnTo>
                  <a:pt x="113" y="8"/>
                </a:lnTo>
                <a:lnTo>
                  <a:pt x="118" y="11"/>
                </a:lnTo>
                <a:lnTo>
                  <a:pt x="121" y="13"/>
                </a:lnTo>
                <a:lnTo>
                  <a:pt x="123" y="13"/>
                </a:lnTo>
                <a:lnTo>
                  <a:pt x="127" y="14"/>
                </a:lnTo>
                <a:lnTo>
                  <a:pt x="129" y="16"/>
                </a:lnTo>
                <a:lnTo>
                  <a:pt x="141" y="19"/>
                </a:lnTo>
                <a:lnTo>
                  <a:pt x="146" y="19"/>
                </a:lnTo>
                <a:lnTo>
                  <a:pt x="147" y="19"/>
                </a:lnTo>
                <a:lnTo>
                  <a:pt x="150" y="18"/>
                </a:lnTo>
                <a:lnTo>
                  <a:pt x="153" y="18"/>
                </a:lnTo>
                <a:lnTo>
                  <a:pt x="155" y="18"/>
                </a:lnTo>
                <a:lnTo>
                  <a:pt x="159" y="21"/>
                </a:lnTo>
                <a:lnTo>
                  <a:pt x="161" y="22"/>
                </a:lnTo>
                <a:lnTo>
                  <a:pt x="162" y="24"/>
                </a:lnTo>
                <a:lnTo>
                  <a:pt x="163" y="24"/>
                </a:lnTo>
                <a:lnTo>
                  <a:pt x="165" y="22"/>
                </a:lnTo>
                <a:lnTo>
                  <a:pt x="163" y="22"/>
                </a:lnTo>
                <a:lnTo>
                  <a:pt x="167" y="24"/>
                </a:lnTo>
                <a:lnTo>
                  <a:pt x="169" y="24"/>
                </a:lnTo>
                <a:lnTo>
                  <a:pt x="177" y="24"/>
                </a:lnTo>
                <a:lnTo>
                  <a:pt x="181" y="24"/>
                </a:lnTo>
                <a:lnTo>
                  <a:pt x="185" y="24"/>
                </a:lnTo>
                <a:lnTo>
                  <a:pt x="186" y="24"/>
                </a:lnTo>
                <a:lnTo>
                  <a:pt x="189" y="24"/>
                </a:lnTo>
                <a:lnTo>
                  <a:pt x="189" y="25"/>
                </a:lnTo>
                <a:lnTo>
                  <a:pt x="186" y="27"/>
                </a:lnTo>
                <a:lnTo>
                  <a:pt x="186" y="30"/>
                </a:lnTo>
                <a:lnTo>
                  <a:pt x="187" y="32"/>
                </a:lnTo>
                <a:lnTo>
                  <a:pt x="185" y="35"/>
                </a:lnTo>
                <a:lnTo>
                  <a:pt x="174" y="40"/>
                </a:lnTo>
                <a:lnTo>
                  <a:pt x="171" y="43"/>
                </a:lnTo>
                <a:lnTo>
                  <a:pt x="154" y="49"/>
                </a:lnTo>
                <a:lnTo>
                  <a:pt x="151" y="52"/>
                </a:lnTo>
                <a:lnTo>
                  <a:pt x="151" y="54"/>
                </a:lnTo>
                <a:lnTo>
                  <a:pt x="149" y="57"/>
                </a:lnTo>
                <a:lnTo>
                  <a:pt x="146" y="60"/>
                </a:lnTo>
                <a:lnTo>
                  <a:pt x="141" y="66"/>
                </a:lnTo>
                <a:lnTo>
                  <a:pt x="135" y="73"/>
                </a:lnTo>
                <a:lnTo>
                  <a:pt x="135" y="76"/>
                </a:lnTo>
                <a:lnTo>
                  <a:pt x="134" y="77"/>
                </a:lnTo>
                <a:lnTo>
                  <a:pt x="134" y="79"/>
                </a:lnTo>
                <a:lnTo>
                  <a:pt x="135" y="80"/>
                </a:lnTo>
                <a:lnTo>
                  <a:pt x="135" y="82"/>
                </a:lnTo>
                <a:lnTo>
                  <a:pt x="137" y="83"/>
                </a:lnTo>
                <a:lnTo>
                  <a:pt x="138" y="85"/>
                </a:lnTo>
                <a:lnTo>
                  <a:pt x="139" y="87"/>
                </a:lnTo>
                <a:lnTo>
                  <a:pt x="141" y="87"/>
                </a:lnTo>
                <a:lnTo>
                  <a:pt x="142" y="88"/>
                </a:lnTo>
                <a:lnTo>
                  <a:pt x="141" y="90"/>
                </a:lnTo>
                <a:lnTo>
                  <a:pt x="137" y="93"/>
                </a:lnTo>
                <a:lnTo>
                  <a:pt x="134" y="94"/>
                </a:lnTo>
                <a:lnTo>
                  <a:pt x="133" y="96"/>
                </a:lnTo>
                <a:lnTo>
                  <a:pt x="130" y="101"/>
                </a:lnTo>
                <a:lnTo>
                  <a:pt x="130" y="102"/>
                </a:lnTo>
                <a:lnTo>
                  <a:pt x="129" y="105"/>
                </a:lnTo>
                <a:lnTo>
                  <a:pt x="127" y="107"/>
                </a:lnTo>
                <a:lnTo>
                  <a:pt x="129" y="109"/>
                </a:lnTo>
                <a:lnTo>
                  <a:pt x="119" y="110"/>
                </a:lnTo>
                <a:lnTo>
                  <a:pt x="114" y="115"/>
                </a:lnTo>
                <a:lnTo>
                  <a:pt x="111" y="120"/>
                </a:lnTo>
                <a:lnTo>
                  <a:pt x="110" y="121"/>
                </a:lnTo>
                <a:lnTo>
                  <a:pt x="109" y="123"/>
                </a:lnTo>
                <a:lnTo>
                  <a:pt x="107" y="124"/>
                </a:lnTo>
                <a:lnTo>
                  <a:pt x="103" y="123"/>
                </a:lnTo>
                <a:lnTo>
                  <a:pt x="99" y="124"/>
                </a:lnTo>
                <a:lnTo>
                  <a:pt x="97" y="124"/>
                </a:lnTo>
                <a:lnTo>
                  <a:pt x="91" y="123"/>
                </a:lnTo>
                <a:lnTo>
                  <a:pt x="87" y="124"/>
                </a:lnTo>
                <a:lnTo>
                  <a:pt x="83" y="124"/>
                </a:lnTo>
                <a:lnTo>
                  <a:pt x="74" y="124"/>
                </a:lnTo>
                <a:lnTo>
                  <a:pt x="70" y="127"/>
                </a:lnTo>
                <a:lnTo>
                  <a:pt x="68" y="129"/>
                </a:lnTo>
                <a:lnTo>
                  <a:pt x="64" y="129"/>
                </a:lnTo>
                <a:lnTo>
                  <a:pt x="62" y="132"/>
                </a:lnTo>
                <a:lnTo>
                  <a:pt x="61" y="134"/>
                </a:lnTo>
                <a:lnTo>
                  <a:pt x="60" y="135"/>
                </a:lnTo>
                <a:lnTo>
                  <a:pt x="57" y="135"/>
                </a:lnTo>
                <a:lnTo>
                  <a:pt x="53" y="135"/>
                </a:lnTo>
                <a:lnTo>
                  <a:pt x="49" y="132"/>
                </a:lnTo>
                <a:lnTo>
                  <a:pt x="46" y="129"/>
                </a:lnTo>
                <a:lnTo>
                  <a:pt x="46" y="126"/>
                </a:lnTo>
                <a:lnTo>
                  <a:pt x="44" y="124"/>
                </a:lnTo>
                <a:lnTo>
                  <a:pt x="44" y="123"/>
                </a:lnTo>
                <a:lnTo>
                  <a:pt x="44" y="121"/>
                </a:lnTo>
                <a:lnTo>
                  <a:pt x="42" y="120"/>
                </a:lnTo>
                <a:lnTo>
                  <a:pt x="41" y="118"/>
                </a:lnTo>
                <a:lnTo>
                  <a:pt x="37" y="116"/>
                </a:lnTo>
                <a:lnTo>
                  <a:pt x="34" y="115"/>
                </a:lnTo>
                <a:lnTo>
                  <a:pt x="29" y="116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91" name="Freeform 490"/>
          <p:cNvSpPr>
            <a:spLocks/>
          </p:cNvSpPr>
          <p:nvPr/>
        </p:nvSpPr>
        <p:spPr bwMode="auto">
          <a:xfrm>
            <a:off x="6654678" y="3171666"/>
            <a:ext cx="40926" cy="137447"/>
          </a:xfrm>
          <a:custGeom>
            <a:avLst/>
            <a:gdLst/>
            <a:ahLst/>
            <a:cxnLst>
              <a:cxn ang="0">
                <a:pos x="12" y="69"/>
              </a:cxn>
              <a:cxn ang="0">
                <a:pos x="12" y="67"/>
              </a:cxn>
              <a:cxn ang="0">
                <a:pos x="13" y="64"/>
              </a:cxn>
              <a:cxn ang="0">
                <a:pos x="15" y="48"/>
              </a:cxn>
              <a:cxn ang="0">
                <a:pos x="16" y="44"/>
              </a:cxn>
              <a:cxn ang="0">
                <a:pos x="19" y="37"/>
              </a:cxn>
              <a:cxn ang="0">
                <a:pos x="17" y="36"/>
              </a:cxn>
              <a:cxn ang="0">
                <a:pos x="19" y="33"/>
              </a:cxn>
              <a:cxn ang="0">
                <a:pos x="19" y="31"/>
              </a:cxn>
              <a:cxn ang="0">
                <a:pos x="17" y="31"/>
              </a:cxn>
              <a:cxn ang="0">
                <a:pos x="15" y="34"/>
              </a:cxn>
              <a:cxn ang="0">
                <a:pos x="11" y="34"/>
              </a:cxn>
              <a:cxn ang="0">
                <a:pos x="11" y="33"/>
              </a:cxn>
              <a:cxn ang="0">
                <a:pos x="11" y="31"/>
              </a:cxn>
              <a:cxn ang="0">
                <a:pos x="12" y="28"/>
              </a:cxn>
              <a:cxn ang="0">
                <a:pos x="13" y="26"/>
              </a:cxn>
              <a:cxn ang="0">
                <a:pos x="15" y="26"/>
              </a:cxn>
              <a:cxn ang="0">
                <a:pos x="15" y="25"/>
              </a:cxn>
              <a:cxn ang="0">
                <a:pos x="11" y="25"/>
              </a:cxn>
              <a:cxn ang="0">
                <a:pos x="12" y="23"/>
              </a:cxn>
              <a:cxn ang="0">
                <a:pos x="11" y="23"/>
              </a:cxn>
              <a:cxn ang="0">
                <a:pos x="11" y="18"/>
              </a:cxn>
              <a:cxn ang="0">
                <a:pos x="12" y="17"/>
              </a:cxn>
              <a:cxn ang="0">
                <a:pos x="13" y="14"/>
              </a:cxn>
              <a:cxn ang="0">
                <a:pos x="15" y="14"/>
              </a:cxn>
              <a:cxn ang="0">
                <a:pos x="16" y="14"/>
              </a:cxn>
              <a:cxn ang="0">
                <a:pos x="17" y="14"/>
              </a:cxn>
              <a:cxn ang="0">
                <a:pos x="19" y="15"/>
              </a:cxn>
              <a:cxn ang="0">
                <a:pos x="20" y="15"/>
              </a:cxn>
              <a:cxn ang="0">
                <a:pos x="20" y="11"/>
              </a:cxn>
              <a:cxn ang="0">
                <a:pos x="21" y="9"/>
              </a:cxn>
              <a:cxn ang="0">
                <a:pos x="21" y="7"/>
              </a:cxn>
              <a:cxn ang="0">
                <a:pos x="21" y="6"/>
              </a:cxn>
              <a:cxn ang="0">
                <a:pos x="21" y="4"/>
              </a:cxn>
              <a:cxn ang="0">
                <a:pos x="21" y="3"/>
              </a:cxn>
              <a:cxn ang="0">
                <a:pos x="21" y="1"/>
              </a:cxn>
              <a:cxn ang="0">
                <a:pos x="21" y="0"/>
              </a:cxn>
              <a:cxn ang="0">
                <a:pos x="20" y="0"/>
              </a:cxn>
              <a:cxn ang="0">
                <a:pos x="20" y="4"/>
              </a:cxn>
              <a:cxn ang="0">
                <a:pos x="19" y="3"/>
              </a:cxn>
              <a:cxn ang="0">
                <a:pos x="17" y="4"/>
              </a:cxn>
              <a:cxn ang="0">
                <a:pos x="16" y="3"/>
              </a:cxn>
              <a:cxn ang="0">
                <a:pos x="13" y="3"/>
              </a:cxn>
              <a:cxn ang="0">
                <a:pos x="12" y="4"/>
              </a:cxn>
              <a:cxn ang="0">
                <a:pos x="12" y="7"/>
              </a:cxn>
              <a:cxn ang="0">
                <a:pos x="11" y="11"/>
              </a:cxn>
              <a:cxn ang="0">
                <a:pos x="9" y="14"/>
              </a:cxn>
              <a:cxn ang="0">
                <a:pos x="8" y="22"/>
              </a:cxn>
              <a:cxn ang="0">
                <a:pos x="5" y="28"/>
              </a:cxn>
              <a:cxn ang="0">
                <a:pos x="3" y="31"/>
              </a:cxn>
              <a:cxn ang="0">
                <a:pos x="4" y="33"/>
              </a:cxn>
              <a:cxn ang="0">
                <a:pos x="1" y="36"/>
              </a:cxn>
              <a:cxn ang="0">
                <a:pos x="0" y="37"/>
              </a:cxn>
              <a:cxn ang="0">
                <a:pos x="0" y="39"/>
              </a:cxn>
              <a:cxn ang="0">
                <a:pos x="0" y="40"/>
              </a:cxn>
              <a:cxn ang="0">
                <a:pos x="5" y="56"/>
              </a:cxn>
              <a:cxn ang="0">
                <a:pos x="11" y="70"/>
              </a:cxn>
              <a:cxn ang="0">
                <a:pos x="12" y="69"/>
              </a:cxn>
            </a:cxnLst>
            <a:rect l="0" t="0" r="r" b="b"/>
            <a:pathLst>
              <a:path w="21" h="70">
                <a:moveTo>
                  <a:pt x="12" y="69"/>
                </a:moveTo>
                <a:lnTo>
                  <a:pt x="12" y="67"/>
                </a:lnTo>
                <a:lnTo>
                  <a:pt x="13" y="64"/>
                </a:lnTo>
                <a:lnTo>
                  <a:pt x="15" y="48"/>
                </a:lnTo>
                <a:lnTo>
                  <a:pt x="16" y="44"/>
                </a:lnTo>
                <a:lnTo>
                  <a:pt x="19" y="37"/>
                </a:lnTo>
                <a:lnTo>
                  <a:pt x="17" y="36"/>
                </a:lnTo>
                <a:lnTo>
                  <a:pt x="19" y="33"/>
                </a:lnTo>
                <a:lnTo>
                  <a:pt x="19" y="31"/>
                </a:lnTo>
                <a:lnTo>
                  <a:pt x="17" y="31"/>
                </a:lnTo>
                <a:lnTo>
                  <a:pt x="15" y="34"/>
                </a:lnTo>
                <a:lnTo>
                  <a:pt x="11" y="34"/>
                </a:lnTo>
                <a:lnTo>
                  <a:pt x="11" y="33"/>
                </a:lnTo>
                <a:lnTo>
                  <a:pt x="11" y="31"/>
                </a:lnTo>
                <a:lnTo>
                  <a:pt x="12" y="28"/>
                </a:lnTo>
                <a:lnTo>
                  <a:pt x="13" y="26"/>
                </a:lnTo>
                <a:lnTo>
                  <a:pt x="15" y="26"/>
                </a:lnTo>
                <a:lnTo>
                  <a:pt x="15" y="25"/>
                </a:lnTo>
                <a:lnTo>
                  <a:pt x="11" y="25"/>
                </a:lnTo>
                <a:lnTo>
                  <a:pt x="12" y="23"/>
                </a:lnTo>
                <a:lnTo>
                  <a:pt x="11" y="23"/>
                </a:lnTo>
                <a:lnTo>
                  <a:pt x="11" y="18"/>
                </a:lnTo>
                <a:lnTo>
                  <a:pt x="12" y="17"/>
                </a:lnTo>
                <a:lnTo>
                  <a:pt x="13" y="14"/>
                </a:lnTo>
                <a:lnTo>
                  <a:pt x="15" y="14"/>
                </a:lnTo>
                <a:lnTo>
                  <a:pt x="16" y="14"/>
                </a:lnTo>
                <a:lnTo>
                  <a:pt x="17" y="14"/>
                </a:lnTo>
                <a:lnTo>
                  <a:pt x="19" y="15"/>
                </a:lnTo>
                <a:lnTo>
                  <a:pt x="20" y="15"/>
                </a:lnTo>
                <a:lnTo>
                  <a:pt x="20" y="11"/>
                </a:lnTo>
                <a:lnTo>
                  <a:pt x="21" y="9"/>
                </a:lnTo>
                <a:lnTo>
                  <a:pt x="21" y="7"/>
                </a:lnTo>
                <a:lnTo>
                  <a:pt x="21" y="6"/>
                </a:lnTo>
                <a:lnTo>
                  <a:pt x="21" y="4"/>
                </a:lnTo>
                <a:lnTo>
                  <a:pt x="21" y="3"/>
                </a:lnTo>
                <a:lnTo>
                  <a:pt x="21" y="1"/>
                </a:lnTo>
                <a:lnTo>
                  <a:pt x="21" y="0"/>
                </a:lnTo>
                <a:lnTo>
                  <a:pt x="20" y="0"/>
                </a:lnTo>
                <a:lnTo>
                  <a:pt x="20" y="4"/>
                </a:lnTo>
                <a:lnTo>
                  <a:pt x="19" y="3"/>
                </a:lnTo>
                <a:lnTo>
                  <a:pt x="17" y="4"/>
                </a:lnTo>
                <a:lnTo>
                  <a:pt x="16" y="3"/>
                </a:lnTo>
                <a:lnTo>
                  <a:pt x="13" y="3"/>
                </a:lnTo>
                <a:lnTo>
                  <a:pt x="12" y="4"/>
                </a:lnTo>
                <a:lnTo>
                  <a:pt x="12" y="7"/>
                </a:lnTo>
                <a:lnTo>
                  <a:pt x="11" y="11"/>
                </a:lnTo>
                <a:lnTo>
                  <a:pt x="9" y="14"/>
                </a:lnTo>
                <a:lnTo>
                  <a:pt x="8" y="22"/>
                </a:lnTo>
                <a:lnTo>
                  <a:pt x="5" y="28"/>
                </a:lnTo>
                <a:lnTo>
                  <a:pt x="3" y="31"/>
                </a:lnTo>
                <a:lnTo>
                  <a:pt x="4" y="33"/>
                </a:lnTo>
                <a:lnTo>
                  <a:pt x="1" y="36"/>
                </a:lnTo>
                <a:lnTo>
                  <a:pt x="0" y="37"/>
                </a:lnTo>
                <a:lnTo>
                  <a:pt x="0" y="39"/>
                </a:lnTo>
                <a:lnTo>
                  <a:pt x="0" y="40"/>
                </a:lnTo>
                <a:lnTo>
                  <a:pt x="5" y="56"/>
                </a:lnTo>
                <a:lnTo>
                  <a:pt x="11" y="70"/>
                </a:lnTo>
                <a:lnTo>
                  <a:pt x="12" y="69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92" name="Freeform 491"/>
          <p:cNvSpPr>
            <a:spLocks/>
          </p:cNvSpPr>
          <p:nvPr/>
        </p:nvSpPr>
        <p:spPr bwMode="auto">
          <a:xfrm>
            <a:off x="6654678" y="3171666"/>
            <a:ext cx="40926" cy="137447"/>
          </a:xfrm>
          <a:custGeom>
            <a:avLst/>
            <a:gdLst/>
            <a:ahLst/>
            <a:cxnLst>
              <a:cxn ang="0">
                <a:pos x="12" y="69"/>
              </a:cxn>
              <a:cxn ang="0">
                <a:pos x="12" y="67"/>
              </a:cxn>
              <a:cxn ang="0">
                <a:pos x="13" y="64"/>
              </a:cxn>
              <a:cxn ang="0">
                <a:pos x="15" y="48"/>
              </a:cxn>
              <a:cxn ang="0">
                <a:pos x="16" y="44"/>
              </a:cxn>
              <a:cxn ang="0">
                <a:pos x="19" y="37"/>
              </a:cxn>
              <a:cxn ang="0">
                <a:pos x="17" y="36"/>
              </a:cxn>
              <a:cxn ang="0">
                <a:pos x="19" y="33"/>
              </a:cxn>
              <a:cxn ang="0">
                <a:pos x="19" y="31"/>
              </a:cxn>
              <a:cxn ang="0">
                <a:pos x="17" y="31"/>
              </a:cxn>
              <a:cxn ang="0">
                <a:pos x="15" y="34"/>
              </a:cxn>
              <a:cxn ang="0">
                <a:pos x="11" y="34"/>
              </a:cxn>
              <a:cxn ang="0">
                <a:pos x="11" y="33"/>
              </a:cxn>
              <a:cxn ang="0">
                <a:pos x="11" y="31"/>
              </a:cxn>
              <a:cxn ang="0">
                <a:pos x="12" y="28"/>
              </a:cxn>
              <a:cxn ang="0">
                <a:pos x="13" y="26"/>
              </a:cxn>
              <a:cxn ang="0">
                <a:pos x="15" y="26"/>
              </a:cxn>
              <a:cxn ang="0">
                <a:pos x="15" y="25"/>
              </a:cxn>
              <a:cxn ang="0">
                <a:pos x="11" y="25"/>
              </a:cxn>
              <a:cxn ang="0">
                <a:pos x="12" y="23"/>
              </a:cxn>
              <a:cxn ang="0">
                <a:pos x="11" y="23"/>
              </a:cxn>
              <a:cxn ang="0">
                <a:pos x="11" y="18"/>
              </a:cxn>
              <a:cxn ang="0">
                <a:pos x="12" y="17"/>
              </a:cxn>
              <a:cxn ang="0">
                <a:pos x="13" y="14"/>
              </a:cxn>
              <a:cxn ang="0">
                <a:pos x="15" y="14"/>
              </a:cxn>
              <a:cxn ang="0">
                <a:pos x="16" y="14"/>
              </a:cxn>
              <a:cxn ang="0">
                <a:pos x="17" y="14"/>
              </a:cxn>
              <a:cxn ang="0">
                <a:pos x="19" y="15"/>
              </a:cxn>
              <a:cxn ang="0">
                <a:pos x="20" y="15"/>
              </a:cxn>
              <a:cxn ang="0">
                <a:pos x="20" y="11"/>
              </a:cxn>
              <a:cxn ang="0">
                <a:pos x="21" y="9"/>
              </a:cxn>
              <a:cxn ang="0">
                <a:pos x="21" y="7"/>
              </a:cxn>
              <a:cxn ang="0">
                <a:pos x="21" y="6"/>
              </a:cxn>
              <a:cxn ang="0">
                <a:pos x="21" y="4"/>
              </a:cxn>
              <a:cxn ang="0">
                <a:pos x="21" y="3"/>
              </a:cxn>
              <a:cxn ang="0">
                <a:pos x="21" y="1"/>
              </a:cxn>
              <a:cxn ang="0">
                <a:pos x="21" y="0"/>
              </a:cxn>
              <a:cxn ang="0">
                <a:pos x="20" y="0"/>
              </a:cxn>
              <a:cxn ang="0">
                <a:pos x="20" y="4"/>
              </a:cxn>
              <a:cxn ang="0">
                <a:pos x="19" y="3"/>
              </a:cxn>
              <a:cxn ang="0">
                <a:pos x="17" y="4"/>
              </a:cxn>
              <a:cxn ang="0">
                <a:pos x="16" y="3"/>
              </a:cxn>
              <a:cxn ang="0">
                <a:pos x="13" y="3"/>
              </a:cxn>
              <a:cxn ang="0">
                <a:pos x="12" y="4"/>
              </a:cxn>
              <a:cxn ang="0">
                <a:pos x="12" y="7"/>
              </a:cxn>
              <a:cxn ang="0">
                <a:pos x="11" y="11"/>
              </a:cxn>
              <a:cxn ang="0">
                <a:pos x="9" y="14"/>
              </a:cxn>
              <a:cxn ang="0">
                <a:pos x="8" y="22"/>
              </a:cxn>
              <a:cxn ang="0">
                <a:pos x="5" y="28"/>
              </a:cxn>
              <a:cxn ang="0">
                <a:pos x="3" y="31"/>
              </a:cxn>
              <a:cxn ang="0">
                <a:pos x="4" y="33"/>
              </a:cxn>
              <a:cxn ang="0">
                <a:pos x="1" y="36"/>
              </a:cxn>
              <a:cxn ang="0">
                <a:pos x="0" y="37"/>
              </a:cxn>
              <a:cxn ang="0">
                <a:pos x="0" y="39"/>
              </a:cxn>
              <a:cxn ang="0">
                <a:pos x="0" y="40"/>
              </a:cxn>
              <a:cxn ang="0">
                <a:pos x="5" y="56"/>
              </a:cxn>
              <a:cxn ang="0">
                <a:pos x="11" y="70"/>
              </a:cxn>
              <a:cxn ang="0">
                <a:pos x="12" y="69"/>
              </a:cxn>
            </a:cxnLst>
            <a:rect l="0" t="0" r="r" b="b"/>
            <a:pathLst>
              <a:path w="21" h="70">
                <a:moveTo>
                  <a:pt x="12" y="69"/>
                </a:moveTo>
                <a:lnTo>
                  <a:pt x="12" y="67"/>
                </a:lnTo>
                <a:lnTo>
                  <a:pt x="13" y="64"/>
                </a:lnTo>
                <a:lnTo>
                  <a:pt x="15" y="48"/>
                </a:lnTo>
                <a:lnTo>
                  <a:pt x="16" y="44"/>
                </a:lnTo>
                <a:lnTo>
                  <a:pt x="19" y="37"/>
                </a:lnTo>
                <a:lnTo>
                  <a:pt x="17" y="36"/>
                </a:lnTo>
                <a:lnTo>
                  <a:pt x="19" y="33"/>
                </a:lnTo>
                <a:lnTo>
                  <a:pt x="19" y="31"/>
                </a:lnTo>
                <a:lnTo>
                  <a:pt x="17" y="31"/>
                </a:lnTo>
                <a:lnTo>
                  <a:pt x="15" y="34"/>
                </a:lnTo>
                <a:lnTo>
                  <a:pt x="11" y="34"/>
                </a:lnTo>
                <a:lnTo>
                  <a:pt x="11" y="33"/>
                </a:lnTo>
                <a:lnTo>
                  <a:pt x="11" y="31"/>
                </a:lnTo>
                <a:lnTo>
                  <a:pt x="12" y="28"/>
                </a:lnTo>
                <a:lnTo>
                  <a:pt x="13" y="26"/>
                </a:lnTo>
                <a:lnTo>
                  <a:pt x="15" y="26"/>
                </a:lnTo>
                <a:lnTo>
                  <a:pt x="15" y="25"/>
                </a:lnTo>
                <a:lnTo>
                  <a:pt x="11" y="25"/>
                </a:lnTo>
                <a:lnTo>
                  <a:pt x="12" y="23"/>
                </a:lnTo>
                <a:lnTo>
                  <a:pt x="11" y="23"/>
                </a:lnTo>
                <a:lnTo>
                  <a:pt x="11" y="18"/>
                </a:lnTo>
                <a:lnTo>
                  <a:pt x="12" y="17"/>
                </a:lnTo>
                <a:lnTo>
                  <a:pt x="13" y="14"/>
                </a:lnTo>
                <a:lnTo>
                  <a:pt x="15" y="14"/>
                </a:lnTo>
                <a:lnTo>
                  <a:pt x="16" y="14"/>
                </a:lnTo>
                <a:lnTo>
                  <a:pt x="17" y="14"/>
                </a:lnTo>
                <a:lnTo>
                  <a:pt x="19" y="15"/>
                </a:lnTo>
                <a:lnTo>
                  <a:pt x="20" y="15"/>
                </a:lnTo>
                <a:lnTo>
                  <a:pt x="20" y="11"/>
                </a:lnTo>
                <a:lnTo>
                  <a:pt x="21" y="9"/>
                </a:lnTo>
                <a:lnTo>
                  <a:pt x="21" y="7"/>
                </a:lnTo>
                <a:lnTo>
                  <a:pt x="21" y="6"/>
                </a:lnTo>
                <a:lnTo>
                  <a:pt x="21" y="4"/>
                </a:lnTo>
                <a:lnTo>
                  <a:pt x="21" y="3"/>
                </a:lnTo>
                <a:lnTo>
                  <a:pt x="21" y="1"/>
                </a:lnTo>
                <a:lnTo>
                  <a:pt x="21" y="0"/>
                </a:lnTo>
                <a:lnTo>
                  <a:pt x="20" y="0"/>
                </a:lnTo>
                <a:lnTo>
                  <a:pt x="20" y="4"/>
                </a:lnTo>
                <a:lnTo>
                  <a:pt x="19" y="3"/>
                </a:lnTo>
                <a:lnTo>
                  <a:pt x="17" y="4"/>
                </a:lnTo>
                <a:lnTo>
                  <a:pt x="16" y="3"/>
                </a:lnTo>
                <a:lnTo>
                  <a:pt x="13" y="3"/>
                </a:lnTo>
                <a:lnTo>
                  <a:pt x="12" y="4"/>
                </a:lnTo>
                <a:lnTo>
                  <a:pt x="12" y="7"/>
                </a:lnTo>
                <a:lnTo>
                  <a:pt x="11" y="11"/>
                </a:lnTo>
                <a:lnTo>
                  <a:pt x="9" y="14"/>
                </a:lnTo>
                <a:lnTo>
                  <a:pt x="8" y="22"/>
                </a:lnTo>
                <a:lnTo>
                  <a:pt x="5" y="28"/>
                </a:lnTo>
                <a:lnTo>
                  <a:pt x="3" y="31"/>
                </a:lnTo>
                <a:lnTo>
                  <a:pt x="4" y="33"/>
                </a:lnTo>
                <a:lnTo>
                  <a:pt x="1" y="36"/>
                </a:lnTo>
                <a:lnTo>
                  <a:pt x="0" y="37"/>
                </a:lnTo>
                <a:lnTo>
                  <a:pt x="0" y="39"/>
                </a:lnTo>
                <a:lnTo>
                  <a:pt x="0" y="40"/>
                </a:lnTo>
                <a:lnTo>
                  <a:pt x="5" y="56"/>
                </a:lnTo>
                <a:lnTo>
                  <a:pt x="11" y="70"/>
                </a:lnTo>
                <a:lnTo>
                  <a:pt x="12" y="69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93" name="Freeform 492"/>
          <p:cNvSpPr>
            <a:spLocks/>
          </p:cNvSpPr>
          <p:nvPr/>
        </p:nvSpPr>
        <p:spPr bwMode="auto">
          <a:xfrm>
            <a:off x="6791095" y="3021336"/>
            <a:ext cx="276732" cy="294221"/>
          </a:xfrm>
          <a:custGeom>
            <a:avLst/>
            <a:gdLst/>
            <a:ahLst/>
            <a:cxnLst>
              <a:cxn ang="0">
                <a:pos x="145" y="135"/>
              </a:cxn>
              <a:cxn ang="0">
                <a:pos x="139" y="134"/>
              </a:cxn>
              <a:cxn ang="0">
                <a:pos x="135" y="134"/>
              </a:cxn>
              <a:cxn ang="0">
                <a:pos x="127" y="134"/>
              </a:cxn>
              <a:cxn ang="0">
                <a:pos x="121" y="145"/>
              </a:cxn>
              <a:cxn ang="0">
                <a:pos x="90" y="148"/>
              </a:cxn>
              <a:cxn ang="0">
                <a:pos x="71" y="138"/>
              </a:cxn>
              <a:cxn ang="0">
                <a:pos x="63" y="126"/>
              </a:cxn>
              <a:cxn ang="0">
                <a:pos x="59" y="120"/>
              </a:cxn>
              <a:cxn ang="0">
                <a:pos x="28" y="101"/>
              </a:cxn>
              <a:cxn ang="0">
                <a:pos x="0" y="74"/>
              </a:cxn>
              <a:cxn ang="0">
                <a:pos x="16" y="63"/>
              </a:cxn>
              <a:cxn ang="0">
                <a:pos x="26" y="58"/>
              </a:cxn>
              <a:cxn ang="0">
                <a:pos x="30" y="55"/>
              </a:cxn>
              <a:cxn ang="0">
                <a:pos x="35" y="47"/>
              </a:cxn>
              <a:cxn ang="0">
                <a:pos x="38" y="19"/>
              </a:cxn>
              <a:cxn ang="0">
                <a:pos x="51" y="8"/>
              </a:cxn>
              <a:cxn ang="0">
                <a:pos x="62" y="0"/>
              </a:cxn>
              <a:cxn ang="0">
                <a:pos x="77" y="3"/>
              </a:cxn>
              <a:cxn ang="0">
                <a:pos x="83" y="5"/>
              </a:cxn>
              <a:cxn ang="0">
                <a:pos x="90" y="3"/>
              </a:cxn>
              <a:cxn ang="0">
                <a:pos x="94" y="17"/>
              </a:cxn>
              <a:cxn ang="0">
                <a:pos x="99" y="25"/>
              </a:cxn>
              <a:cxn ang="0">
                <a:pos x="109" y="30"/>
              </a:cxn>
              <a:cxn ang="0">
                <a:pos x="110" y="32"/>
              </a:cxn>
              <a:cxn ang="0">
                <a:pos x="110" y="41"/>
              </a:cxn>
              <a:cxn ang="0">
                <a:pos x="105" y="49"/>
              </a:cxn>
              <a:cxn ang="0">
                <a:pos x="102" y="52"/>
              </a:cxn>
              <a:cxn ang="0">
                <a:pos x="99" y="60"/>
              </a:cxn>
              <a:cxn ang="0">
                <a:pos x="98" y="63"/>
              </a:cxn>
              <a:cxn ang="0">
                <a:pos x="101" y="68"/>
              </a:cxn>
              <a:cxn ang="0">
                <a:pos x="103" y="71"/>
              </a:cxn>
              <a:cxn ang="0">
                <a:pos x="107" y="76"/>
              </a:cxn>
              <a:cxn ang="0">
                <a:pos x="111" y="80"/>
              </a:cxn>
              <a:cxn ang="0">
                <a:pos x="118" y="87"/>
              </a:cxn>
              <a:cxn ang="0">
                <a:pos x="125" y="88"/>
              </a:cxn>
              <a:cxn ang="0">
                <a:pos x="129" y="96"/>
              </a:cxn>
              <a:cxn ang="0">
                <a:pos x="133" y="102"/>
              </a:cxn>
              <a:cxn ang="0">
                <a:pos x="131" y="116"/>
              </a:cxn>
              <a:cxn ang="0">
                <a:pos x="137" y="123"/>
              </a:cxn>
              <a:cxn ang="0">
                <a:pos x="139" y="127"/>
              </a:cxn>
            </a:cxnLst>
            <a:rect l="0" t="0" r="r" b="b"/>
            <a:pathLst>
              <a:path w="146" h="149">
                <a:moveTo>
                  <a:pt x="146" y="132"/>
                </a:moveTo>
                <a:lnTo>
                  <a:pt x="145" y="135"/>
                </a:lnTo>
                <a:lnTo>
                  <a:pt x="142" y="134"/>
                </a:lnTo>
                <a:lnTo>
                  <a:pt x="139" y="134"/>
                </a:lnTo>
                <a:lnTo>
                  <a:pt x="138" y="134"/>
                </a:lnTo>
                <a:lnTo>
                  <a:pt x="135" y="134"/>
                </a:lnTo>
                <a:lnTo>
                  <a:pt x="131" y="132"/>
                </a:lnTo>
                <a:lnTo>
                  <a:pt x="127" y="134"/>
                </a:lnTo>
                <a:lnTo>
                  <a:pt x="123" y="140"/>
                </a:lnTo>
                <a:lnTo>
                  <a:pt x="121" y="145"/>
                </a:lnTo>
                <a:lnTo>
                  <a:pt x="117" y="149"/>
                </a:lnTo>
                <a:lnTo>
                  <a:pt x="90" y="148"/>
                </a:lnTo>
                <a:lnTo>
                  <a:pt x="73" y="140"/>
                </a:lnTo>
                <a:lnTo>
                  <a:pt x="71" y="138"/>
                </a:lnTo>
                <a:lnTo>
                  <a:pt x="71" y="127"/>
                </a:lnTo>
                <a:lnTo>
                  <a:pt x="63" y="126"/>
                </a:lnTo>
                <a:lnTo>
                  <a:pt x="61" y="121"/>
                </a:lnTo>
                <a:lnTo>
                  <a:pt x="59" y="120"/>
                </a:lnTo>
                <a:lnTo>
                  <a:pt x="43" y="113"/>
                </a:lnTo>
                <a:lnTo>
                  <a:pt x="28" y="101"/>
                </a:lnTo>
                <a:lnTo>
                  <a:pt x="4" y="94"/>
                </a:lnTo>
                <a:lnTo>
                  <a:pt x="0" y="74"/>
                </a:lnTo>
                <a:lnTo>
                  <a:pt x="12" y="66"/>
                </a:lnTo>
                <a:lnTo>
                  <a:pt x="16" y="63"/>
                </a:lnTo>
                <a:lnTo>
                  <a:pt x="20" y="61"/>
                </a:lnTo>
                <a:lnTo>
                  <a:pt x="26" y="58"/>
                </a:lnTo>
                <a:lnTo>
                  <a:pt x="29" y="57"/>
                </a:lnTo>
                <a:lnTo>
                  <a:pt x="30" y="55"/>
                </a:lnTo>
                <a:lnTo>
                  <a:pt x="33" y="54"/>
                </a:lnTo>
                <a:lnTo>
                  <a:pt x="35" y="47"/>
                </a:lnTo>
                <a:lnTo>
                  <a:pt x="37" y="38"/>
                </a:lnTo>
                <a:lnTo>
                  <a:pt x="38" y="19"/>
                </a:lnTo>
                <a:lnTo>
                  <a:pt x="46" y="16"/>
                </a:lnTo>
                <a:lnTo>
                  <a:pt x="51" y="8"/>
                </a:lnTo>
                <a:lnTo>
                  <a:pt x="55" y="6"/>
                </a:lnTo>
                <a:lnTo>
                  <a:pt x="62" y="0"/>
                </a:lnTo>
                <a:lnTo>
                  <a:pt x="69" y="3"/>
                </a:lnTo>
                <a:lnTo>
                  <a:pt x="77" y="3"/>
                </a:lnTo>
                <a:lnTo>
                  <a:pt x="81" y="3"/>
                </a:lnTo>
                <a:lnTo>
                  <a:pt x="83" y="5"/>
                </a:lnTo>
                <a:lnTo>
                  <a:pt x="87" y="6"/>
                </a:lnTo>
                <a:lnTo>
                  <a:pt x="90" y="3"/>
                </a:lnTo>
                <a:lnTo>
                  <a:pt x="91" y="13"/>
                </a:lnTo>
                <a:lnTo>
                  <a:pt x="94" y="17"/>
                </a:lnTo>
                <a:lnTo>
                  <a:pt x="98" y="19"/>
                </a:lnTo>
                <a:lnTo>
                  <a:pt x="99" y="25"/>
                </a:lnTo>
                <a:lnTo>
                  <a:pt x="102" y="28"/>
                </a:lnTo>
                <a:lnTo>
                  <a:pt x="109" y="30"/>
                </a:lnTo>
                <a:lnTo>
                  <a:pt x="113" y="30"/>
                </a:lnTo>
                <a:lnTo>
                  <a:pt x="110" y="32"/>
                </a:lnTo>
                <a:lnTo>
                  <a:pt x="109" y="35"/>
                </a:lnTo>
                <a:lnTo>
                  <a:pt x="110" y="41"/>
                </a:lnTo>
                <a:lnTo>
                  <a:pt x="107" y="43"/>
                </a:lnTo>
                <a:lnTo>
                  <a:pt x="105" y="49"/>
                </a:lnTo>
                <a:lnTo>
                  <a:pt x="105" y="50"/>
                </a:lnTo>
                <a:lnTo>
                  <a:pt x="102" y="52"/>
                </a:lnTo>
                <a:lnTo>
                  <a:pt x="101" y="54"/>
                </a:lnTo>
                <a:lnTo>
                  <a:pt x="99" y="60"/>
                </a:lnTo>
                <a:lnTo>
                  <a:pt x="99" y="61"/>
                </a:lnTo>
                <a:lnTo>
                  <a:pt x="98" y="63"/>
                </a:lnTo>
                <a:lnTo>
                  <a:pt x="99" y="66"/>
                </a:lnTo>
                <a:lnTo>
                  <a:pt x="101" y="68"/>
                </a:lnTo>
                <a:lnTo>
                  <a:pt x="103" y="68"/>
                </a:lnTo>
                <a:lnTo>
                  <a:pt x="103" y="71"/>
                </a:lnTo>
                <a:lnTo>
                  <a:pt x="106" y="72"/>
                </a:lnTo>
                <a:lnTo>
                  <a:pt x="107" y="76"/>
                </a:lnTo>
                <a:lnTo>
                  <a:pt x="107" y="79"/>
                </a:lnTo>
                <a:lnTo>
                  <a:pt x="111" y="80"/>
                </a:lnTo>
                <a:lnTo>
                  <a:pt x="115" y="83"/>
                </a:lnTo>
                <a:lnTo>
                  <a:pt x="118" y="87"/>
                </a:lnTo>
                <a:lnTo>
                  <a:pt x="122" y="88"/>
                </a:lnTo>
                <a:lnTo>
                  <a:pt x="125" y="88"/>
                </a:lnTo>
                <a:lnTo>
                  <a:pt x="127" y="91"/>
                </a:lnTo>
                <a:lnTo>
                  <a:pt x="129" y="96"/>
                </a:lnTo>
                <a:lnTo>
                  <a:pt x="131" y="99"/>
                </a:lnTo>
                <a:lnTo>
                  <a:pt x="133" y="102"/>
                </a:lnTo>
                <a:lnTo>
                  <a:pt x="133" y="110"/>
                </a:lnTo>
                <a:lnTo>
                  <a:pt x="131" y="116"/>
                </a:lnTo>
                <a:lnTo>
                  <a:pt x="135" y="118"/>
                </a:lnTo>
                <a:lnTo>
                  <a:pt x="137" y="123"/>
                </a:lnTo>
                <a:lnTo>
                  <a:pt x="138" y="126"/>
                </a:lnTo>
                <a:lnTo>
                  <a:pt x="139" y="127"/>
                </a:lnTo>
                <a:lnTo>
                  <a:pt x="146" y="13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94" name="Freeform 493"/>
          <p:cNvSpPr>
            <a:spLocks/>
          </p:cNvSpPr>
          <p:nvPr/>
        </p:nvSpPr>
        <p:spPr bwMode="auto">
          <a:xfrm>
            <a:off x="6791095" y="3021336"/>
            <a:ext cx="276732" cy="294221"/>
          </a:xfrm>
          <a:custGeom>
            <a:avLst/>
            <a:gdLst/>
            <a:ahLst/>
            <a:cxnLst>
              <a:cxn ang="0">
                <a:pos x="145" y="135"/>
              </a:cxn>
              <a:cxn ang="0">
                <a:pos x="139" y="134"/>
              </a:cxn>
              <a:cxn ang="0">
                <a:pos x="135" y="134"/>
              </a:cxn>
              <a:cxn ang="0">
                <a:pos x="127" y="134"/>
              </a:cxn>
              <a:cxn ang="0">
                <a:pos x="121" y="145"/>
              </a:cxn>
              <a:cxn ang="0">
                <a:pos x="90" y="148"/>
              </a:cxn>
              <a:cxn ang="0">
                <a:pos x="71" y="138"/>
              </a:cxn>
              <a:cxn ang="0">
                <a:pos x="63" y="126"/>
              </a:cxn>
              <a:cxn ang="0">
                <a:pos x="59" y="120"/>
              </a:cxn>
              <a:cxn ang="0">
                <a:pos x="28" y="101"/>
              </a:cxn>
              <a:cxn ang="0">
                <a:pos x="0" y="74"/>
              </a:cxn>
              <a:cxn ang="0">
                <a:pos x="16" y="63"/>
              </a:cxn>
              <a:cxn ang="0">
                <a:pos x="26" y="58"/>
              </a:cxn>
              <a:cxn ang="0">
                <a:pos x="30" y="55"/>
              </a:cxn>
              <a:cxn ang="0">
                <a:pos x="35" y="47"/>
              </a:cxn>
              <a:cxn ang="0">
                <a:pos x="38" y="19"/>
              </a:cxn>
              <a:cxn ang="0">
                <a:pos x="51" y="8"/>
              </a:cxn>
              <a:cxn ang="0">
                <a:pos x="62" y="0"/>
              </a:cxn>
              <a:cxn ang="0">
                <a:pos x="77" y="3"/>
              </a:cxn>
              <a:cxn ang="0">
                <a:pos x="83" y="5"/>
              </a:cxn>
              <a:cxn ang="0">
                <a:pos x="90" y="3"/>
              </a:cxn>
              <a:cxn ang="0">
                <a:pos x="94" y="17"/>
              </a:cxn>
              <a:cxn ang="0">
                <a:pos x="99" y="25"/>
              </a:cxn>
              <a:cxn ang="0">
                <a:pos x="109" y="30"/>
              </a:cxn>
              <a:cxn ang="0">
                <a:pos x="110" y="32"/>
              </a:cxn>
              <a:cxn ang="0">
                <a:pos x="110" y="41"/>
              </a:cxn>
              <a:cxn ang="0">
                <a:pos x="105" y="49"/>
              </a:cxn>
              <a:cxn ang="0">
                <a:pos x="102" y="52"/>
              </a:cxn>
              <a:cxn ang="0">
                <a:pos x="99" y="60"/>
              </a:cxn>
              <a:cxn ang="0">
                <a:pos x="98" y="63"/>
              </a:cxn>
              <a:cxn ang="0">
                <a:pos x="101" y="68"/>
              </a:cxn>
              <a:cxn ang="0">
                <a:pos x="103" y="71"/>
              </a:cxn>
              <a:cxn ang="0">
                <a:pos x="107" y="76"/>
              </a:cxn>
              <a:cxn ang="0">
                <a:pos x="111" y="80"/>
              </a:cxn>
              <a:cxn ang="0">
                <a:pos x="118" y="87"/>
              </a:cxn>
              <a:cxn ang="0">
                <a:pos x="125" y="88"/>
              </a:cxn>
              <a:cxn ang="0">
                <a:pos x="129" y="96"/>
              </a:cxn>
              <a:cxn ang="0">
                <a:pos x="133" y="102"/>
              </a:cxn>
              <a:cxn ang="0">
                <a:pos x="131" y="116"/>
              </a:cxn>
              <a:cxn ang="0">
                <a:pos x="137" y="123"/>
              </a:cxn>
              <a:cxn ang="0">
                <a:pos x="139" y="127"/>
              </a:cxn>
            </a:cxnLst>
            <a:rect l="0" t="0" r="r" b="b"/>
            <a:pathLst>
              <a:path w="146" h="149">
                <a:moveTo>
                  <a:pt x="146" y="132"/>
                </a:moveTo>
                <a:lnTo>
                  <a:pt x="145" y="135"/>
                </a:lnTo>
                <a:lnTo>
                  <a:pt x="142" y="134"/>
                </a:lnTo>
                <a:lnTo>
                  <a:pt x="139" y="134"/>
                </a:lnTo>
                <a:lnTo>
                  <a:pt x="138" y="134"/>
                </a:lnTo>
                <a:lnTo>
                  <a:pt x="135" y="134"/>
                </a:lnTo>
                <a:lnTo>
                  <a:pt x="131" y="132"/>
                </a:lnTo>
                <a:lnTo>
                  <a:pt x="127" y="134"/>
                </a:lnTo>
                <a:lnTo>
                  <a:pt x="123" y="140"/>
                </a:lnTo>
                <a:lnTo>
                  <a:pt x="121" y="145"/>
                </a:lnTo>
                <a:lnTo>
                  <a:pt x="117" y="149"/>
                </a:lnTo>
                <a:lnTo>
                  <a:pt x="90" y="148"/>
                </a:lnTo>
                <a:lnTo>
                  <a:pt x="73" y="140"/>
                </a:lnTo>
                <a:lnTo>
                  <a:pt x="71" y="138"/>
                </a:lnTo>
                <a:lnTo>
                  <a:pt x="71" y="127"/>
                </a:lnTo>
                <a:lnTo>
                  <a:pt x="63" y="126"/>
                </a:lnTo>
                <a:lnTo>
                  <a:pt x="61" y="121"/>
                </a:lnTo>
                <a:lnTo>
                  <a:pt x="59" y="120"/>
                </a:lnTo>
                <a:lnTo>
                  <a:pt x="43" y="113"/>
                </a:lnTo>
                <a:lnTo>
                  <a:pt x="28" y="101"/>
                </a:lnTo>
                <a:lnTo>
                  <a:pt x="4" y="94"/>
                </a:lnTo>
                <a:lnTo>
                  <a:pt x="0" y="74"/>
                </a:lnTo>
                <a:lnTo>
                  <a:pt x="12" y="66"/>
                </a:lnTo>
                <a:lnTo>
                  <a:pt x="16" y="63"/>
                </a:lnTo>
                <a:lnTo>
                  <a:pt x="20" y="61"/>
                </a:lnTo>
                <a:lnTo>
                  <a:pt x="26" y="58"/>
                </a:lnTo>
                <a:lnTo>
                  <a:pt x="29" y="57"/>
                </a:lnTo>
                <a:lnTo>
                  <a:pt x="30" y="55"/>
                </a:lnTo>
                <a:lnTo>
                  <a:pt x="33" y="54"/>
                </a:lnTo>
                <a:lnTo>
                  <a:pt x="35" y="47"/>
                </a:lnTo>
                <a:lnTo>
                  <a:pt x="37" y="38"/>
                </a:lnTo>
                <a:lnTo>
                  <a:pt x="38" y="19"/>
                </a:lnTo>
                <a:lnTo>
                  <a:pt x="46" y="16"/>
                </a:lnTo>
                <a:lnTo>
                  <a:pt x="51" y="8"/>
                </a:lnTo>
                <a:lnTo>
                  <a:pt x="55" y="6"/>
                </a:lnTo>
                <a:lnTo>
                  <a:pt x="62" y="0"/>
                </a:lnTo>
                <a:lnTo>
                  <a:pt x="69" y="3"/>
                </a:lnTo>
                <a:lnTo>
                  <a:pt x="77" y="3"/>
                </a:lnTo>
                <a:lnTo>
                  <a:pt x="81" y="3"/>
                </a:lnTo>
                <a:lnTo>
                  <a:pt x="83" y="5"/>
                </a:lnTo>
                <a:lnTo>
                  <a:pt x="87" y="6"/>
                </a:lnTo>
                <a:lnTo>
                  <a:pt x="90" y="3"/>
                </a:lnTo>
                <a:lnTo>
                  <a:pt x="91" y="13"/>
                </a:lnTo>
                <a:lnTo>
                  <a:pt x="94" y="17"/>
                </a:lnTo>
                <a:lnTo>
                  <a:pt x="98" y="19"/>
                </a:lnTo>
                <a:lnTo>
                  <a:pt x="99" y="25"/>
                </a:lnTo>
                <a:lnTo>
                  <a:pt x="102" y="28"/>
                </a:lnTo>
                <a:lnTo>
                  <a:pt x="109" y="30"/>
                </a:lnTo>
                <a:lnTo>
                  <a:pt x="113" y="30"/>
                </a:lnTo>
                <a:lnTo>
                  <a:pt x="110" y="32"/>
                </a:lnTo>
                <a:lnTo>
                  <a:pt x="109" y="35"/>
                </a:lnTo>
                <a:lnTo>
                  <a:pt x="110" y="41"/>
                </a:lnTo>
                <a:lnTo>
                  <a:pt x="107" y="43"/>
                </a:lnTo>
                <a:lnTo>
                  <a:pt x="105" y="49"/>
                </a:lnTo>
                <a:lnTo>
                  <a:pt x="105" y="50"/>
                </a:lnTo>
                <a:lnTo>
                  <a:pt x="102" y="52"/>
                </a:lnTo>
                <a:lnTo>
                  <a:pt x="101" y="54"/>
                </a:lnTo>
                <a:lnTo>
                  <a:pt x="99" y="60"/>
                </a:lnTo>
                <a:lnTo>
                  <a:pt x="99" y="61"/>
                </a:lnTo>
                <a:lnTo>
                  <a:pt x="98" y="63"/>
                </a:lnTo>
                <a:lnTo>
                  <a:pt x="99" y="66"/>
                </a:lnTo>
                <a:lnTo>
                  <a:pt x="101" y="68"/>
                </a:lnTo>
                <a:lnTo>
                  <a:pt x="103" y="68"/>
                </a:lnTo>
                <a:lnTo>
                  <a:pt x="103" y="71"/>
                </a:lnTo>
                <a:lnTo>
                  <a:pt x="106" y="72"/>
                </a:lnTo>
                <a:lnTo>
                  <a:pt x="107" y="76"/>
                </a:lnTo>
                <a:lnTo>
                  <a:pt x="107" y="79"/>
                </a:lnTo>
                <a:lnTo>
                  <a:pt x="111" y="80"/>
                </a:lnTo>
                <a:lnTo>
                  <a:pt x="115" y="83"/>
                </a:lnTo>
                <a:lnTo>
                  <a:pt x="118" y="87"/>
                </a:lnTo>
                <a:lnTo>
                  <a:pt x="122" y="88"/>
                </a:lnTo>
                <a:lnTo>
                  <a:pt x="125" y="88"/>
                </a:lnTo>
                <a:lnTo>
                  <a:pt x="127" y="91"/>
                </a:lnTo>
                <a:lnTo>
                  <a:pt x="129" y="96"/>
                </a:lnTo>
                <a:lnTo>
                  <a:pt x="131" y="99"/>
                </a:lnTo>
                <a:lnTo>
                  <a:pt x="133" y="102"/>
                </a:lnTo>
                <a:lnTo>
                  <a:pt x="133" y="110"/>
                </a:lnTo>
                <a:lnTo>
                  <a:pt x="131" y="116"/>
                </a:lnTo>
                <a:lnTo>
                  <a:pt x="135" y="118"/>
                </a:lnTo>
                <a:lnTo>
                  <a:pt x="137" y="123"/>
                </a:lnTo>
                <a:lnTo>
                  <a:pt x="138" y="126"/>
                </a:lnTo>
                <a:lnTo>
                  <a:pt x="139" y="127"/>
                </a:lnTo>
                <a:lnTo>
                  <a:pt x="146" y="132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95" name="Freeform 494"/>
          <p:cNvSpPr>
            <a:spLocks/>
          </p:cNvSpPr>
          <p:nvPr/>
        </p:nvSpPr>
        <p:spPr bwMode="auto">
          <a:xfrm>
            <a:off x="7132138" y="3422936"/>
            <a:ext cx="21437" cy="55838"/>
          </a:xfrm>
          <a:custGeom>
            <a:avLst/>
            <a:gdLst/>
            <a:ahLst/>
            <a:cxnLst>
              <a:cxn ang="0">
                <a:pos x="4" y="28"/>
              </a:cxn>
              <a:cxn ang="0">
                <a:pos x="9" y="25"/>
              </a:cxn>
              <a:cxn ang="0">
                <a:pos x="11" y="25"/>
              </a:cxn>
              <a:cxn ang="0">
                <a:pos x="11" y="23"/>
              </a:cxn>
              <a:cxn ang="0">
                <a:pos x="12" y="22"/>
              </a:cxn>
              <a:cxn ang="0">
                <a:pos x="12" y="20"/>
              </a:cxn>
              <a:cxn ang="0">
                <a:pos x="12" y="15"/>
              </a:cxn>
              <a:cxn ang="0">
                <a:pos x="11" y="14"/>
              </a:cxn>
              <a:cxn ang="0">
                <a:pos x="11" y="11"/>
              </a:cxn>
              <a:cxn ang="0">
                <a:pos x="11" y="9"/>
              </a:cxn>
              <a:cxn ang="0">
                <a:pos x="12" y="9"/>
              </a:cxn>
              <a:cxn ang="0">
                <a:pos x="12" y="8"/>
              </a:cxn>
              <a:cxn ang="0">
                <a:pos x="12" y="6"/>
              </a:cxn>
              <a:cxn ang="0">
                <a:pos x="12" y="4"/>
              </a:cxn>
              <a:cxn ang="0">
                <a:pos x="12" y="3"/>
              </a:cxn>
              <a:cxn ang="0">
                <a:pos x="9" y="3"/>
              </a:cxn>
              <a:cxn ang="0">
                <a:pos x="9" y="1"/>
              </a:cxn>
              <a:cxn ang="0">
                <a:pos x="8" y="0"/>
              </a:cxn>
              <a:cxn ang="0">
                <a:pos x="7" y="0"/>
              </a:cxn>
              <a:cxn ang="0">
                <a:pos x="5" y="0"/>
              </a:cxn>
              <a:cxn ang="0">
                <a:pos x="4" y="3"/>
              </a:cxn>
              <a:cxn ang="0">
                <a:pos x="3" y="8"/>
              </a:cxn>
              <a:cxn ang="0">
                <a:pos x="1" y="9"/>
              </a:cxn>
              <a:cxn ang="0">
                <a:pos x="0" y="12"/>
              </a:cxn>
              <a:cxn ang="0">
                <a:pos x="0" y="14"/>
              </a:cxn>
              <a:cxn ang="0">
                <a:pos x="0" y="15"/>
              </a:cxn>
              <a:cxn ang="0">
                <a:pos x="0" y="17"/>
              </a:cxn>
              <a:cxn ang="0">
                <a:pos x="0" y="19"/>
              </a:cxn>
              <a:cxn ang="0">
                <a:pos x="1" y="20"/>
              </a:cxn>
              <a:cxn ang="0">
                <a:pos x="0" y="22"/>
              </a:cxn>
              <a:cxn ang="0">
                <a:pos x="1" y="23"/>
              </a:cxn>
              <a:cxn ang="0">
                <a:pos x="0" y="25"/>
              </a:cxn>
              <a:cxn ang="0">
                <a:pos x="3" y="28"/>
              </a:cxn>
              <a:cxn ang="0">
                <a:pos x="4" y="28"/>
              </a:cxn>
            </a:cxnLst>
            <a:rect l="0" t="0" r="r" b="b"/>
            <a:pathLst>
              <a:path w="12" h="28">
                <a:moveTo>
                  <a:pt x="4" y="28"/>
                </a:moveTo>
                <a:lnTo>
                  <a:pt x="9" y="25"/>
                </a:lnTo>
                <a:lnTo>
                  <a:pt x="11" y="25"/>
                </a:lnTo>
                <a:lnTo>
                  <a:pt x="11" y="23"/>
                </a:lnTo>
                <a:lnTo>
                  <a:pt x="12" y="22"/>
                </a:lnTo>
                <a:lnTo>
                  <a:pt x="12" y="20"/>
                </a:lnTo>
                <a:lnTo>
                  <a:pt x="12" y="15"/>
                </a:lnTo>
                <a:lnTo>
                  <a:pt x="11" y="14"/>
                </a:lnTo>
                <a:lnTo>
                  <a:pt x="11" y="11"/>
                </a:lnTo>
                <a:lnTo>
                  <a:pt x="11" y="9"/>
                </a:lnTo>
                <a:lnTo>
                  <a:pt x="12" y="9"/>
                </a:lnTo>
                <a:lnTo>
                  <a:pt x="12" y="8"/>
                </a:lnTo>
                <a:lnTo>
                  <a:pt x="12" y="6"/>
                </a:lnTo>
                <a:lnTo>
                  <a:pt x="12" y="4"/>
                </a:lnTo>
                <a:lnTo>
                  <a:pt x="12" y="3"/>
                </a:lnTo>
                <a:lnTo>
                  <a:pt x="9" y="3"/>
                </a:lnTo>
                <a:lnTo>
                  <a:pt x="9" y="1"/>
                </a:lnTo>
                <a:lnTo>
                  <a:pt x="8" y="0"/>
                </a:lnTo>
                <a:lnTo>
                  <a:pt x="7" y="0"/>
                </a:lnTo>
                <a:lnTo>
                  <a:pt x="5" y="0"/>
                </a:lnTo>
                <a:lnTo>
                  <a:pt x="4" y="3"/>
                </a:lnTo>
                <a:lnTo>
                  <a:pt x="3" y="8"/>
                </a:lnTo>
                <a:lnTo>
                  <a:pt x="1" y="9"/>
                </a:lnTo>
                <a:lnTo>
                  <a:pt x="0" y="12"/>
                </a:lnTo>
                <a:lnTo>
                  <a:pt x="0" y="14"/>
                </a:lnTo>
                <a:lnTo>
                  <a:pt x="0" y="15"/>
                </a:lnTo>
                <a:lnTo>
                  <a:pt x="0" y="17"/>
                </a:lnTo>
                <a:lnTo>
                  <a:pt x="0" y="19"/>
                </a:lnTo>
                <a:lnTo>
                  <a:pt x="1" y="20"/>
                </a:lnTo>
                <a:lnTo>
                  <a:pt x="0" y="22"/>
                </a:lnTo>
                <a:lnTo>
                  <a:pt x="1" y="23"/>
                </a:lnTo>
                <a:lnTo>
                  <a:pt x="0" y="25"/>
                </a:lnTo>
                <a:lnTo>
                  <a:pt x="3" y="28"/>
                </a:lnTo>
                <a:lnTo>
                  <a:pt x="4" y="28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96" name="Freeform 495"/>
          <p:cNvSpPr>
            <a:spLocks/>
          </p:cNvSpPr>
          <p:nvPr/>
        </p:nvSpPr>
        <p:spPr bwMode="auto">
          <a:xfrm>
            <a:off x="7132138" y="3422936"/>
            <a:ext cx="21437" cy="55838"/>
          </a:xfrm>
          <a:custGeom>
            <a:avLst/>
            <a:gdLst/>
            <a:ahLst/>
            <a:cxnLst>
              <a:cxn ang="0">
                <a:pos x="4" y="28"/>
              </a:cxn>
              <a:cxn ang="0">
                <a:pos x="9" y="25"/>
              </a:cxn>
              <a:cxn ang="0">
                <a:pos x="11" y="25"/>
              </a:cxn>
              <a:cxn ang="0">
                <a:pos x="11" y="23"/>
              </a:cxn>
              <a:cxn ang="0">
                <a:pos x="12" y="22"/>
              </a:cxn>
              <a:cxn ang="0">
                <a:pos x="12" y="20"/>
              </a:cxn>
              <a:cxn ang="0">
                <a:pos x="12" y="15"/>
              </a:cxn>
              <a:cxn ang="0">
                <a:pos x="11" y="14"/>
              </a:cxn>
              <a:cxn ang="0">
                <a:pos x="11" y="11"/>
              </a:cxn>
              <a:cxn ang="0">
                <a:pos x="11" y="9"/>
              </a:cxn>
              <a:cxn ang="0">
                <a:pos x="12" y="9"/>
              </a:cxn>
              <a:cxn ang="0">
                <a:pos x="12" y="8"/>
              </a:cxn>
              <a:cxn ang="0">
                <a:pos x="12" y="6"/>
              </a:cxn>
              <a:cxn ang="0">
                <a:pos x="12" y="4"/>
              </a:cxn>
              <a:cxn ang="0">
                <a:pos x="12" y="3"/>
              </a:cxn>
              <a:cxn ang="0">
                <a:pos x="9" y="3"/>
              </a:cxn>
              <a:cxn ang="0">
                <a:pos x="9" y="1"/>
              </a:cxn>
              <a:cxn ang="0">
                <a:pos x="8" y="0"/>
              </a:cxn>
              <a:cxn ang="0">
                <a:pos x="7" y="0"/>
              </a:cxn>
              <a:cxn ang="0">
                <a:pos x="5" y="0"/>
              </a:cxn>
              <a:cxn ang="0">
                <a:pos x="4" y="3"/>
              </a:cxn>
              <a:cxn ang="0">
                <a:pos x="3" y="8"/>
              </a:cxn>
              <a:cxn ang="0">
                <a:pos x="1" y="9"/>
              </a:cxn>
              <a:cxn ang="0">
                <a:pos x="0" y="12"/>
              </a:cxn>
              <a:cxn ang="0">
                <a:pos x="0" y="14"/>
              </a:cxn>
              <a:cxn ang="0">
                <a:pos x="0" y="15"/>
              </a:cxn>
              <a:cxn ang="0">
                <a:pos x="0" y="17"/>
              </a:cxn>
              <a:cxn ang="0">
                <a:pos x="0" y="19"/>
              </a:cxn>
              <a:cxn ang="0">
                <a:pos x="1" y="20"/>
              </a:cxn>
              <a:cxn ang="0">
                <a:pos x="0" y="22"/>
              </a:cxn>
              <a:cxn ang="0">
                <a:pos x="1" y="23"/>
              </a:cxn>
              <a:cxn ang="0">
                <a:pos x="0" y="25"/>
              </a:cxn>
              <a:cxn ang="0">
                <a:pos x="3" y="28"/>
              </a:cxn>
              <a:cxn ang="0">
                <a:pos x="4" y="28"/>
              </a:cxn>
            </a:cxnLst>
            <a:rect l="0" t="0" r="r" b="b"/>
            <a:pathLst>
              <a:path w="12" h="28">
                <a:moveTo>
                  <a:pt x="4" y="28"/>
                </a:moveTo>
                <a:lnTo>
                  <a:pt x="9" y="25"/>
                </a:lnTo>
                <a:lnTo>
                  <a:pt x="11" y="25"/>
                </a:lnTo>
                <a:lnTo>
                  <a:pt x="11" y="23"/>
                </a:lnTo>
                <a:lnTo>
                  <a:pt x="12" y="22"/>
                </a:lnTo>
                <a:lnTo>
                  <a:pt x="12" y="20"/>
                </a:lnTo>
                <a:lnTo>
                  <a:pt x="12" y="15"/>
                </a:lnTo>
                <a:lnTo>
                  <a:pt x="11" y="14"/>
                </a:lnTo>
                <a:lnTo>
                  <a:pt x="11" y="11"/>
                </a:lnTo>
                <a:lnTo>
                  <a:pt x="11" y="9"/>
                </a:lnTo>
                <a:lnTo>
                  <a:pt x="12" y="9"/>
                </a:lnTo>
                <a:lnTo>
                  <a:pt x="12" y="8"/>
                </a:lnTo>
                <a:lnTo>
                  <a:pt x="12" y="6"/>
                </a:lnTo>
                <a:lnTo>
                  <a:pt x="12" y="4"/>
                </a:lnTo>
                <a:lnTo>
                  <a:pt x="12" y="3"/>
                </a:lnTo>
                <a:lnTo>
                  <a:pt x="9" y="3"/>
                </a:lnTo>
                <a:lnTo>
                  <a:pt x="9" y="1"/>
                </a:lnTo>
                <a:lnTo>
                  <a:pt x="8" y="0"/>
                </a:lnTo>
                <a:lnTo>
                  <a:pt x="7" y="0"/>
                </a:lnTo>
                <a:lnTo>
                  <a:pt x="5" y="0"/>
                </a:lnTo>
                <a:lnTo>
                  <a:pt x="4" y="3"/>
                </a:lnTo>
                <a:lnTo>
                  <a:pt x="3" y="8"/>
                </a:lnTo>
                <a:lnTo>
                  <a:pt x="1" y="9"/>
                </a:lnTo>
                <a:lnTo>
                  <a:pt x="0" y="12"/>
                </a:lnTo>
                <a:lnTo>
                  <a:pt x="0" y="14"/>
                </a:lnTo>
                <a:lnTo>
                  <a:pt x="0" y="15"/>
                </a:lnTo>
                <a:lnTo>
                  <a:pt x="0" y="17"/>
                </a:lnTo>
                <a:lnTo>
                  <a:pt x="0" y="19"/>
                </a:lnTo>
                <a:lnTo>
                  <a:pt x="1" y="20"/>
                </a:lnTo>
                <a:lnTo>
                  <a:pt x="0" y="22"/>
                </a:lnTo>
                <a:lnTo>
                  <a:pt x="1" y="23"/>
                </a:lnTo>
                <a:lnTo>
                  <a:pt x="0" y="25"/>
                </a:lnTo>
                <a:lnTo>
                  <a:pt x="3" y="28"/>
                </a:lnTo>
                <a:lnTo>
                  <a:pt x="4" y="28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97" name="Freeform 496"/>
          <p:cNvSpPr>
            <a:spLocks/>
          </p:cNvSpPr>
          <p:nvPr/>
        </p:nvSpPr>
        <p:spPr bwMode="auto">
          <a:xfrm>
            <a:off x="9729909" y="4434460"/>
            <a:ext cx="286476" cy="287780"/>
          </a:xfrm>
          <a:custGeom>
            <a:avLst/>
            <a:gdLst/>
            <a:ahLst/>
            <a:cxnLst>
              <a:cxn ang="0">
                <a:pos x="1" y="44"/>
              </a:cxn>
              <a:cxn ang="0">
                <a:pos x="0" y="75"/>
              </a:cxn>
              <a:cxn ang="0">
                <a:pos x="3" y="113"/>
              </a:cxn>
              <a:cxn ang="0">
                <a:pos x="8" y="118"/>
              </a:cxn>
              <a:cxn ang="0">
                <a:pos x="16" y="118"/>
              </a:cxn>
              <a:cxn ang="0">
                <a:pos x="25" y="119"/>
              </a:cxn>
              <a:cxn ang="0">
                <a:pos x="35" y="115"/>
              </a:cxn>
              <a:cxn ang="0">
                <a:pos x="32" y="105"/>
              </a:cxn>
              <a:cxn ang="0">
                <a:pos x="37" y="101"/>
              </a:cxn>
              <a:cxn ang="0">
                <a:pos x="41" y="97"/>
              </a:cxn>
              <a:cxn ang="0">
                <a:pos x="43" y="90"/>
              </a:cxn>
              <a:cxn ang="0">
                <a:pos x="49" y="91"/>
              </a:cxn>
              <a:cxn ang="0">
                <a:pos x="55" y="90"/>
              </a:cxn>
              <a:cxn ang="0">
                <a:pos x="57" y="91"/>
              </a:cxn>
              <a:cxn ang="0">
                <a:pos x="64" y="94"/>
              </a:cxn>
              <a:cxn ang="0">
                <a:pos x="71" y="96"/>
              </a:cxn>
              <a:cxn ang="0">
                <a:pos x="80" y="105"/>
              </a:cxn>
              <a:cxn ang="0">
                <a:pos x="90" y="116"/>
              </a:cxn>
              <a:cxn ang="0">
                <a:pos x="94" y="123"/>
              </a:cxn>
              <a:cxn ang="0">
                <a:pos x="102" y="134"/>
              </a:cxn>
              <a:cxn ang="0">
                <a:pos x="109" y="135"/>
              </a:cxn>
              <a:cxn ang="0">
                <a:pos x="121" y="138"/>
              </a:cxn>
              <a:cxn ang="0">
                <a:pos x="137" y="143"/>
              </a:cxn>
              <a:cxn ang="0">
                <a:pos x="145" y="141"/>
              </a:cxn>
              <a:cxn ang="0">
                <a:pos x="144" y="138"/>
              </a:cxn>
              <a:cxn ang="0">
                <a:pos x="149" y="137"/>
              </a:cxn>
              <a:cxn ang="0">
                <a:pos x="133" y="130"/>
              </a:cxn>
              <a:cxn ang="0">
                <a:pos x="133" y="126"/>
              </a:cxn>
              <a:cxn ang="0">
                <a:pos x="125" y="123"/>
              </a:cxn>
              <a:cxn ang="0">
                <a:pos x="124" y="115"/>
              </a:cxn>
              <a:cxn ang="0">
                <a:pos x="113" y="110"/>
              </a:cxn>
              <a:cxn ang="0">
                <a:pos x="109" y="101"/>
              </a:cxn>
              <a:cxn ang="0">
                <a:pos x="106" y="97"/>
              </a:cxn>
              <a:cxn ang="0">
                <a:pos x="97" y="88"/>
              </a:cxn>
              <a:cxn ang="0">
                <a:pos x="93" y="80"/>
              </a:cxn>
              <a:cxn ang="0">
                <a:pos x="96" y="75"/>
              </a:cxn>
              <a:cxn ang="0">
                <a:pos x="104" y="74"/>
              </a:cxn>
              <a:cxn ang="0">
                <a:pos x="101" y="63"/>
              </a:cxn>
              <a:cxn ang="0">
                <a:pos x="89" y="60"/>
              </a:cxn>
              <a:cxn ang="0">
                <a:pos x="75" y="52"/>
              </a:cxn>
              <a:cxn ang="0">
                <a:pos x="72" y="41"/>
              </a:cxn>
              <a:cxn ang="0">
                <a:pos x="61" y="32"/>
              </a:cxn>
              <a:cxn ang="0">
                <a:pos x="52" y="22"/>
              </a:cxn>
              <a:cxn ang="0">
                <a:pos x="35" y="14"/>
              </a:cxn>
              <a:cxn ang="0">
                <a:pos x="23" y="11"/>
              </a:cxn>
              <a:cxn ang="0">
                <a:pos x="8" y="3"/>
              </a:cxn>
            </a:cxnLst>
            <a:rect l="0" t="0" r="r" b="b"/>
            <a:pathLst>
              <a:path w="149" h="145">
                <a:moveTo>
                  <a:pt x="0" y="0"/>
                </a:moveTo>
                <a:lnTo>
                  <a:pt x="0" y="3"/>
                </a:lnTo>
                <a:lnTo>
                  <a:pt x="1" y="44"/>
                </a:lnTo>
                <a:lnTo>
                  <a:pt x="1" y="68"/>
                </a:lnTo>
                <a:lnTo>
                  <a:pt x="0" y="74"/>
                </a:lnTo>
                <a:lnTo>
                  <a:pt x="0" y="75"/>
                </a:lnTo>
                <a:lnTo>
                  <a:pt x="1" y="80"/>
                </a:lnTo>
                <a:lnTo>
                  <a:pt x="1" y="94"/>
                </a:lnTo>
                <a:lnTo>
                  <a:pt x="3" y="113"/>
                </a:lnTo>
                <a:lnTo>
                  <a:pt x="4" y="118"/>
                </a:lnTo>
                <a:lnTo>
                  <a:pt x="7" y="116"/>
                </a:lnTo>
                <a:lnTo>
                  <a:pt x="8" y="118"/>
                </a:lnTo>
                <a:lnTo>
                  <a:pt x="11" y="119"/>
                </a:lnTo>
                <a:lnTo>
                  <a:pt x="13" y="119"/>
                </a:lnTo>
                <a:lnTo>
                  <a:pt x="16" y="118"/>
                </a:lnTo>
                <a:lnTo>
                  <a:pt x="20" y="118"/>
                </a:lnTo>
                <a:lnTo>
                  <a:pt x="21" y="118"/>
                </a:lnTo>
                <a:lnTo>
                  <a:pt x="25" y="119"/>
                </a:lnTo>
                <a:lnTo>
                  <a:pt x="27" y="119"/>
                </a:lnTo>
                <a:lnTo>
                  <a:pt x="31" y="116"/>
                </a:lnTo>
                <a:lnTo>
                  <a:pt x="35" y="115"/>
                </a:lnTo>
                <a:lnTo>
                  <a:pt x="36" y="113"/>
                </a:lnTo>
                <a:lnTo>
                  <a:pt x="33" y="108"/>
                </a:lnTo>
                <a:lnTo>
                  <a:pt x="32" y="105"/>
                </a:lnTo>
                <a:lnTo>
                  <a:pt x="31" y="104"/>
                </a:lnTo>
                <a:lnTo>
                  <a:pt x="36" y="102"/>
                </a:lnTo>
                <a:lnTo>
                  <a:pt x="37" y="101"/>
                </a:lnTo>
                <a:lnTo>
                  <a:pt x="37" y="99"/>
                </a:lnTo>
                <a:lnTo>
                  <a:pt x="39" y="97"/>
                </a:lnTo>
                <a:lnTo>
                  <a:pt x="41" y="97"/>
                </a:lnTo>
                <a:lnTo>
                  <a:pt x="44" y="96"/>
                </a:lnTo>
                <a:lnTo>
                  <a:pt x="43" y="94"/>
                </a:lnTo>
                <a:lnTo>
                  <a:pt x="43" y="90"/>
                </a:lnTo>
                <a:lnTo>
                  <a:pt x="44" y="91"/>
                </a:lnTo>
                <a:lnTo>
                  <a:pt x="48" y="91"/>
                </a:lnTo>
                <a:lnTo>
                  <a:pt x="49" y="91"/>
                </a:lnTo>
                <a:lnTo>
                  <a:pt x="51" y="90"/>
                </a:lnTo>
                <a:lnTo>
                  <a:pt x="52" y="88"/>
                </a:lnTo>
                <a:lnTo>
                  <a:pt x="55" y="90"/>
                </a:lnTo>
                <a:lnTo>
                  <a:pt x="56" y="90"/>
                </a:lnTo>
                <a:lnTo>
                  <a:pt x="57" y="90"/>
                </a:lnTo>
                <a:lnTo>
                  <a:pt x="57" y="91"/>
                </a:lnTo>
                <a:lnTo>
                  <a:pt x="60" y="93"/>
                </a:lnTo>
                <a:lnTo>
                  <a:pt x="61" y="93"/>
                </a:lnTo>
                <a:lnTo>
                  <a:pt x="64" y="94"/>
                </a:lnTo>
                <a:lnTo>
                  <a:pt x="65" y="94"/>
                </a:lnTo>
                <a:lnTo>
                  <a:pt x="68" y="96"/>
                </a:lnTo>
                <a:lnTo>
                  <a:pt x="71" y="96"/>
                </a:lnTo>
                <a:lnTo>
                  <a:pt x="76" y="99"/>
                </a:lnTo>
                <a:lnTo>
                  <a:pt x="80" y="101"/>
                </a:lnTo>
                <a:lnTo>
                  <a:pt x="80" y="105"/>
                </a:lnTo>
                <a:lnTo>
                  <a:pt x="84" y="112"/>
                </a:lnTo>
                <a:lnTo>
                  <a:pt x="85" y="115"/>
                </a:lnTo>
                <a:lnTo>
                  <a:pt x="90" y="116"/>
                </a:lnTo>
                <a:lnTo>
                  <a:pt x="90" y="119"/>
                </a:lnTo>
                <a:lnTo>
                  <a:pt x="92" y="123"/>
                </a:lnTo>
                <a:lnTo>
                  <a:pt x="94" y="123"/>
                </a:lnTo>
                <a:lnTo>
                  <a:pt x="96" y="124"/>
                </a:lnTo>
                <a:lnTo>
                  <a:pt x="98" y="127"/>
                </a:lnTo>
                <a:lnTo>
                  <a:pt x="102" y="134"/>
                </a:lnTo>
                <a:lnTo>
                  <a:pt x="104" y="134"/>
                </a:lnTo>
                <a:lnTo>
                  <a:pt x="106" y="135"/>
                </a:lnTo>
                <a:lnTo>
                  <a:pt x="109" y="135"/>
                </a:lnTo>
                <a:lnTo>
                  <a:pt x="112" y="137"/>
                </a:lnTo>
                <a:lnTo>
                  <a:pt x="117" y="137"/>
                </a:lnTo>
                <a:lnTo>
                  <a:pt x="121" y="138"/>
                </a:lnTo>
                <a:lnTo>
                  <a:pt x="136" y="140"/>
                </a:lnTo>
                <a:lnTo>
                  <a:pt x="136" y="141"/>
                </a:lnTo>
                <a:lnTo>
                  <a:pt x="137" y="143"/>
                </a:lnTo>
                <a:lnTo>
                  <a:pt x="141" y="145"/>
                </a:lnTo>
                <a:lnTo>
                  <a:pt x="144" y="143"/>
                </a:lnTo>
                <a:lnTo>
                  <a:pt x="145" y="141"/>
                </a:lnTo>
                <a:lnTo>
                  <a:pt x="144" y="140"/>
                </a:lnTo>
                <a:lnTo>
                  <a:pt x="141" y="138"/>
                </a:lnTo>
                <a:lnTo>
                  <a:pt x="144" y="138"/>
                </a:lnTo>
                <a:lnTo>
                  <a:pt x="146" y="138"/>
                </a:lnTo>
                <a:lnTo>
                  <a:pt x="149" y="138"/>
                </a:lnTo>
                <a:lnTo>
                  <a:pt x="149" y="137"/>
                </a:lnTo>
                <a:lnTo>
                  <a:pt x="142" y="135"/>
                </a:lnTo>
                <a:lnTo>
                  <a:pt x="138" y="134"/>
                </a:lnTo>
                <a:lnTo>
                  <a:pt x="133" y="130"/>
                </a:lnTo>
                <a:lnTo>
                  <a:pt x="134" y="129"/>
                </a:lnTo>
                <a:lnTo>
                  <a:pt x="136" y="127"/>
                </a:lnTo>
                <a:lnTo>
                  <a:pt x="133" y="126"/>
                </a:lnTo>
                <a:lnTo>
                  <a:pt x="130" y="124"/>
                </a:lnTo>
                <a:lnTo>
                  <a:pt x="126" y="124"/>
                </a:lnTo>
                <a:lnTo>
                  <a:pt x="125" y="123"/>
                </a:lnTo>
                <a:lnTo>
                  <a:pt x="125" y="119"/>
                </a:lnTo>
                <a:lnTo>
                  <a:pt x="125" y="116"/>
                </a:lnTo>
                <a:lnTo>
                  <a:pt x="124" y="115"/>
                </a:lnTo>
                <a:lnTo>
                  <a:pt x="117" y="116"/>
                </a:lnTo>
                <a:lnTo>
                  <a:pt x="114" y="115"/>
                </a:lnTo>
                <a:lnTo>
                  <a:pt x="113" y="110"/>
                </a:lnTo>
                <a:lnTo>
                  <a:pt x="110" y="108"/>
                </a:lnTo>
                <a:lnTo>
                  <a:pt x="109" y="105"/>
                </a:lnTo>
                <a:lnTo>
                  <a:pt x="109" y="101"/>
                </a:lnTo>
                <a:lnTo>
                  <a:pt x="109" y="99"/>
                </a:lnTo>
                <a:lnTo>
                  <a:pt x="108" y="97"/>
                </a:lnTo>
                <a:lnTo>
                  <a:pt x="106" y="97"/>
                </a:lnTo>
                <a:lnTo>
                  <a:pt x="105" y="96"/>
                </a:lnTo>
                <a:lnTo>
                  <a:pt x="101" y="93"/>
                </a:lnTo>
                <a:lnTo>
                  <a:pt x="97" y="88"/>
                </a:lnTo>
                <a:lnTo>
                  <a:pt x="96" y="88"/>
                </a:lnTo>
                <a:lnTo>
                  <a:pt x="93" y="83"/>
                </a:lnTo>
                <a:lnTo>
                  <a:pt x="93" y="80"/>
                </a:lnTo>
                <a:lnTo>
                  <a:pt x="92" y="77"/>
                </a:lnTo>
                <a:lnTo>
                  <a:pt x="93" y="75"/>
                </a:lnTo>
                <a:lnTo>
                  <a:pt x="96" y="75"/>
                </a:lnTo>
                <a:lnTo>
                  <a:pt x="100" y="75"/>
                </a:lnTo>
                <a:lnTo>
                  <a:pt x="101" y="74"/>
                </a:lnTo>
                <a:lnTo>
                  <a:pt x="104" y="74"/>
                </a:lnTo>
                <a:lnTo>
                  <a:pt x="104" y="69"/>
                </a:lnTo>
                <a:lnTo>
                  <a:pt x="102" y="66"/>
                </a:lnTo>
                <a:lnTo>
                  <a:pt x="101" y="63"/>
                </a:lnTo>
                <a:lnTo>
                  <a:pt x="97" y="61"/>
                </a:lnTo>
                <a:lnTo>
                  <a:pt x="96" y="61"/>
                </a:lnTo>
                <a:lnTo>
                  <a:pt x="89" y="60"/>
                </a:lnTo>
                <a:lnTo>
                  <a:pt x="86" y="58"/>
                </a:lnTo>
                <a:lnTo>
                  <a:pt x="81" y="55"/>
                </a:lnTo>
                <a:lnTo>
                  <a:pt x="75" y="52"/>
                </a:lnTo>
                <a:lnTo>
                  <a:pt x="73" y="50"/>
                </a:lnTo>
                <a:lnTo>
                  <a:pt x="73" y="46"/>
                </a:lnTo>
                <a:lnTo>
                  <a:pt x="72" y="41"/>
                </a:lnTo>
                <a:lnTo>
                  <a:pt x="69" y="36"/>
                </a:lnTo>
                <a:lnTo>
                  <a:pt x="65" y="35"/>
                </a:lnTo>
                <a:lnTo>
                  <a:pt x="61" y="32"/>
                </a:lnTo>
                <a:lnTo>
                  <a:pt x="55" y="27"/>
                </a:lnTo>
                <a:lnTo>
                  <a:pt x="53" y="24"/>
                </a:lnTo>
                <a:lnTo>
                  <a:pt x="52" y="22"/>
                </a:lnTo>
                <a:lnTo>
                  <a:pt x="48" y="22"/>
                </a:lnTo>
                <a:lnTo>
                  <a:pt x="45" y="21"/>
                </a:lnTo>
                <a:lnTo>
                  <a:pt x="35" y="14"/>
                </a:lnTo>
                <a:lnTo>
                  <a:pt x="28" y="13"/>
                </a:lnTo>
                <a:lnTo>
                  <a:pt x="25" y="11"/>
                </a:lnTo>
                <a:lnTo>
                  <a:pt x="23" y="11"/>
                </a:lnTo>
                <a:lnTo>
                  <a:pt x="17" y="8"/>
                </a:lnTo>
                <a:lnTo>
                  <a:pt x="11" y="6"/>
                </a:lnTo>
                <a:lnTo>
                  <a:pt x="8" y="3"/>
                </a:lnTo>
                <a:lnTo>
                  <a:pt x="4" y="3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98" name="Freeform 497"/>
          <p:cNvSpPr>
            <a:spLocks/>
          </p:cNvSpPr>
          <p:nvPr/>
        </p:nvSpPr>
        <p:spPr bwMode="auto">
          <a:xfrm>
            <a:off x="9729909" y="4434460"/>
            <a:ext cx="286476" cy="287780"/>
          </a:xfrm>
          <a:custGeom>
            <a:avLst/>
            <a:gdLst/>
            <a:ahLst/>
            <a:cxnLst>
              <a:cxn ang="0">
                <a:pos x="1" y="44"/>
              </a:cxn>
              <a:cxn ang="0">
                <a:pos x="0" y="75"/>
              </a:cxn>
              <a:cxn ang="0">
                <a:pos x="3" y="113"/>
              </a:cxn>
              <a:cxn ang="0">
                <a:pos x="8" y="118"/>
              </a:cxn>
              <a:cxn ang="0">
                <a:pos x="16" y="118"/>
              </a:cxn>
              <a:cxn ang="0">
                <a:pos x="25" y="119"/>
              </a:cxn>
              <a:cxn ang="0">
                <a:pos x="35" y="115"/>
              </a:cxn>
              <a:cxn ang="0">
                <a:pos x="32" y="105"/>
              </a:cxn>
              <a:cxn ang="0">
                <a:pos x="37" y="101"/>
              </a:cxn>
              <a:cxn ang="0">
                <a:pos x="41" y="97"/>
              </a:cxn>
              <a:cxn ang="0">
                <a:pos x="43" y="90"/>
              </a:cxn>
              <a:cxn ang="0">
                <a:pos x="49" y="91"/>
              </a:cxn>
              <a:cxn ang="0">
                <a:pos x="55" y="90"/>
              </a:cxn>
              <a:cxn ang="0">
                <a:pos x="57" y="91"/>
              </a:cxn>
              <a:cxn ang="0">
                <a:pos x="64" y="94"/>
              </a:cxn>
              <a:cxn ang="0">
                <a:pos x="71" y="96"/>
              </a:cxn>
              <a:cxn ang="0">
                <a:pos x="80" y="105"/>
              </a:cxn>
              <a:cxn ang="0">
                <a:pos x="90" y="116"/>
              </a:cxn>
              <a:cxn ang="0">
                <a:pos x="94" y="123"/>
              </a:cxn>
              <a:cxn ang="0">
                <a:pos x="102" y="134"/>
              </a:cxn>
              <a:cxn ang="0">
                <a:pos x="109" y="135"/>
              </a:cxn>
              <a:cxn ang="0">
                <a:pos x="121" y="138"/>
              </a:cxn>
              <a:cxn ang="0">
                <a:pos x="137" y="143"/>
              </a:cxn>
              <a:cxn ang="0">
                <a:pos x="145" y="141"/>
              </a:cxn>
              <a:cxn ang="0">
                <a:pos x="144" y="138"/>
              </a:cxn>
              <a:cxn ang="0">
                <a:pos x="149" y="137"/>
              </a:cxn>
              <a:cxn ang="0">
                <a:pos x="133" y="130"/>
              </a:cxn>
              <a:cxn ang="0">
                <a:pos x="133" y="126"/>
              </a:cxn>
              <a:cxn ang="0">
                <a:pos x="125" y="123"/>
              </a:cxn>
              <a:cxn ang="0">
                <a:pos x="124" y="115"/>
              </a:cxn>
              <a:cxn ang="0">
                <a:pos x="113" y="110"/>
              </a:cxn>
              <a:cxn ang="0">
                <a:pos x="109" y="101"/>
              </a:cxn>
              <a:cxn ang="0">
                <a:pos x="106" y="97"/>
              </a:cxn>
              <a:cxn ang="0">
                <a:pos x="97" y="88"/>
              </a:cxn>
              <a:cxn ang="0">
                <a:pos x="93" y="80"/>
              </a:cxn>
              <a:cxn ang="0">
                <a:pos x="96" y="75"/>
              </a:cxn>
              <a:cxn ang="0">
                <a:pos x="104" y="74"/>
              </a:cxn>
              <a:cxn ang="0">
                <a:pos x="101" y="63"/>
              </a:cxn>
              <a:cxn ang="0">
                <a:pos x="89" y="60"/>
              </a:cxn>
              <a:cxn ang="0">
                <a:pos x="75" y="52"/>
              </a:cxn>
              <a:cxn ang="0">
                <a:pos x="72" y="41"/>
              </a:cxn>
              <a:cxn ang="0">
                <a:pos x="61" y="32"/>
              </a:cxn>
              <a:cxn ang="0">
                <a:pos x="52" y="22"/>
              </a:cxn>
              <a:cxn ang="0">
                <a:pos x="35" y="14"/>
              </a:cxn>
              <a:cxn ang="0">
                <a:pos x="23" y="11"/>
              </a:cxn>
              <a:cxn ang="0">
                <a:pos x="8" y="3"/>
              </a:cxn>
            </a:cxnLst>
            <a:rect l="0" t="0" r="r" b="b"/>
            <a:pathLst>
              <a:path w="149" h="145">
                <a:moveTo>
                  <a:pt x="0" y="0"/>
                </a:moveTo>
                <a:lnTo>
                  <a:pt x="0" y="3"/>
                </a:lnTo>
                <a:lnTo>
                  <a:pt x="1" y="44"/>
                </a:lnTo>
                <a:lnTo>
                  <a:pt x="1" y="68"/>
                </a:lnTo>
                <a:lnTo>
                  <a:pt x="0" y="74"/>
                </a:lnTo>
                <a:lnTo>
                  <a:pt x="0" y="75"/>
                </a:lnTo>
                <a:lnTo>
                  <a:pt x="1" y="80"/>
                </a:lnTo>
                <a:lnTo>
                  <a:pt x="1" y="94"/>
                </a:lnTo>
                <a:lnTo>
                  <a:pt x="3" y="113"/>
                </a:lnTo>
                <a:lnTo>
                  <a:pt x="4" y="118"/>
                </a:lnTo>
                <a:lnTo>
                  <a:pt x="7" y="116"/>
                </a:lnTo>
                <a:lnTo>
                  <a:pt x="8" y="118"/>
                </a:lnTo>
                <a:lnTo>
                  <a:pt x="11" y="119"/>
                </a:lnTo>
                <a:lnTo>
                  <a:pt x="13" y="119"/>
                </a:lnTo>
                <a:lnTo>
                  <a:pt x="16" y="118"/>
                </a:lnTo>
                <a:lnTo>
                  <a:pt x="20" y="118"/>
                </a:lnTo>
                <a:lnTo>
                  <a:pt x="21" y="118"/>
                </a:lnTo>
                <a:lnTo>
                  <a:pt x="25" y="119"/>
                </a:lnTo>
                <a:lnTo>
                  <a:pt x="27" y="119"/>
                </a:lnTo>
                <a:lnTo>
                  <a:pt x="31" y="116"/>
                </a:lnTo>
                <a:lnTo>
                  <a:pt x="35" y="115"/>
                </a:lnTo>
                <a:lnTo>
                  <a:pt x="36" y="113"/>
                </a:lnTo>
                <a:lnTo>
                  <a:pt x="33" y="108"/>
                </a:lnTo>
                <a:lnTo>
                  <a:pt x="32" y="105"/>
                </a:lnTo>
                <a:lnTo>
                  <a:pt x="31" y="104"/>
                </a:lnTo>
                <a:lnTo>
                  <a:pt x="36" y="102"/>
                </a:lnTo>
                <a:lnTo>
                  <a:pt x="37" y="101"/>
                </a:lnTo>
                <a:lnTo>
                  <a:pt x="37" y="99"/>
                </a:lnTo>
                <a:lnTo>
                  <a:pt x="39" y="97"/>
                </a:lnTo>
                <a:lnTo>
                  <a:pt x="41" y="97"/>
                </a:lnTo>
                <a:lnTo>
                  <a:pt x="44" y="96"/>
                </a:lnTo>
                <a:lnTo>
                  <a:pt x="43" y="94"/>
                </a:lnTo>
                <a:lnTo>
                  <a:pt x="43" y="90"/>
                </a:lnTo>
                <a:lnTo>
                  <a:pt x="44" y="91"/>
                </a:lnTo>
                <a:lnTo>
                  <a:pt x="48" y="91"/>
                </a:lnTo>
                <a:lnTo>
                  <a:pt x="49" y="91"/>
                </a:lnTo>
                <a:lnTo>
                  <a:pt x="51" y="90"/>
                </a:lnTo>
                <a:lnTo>
                  <a:pt x="52" y="88"/>
                </a:lnTo>
                <a:lnTo>
                  <a:pt x="55" y="90"/>
                </a:lnTo>
                <a:lnTo>
                  <a:pt x="56" y="90"/>
                </a:lnTo>
                <a:lnTo>
                  <a:pt x="57" y="90"/>
                </a:lnTo>
                <a:lnTo>
                  <a:pt x="57" y="91"/>
                </a:lnTo>
                <a:lnTo>
                  <a:pt x="60" y="93"/>
                </a:lnTo>
                <a:lnTo>
                  <a:pt x="61" y="93"/>
                </a:lnTo>
                <a:lnTo>
                  <a:pt x="64" y="94"/>
                </a:lnTo>
                <a:lnTo>
                  <a:pt x="65" y="94"/>
                </a:lnTo>
                <a:lnTo>
                  <a:pt x="68" y="96"/>
                </a:lnTo>
                <a:lnTo>
                  <a:pt x="71" y="96"/>
                </a:lnTo>
                <a:lnTo>
                  <a:pt x="76" y="99"/>
                </a:lnTo>
                <a:lnTo>
                  <a:pt x="80" y="101"/>
                </a:lnTo>
                <a:lnTo>
                  <a:pt x="80" y="105"/>
                </a:lnTo>
                <a:lnTo>
                  <a:pt x="84" y="112"/>
                </a:lnTo>
                <a:lnTo>
                  <a:pt x="85" y="115"/>
                </a:lnTo>
                <a:lnTo>
                  <a:pt x="90" y="116"/>
                </a:lnTo>
                <a:lnTo>
                  <a:pt x="90" y="119"/>
                </a:lnTo>
                <a:lnTo>
                  <a:pt x="92" y="123"/>
                </a:lnTo>
                <a:lnTo>
                  <a:pt x="94" y="123"/>
                </a:lnTo>
                <a:lnTo>
                  <a:pt x="96" y="124"/>
                </a:lnTo>
                <a:lnTo>
                  <a:pt x="98" y="127"/>
                </a:lnTo>
                <a:lnTo>
                  <a:pt x="102" y="134"/>
                </a:lnTo>
                <a:lnTo>
                  <a:pt x="104" y="134"/>
                </a:lnTo>
                <a:lnTo>
                  <a:pt x="106" y="135"/>
                </a:lnTo>
                <a:lnTo>
                  <a:pt x="109" y="135"/>
                </a:lnTo>
                <a:lnTo>
                  <a:pt x="112" y="137"/>
                </a:lnTo>
                <a:lnTo>
                  <a:pt x="117" y="137"/>
                </a:lnTo>
                <a:lnTo>
                  <a:pt x="121" y="138"/>
                </a:lnTo>
                <a:lnTo>
                  <a:pt x="136" y="140"/>
                </a:lnTo>
                <a:lnTo>
                  <a:pt x="136" y="141"/>
                </a:lnTo>
                <a:lnTo>
                  <a:pt x="137" y="143"/>
                </a:lnTo>
                <a:lnTo>
                  <a:pt x="141" y="145"/>
                </a:lnTo>
                <a:lnTo>
                  <a:pt x="144" y="143"/>
                </a:lnTo>
                <a:lnTo>
                  <a:pt x="145" y="141"/>
                </a:lnTo>
                <a:lnTo>
                  <a:pt x="144" y="140"/>
                </a:lnTo>
                <a:lnTo>
                  <a:pt x="141" y="138"/>
                </a:lnTo>
                <a:lnTo>
                  <a:pt x="144" y="138"/>
                </a:lnTo>
                <a:lnTo>
                  <a:pt x="146" y="138"/>
                </a:lnTo>
                <a:lnTo>
                  <a:pt x="149" y="138"/>
                </a:lnTo>
                <a:lnTo>
                  <a:pt x="149" y="137"/>
                </a:lnTo>
                <a:lnTo>
                  <a:pt x="142" y="135"/>
                </a:lnTo>
                <a:lnTo>
                  <a:pt x="138" y="134"/>
                </a:lnTo>
                <a:lnTo>
                  <a:pt x="133" y="130"/>
                </a:lnTo>
                <a:lnTo>
                  <a:pt x="134" y="129"/>
                </a:lnTo>
                <a:lnTo>
                  <a:pt x="136" y="127"/>
                </a:lnTo>
                <a:lnTo>
                  <a:pt x="133" y="126"/>
                </a:lnTo>
                <a:lnTo>
                  <a:pt x="130" y="124"/>
                </a:lnTo>
                <a:lnTo>
                  <a:pt x="126" y="124"/>
                </a:lnTo>
                <a:lnTo>
                  <a:pt x="125" y="123"/>
                </a:lnTo>
                <a:lnTo>
                  <a:pt x="125" y="119"/>
                </a:lnTo>
                <a:lnTo>
                  <a:pt x="125" y="116"/>
                </a:lnTo>
                <a:lnTo>
                  <a:pt x="124" y="115"/>
                </a:lnTo>
                <a:lnTo>
                  <a:pt x="117" y="116"/>
                </a:lnTo>
                <a:lnTo>
                  <a:pt x="114" y="115"/>
                </a:lnTo>
                <a:lnTo>
                  <a:pt x="113" y="110"/>
                </a:lnTo>
                <a:lnTo>
                  <a:pt x="110" y="108"/>
                </a:lnTo>
                <a:lnTo>
                  <a:pt x="109" y="105"/>
                </a:lnTo>
                <a:lnTo>
                  <a:pt x="109" y="101"/>
                </a:lnTo>
                <a:lnTo>
                  <a:pt x="109" y="99"/>
                </a:lnTo>
                <a:lnTo>
                  <a:pt x="108" y="97"/>
                </a:lnTo>
                <a:lnTo>
                  <a:pt x="106" y="97"/>
                </a:lnTo>
                <a:lnTo>
                  <a:pt x="105" y="96"/>
                </a:lnTo>
                <a:lnTo>
                  <a:pt x="101" y="93"/>
                </a:lnTo>
                <a:lnTo>
                  <a:pt x="97" y="88"/>
                </a:lnTo>
                <a:lnTo>
                  <a:pt x="96" y="88"/>
                </a:lnTo>
                <a:lnTo>
                  <a:pt x="93" y="83"/>
                </a:lnTo>
                <a:lnTo>
                  <a:pt x="93" y="80"/>
                </a:lnTo>
                <a:lnTo>
                  <a:pt x="92" y="77"/>
                </a:lnTo>
                <a:lnTo>
                  <a:pt x="93" y="75"/>
                </a:lnTo>
                <a:lnTo>
                  <a:pt x="96" y="75"/>
                </a:lnTo>
                <a:lnTo>
                  <a:pt x="100" y="75"/>
                </a:lnTo>
                <a:lnTo>
                  <a:pt x="101" y="74"/>
                </a:lnTo>
                <a:lnTo>
                  <a:pt x="104" y="74"/>
                </a:lnTo>
                <a:lnTo>
                  <a:pt x="104" y="69"/>
                </a:lnTo>
                <a:lnTo>
                  <a:pt x="102" y="66"/>
                </a:lnTo>
                <a:lnTo>
                  <a:pt x="101" y="63"/>
                </a:lnTo>
                <a:lnTo>
                  <a:pt x="97" y="61"/>
                </a:lnTo>
                <a:lnTo>
                  <a:pt x="96" y="61"/>
                </a:lnTo>
                <a:lnTo>
                  <a:pt x="89" y="60"/>
                </a:lnTo>
                <a:lnTo>
                  <a:pt x="86" y="58"/>
                </a:lnTo>
                <a:lnTo>
                  <a:pt x="81" y="55"/>
                </a:lnTo>
                <a:lnTo>
                  <a:pt x="75" y="52"/>
                </a:lnTo>
                <a:lnTo>
                  <a:pt x="73" y="50"/>
                </a:lnTo>
                <a:lnTo>
                  <a:pt x="73" y="46"/>
                </a:lnTo>
                <a:lnTo>
                  <a:pt x="72" y="41"/>
                </a:lnTo>
                <a:lnTo>
                  <a:pt x="69" y="36"/>
                </a:lnTo>
                <a:lnTo>
                  <a:pt x="65" y="35"/>
                </a:lnTo>
                <a:lnTo>
                  <a:pt x="61" y="32"/>
                </a:lnTo>
                <a:lnTo>
                  <a:pt x="55" y="27"/>
                </a:lnTo>
                <a:lnTo>
                  <a:pt x="53" y="24"/>
                </a:lnTo>
                <a:lnTo>
                  <a:pt x="52" y="22"/>
                </a:lnTo>
                <a:lnTo>
                  <a:pt x="48" y="22"/>
                </a:lnTo>
                <a:lnTo>
                  <a:pt x="45" y="21"/>
                </a:lnTo>
                <a:lnTo>
                  <a:pt x="35" y="14"/>
                </a:lnTo>
                <a:lnTo>
                  <a:pt x="28" y="13"/>
                </a:lnTo>
                <a:lnTo>
                  <a:pt x="25" y="11"/>
                </a:lnTo>
                <a:lnTo>
                  <a:pt x="23" y="11"/>
                </a:lnTo>
                <a:lnTo>
                  <a:pt x="17" y="8"/>
                </a:lnTo>
                <a:lnTo>
                  <a:pt x="11" y="6"/>
                </a:lnTo>
                <a:lnTo>
                  <a:pt x="8" y="3"/>
                </a:lnTo>
                <a:lnTo>
                  <a:pt x="4" y="3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599" name="Freeform 498"/>
          <p:cNvSpPr>
            <a:spLocks/>
          </p:cNvSpPr>
          <p:nvPr/>
        </p:nvSpPr>
        <p:spPr bwMode="auto">
          <a:xfrm>
            <a:off x="5522419" y="3815950"/>
            <a:ext cx="222164" cy="193284"/>
          </a:xfrm>
          <a:custGeom>
            <a:avLst/>
            <a:gdLst/>
            <a:ahLst/>
            <a:cxnLst>
              <a:cxn ang="0">
                <a:pos x="68" y="3"/>
              </a:cxn>
              <a:cxn ang="0">
                <a:pos x="51" y="15"/>
              </a:cxn>
              <a:cxn ang="0">
                <a:pos x="32" y="28"/>
              </a:cxn>
              <a:cxn ang="0">
                <a:pos x="24" y="29"/>
              </a:cxn>
              <a:cxn ang="0">
                <a:pos x="19" y="37"/>
              </a:cxn>
              <a:cxn ang="0">
                <a:pos x="14" y="51"/>
              </a:cxn>
              <a:cxn ang="0">
                <a:pos x="6" y="59"/>
              </a:cxn>
              <a:cxn ang="0">
                <a:pos x="2" y="70"/>
              </a:cxn>
              <a:cxn ang="0">
                <a:pos x="2" y="83"/>
              </a:cxn>
              <a:cxn ang="0">
                <a:pos x="4" y="88"/>
              </a:cxn>
              <a:cxn ang="0">
                <a:pos x="7" y="91"/>
              </a:cxn>
              <a:cxn ang="0">
                <a:pos x="11" y="94"/>
              </a:cxn>
              <a:cxn ang="0">
                <a:pos x="14" y="95"/>
              </a:cxn>
              <a:cxn ang="0">
                <a:pos x="18" y="92"/>
              </a:cxn>
              <a:cxn ang="0">
                <a:pos x="25" y="89"/>
              </a:cxn>
              <a:cxn ang="0">
                <a:pos x="32" y="89"/>
              </a:cxn>
              <a:cxn ang="0">
                <a:pos x="35" y="94"/>
              </a:cxn>
              <a:cxn ang="0">
                <a:pos x="39" y="97"/>
              </a:cxn>
              <a:cxn ang="0">
                <a:pos x="39" y="92"/>
              </a:cxn>
              <a:cxn ang="0">
                <a:pos x="39" y="83"/>
              </a:cxn>
              <a:cxn ang="0">
                <a:pos x="36" y="78"/>
              </a:cxn>
              <a:cxn ang="0">
                <a:pos x="37" y="70"/>
              </a:cxn>
              <a:cxn ang="0">
                <a:pos x="48" y="70"/>
              </a:cxn>
              <a:cxn ang="0">
                <a:pos x="68" y="72"/>
              </a:cxn>
              <a:cxn ang="0">
                <a:pos x="85" y="70"/>
              </a:cxn>
              <a:cxn ang="0">
                <a:pos x="88" y="70"/>
              </a:cxn>
              <a:cxn ang="0">
                <a:pos x="93" y="69"/>
              </a:cxn>
              <a:cxn ang="0">
                <a:pos x="96" y="67"/>
              </a:cxn>
              <a:cxn ang="0">
                <a:pos x="99" y="66"/>
              </a:cxn>
              <a:cxn ang="0">
                <a:pos x="103" y="62"/>
              </a:cxn>
              <a:cxn ang="0">
                <a:pos x="109" y="62"/>
              </a:cxn>
              <a:cxn ang="0">
                <a:pos x="115" y="58"/>
              </a:cxn>
              <a:cxn ang="0">
                <a:pos x="116" y="53"/>
              </a:cxn>
              <a:cxn ang="0">
                <a:pos x="111" y="48"/>
              </a:cxn>
              <a:cxn ang="0">
                <a:pos x="112" y="45"/>
              </a:cxn>
              <a:cxn ang="0">
                <a:pos x="111" y="40"/>
              </a:cxn>
              <a:cxn ang="0">
                <a:pos x="107" y="42"/>
              </a:cxn>
              <a:cxn ang="0">
                <a:pos x="100" y="40"/>
              </a:cxn>
              <a:cxn ang="0">
                <a:pos x="95" y="29"/>
              </a:cxn>
              <a:cxn ang="0">
                <a:pos x="84" y="17"/>
              </a:cxn>
              <a:cxn ang="0">
                <a:pos x="84" y="11"/>
              </a:cxn>
              <a:cxn ang="0">
                <a:pos x="81" y="4"/>
              </a:cxn>
            </a:cxnLst>
            <a:rect l="0" t="0" r="r" b="b"/>
            <a:pathLst>
              <a:path w="116" h="97">
                <a:moveTo>
                  <a:pt x="81" y="0"/>
                </a:moveTo>
                <a:lnTo>
                  <a:pt x="73" y="0"/>
                </a:lnTo>
                <a:lnTo>
                  <a:pt x="68" y="3"/>
                </a:lnTo>
                <a:lnTo>
                  <a:pt x="65" y="4"/>
                </a:lnTo>
                <a:lnTo>
                  <a:pt x="61" y="7"/>
                </a:lnTo>
                <a:lnTo>
                  <a:pt x="51" y="15"/>
                </a:lnTo>
                <a:lnTo>
                  <a:pt x="47" y="20"/>
                </a:lnTo>
                <a:lnTo>
                  <a:pt x="43" y="25"/>
                </a:lnTo>
                <a:lnTo>
                  <a:pt x="32" y="28"/>
                </a:lnTo>
                <a:lnTo>
                  <a:pt x="28" y="29"/>
                </a:lnTo>
                <a:lnTo>
                  <a:pt x="25" y="29"/>
                </a:lnTo>
                <a:lnTo>
                  <a:pt x="24" y="29"/>
                </a:lnTo>
                <a:lnTo>
                  <a:pt x="21" y="33"/>
                </a:lnTo>
                <a:lnTo>
                  <a:pt x="20" y="34"/>
                </a:lnTo>
                <a:lnTo>
                  <a:pt x="19" y="37"/>
                </a:lnTo>
                <a:lnTo>
                  <a:pt x="18" y="42"/>
                </a:lnTo>
                <a:lnTo>
                  <a:pt x="16" y="48"/>
                </a:lnTo>
                <a:lnTo>
                  <a:pt x="14" y="51"/>
                </a:lnTo>
                <a:lnTo>
                  <a:pt x="8" y="55"/>
                </a:lnTo>
                <a:lnTo>
                  <a:pt x="7" y="58"/>
                </a:lnTo>
                <a:lnTo>
                  <a:pt x="6" y="59"/>
                </a:lnTo>
                <a:lnTo>
                  <a:pt x="4" y="62"/>
                </a:lnTo>
                <a:lnTo>
                  <a:pt x="4" y="66"/>
                </a:lnTo>
                <a:lnTo>
                  <a:pt x="2" y="70"/>
                </a:lnTo>
                <a:lnTo>
                  <a:pt x="0" y="73"/>
                </a:lnTo>
                <a:lnTo>
                  <a:pt x="0" y="78"/>
                </a:lnTo>
                <a:lnTo>
                  <a:pt x="2" y="83"/>
                </a:lnTo>
                <a:lnTo>
                  <a:pt x="2" y="84"/>
                </a:lnTo>
                <a:lnTo>
                  <a:pt x="3" y="84"/>
                </a:lnTo>
                <a:lnTo>
                  <a:pt x="4" y="88"/>
                </a:lnTo>
                <a:lnTo>
                  <a:pt x="6" y="89"/>
                </a:lnTo>
                <a:lnTo>
                  <a:pt x="6" y="91"/>
                </a:lnTo>
                <a:lnTo>
                  <a:pt x="7" y="91"/>
                </a:lnTo>
                <a:lnTo>
                  <a:pt x="7" y="92"/>
                </a:lnTo>
                <a:lnTo>
                  <a:pt x="10" y="94"/>
                </a:lnTo>
                <a:lnTo>
                  <a:pt x="11" y="94"/>
                </a:lnTo>
                <a:lnTo>
                  <a:pt x="11" y="92"/>
                </a:lnTo>
                <a:lnTo>
                  <a:pt x="12" y="94"/>
                </a:lnTo>
                <a:lnTo>
                  <a:pt x="14" y="95"/>
                </a:lnTo>
                <a:lnTo>
                  <a:pt x="15" y="94"/>
                </a:lnTo>
                <a:lnTo>
                  <a:pt x="15" y="92"/>
                </a:lnTo>
                <a:lnTo>
                  <a:pt x="18" y="92"/>
                </a:lnTo>
                <a:lnTo>
                  <a:pt x="19" y="91"/>
                </a:lnTo>
                <a:lnTo>
                  <a:pt x="23" y="89"/>
                </a:lnTo>
                <a:lnTo>
                  <a:pt x="25" y="89"/>
                </a:lnTo>
                <a:lnTo>
                  <a:pt x="27" y="89"/>
                </a:lnTo>
                <a:lnTo>
                  <a:pt x="31" y="91"/>
                </a:lnTo>
                <a:lnTo>
                  <a:pt x="32" y="89"/>
                </a:lnTo>
                <a:lnTo>
                  <a:pt x="33" y="92"/>
                </a:lnTo>
                <a:lnTo>
                  <a:pt x="35" y="92"/>
                </a:lnTo>
                <a:lnTo>
                  <a:pt x="35" y="94"/>
                </a:lnTo>
                <a:lnTo>
                  <a:pt x="36" y="97"/>
                </a:lnTo>
                <a:lnTo>
                  <a:pt x="37" y="97"/>
                </a:lnTo>
                <a:lnTo>
                  <a:pt x="39" y="97"/>
                </a:lnTo>
                <a:lnTo>
                  <a:pt x="40" y="97"/>
                </a:lnTo>
                <a:lnTo>
                  <a:pt x="39" y="94"/>
                </a:lnTo>
                <a:lnTo>
                  <a:pt x="39" y="92"/>
                </a:lnTo>
                <a:lnTo>
                  <a:pt x="39" y="89"/>
                </a:lnTo>
                <a:lnTo>
                  <a:pt x="37" y="86"/>
                </a:lnTo>
                <a:lnTo>
                  <a:pt x="39" y="83"/>
                </a:lnTo>
                <a:lnTo>
                  <a:pt x="37" y="81"/>
                </a:lnTo>
                <a:lnTo>
                  <a:pt x="37" y="80"/>
                </a:lnTo>
                <a:lnTo>
                  <a:pt x="36" y="78"/>
                </a:lnTo>
                <a:lnTo>
                  <a:pt x="36" y="77"/>
                </a:lnTo>
                <a:lnTo>
                  <a:pt x="36" y="73"/>
                </a:lnTo>
                <a:lnTo>
                  <a:pt x="37" y="70"/>
                </a:lnTo>
                <a:lnTo>
                  <a:pt x="41" y="70"/>
                </a:lnTo>
                <a:lnTo>
                  <a:pt x="44" y="70"/>
                </a:lnTo>
                <a:lnTo>
                  <a:pt x="48" y="70"/>
                </a:lnTo>
                <a:lnTo>
                  <a:pt x="56" y="70"/>
                </a:lnTo>
                <a:lnTo>
                  <a:pt x="63" y="72"/>
                </a:lnTo>
                <a:lnTo>
                  <a:pt x="68" y="72"/>
                </a:lnTo>
                <a:lnTo>
                  <a:pt x="72" y="69"/>
                </a:lnTo>
                <a:lnTo>
                  <a:pt x="76" y="69"/>
                </a:lnTo>
                <a:lnTo>
                  <a:pt x="85" y="70"/>
                </a:lnTo>
                <a:lnTo>
                  <a:pt x="87" y="72"/>
                </a:lnTo>
                <a:lnTo>
                  <a:pt x="88" y="72"/>
                </a:lnTo>
                <a:lnTo>
                  <a:pt x="88" y="70"/>
                </a:lnTo>
                <a:lnTo>
                  <a:pt x="92" y="70"/>
                </a:lnTo>
                <a:lnTo>
                  <a:pt x="93" y="70"/>
                </a:lnTo>
                <a:lnTo>
                  <a:pt x="93" y="69"/>
                </a:lnTo>
                <a:lnTo>
                  <a:pt x="95" y="69"/>
                </a:lnTo>
                <a:lnTo>
                  <a:pt x="95" y="67"/>
                </a:lnTo>
                <a:lnTo>
                  <a:pt x="96" y="67"/>
                </a:lnTo>
                <a:lnTo>
                  <a:pt x="96" y="66"/>
                </a:lnTo>
                <a:lnTo>
                  <a:pt x="97" y="66"/>
                </a:lnTo>
                <a:lnTo>
                  <a:pt x="99" y="66"/>
                </a:lnTo>
                <a:lnTo>
                  <a:pt x="100" y="62"/>
                </a:lnTo>
                <a:lnTo>
                  <a:pt x="101" y="62"/>
                </a:lnTo>
                <a:lnTo>
                  <a:pt x="103" y="62"/>
                </a:lnTo>
                <a:lnTo>
                  <a:pt x="105" y="62"/>
                </a:lnTo>
                <a:lnTo>
                  <a:pt x="107" y="62"/>
                </a:lnTo>
                <a:lnTo>
                  <a:pt x="109" y="62"/>
                </a:lnTo>
                <a:lnTo>
                  <a:pt x="111" y="62"/>
                </a:lnTo>
                <a:lnTo>
                  <a:pt x="113" y="58"/>
                </a:lnTo>
                <a:lnTo>
                  <a:pt x="115" y="58"/>
                </a:lnTo>
                <a:lnTo>
                  <a:pt x="115" y="56"/>
                </a:lnTo>
                <a:lnTo>
                  <a:pt x="116" y="55"/>
                </a:lnTo>
                <a:lnTo>
                  <a:pt x="116" y="53"/>
                </a:lnTo>
                <a:lnTo>
                  <a:pt x="116" y="55"/>
                </a:lnTo>
                <a:lnTo>
                  <a:pt x="112" y="51"/>
                </a:lnTo>
                <a:lnTo>
                  <a:pt x="111" y="48"/>
                </a:lnTo>
                <a:lnTo>
                  <a:pt x="111" y="47"/>
                </a:lnTo>
                <a:lnTo>
                  <a:pt x="111" y="45"/>
                </a:lnTo>
                <a:lnTo>
                  <a:pt x="112" y="45"/>
                </a:lnTo>
                <a:lnTo>
                  <a:pt x="113" y="45"/>
                </a:lnTo>
                <a:lnTo>
                  <a:pt x="113" y="44"/>
                </a:lnTo>
                <a:lnTo>
                  <a:pt x="111" y="40"/>
                </a:lnTo>
                <a:lnTo>
                  <a:pt x="109" y="40"/>
                </a:lnTo>
                <a:lnTo>
                  <a:pt x="108" y="40"/>
                </a:lnTo>
                <a:lnTo>
                  <a:pt x="107" y="42"/>
                </a:lnTo>
                <a:lnTo>
                  <a:pt x="105" y="42"/>
                </a:lnTo>
                <a:lnTo>
                  <a:pt x="101" y="40"/>
                </a:lnTo>
                <a:lnTo>
                  <a:pt x="100" y="40"/>
                </a:lnTo>
                <a:lnTo>
                  <a:pt x="97" y="36"/>
                </a:lnTo>
                <a:lnTo>
                  <a:pt x="96" y="34"/>
                </a:lnTo>
                <a:lnTo>
                  <a:pt x="95" y="29"/>
                </a:lnTo>
                <a:lnTo>
                  <a:pt x="92" y="26"/>
                </a:lnTo>
                <a:lnTo>
                  <a:pt x="88" y="22"/>
                </a:lnTo>
                <a:lnTo>
                  <a:pt x="84" y="17"/>
                </a:lnTo>
                <a:lnTo>
                  <a:pt x="84" y="15"/>
                </a:lnTo>
                <a:lnTo>
                  <a:pt x="84" y="12"/>
                </a:lnTo>
                <a:lnTo>
                  <a:pt x="84" y="11"/>
                </a:lnTo>
                <a:lnTo>
                  <a:pt x="81" y="9"/>
                </a:lnTo>
                <a:lnTo>
                  <a:pt x="80" y="7"/>
                </a:lnTo>
                <a:lnTo>
                  <a:pt x="81" y="4"/>
                </a:lnTo>
                <a:lnTo>
                  <a:pt x="81" y="1"/>
                </a:lnTo>
                <a:lnTo>
                  <a:pt x="8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00" name="Freeform 499"/>
          <p:cNvSpPr>
            <a:spLocks/>
          </p:cNvSpPr>
          <p:nvPr/>
        </p:nvSpPr>
        <p:spPr bwMode="auto">
          <a:xfrm>
            <a:off x="5522419" y="3815950"/>
            <a:ext cx="222164" cy="193284"/>
          </a:xfrm>
          <a:custGeom>
            <a:avLst/>
            <a:gdLst/>
            <a:ahLst/>
            <a:cxnLst>
              <a:cxn ang="0">
                <a:pos x="68" y="3"/>
              </a:cxn>
              <a:cxn ang="0">
                <a:pos x="51" y="15"/>
              </a:cxn>
              <a:cxn ang="0">
                <a:pos x="32" y="28"/>
              </a:cxn>
              <a:cxn ang="0">
                <a:pos x="24" y="29"/>
              </a:cxn>
              <a:cxn ang="0">
                <a:pos x="19" y="37"/>
              </a:cxn>
              <a:cxn ang="0">
                <a:pos x="14" y="51"/>
              </a:cxn>
              <a:cxn ang="0">
                <a:pos x="6" y="59"/>
              </a:cxn>
              <a:cxn ang="0">
                <a:pos x="2" y="70"/>
              </a:cxn>
              <a:cxn ang="0">
                <a:pos x="2" y="83"/>
              </a:cxn>
              <a:cxn ang="0">
                <a:pos x="4" y="88"/>
              </a:cxn>
              <a:cxn ang="0">
                <a:pos x="7" y="91"/>
              </a:cxn>
              <a:cxn ang="0">
                <a:pos x="11" y="94"/>
              </a:cxn>
              <a:cxn ang="0">
                <a:pos x="14" y="95"/>
              </a:cxn>
              <a:cxn ang="0">
                <a:pos x="18" y="92"/>
              </a:cxn>
              <a:cxn ang="0">
                <a:pos x="25" y="89"/>
              </a:cxn>
              <a:cxn ang="0">
                <a:pos x="32" y="89"/>
              </a:cxn>
              <a:cxn ang="0">
                <a:pos x="35" y="94"/>
              </a:cxn>
              <a:cxn ang="0">
                <a:pos x="39" y="97"/>
              </a:cxn>
              <a:cxn ang="0">
                <a:pos x="39" y="92"/>
              </a:cxn>
              <a:cxn ang="0">
                <a:pos x="39" y="83"/>
              </a:cxn>
              <a:cxn ang="0">
                <a:pos x="36" y="78"/>
              </a:cxn>
              <a:cxn ang="0">
                <a:pos x="37" y="70"/>
              </a:cxn>
              <a:cxn ang="0">
                <a:pos x="48" y="70"/>
              </a:cxn>
              <a:cxn ang="0">
                <a:pos x="68" y="72"/>
              </a:cxn>
              <a:cxn ang="0">
                <a:pos x="85" y="70"/>
              </a:cxn>
              <a:cxn ang="0">
                <a:pos x="88" y="70"/>
              </a:cxn>
              <a:cxn ang="0">
                <a:pos x="93" y="69"/>
              </a:cxn>
              <a:cxn ang="0">
                <a:pos x="96" y="67"/>
              </a:cxn>
              <a:cxn ang="0">
                <a:pos x="99" y="66"/>
              </a:cxn>
              <a:cxn ang="0">
                <a:pos x="103" y="62"/>
              </a:cxn>
              <a:cxn ang="0">
                <a:pos x="109" y="62"/>
              </a:cxn>
              <a:cxn ang="0">
                <a:pos x="115" y="58"/>
              </a:cxn>
              <a:cxn ang="0">
                <a:pos x="116" y="53"/>
              </a:cxn>
              <a:cxn ang="0">
                <a:pos x="111" y="48"/>
              </a:cxn>
              <a:cxn ang="0">
                <a:pos x="112" y="45"/>
              </a:cxn>
              <a:cxn ang="0">
                <a:pos x="111" y="40"/>
              </a:cxn>
              <a:cxn ang="0">
                <a:pos x="107" y="42"/>
              </a:cxn>
              <a:cxn ang="0">
                <a:pos x="100" y="40"/>
              </a:cxn>
              <a:cxn ang="0">
                <a:pos x="95" y="29"/>
              </a:cxn>
              <a:cxn ang="0">
                <a:pos x="84" y="17"/>
              </a:cxn>
              <a:cxn ang="0">
                <a:pos x="84" y="11"/>
              </a:cxn>
              <a:cxn ang="0">
                <a:pos x="81" y="4"/>
              </a:cxn>
            </a:cxnLst>
            <a:rect l="0" t="0" r="r" b="b"/>
            <a:pathLst>
              <a:path w="116" h="97">
                <a:moveTo>
                  <a:pt x="81" y="0"/>
                </a:moveTo>
                <a:lnTo>
                  <a:pt x="73" y="0"/>
                </a:lnTo>
                <a:lnTo>
                  <a:pt x="68" y="3"/>
                </a:lnTo>
                <a:lnTo>
                  <a:pt x="65" y="4"/>
                </a:lnTo>
                <a:lnTo>
                  <a:pt x="61" y="7"/>
                </a:lnTo>
                <a:lnTo>
                  <a:pt x="51" y="15"/>
                </a:lnTo>
                <a:lnTo>
                  <a:pt x="47" y="20"/>
                </a:lnTo>
                <a:lnTo>
                  <a:pt x="43" y="25"/>
                </a:lnTo>
                <a:lnTo>
                  <a:pt x="32" y="28"/>
                </a:lnTo>
                <a:lnTo>
                  <a:pt x="28" y="29"/>
                </a:lnTo>
                <a:lnTo>
                  <a:pt x="25" y="29"/>
                </a:lnTo>
                <a:lnTo>
                  <a:pt x="24" y="29"/>
                </a:lnTo>
                <a:lnTo>
                  <a:pt x="21" y="33"/>
                </a:lnTo>
                <a:lnTo>
                  <a:pt x="20" y="34"/>
                </a:lnTo>
                <a:lnTo>
                  <a:pt x="19" y="37"/>
                </a:lnTo>
                <a:lnTo>
                  <a:pt x="18" y="42"/>
                </a:lnTo>
                <a:lnTo>
                  <a:pt x="16" y="48"/>
                </a:lnTo>
                <a:lnTo>
                  <a:pt x="14" y="51"/>
                </a:lnTo>
                <a:lnTo>
                  <a:pt x="8" y="55"/>
                </a:lnTo>
                <a:lnTo>
                  <a:pt x="7" y="58"/>
                </a:lnTo>
                <a:lnTo>
                  <a:pt x="6" y="59"/>
                </a:lnTo>
                <a:lnTo>
                  <a:pt x="4" y="62"/>
                </a:lnTo>
                <a:lnTo>
                  <a:pt x="4" y="66"/>
                </a:lnTo>
                <a:lnTo>
                  <a:pt x="2" y="70"/>
                </a:lnTo>
                <a:lnTo>
                  <a:pt x="0" y="73"/>
                </a:lnTo>
                <a:lnTo>
                  <a:pt x="0" y="78"/>
                </a:lnTo>
                <a:lnTo>
                  <a:pt x="2" y="83"/>
                </a:lnTo>
                <a:lnTo>
                  <a:pt x="2" y="84"/>
                </a:lnTo>
                <a:lnTo>
                  <a:pt x="3" y="84"/>
                </a:lnTo>
                <a:lnTo>
                  <a:pt x="4" y="88"/>
                </a:lnTo>
                <a:lnTo>
                  <a:pt x="6" y="89"/>
                </a:lnTo>
                <a:lnTo>
                  <a:pt x="6" y="91"/>
                </a:lnTo>
                <a:lnTo>
                  <a:pt x="7" y="91"/>
                </a:lnTo>
                <a:lnTo>
                  <a:pt x="7" y="92"/>
                </a:lnTo>
                <a:lnTo>
                  <a:pt x="10" y="94"/>
                </a:lnTo>
                <a:lnTo>
                  <a:pt x="11" y="94"/>
                </a:lnTo>
                <a:lnTo>
                  <a:pt x="11" y="92"/>
                </a:lnTo>
                <a:lnTo>
                  <a:pt x="12" y="94"/>
                </a:lnTo>
                <a:lnTo>
                  <a:pt x="14" y="95"/>
                </a:lnTo>
                <a:lnTo>
                  <a:pt x="15" y="94"/>
                </a:lnTo>
                <a:lnTo>
                  <a:pt x="15" y="92"/>
                </a:lnTo>
                <a:lnTo>
                  <a:pt x="18" y="92"/>
                </a:lnTo>
                <a:lnTo>
                  <a:pt x="19" y="91"/>
                </a:lnTo>
                <a:lnTo>
                  <a:pt x="23" y="89"/>
                </a:lnTo>
                <a:lnTo>
                  <a:pt x="25" y="89"/>
                </a:lnTo>
                <a:lnTo>
                  <a:pt x="27" y="89"/>
                </a:lnTo>
                <a:lnTo>
                  <a:pt x="31" y="91"/>
                </a:lnTo>
                <a:lnTo>
                  <a:pt x="32" y="89"/>
                </a:lnTo>
                <a:lnTo>
                  <a:pt x="33" y="92"/>
                </a:lnTo>
                <a:lnTo>
                  <a:pt x="35" y="92"/>
                </a:lnTo>
                <a:lnTo>
                  <a:pt x="35" y="94"/>
                </a:lnTo>
                <a:lnTo>
                  <a:pt x="36" y="97"/>
                </a:lnTo>
                <a:lnTo>
                  <a:pt x="37" y="97"/>
                </a:lnTo>
                <a:lnTo>
                  <a:pt x="39" y="97"/>
                </a:lnTo>
                <a:lnTo>
                  <a:pt x="40" y="97"/>
                </a:lnTo>
                <a:lnTo>
                  <a:pt x="39" y="94"/>
                </a:lnTo>
                <a:lnTo>
                  <a:pt x="39" y="92"/>
                </a:lnTo>
                <a:lnTo>
                  <a:pt x="39" y="89"/>
                </a:lnTo>
                <a:lnTo>
                  <a:pt x="37" y="86"/>
                </a:lnTo>
                <a:lnTo>
                  <a:pt x="39" y="83"/>
                </a:lnTo>
                <a:lnTo>
                  <a:pt x="37" y="81"/>
                </a:lnTo>
                <a:lnTo>
                  <a:pt x="37" y="80"/>
                </a:lnTo>
                <a:lnTo>
                  <a:pt x="36" y="78"/>
                </a:lnTo>
                <a:lnTo>
                  <a:pt x="36" y="77"/>
                </a:lnTo>
                <a:lnTo>
                  <a:pt x="36" y="73"/>
                </a:lnTo>
                <a:lnTo>
                  <a:pt x="37" y="70"/>
                </a:lnTo>
                <a:lnTo>
                  <a:pt x="41" y="70"/>
                </a:lnTo>
                <a:lnTo>
                  <a:pt x="44" y="70"/>
                </a:lnTo>
                <a:lnTo>
                  <a:pt x="48" y="70"/>
                </a:lnTo>
                <a:lnTo>
                  <a:pt x="56" y="70"/>
                </a:lnTo>
                <a:lnTo>
                  <a:pt x="63" y="72"/>
                </a:lnTo>
                <a:lnTo>
                  <a:pt x="68" y="72"/>
                </a:lnTo>
                <a:lnTo>
                  <a:pt x="72" y="69"/>
                </a:lnTo>
                <a:lnTo>
                  <a:pt x="76" y="69"/>
                </a:lnTo>
                <a:lnTo>
                  <a:pt x="85" y="70"/>
                </a:lnTo>
                <a:lnTo>
                  <a:pt x="87" y="72"/>
                </a:lnTo>
                <a:lnTo>
                  <a:pt x="88" y="72"/>
                </a:lnTo>
                <a:lnTo>
                  <a:pt x="88" y="70"/>
                </a:lnTo>
                <a:lnTo>
                  <a:pt x="92" y="70"/>
                </a:lnTo>
                <a:lnTo>
                  <a:pt x="93" y="70"/>
                </a:lnTo>
                <a:lnTo>
                  <a:pt x="93" y="69"/>
                </a:lnTo>
                <a:lnTo>
                  <a:pt x="95" y="69"/>
                </a:lnTo>
                <a:lnTo>
                  <a:pt x="95" y="67"/>
                </a:lnTo>
                <a:lnTo>
                  <a:pt x="96" y="67"/>
                </a:lnTo>
                <a:lnTo>
                  <a:pt x="96" y="66"/>
                </a:lnTo>
                <a:lnTo>
                  <a:pt x="97" y="66"/>
                </a:lnTo>
                <a:lnTo>
                  <a:pt x="99" y="66"/>
                </a:lnTo>
                <a:lnTo>
                  <a:pt x="100" y="62"/>
                </a:lnTo>
                <a:lnTo>
                  <a:pt x="101" y="62"/>
                </a:lnTo>
                <a:lnTo>
                  <a:pt x="103" y="62"/>
                </a:lnTo>
                <a:lnTo>
                  <a:pt x="105" y="62"/>
                </a:lnTo>
                <a:lnTo>
                  <a:pt x="107" y="62"/>
                </a:lnTo>
                <a:lnTo>
                  <a:pt x="109" y="62"/>
                </a:lnTo>
                <a:lnTo>
                  <a:pt x="111" y="62"/>
                </a:lnTo>
                <a:lnTo>
                  <a:pt x="113" y="58"/>
                </a:lnTo>
                <a:lnTo>
                  <a:pt x="115" y="58"/>
                </a:lnTo>
                <a:lnTo>
                  <a:pt x="115" y="56"/>
                </a:lnTo>
                <a:lnTo>
                  <a:pt x="116" y="55"/>
                </a:lnTo>
                <a:lnTo>
                  <a:pt x="116" y="53"/>
                </a:lnTo>
                <a:lnTo>
                  <a:pt x="116" y="55"/>
                </a:lnTo>
                <a:lnTo>
                  <a:pt x="112" y="51"/>
                </a:lnTo>
                <a:lnTo>
                  <a:pt x="111" y="48"/>
                </a:lnTo>
                <a:lnTo>
                  <a:pt x="111" y="47"/>
                </a:lnTo>
                <a:lnTo>
                  <a:pt x="111" y="45"/>
                </a:lnTo>
                <a:lnTo>
                  <a:pt x="112" y="45"/>
                </a:lnTo>
                <a:lnTo>
                  <a:pt x="113" y="45"/>
                </a:lnTo>
                <a:lnTo>
                  <a:pt x="113" y="44"/>
                </a:lnTo>
                <a:lnTo>
                  <a:pt x="111" y="40"/>
                </a:lnTo>
                <a:lnTo>
                  <a:pt x="109" y="40"/>
                </a:lnTo>
                <a:lnTo>
                  <a:pt x="108" y="40"/>
                </a:lnTo>
                <a:lnTo>
                  <a:pt x="107" y="42"/>
                </a:lnTo>
                <a:lnTo>
                  <a:pt x="105" y="42"/>
                </a:lnTo>
                <a:lnTo>
                  <a:pt x="101" y="40"/>
                </a:lnTo>
                <a:lnTo>
                  <a:pt x="100" y="40"/>
                </a:lnTo>
                <a:lnTo>
                  <a:pt x="97" y="36"/>
                </a:lnTo>
                <a:lnTo>
                  <a:pt x="96" y="34"/>
                </a:lnTo>
                <a:lnTo>
                  <a:pt x="95" y="29"/>
                </a:lnTo>
                <a:lnTo>
                  <a:pt x="92" y="26"/>
                </a:lnTo>
                <a:lnTo>
                  <a:pt x="88" y="22"/>
                </a:lnTo>
                <a:lnTo>
                  <a:pt x="84" y="17"/>
                </a:lnTo>
                <a:lnTo>
                  <a:pt x="84" y="15"/>
                </a:lnTo>
                <a:lnTo>
                  <a:pt x="84" y="12"/>
                </a:lnTo>
                <a:lnTo>
                  <a:pt x="84" y="11"/>
                </a:lnTo>
                <a:lnTo>
                  <a:pt x="81" y="9"/>
                </a:lnTo>
                <a:lnTo>
                  <a:pt x="80" y="7"/>
                </a:lnTo>
                <a:lnTo>
                  <a:pt x="81" y="4"/>
                </a:lnTo>
                <a:lnTo>
                  <a:pt x="81" y="1"/>
                </a:lnTo>
                <a:lnTo>
                  <a:pt x="81" y="0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FFC000"/>
              </a:solidFill>
            </a:endParaRPr>
          </a:p>
        </p:txBody>
      </p:sp>
      <p:sp>
        <p:nvSpPr>
          <p:cNvPr id="601" name="Freeform 500"/>
          <p:cNvSpPr>
            <a:spLocks/>
          </p:cNvSpPr>
          <p:nvPr/>
        </p:nvSpPr>
        <p:spPr bwMode="auto">
          <a:xfrm>
            <a:off x="5241788" y="3893263"/>
            <a:ext cx="210471" cy="195432"/>
          </a:xfrm>
          <a:custGeom>
            <a:avLst/>
            <a:gdLst/>
            <a:ahLst/>
            <a:cxnLst>
              <a:cxn ang="0">
                <a:pos x="50" y="5"/>
              </a:cxn>
              <a:cxn ang="0">
                <a:pos x="41" y="7"/>
              </a:cxn>
              <a:cxn ang="0">
                <a:pos x="33" y="4"/>
              </a:cxn>
              <a:cxn ang="0">
                <a:pos x="28" y="0"/>
              </a:cxn>
              <a:cxn ang="0">
                <a:pos x="21" y="2"/>
              </a:cxn>
              <a:cxn ang="0">
                <a:pos x="21" y="8"/>
              </a:cxn>
              <a:cxn ang="0">
                <a:pos x="21" y="18"/>
              </a:cxn>
              <a:cxn ang="0">
                <a:pos x="8" y="21"/>
              </a:cxn>
              <a:cxn ang="0">
                <a:pos x="2" y="29"/>
              </a:cxn>
              <a:cxn ang="0">
                <a:pos x="1" y="35"/>
              </a:cxn>
              <a:cxn ang="0">
                <a:pos x="5" y="37"/>
              </a:cxn>
              <a:cxn ang="0">
                <a:pos x="10" y="46"/>
              </a:cxn>
              <a:cxn ang="0">
                <a:pos x="20" y="54"/>
              </a:cxn>
              <a:cxn ang="0">
                <a:pos x="25" y="60"/>
              </a:cxn>
              <a:cxn ang="0">
                <a:pos x="29" y="65"/>
              </a:cxn>
              <a:cxn ang="0">
                <a:pos x="34" y="60"/>
              </a:cxn>
              <a:cxn ang="0">
                <a:pos x="40" y="54"/>
              </a:cxn>
              <a:cxn ang="0">
                <a:pos x="44" y="51"/>
              </a:cxn>
              <a:cxn ang="0">
                <a:pos x="54" y="48"/>
              </a:cxn>
              <a:cxn ang="0">
                <a:pos x="62" y="54"/>
              </a:cxn>
              <a:cxn ang="0">
                <a:pos x="63" y="59"/>
              </a:cxn>
              <a:cxn ang="0">
                <a:pos x="66" y="63"/>
              </a:cxn>
              <a:cxn ang="0">
                <a:pos x="69" y="71"/>
              </a:cxn>
              <a:cxn ang="0">
                <a:pos x="69" y="76"/>
              </a:cxn>
              <a:cxn ang="0">
                <a:pos x="71" y="77"/>
              </a:cxn>
              <a:cxn ang="0">
                <a:pos x="75" y="74"/>
              </a:cxn>
              <a:cxn ang="0">
                <a:pos x="81" y="76"/>
              </a:cxn>
              <a:cxn ang="0">
                <a:pos x="85" y="82"/>
              </a:cxn>
              <a:cxn ang="0">
                <a:pos x="85" y="93"/>
              </a:cxn>
              <a:cxn ang="0">
                <a:pos x="86" y="95"/>
              </a:cxn>
              <a:cxn ang="0">
                <a:pos x="91" y="98"/>
              </a:cxn>
              <a:cxn ang="0">
                <a:pos x="95" y="92"/>
              </a:cxn>
              <a:cxn ang="0">
                <a:pos x="103" y="92"/>
              </a:cxn>
              <a:cxn ang="0">
                <a:pos x="106" y="84"/>
              </a:cxn>
              <a:cxn ang="0">
                <a:pos x="103" y="81"/>
              </a:cxn>
              <a:cxn ang="0">
                <a:pos x="102" y="76"/>
              </a:cxn>
              <a:cxn ang="0">
                <a:pos x="110" y="76"/>
              </a:cxn>
              <a:cxn ang="0">
                <a:pos x="110" y="74"/>
              </a:cxn>
              <a:cxn ang="0">
                <a:pos x="107" y="70"/>
              </a:cxn>
              <a:cxn ang="0">
                <a:pos x="109" y="63"/>
              </a:cxn>
              <a:cxn ang="0">
                <a:pos x="105" y="59"/>
              </a:cxn>
              <a:cxn ang="0">
                <a:pos x="105" y="48"/>
              </a:cxn>
              <a:cxn ang="0">
                <a:pos x="105" y="41"/>
              </a:cxn>
              <a:cxn ang="0">
                <a:pos x="102" y="30"/>
              </a:cxn>
              <a:cxn ang="0">
                <a:pos x="97" y="32"/>
              </a:cxn>
              <a:cxn ang="0">
                <a:pos x="101" y="26"/>
              </a:cxn>
              <a:cxn ang="0">
                <a:pos x="98" y="22"/>
              </a:cxn>
              <a:cxn ang="0">
                <a:pos x="94" y="13"/>
              </a:cxn>
              <a:cxn ang="0">
                <a:pos x="93" y="8"/>
              </a:cxn>
              <a:cxn ang="0">
                <a:pos x="90" y="4"/>
              </a:cxn>
              <a:cxn ang="0">
                <a:pos x="85" y="7"/>
              </a:cxn>
              <a:cxn ang="0">
                <a:pos x="77" y="10"/>
              </a:cxn>
              <a:cxn ang="0">
                <a:pos x="69" y="11"/>
              </a:cxn>
              <a:cxn ang="0">
                <a:pos x="63" y="10"/>
              </a:cxn>
              <a:cxn ang="0">
                <a:pos x="58" y="11"/>
              </a:cxn>
              <a:cxn ang="0">
                <a:pos x="54" y="8"/>
              </a:cxn>
            </a:cxnLst>
            <a:rect l="0" t="0" r="r" b="b"/>
            <a:pathLst>
              <a:path w="111" h="98">
                <a:moveTo>
                  <a:pt x="57" y="5"/>
                </a:moveTo>
                <a:lnTo>
                  <a:pt x="54" y="5"/>
                </a:lnTo>
                <a:lnTo>
                  <a:pt x="52" y="5"/>
                </a:lnTo>
                <a:lnTo>
                  <a:pt x="50" y="5"/>
                </a:lnTo>
                <a:lnTo>
                  <a:pt x="48" y="5"/>
                </a:lnTo>
                <a:lnTo>
                  <a:pt x="45" y="5"/>
                </a:lnTo>
                <a:lnTo>
                  <a:pt x="44" y="7"/>
                </a:lnTo>
                <a:lnTo>
                  <a:pt x="41" y="7"/>
                </a:lnTo>
                <a:lnTo>
                  <a:pt x="40" y="5"/>
                </a:lnTo>
                <a:lnTo>
                  <a:pt x="37" y="5"/>
                </a:lnTo>
                <a:lnTo>
                  <a:pt x="36" y="5"/>
                </a:lnTo>
                <a:lnTo>
                  <a:pt x="33" y="4"/>
                </a:lnTo>
                <a:lnTo>
                  <a:pt x="30" y="4"/>
                </a:lnTo>
                <a:lnTo>
                  <a:pt x="30" y="2"/>
                </a:lnTo>
                <a:lnTo>
                  <a:pt x="30" y="0"/>
                </a:lnTo>
                <a:lnTo>
                  <a:pt x="28" y="0"/>
                </a:lnTo>
                <a:lnTo>
                  <a:pt x="26" y="0"/>
                </a:lnTo>
                <a:lnTo>
                  <a:pt x="25" y="0"/>
                </a:lnTo>
                <a:lnTo>
                  <a:pt x="21" y="0"/>
                </a:lnTo>
                <a:lnTo>
                  <a:pt x="21" y="2"/>
                </a:lnTo>
                <a:lnTo>
                  <a:pt x="22" y="4"/>
                </a:lnTo>
                <a:lnTo>
                  <a:pt x="22" y="5"/>
                </a:lnTo>
                <a:lnTo>
                  <a:pt x="21" y="7"/>
                </a:lnTo>
                <a:lnTo>
                  <a:pt x="21" y="8"/>
                </a:lnTo>
                <a:lnTo>
                  <a:pt x="18" y="8"/>
                </a:lnTo>
                <a:lnTo>
                  <a:pt x="18" y="10"/>
                </a:lnTo>
                <a:lnTo>
                  <a:pt x="20" y="11"/>
                </a:lnTo>
                <a:lnTo>
                  <a:pt x="21" y="18"/>
                </a:lnTo>
                <a:lnTo>
                  <a:pt x="18" y="18"/>
                </a:lnTo>
                <a:lnTo>
                  <a:pt x="18" y="19"/>
                </a:lnTo>
                <a:lnTo>
                  <a:pt x="13" y="19"/>
                </a:lnTo>
                <a:lnTo>
                  <a:pt x="8" y="21"/>
                </a:lnTo>
                <a:lnTo>
                  <a:pt x="6" y="22"/>
                </a:lnTo>
                <a:lnTo>
                  <a:pt x="5" y="26"/>
                </a:lnTo>
                <a:lnTo>
                  <a:pt x="4" y="29"/>
                </a:lnTo>
                <a:lnTo>
                  <a:pt x="2" y="29"/>
                </a:lnTo>
                <a:lnTo>
                  <a:pt x="2" y="30"/>
                </a:lnTo>
                <a:lnTo>
                  <a:pt x="0" y="32"/>
                </a:lnTo>
                <a:lnTo>
                  <a:pt x="0" y="35"/>
                </a:lnTo>
                <a:lnTo>
                  <a:pt x="1" y="35"/>
                </a:lnTo>
                <a:lnTo>
                  <a:pt x="2" y="35"/>
                </a:lnTo>
                <a:lnTo>
                  <a:pt x="4" y="32"/>
                </a:lnTo>
                <a:lnTo>
                  <a:pt x="5" y="32"/>
                </a:lnTo>
                <a:lnTo>
                  <a:pt x="5" y="37"/>
                </a:lnTo>
                <a:lnTo>
                  <a:pt x="8" y="37"/>
                </a:lnTo>
                <a:lnTo>
                  <a:pt x="9" y="41"/>
                </a:lnTo>
                <a:lnTo>
                  <a:pt x="10" y="44"/>
                </a:lnTo>
                <a:lnTo>
                  <a:pt x="10" y="46"/>
                </a:lnTo>
                <a:lnTo>
                  <a:pt x="13" y="48"/>
                </a:lnTo>
                <a:lnTo>
                  <a:pt x="16" y="49"/>
                </a:lnTo>
                <a:lnTo>
                  <a:pt x="18" y="51"/>
                </a:lnTo>
                <a:lnTo>
                  <a:pt x="20" y="54"/>
                </a:lnTo>
                <a:lnTo>
                  <a:pt x="21" y="57"/>
                </a:lnTo>
                <a:lnTo>
                  <a:pt x="22" y="59"/>
                </a:lnTo>
                <a:lnTo>
                  <a:pt x="24" y="60"/>
                </a:lnTo>
                <a:lnTo>
                  <a:pt x="25" y="60"/>
                </a:lnTo>
                <a:lnTo>
                  <a:pt x="25" y="62"/>
                </a:lnTo>
                <a:lnTo>
                  <a:pt x="26" y="63"/>
                </a:lnTo>
                <a:lnTo>
                  <a:pt x="28" y="65"/>
                </a:lnTo>
                <a:lnTo>
                  <a:pt x="29" y="65"/>
                </a:lnTo>
                <a:lnTo>
                  <a:pt x="30" y="65"/>
                </a:lnTo>
                <a:lnTo>
                  <a:pt x="32" y="65"/>
                </a:lnTo>
                <a:lnTo>
                  <a:pt x="33" y="62"/>
                </a:lnTo>
                <a:lnTo>
                  <a:pt x="34" y="60"/>
                </a:lnTo>
                <a:lnTo>
                  <a:pt x="36" y="59"/>
                </a:lnTo>
                <a:lnTo>
                  <a:pt x="37" y="59"/>
                </a:lnTo>
                <a:lnTo>
                  <a:pt x="38" y="55"/>
                </a:lnTo>
                <a:lnTo>
                  <a:pt x="40" y="54"/>
                </a:lnTo>
                <a:lnTo>
                  <a:pt x="38" y="51"/>
                </a:lnTo>
                <a:lnTo>
                  <a:pt x="40" y="51"/>
                </a:lnTo>
                <a:lnTo>
                  <a:pt x="42" y="51"/>
                </a:lnTo>
                <a:lnTo>
                  <a:pt x="44" y="51"/>
                </a:lnTo>
                <a:lnTo>
                  <a:pt x="45" y="51"/>
                </a:lnTo>
                <a:lnTo>
                  <a:pt x="48" y="51"/>
                </a:lnTo>
                <a:lnTo>
                  <a:pt x="48" y="49"/>
                </a:lnTo>
                <a:lnTo>
                  <a:pt x="54" y="48"/>
                </a:lnTo>
                <a:lnTo>
                  <a:pt x="58" y="49"/>
                </a:lnTo>
                <a:lnTo>
                  <a:pt x="59" y="51"/>
                </a:lnTo>
                <a:lnTo>
                  <a:pt x="61" y="52"/>
                </a:lnTo>
                <a:lnTo>
                  <a:pt x="62" y="54"/>
                </a:lnTo>
                <a:lnTo>
                  <a:pt x="62" y="55"/>
                </a:lnTo>
                <a:lnTo>
                  <a:pt x="63" y="55"/>
                </a:lnTo>
                <a:lnTo>
                  <a:pt x="63" y="57"/>
                </a:lnTo>
                <a:lnTo>
                  <a:pt x="63" y="59"/>
                </a:lnTo>
                <a:lnTo>
                  <a:pt x="65" y="59"/>
                </a:lnTo>
                <a:lnTo>
                  <a:pt x="66" y="60"/>
                </a:lnTo>
                <a:lnTo>
                  <a:pt x="66" y="62"/>
                </a:lnTo>
                <a:lnTo>
                  <a:pt x="66" y="63"/>
                </a:lnTo>
                <a:lnTo>
                  <a:pt x="66" y="65"/>
                </a:lnTo>
                <a:lnTo>
                  <a:pt x="67" y="66"/>
                </a:lnTo>
                <a:lnTo>
                  <a:pt x="69" y="68"/>
                </a:lnTo>
                <a:lnTo>
                  <a:pt x="69" y="71"/>
                </a:lnTo>
                <a:lnTo>
                  <a:pt x="67" y="73"/>
                </a:lnTo>
                <a:lnTo>
                  <a:pt x="66" y="76"/>
                </a:lnTo>
                <a:lnTo>
                  <a:pt x="66" y="77"/>
                </a:lnTo>
                <a:lnTo>
                  <a:pt x="69" y="76"/>
                </a:lnTo>
                <a:lnTo>
                  <a:pt x="70" y="74"/>
                </a:lnTo>
                <a:lnTo>
                  <a:pt x="71" y="74"/>
                </a:lnTo>
                <a:lnTo>
                  <a:pt x="71" y="76"/>
                </a:lnTo>
                <a:lnTo>
                  <a:pt x="71" y="77"/>
                </a:lnTo>
                <a:lnTo>
                  <a:pt x="73" y="77"/>
                </a:lnTo>
                <a:lnTo>
                  <a:pt x="73" y="74"/>
                </a:lnTo>
                <a:lnTo>
                  <a:pt x="74" y="74"/>
                </a:lnTo>
                <a:lnTo>
                  <a:pt x="75" y="74"/>
                </a:lnTo>
                <a:lnTo>
                  <a:pt x="77" y="76"/>
                </a:lnTo>
                <a:lnTo>
                  <a:pt x="78" y="76"/>
                </a:lnTo>
                <a:lnTo>
                  <a:pt x="81" y="74"/>
                </a:lnTo>
                <a:lnTo>
                  <a:pt x="81" y="76"/>
                </a:lnTo>
                <a:lnTo>
                  <a:pt x="82" y="76"/>
                </a:lnTo>
                <a:lnTo>
                  <a:pt x="83" y="77"/>
                </a:lnTo>
                <a:lnTo>
                  <a:pt x="83" y="81"/>
                </a:lnTo>
                <a:lnTo>
                  <a:pt x="85" y="82"/>
                </a:lnTo>
                <a:lnTo>
                  <a:pt x="85" y="87"/>
                </a:lnTo>
                <a:lnTo>
                  <a:pt x="86" y="88"/>
                </a:lnTo>
                <a:lnTo>
                  <a:pt x="86" y="93"/>
                </a:lnTo>
                <a:lnTo>
                  <a:pt x="85" y="93"/>
                </a:lnTo>
                <a:lnTo>
                  <a:pt x="83" y="95"/>
                </a:lnTo>
                <a:lnTo>
                  <a:pt x="83" y="96"/>
                </a:lnTo>
                <a:lnTo>
                  <a:pt x="85" y="95"/>
                </a:lnTo>
                <a:lnTo>
                  <a:pt x="86" y="95"/>
                </a:lnTo>
                <a:lnTo>
                  <a:pt x="87" y="95"/>
                </a:lnTo>
                <a:lnTo>
                  <a:pt x="89" y="96"/>
                </a:lnTo>
                <a:lnTo>
                  <a:pt x="90" y="98"/>
                </a:lnTo>
                <a:lnTo>
                  <a:pt x="91" y="98"/>
                </a:lnTo>
                <a:lnTo>
                  <a:pt x="94" y="96"/>
                </a:lnTo>
                <a:lnTo>
                  <a:pt x="94" y="95"/>
                </a:lnTo>
                <a:lnTo>
                  <a:pt x="95" y="93"/>
                </a:lnTo>
                <a:lnTo>
                  <a:pt x="95" y="92"/>
                </a:lnTo>
                <a:lnTo>
                  <a:pt x="97" y="90"/>
                </a:lnTo>
                <a:lnTo>
                  <a:pt x="98" y="90"/>
                </a:lnTo>
                <a:lnTo>
                  <a:pt x="99" y="92"/>
                </a:lnTo>
                <a:lnTo>
                  <a:pt x="103" y="92"/>
                </a:lnTo>
                <a:lnTo>
                  <a:pt x="103" y="90"/>
                </a:lnTo>
                <a:lnTo>
                  <a:pt x="105" y="88"/>
                </a:lnTo>
                <a:lnTo>
                  <a:pt x="105" y="85"/>
                </a:lnTo>
                <a:lnTo>
                  <a:pt x="106" y="84"/>
                </a:lnTo>
                <a:lnTo>
                  <a:pt x="106" y="82"/>
                </a:lnTo>
                <a:lnTo>
                  <a:pt x="106" y="81"/>
                </a:lnTo>
                <a:lnTo>
                  <a:pt x="105" y="81"/>
                </a:lnTo>
                <a:lnTo>
                  <a:pt x="103" y="81"/>
                </a:lnTo>
                <a:lnTo>
                  <a:pt x="102" y="81"/>
                </a:lnTo>
                <a:lnTo>
                  <a:pt x="103" y="77"/>
                </a:lnTo>
                <a:lnTo>
                  <a:pt x="103" y="76"/>
                </a:lnTo>
                <a:lnTo>
                  <a:pt x="102" y="76"/>
                </a:lnTo>
                <a:lnTo>
                  <a:pt x="105" y="74"/>
                </a:lnTo>
                <a:lnTo>
                  <a:pt x="107" y="76"/>
                </a:lnTo>
                <a:lnTo>
                  <a:pt x="109" y="76"/>
                </a:lnTo>
                <a:lnTo>
                  <a:pt x="110" y="76"/>
                </a:lnTo>
                <a:lnTo>
                  <a:pt x="110" y="77"/>
                </a:lnTo>
                <a:lnTo>
                  <a:pt x="111" y="77"/>
                </a:lnTo>
                <a:lnTo>
                  <a:pt x="110" y="76"/>
                </a:lnTo>
                <a:lnTo>
                  <a:pt x="110" y="74"/>
                </a:lnTo>
                <a:lnTo>
                  <a:pt x="110" y="73"/>
                </a:lnTo>
                <a:lnTo>
                  <a:pt x="110" y="71"/>
                </a:lnTo>
                <a:lnTo>
                  <a:pt x="109" y="71"/>
                </a:lnTo>
                <a:lnTo>
                  <a:pt x="107" y="70"/>
                </a:lnTo>
                <a:lnTo>
                  <a:pt x="109" y="68"/>
                </a:lnTo>
                <a:lnTo>
                  <a:pt x="109" y="66"/>
                </a:lnTo>
                <a:lnTo>
                  <a:pt x="110" y="65"/>
                </a:lnTo>
                <a:lnTo>
                  <a:pt x="109" y="63"/>
                </a:lnTo>
                <a:lnTo>
                  <a:pt x="107" y="63"/>
                </a:lnTo>
                <a:lnTo>
                  <a:pt x="109" y="59"/>
                </a:lnTo>
                <a:lnTo>
                  <a:pt x="106" y="60"/>
                </a:lnTo>
                <a:lnTo>
                  <a:pt x="105" y="59"/>
                </a:lnTo>
                <a:lnTo>
                  <a:pt x="103" y="57"/>
                </a:lnTo>
                <a:lnTo>
                  <a:pt x="105" y="52"/>
                </a:lnTo>
                <a:lnTo>
                  <a:pt x="103" y="49"/>
                </a:lnTo>
                <a:lnTo>
                  <a:pt x="105" y="48"/>
                </a:lnTo>
                <a:lnTo>
                  <a:pt x="106" y="46"/>
                </a:lnTo>
                <a:lnTo>
                  <a:pt x="106" y="44"/>
                </a:lnTo>
                <a:lnTo>
                  <a:pt x="106" y="43"/>
                </a:lnTo>
                <a:lnTo>
                  <a:pt x="105" y="41"/>
                </a:lnTo>
                <a:lnTo>
                  <a:pt x="105" y="40"/>
                </a:lnTo>
                <a:lnTo>
                  <a:pt x="102" y="40"/>
                </a:lnTo>
                <a:lnTo>
                  <a:pt x="102" y="38"/>
                </a:lnTo>
                <a:lnTo>
                  <a:pt x="102" y="30"/>
                </a:lnTo>
                <a:lnTo>
                  <a:pt x="101" y="29"/>
                </a:lnTo>
                <a:lnTo>
                  <a:pt x="99" y="29"/>
                </a:lnTo>
                <a:lnTo>
                  <a:pt x="98" y="29"/>
                </a:lnTo>
                <a:lnTo>
                  <a:pt x="97" y="32"/>
                </a:lnTo>
                <a:lnTo>
                  <a:pt x="97" y="29"/>
                </a:lnTo>
                <a:lnTo>
                  <a:pt x="98" y="27"/>
                </a:lnTo>
                <a:lnTo>
                  <a:pt x="99" y="26"/>
                </a:lnTo>
                <a:lnTo>
                  <a:pt x="101" y="26"/>
                </a:lnTo>
                <a:lnTo>
                  <a:pt x="101" y="24"/>
                </a:lnTo>
                <a:lnTo>
                  <a:pt x="101" y="22"/>
                </a:lnTo>
                <a:lnTo>
                  <a:pt x="99" y="22"/>
                </a:lnTo>
                <a:lnTo>
                  <a:pt x="98" y="22"/>
                </a:lnTo>
                <a:lnTo>
                  <a:pt x="97" y="21"/>
                </a:lnTo>
                <a:lnTo>
                  <a:pt x="95" y="18"/>
                </a:lnTo>
                <a:lnTo>
                  <a:pt x="94" y="19"/>
                </a:lnTo>
                <a:lnTo>
                  <a:pt x="94" y="13"/>
                </a:lnTo>
                <a:lnTo>
                  <a:pt x="94" y="11"/>
                </a:lnTo>
                <a:lnTo>
                  <a:pt x="93" y="11"/>
                </a:lnTo>
                <a:lnTo>
                  <a:pt x="93" y="10"/>
                </a:lnTo>
                <a:lnTo>
                  <a:pt x="93" y="8"/>
                </a:lnTo>
                <a:lnTo>
                  <a:pt x="91" y="8"/>
                </a:lnTo>
                <a:lnTo>
                  <a:pt x="91" y="5"/>
                </a:lnTo>
                <a:lnTo>
                  <a:pt x="91" y="4"/>
                </a:lnTo>
                <a:lnTo>
                  <a:pt x="90" y="4"/>
                </a:lnTo>
                <a:lnTo>
                  <a:pt x="89" y="5"/>
                </a:lnTo>
                <a:lnTo>
                  <a:pt x="86" y="4"/>
                </a:lnTo>
                <a:lnTo>
                  <a:pt x="86" y="7"/>
                </a:lnTo>
                <a:lnTo>
                  <a:pt x="85" y="7"/>
                </a:lnTo>
                <a:lnTo>
                  <a:pt x="81" y="8"/>
                </a:lnTo>
                <a:lnTo>
                  <a:pt x="81" y="10"/>
                </a:lnTo>
                <a:lnTo>
                  <a:pt x="81" y="11"/>
                </a:lnTo>
                <a:lnTo>
                  <a:pt x="77" y="10"/>
                </a:lnTo>
                <a:lnTo>
                  <a:pt x="74" y="8"/>
                </a:lnTo>
                <a:lnTo>
                  <a:pt x="71" y="8"/>
                </a:lnTo>
                <a:lnTo>
                  <a:pt x="70" y="10"/>
                </a:lnTo>
                <a:lnTo>
                  <a:pt x="69" y="11"/>
                </a:lnTo>
                <a:lnTo>
                  <a:pt x="67" y="13"/>
                </a:lnTo>
                <a:lnTo>
                  <a:pt x="66" y="13"/>
                </a:lnTo>
                <a:lnTo>
                  <a:pt x="65" y="13"/>
                </a:lnTo>
                <a:lnTo>
                  <a:pt x="63" y="10"/>
                </a:lnTo>
                <a:lnTo>
                  <a:pt x="62" y="8"/>
                </a:lnTo>
                <a:lnTo>
                  <a:pt x="61" y="8"/>
                </a:lnTo>
                <a:lnTo>
                  <a:pt x="59" y="11"/>
                </a:lnTo>
                <a:lnTo>
                  <a:pt x="58" y="11"/>
                </a:lnTo>
                <a:lnTo>
                  <a:pt x="57" y="11"/>
                </a:lnTo>
                <a:lnTo>
                  <a:pt x="55" y="11"/>
                </a:lnTo>
                <a:lnTo>
                  <a:pt x="54" y="10"/>
                </a:lnTo>
                <a:lnTo>
                  <a:pt x="54" y="8"/>
                </a:lnTo>
                <a:lnTo>
                  <a:pt x="55" y="7"/>
                </a:lnTo>
                <a:lnTo>
                  <a:pt x="57" y="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02" name="Freeform 501"/>
          <p:cNvSpPr>
            <a:spLocks/>
          </p:cNvSpPr>
          <p:nvPr/>
        </p:nvSpPr>
        <p:spPr bwMode="auto">
          <a:xfrm>
            <a:off x="5241788" y="3893263"/>
            <a:ext cx="210471" cy="195432"/>
          </a:xfrm>
          <a:custGeom>
            <a:avLst/>
            <a:gdLst/>
            <a:ahLst/>
            <a:cxnLst>
              <a:cxn ang="0">
                <a:pos x="50" y="5"/>
              </a:cxn>
              <a:cxn ang="0">
                <a:pos x="41" y="7"/>
              </a:cxn>
              <a:cxn ang="0">
                <a:pos x="33" y="4"/>
              </a:cxn>
              <a:cxn ang="0">
                <a:pos x="28" y="0"/>
              </a:cxn>
              <a:cxn ang="0">
                <a:pos x="21" y="2"/>
              </a:cxn>
              <a:cxn ang="0">
                <a:pos x="21" y="8"/>
              </a:cxn>
              <a:cxn ang="0">
                <a:pos x="21" y="18"/>
              </a:cxn>
              <a:cxn ang="0">
                <a:pos x="8" y="21"/>
              </a:cxn>
              <a:cxn ang="0">
                <a:pos x="2" y="29"/>
              </a:cxn>
              <a:cxn ang="0">
                <a:pos x="1" y="35"/>
              </a:cxn>
              <a:cxn ang="0">
                <a:pos x="5" y="37"/>
              </a:cxn>
              <a:cxn ang="0">
                <a:pos x="10" y="46"/>
              </a:cxn>
              <a:cxn ang="0">
                <a:pos x="20" y="54"/>
              </a:cxn>
              <a:cxn ang="0">
                <a:pos x="25" y="60"/>
              </a:cxn>
              <a:cxn ang="0">
                <a:pos x="29" y="65"/>
              </a:cxn>
              <a:cxn ang="0">
                <a:pos x="34" y="60"/>
              </a:cxn>
              <a:cxn ang="0">
                <a:pos x="40" y="54"/>
              </a:cxn>
              <a:cxn ang="0">
                <a:pos x="44" y="51"/>
              </a:cxn>
              <a:cxn ang="0">
                <a:pos x="54" y="48"/>
              </a:cxn>
              <a:cxn ang="0">
                <a:pos x="62" y="54"/>
              </a:cxn>
              <a:cxn ang="0">
                <a:pos x="63" y="59"/>
              </a:cxn>
              <a:cxn ang="0">
                <a:pos x="66" y="63"/>
              </a:cxn>
              <a:cxn ang="0">
                <a:pos x="69" y="71"/>
              </a:cxn>
              <a:cxn ang="0">
                <a:pos x="69" y="76"/>
              </a:cxn>
              <a:cxn ang="0">
                <a:pos x="71" y="77"/>
              </a:cxn>
              <a:cxn ang="0">
                <a:pos x="75" y="74"/>
              </a:cxn>
              <a:cxn ang="0">
                <a:pos x="81" y="76"/>
              </a:cxn>
              <a:cxn ang="0">
                <a:pos x="85" y="82"/>
              </a:cxn>
              <a:cxn ang="0">
                <a:pos x="85" y="93"/>
              </a:cxn>
              <a:cxn ang="0">
                <a:pos x="86" y="95"/>
              </a:cxn>
              <a:cxn ang="0">
                <a:pos x="91" y="98"/>
              </a:cxn>
              <a:cxn ang="0">
                <a:pos x="95" y="92"/>
              </a:cxn>
              <a:cxn ang="0">
                <a:pos x="103" y="92"/>
              </a:cxn>
              <a:cxn ang="0">
                <a:pos x="106" y="84"/>
              </a:cxn>
              <a:cxn ang="0">
                <a:pos x="103" y="81"/>
              </a:cxn>
              <a:cxn ang="0">
                <a:pos x="102" y="76"/>
              </a:cxn>
              <a:cxn ang="0">
                <a:pos x="110" y="76"/>
              </a:cxn>
              <a:cxn ang="0">
                <a:pos x="110" y="74"/>
              </a:cxn>
              <a:cxn ang="0">
                <a:pos x="107" y="70"/>
              </a:cxn>
              <a:cxn ang="0">
                <a:pos x="109" y="63"/>
              </a:cxn>
              <a:cxn ang="0">
                <a:pos x="105" y="59"/>
              </a:cxn>
              <a:cxn ang="0">
                <a:pos x="105" y="48"/>
              </a:cxn>
              <a:cxn ang="0">
                <a:pos x="105" y="41"/>
              </a:cxn>
              <a:cxn ang="0">
                <a:pos x="102" y="30"/>
              </a:cxn>
              <a:cxn ang="0">
                <a:pos x="97" y="32"/>
              </a:cxn>
              <a:cxn ang="0">
                <a:pos x="101" y="26"/>
              </a:cxn>
              <a:cxn ang="0">
                <a:pos x="98" y="22"/>
              </a:cxn>
              <a:cxn ang="0">
                <a:pos x="94" y="13"/>
              </a:cxn>
              <a:cxn ang="0">
                <a:pos x="93" y="8"/>
              </a:cxn>
            </a:cxnLst>
            <a:rect l="0" t="0" r="r" b="b"/>
            <a:pathLst>
              <a:path w="111" h="98">
                <a:moveTo>
                  <a:pt x="57" y="5"/>
                </a:moveTo>
                <a:lnTo>
                  <a:pt x="54" y="5"/>
                </a:lnTo>
                <a:lnTo>
                  <a:pt x="52" y="5"/>
                </a:lnTo>
                <a:lnTo>
                  <a:pt x="50" y="5"/>
                </a:lnTo>
                <a:lnTo>
                  <a:pt x="48" y="5"/>
                </a:lnTo>
                <a:lnTo>
                  <a:pt x="45" y="5"/>
                </a:lnTo>
                <a:lnTo>
                  <a:pt x="44" y="7"/>
                </a:lnTo>
                <a:lnTo>
                  <a:pt x="41" y="7"/>
                </a:lnTo>
                <a:lnTo>
                  <a:pt x="40" y="5"/>
                </a:lnTo>
                <a:lnTo>
                  <a:pt x="37" y="5"/>
                </a:lnTo>
                <a:lnTo>
                  <a:pt x="36" y="5"/>
                </a:lnTo>
                <a:lnTo>
                  <a:pt x="33" y="4"/>
                </a:lnTo>
                <a:lnTo>
                  <a:pt x="30" y="4"/>
                </a:lnTo>
                <a:lnTo>
                  <a:pt x="30" y="2"/>
                </a:lnTo>
                <a:lnTo>
                  <a:pt x="30" y="0"/>
                </a:lnTo>
                <a:lnTo>
                  <a:pt x="28" y="0"/>
                </a:lnTo>
                <a:lnTo>
                  <a:pt x="26" y="0"/>
                </a:lnTo>
                <a:lnTo>
                  <a:pt x="25" y="0"/>
                </a:lnTo>
                <a:lnTo>
                  <a:pt x="21" y="0"/>
                </a:lnTo>
                <a:lnTo>
                  <a:pt x="21" y="2"/>
                </a:lnTo>
                <a:lnTo>
                  <a:pt x="22" y="4"/>
                </a:lnTo>
                <a:lnTo>
                  <a:pt x="22" y="5"/>
                </a:lnTo>
                <a:lnTo>
                  <a:pt x="21" y="7"/>
                </a:lnTo>
                <a:lnTo>
                  <a:pt x="21" y="8"/>
                </a:lnTo>
                <a:lnTo>
                  <a:pt x="18" y="8"/>
                </a:lnTo>
                <a:lnTo>
                  <a:pt x="18" y="10"/>
                </a:lnTo>
                <a:lnTo>
                  <a:pt x="20" y="11"/>
                </a:lnTo>
                <a:lnTo>
                  <a:pt x="21" y="18"/>
                </a:lnTo>
                <a:lnTo>
                  <a:pt x="18" y="18"/>
                </a:lnTo>
                <a:lnTo>
                  <a:pt x="18" y="19"/>
                </a:lnTo>
                <a:lnTo>
                  <a:pt x="13" y="19"/>
                </a:lnTo>
                <a:lnTo>
                  <a:pt x="8" y="21"/>
                </a:lnTo>
                <a:lnTo>
                  <a:pt x="6" y="22"/>
                </a:lnTo>
                <a:lnTo>
                  <a:pt x="5" y="26"/>
                </a:lnTo>
                <a:lnTo>
                  <a:pt x="4" y="29"/>
                </a:lnTo>
                <a:lnTo>
                  <a:pt x="2" y="29"/>
                </a:lnTo>
                <a:lnTo>
                  <a:pt x="2" y="30"/>
                </a:lnTo>
                <a:lnTo>
                  <a:pt x="0" y="32"/>
                </a:lnTo>
                <a:lnTo>
                  <a:pt x="0" y="35"/>
                </a:lnTo>
                <a:lnTo>
                  <a:pt x="1" y="35"/>
                </a:lnTo>
                <a:lnTo>
                  <a:pt x="2" y="35"/>
                </a:lnTo>
                <a:lnTo>
                  <a:pt x="4" y="32"/>
                </a:lnTo>
                <a:lnTo>
                  <a:pt x="5" y="32"/>
                </a:lnTo>
                <a:lnTo>
                  <a:pt x="5" y="37"/>
                </a:lnTo>
                <a:lnTo>
                  <a:pt x="8" y="37"/>
                </a:lnTo>
                <a:lnTo>
                  <a:pt x="9" y="41"/>
                </a:lnTo>
                <a:lnTo>
                  <a:pt x="10" y="44"/>
                </a:lnTo>
                <a:lnTo>
                  <a:pt x="10" y="46"/>
                </a:lnTo>
                <a:lnTo>
                  <a:pt x="13" y="48"/>
                </a:lnTo>
                <a:lnTo>
                  <a:pt x="16" y="49"/>
                </a:lnTo>
                <a:lnTo>
                  <a:pt x="18" y="51"/>
                </a:lnTo>
                <a:lnTo>
                  <a:pt x="20" y="54"/>
                </a:lnTo>
                <a:lnTo>
                  <a:pt x="21" y="57"/>
                </a:lnTo>
                <a:lnTo>
                  <a:pt x="22" y="59"/>
                </a:lnTo>
                <a:lnTo>
                  <a:pt x="24" y="60"/>
                </a:lnTo>
                <a:lnTo>
                  <a:pt x="25" y="60"/>
                </a:lnTo>
                <a:lnTo>
                  <a:pt x="25" y="62"/>
                </a:lnTo>
                <a:lnTo>
                  <a:pt x="26" y="63"/>
                </a:lnTo>
                <a:lnTo>
                  <a:pt x="28" y="65"/>
                </a:lnTo>
                <a:lnTo>
                  <a:pt x="29" y="65"/>
                </a:lnTo>
                <a:lnTo>
                  <a:pt x="30" y="65"/>
                </a:lnTo>
                <a:lnTo>
                  <a:pt x="32" y="65"/>
                </a:lnTo>
                <a:lnTo>
                  <a:pt x="33" y="62"/>
                </a:lnTo>
                <a:lnTo>
                  <a:pt x="34" y="60"/>
                </a:lnTo>
                <a:lnTo>
                  <a:pt x="36" y="59"/>
                </a:lnTo>
                <a:lnTo>
                  <a:pt x="37" y="59"/>
                </a:lnTo>
                <a:lnTo>
                  <a:pt x="38" y="55"/>
                </a:lnTo>
                <a:lnTo>
                  <a:pt x="40" y="54"/>
                </a:lnTo>
                <a:lnTo>
                  <a:pt x="38" y="51"/>
                </a:lnTo>
                <a:lnTo>
                  <a:pt x="40" y="51"/>
                </a:lnTo>
                <a:lnTo>
                  <a:pt x="42" y="51"/>
                </a:lnTo>
                <a:lnTo>
                  <a:pt x="44" y="51"/>
                </a:lnTo>
                <a:lnTo>
                  <a:pt x="45" y="51"/>
                </a:lnTo>
                <a:lnTo>
                  <a:pt x="48" y="51"/>
                </a:lnTo>
                <a:lnTo>
                  <a:pt x="48" y="49"/>
                </a:lnTo>
                <a:lnTo>
                  <a:pt x="54" y="48"/>
                </a:lnTo>
                <a:lnTo>
                  <a:pt x="58" y="49"/>
                </a:lnTo>
                <a:lnTo>
                  <a:pt x="59" y="51"/>
                </a:lnTo>
                <a:lnTo>
                  <a:pt x="61" y="52"/>
                </a:lnTo>
                <a:lnTo>
                  <a:pt x="62" y="54"/>
                </a:lnTo>
                <a:lnTo>
                  <a:pt x="62" y="55"/>
                </a:lnTo>
                <a:lnTo>
                  <a:pt x="63" y="55"/>
                </a:lnTo>
                <a:lnTo>
                  <a:pt x="63" y="57"/>
                </a:lnTo>
                <a:lnTo>
                  <a:pt x="63" y="59"/>
                </a:lnTo>
                <a:lnTo>
                  <a:pt x="65" y="59"/>
                </a:lnTo>
                <a:lnTo>
                  <a:pt x="66" y="60"/>
                </a:lnTo>
                <a:lnTo>
                  <a:pt x="66" y="62"/>
                </a:lnTo>
                <a:lnTo>
                  <a:pt x="66" y="63"/>
                </a:lnTo>
                <a:lnTo>
                  <a:pt x="66" y="65"/>
                </a:lnTo>
                <a:lnTo>
                  <a:pt x="67" y="66"/>
                </a:lnTo>
                <a:lnTo>
                  <a:pt x="69" y="68"/>
                </a:lnTo>
                <a:lnTo>
                  <a:pt x="69" y="71"/>
                </a:lnTo>
                <a:lnTo>
                  <a:pt x="67" y="73"/>
                </a:lnTo>
                <a:lnTo>
                  <a:pt x="66" y="76"/>
                </a:lnTo>
                <a:lnTo>
                  <a:pt x="66" y="77"/>
                </a:lnTo>
                <a:lnTo>
                  <a:pt x="69" y="76"/>
                </a:lnTo>
                <a:lnTo>
                  <a:pt x="70" y="74"/>
                </a:lnTo>
                <a:lnTo>
                  <a:pt x="71" y="74"/>
                </a:lnTo>
                <a:lnTo>
                  <a:pt x="71" y="76"/>
                </a:lnTo>
                <a:lnTo>
                  <a:pt x="71" y="77"/>
                </a:lnTo>
                <a:lnTo>
                  <a:pt x="73" y="77"/>
                </a:lnTo>
                <a:lnTo>
                  <a:pt x="73" y="74"/>
                </a:lnTo>
                <a:lnTo>
                  <a:pt x="74" y="74"/>
                </a:lnTo>
                <a:lnTo>
                  <a:pt x="75" y="74"/>
                </a:lnTo>
                <a:lnTo>
                  <a:pt x="77" y="76"/>
                </a:lnTo>
                <a:lnTo>
                  <a:pt x="78" y="76"/>
                </a:lnTo>
                <a:lnTo>
                  <a:pt x="81" y="74"/>
                </a:lnTo>
                <a:lnTo>
                  <a:pt x="81" y="76"/>
                </a:lnTo>
                <a:lnTo>
                  <a:pt x="82" y="76"/>
                </a:lnTo>
                <a:lnTo>
                  <a:pt x="83" y="77"/>
                </a:lnTo>
                <a:lnTo>
                  <a:pt x="83" y="81"/>
                </a:lnTo>
                <a:lnTo>
                  <a:pt x="85" y="82"/>
                </a:lnTo>
                <a:lnTo>
                  <a:pt x="85" y="87"/>
                </a:lnTo>
                <a:lnTo>
                  <a:pt x="86" y="88"/>
                </a:lnTo>
                <a:lnTo>
                  <a:pt x="86" y="93"/>
                </a:lnTo>
                <a:lnTo>
                  <a:pt x="85" y="93"/>
                </a:lnTo>
                <a:lnTo>
                  <a:pt x="83" y="95"/>
                </a:lnTo>
                <a:lnTo>
                  <a:pt x="83" y="96"/>
                </a:lnTo>
                <a:lnTo>
                  <a:pt x="85" y="95"/>
                </a:lnTo>
                <a:lnTo>
                  <a:pt x="86" y="95"/>
                </a:lnTo>
                <a:lnTo>
                  <a:pt x="87" y="95"/>
                </a:lnTo>
                <a:lnTo>
                  <a:pt x="89" y="96"/>
                </a:lnTo>
                <a:lnTo>
                  <a:pt x="90" y="98"/>
                </a:lnTo>
                <a:lnTo>
                  <a:pt x="91" y="98"/>
                </a:lnTo>
                <a:lnTo>
                  <a:pt x="94" y="96"/>
                </a:lnTo>
                <a:lnTo>
                  <a:pt x="94" y="95"/>
                </a:lnTo>
                <a:lnTo>
                  <a:pt x="95" y="93"/>
                </a:lnTo>
                <a:lnTo>
                  <a:pt x="95" y="92"/>
                </a:lnTo>
                <a:lnTo>
                  <a:pt x="97" y="90"/>
                </a:lnTo>
                <a:lnTo>
                  <a:pt x="98" y="90"/>
                </a:lnTo>
                <a:lnTo>
                  <a:pt x="99" y="92"/>
                </a:lnTo>
                <a:lnTo>
                  <a:pt x="103" y="92"/>
                </a:lnTo>
                <a:lnTo>
                  <a:pt x="103" y="90"/>
                </a:lnTo>
                <a:lnTo>
                  <a:pt x="105" y="88"/>
                </a:lnTo>
                <a:lnTo>
                  <a:pt x="105" y="85"/>
                </a:lnTo>
                <a:lnTo>
                  <a:pt x="106" y="84"/>
                </a:lnTo>
                <a:lnTo>
                  <a:pt x="106" y="82"/>
                </a:lnTo>
                <a:lnTo>
                  <a:pt x="106" y="81"/>
                </a:lnTo>
                <a:lnTo>
                  <a:pt x="105" y="81"/>
                </a:lnTo>
                <a:lnTo>
                  <a:pt x="103" y="81"/>
                </a:lnTo>
                <a:lnTo>
                  <a:pt x="102" y="81"/>
                </a:lnTo>
                <a:lnTo>
                  <a:pt x="103" y="77"/>
                </a:lnTo>
                <a:lnTo>
                  <a:pt x="103" y="76"/>
                </a:lnTo>
                <a:lnTo>
                  <a:pt x="102" y="76"/>
                </a:lnTo>
                <a:lnTo>
                  <a:pt x="105" y="74"/>
                </a:lnTo>
                <a:lnTo>
                  <a:pt x="107" y="76"/>
                </a:lnTo>
                <a:lnTo>
                  <a:pt x="109" y="76"/>
                </a:lnTo>
                <a:lnTo>
                  <a:pt x="110" y="76"/>
                </a:lnTo>
                <a:lnTo>
                  <a:pt x="110" y="77"/>
                </a:lnTo>
                <a:lnTo>
                  <a:pt x="111" y="77"/>
                </a:lnTo>
                <a:lnTo>
                  <a:pt x="110" y="76"/>
                </a:lnTo>
                <a:lnTo>
                  <a:pt x="110" y="74"/>
                </a:lnTo>
                <a:lnTo>
                  <a:pt x="110" y="73"/>
                </a:lnTo>
                <a:lnTo>
                  <a:pt x="110" y="71"/>
                </a:lnTo>
                <a:lnTo>
                  <a:pt x="109" y="71"/>
                </a:lnTo>
                <a:lnTo>
                  <a:pt x="107" y="70"/>
                </a:lnTo>
                <a:lnTo>
                  <a:pt x="109" y="68"/>
                </a:lnTo>
                <a:lnTo>
                  <a:pt x="109" y="66"/>
                </a:lnTo>
                <a:lnTo>
                  <a:pt x="110" y="65"/>
                </a:lnTo>
                <a:lnTo>
                  <a:pt x="109" y="63"/>
                </a:lnTo>
                <a:lnTo>
                  <a:pt x="107" y="63"/>
                </a:lnTo>
                <a:lnTo>
                  <a:pt x="109" y="59"/>
                </a:lnTo>
                <a:lnTo>
                  <a:pt x="106" y="60"/>
                </a:lnTo>
                <a:lnTo>
                  <a:pt x="105" y="59"/>
                </a:lnTo>
                <a:lnTo>
                  <a:pt x="103" y="57"/>
                </a:lnTo>
                <a:lnTo>
                  <a:pt x="105" y="52"/>
                </a:lnTo>
                <a:lnTo>
                  <a:pt x="103" y="49"/>
                </a:lnTo>
                <a:lnTo>
                  <a:pt x="105" y="48"/>
                </a:lnTo>
                <a:lnTo>
                  <a:pt x="106" y="46"/>
                </a:lnTo>
                <a:lnTo>
                  <a:pt x="106" y="44"/>
                </a:lnTo>
                <a:lnTo>
                  <a:pt x="106" y="43"/>
                </a:lnTo>
                <a:lnTo>
                  <a:pt x="105" y="41"/>
                </a:lnTo>
                <a:lnTo>
                  <a:pt x="105" y="40"/>
                </a:lnTo>
                <a:lnTo>
                  <a:pt x="102" y="40"/>
                </a:lnTo>
                <a:lnTo>
                  <a:pt x="102" y="38"/>
                </a:lnTo>
                <a:lnTo>
                  <a:pt x="102" y="30"/>
                </a:lnTo>
                <a:lnTo>
                  <a:pt x="101" y="29"/>
                </a:lnTo>
                <a:lnTo>
                  <a:pt x="99" y="29"/>
                </a:lnTo>
                <a:lnTo>
                  <a:pt x="98" y="29"/>
                </a:lnTo>
                <a:lnTo>
                  <a:pt x="97" y="32"/>
                </a:lnTo>
                <a:lnTo>
                  <a:pt x="97" y="29"/>
                </a:lnTo>
                <a:lnTo>
                  <a:pt x="98" y="27"/>
                </a:lnTo>
                <a:lnTo>
                  <a:pt x="99" y="26"/>
                </a:lnTo>
                <a:lnTo>
                  <a:pt x="101" y="26"/>
                </a:lnTo>
                <a:lnTo>
                  <a:pt x="101" y="24"/>
                </a:lnTo>
                <a:lnTo>
                  <a:pt x="101" y="22"/>
                </a:lnTo>
                <a:lnTo>
                  <a:pt x="99" y="22"/>
                </a:lnTo>
                <a:lnTo>
                  <a:pt x="98" y="22"/>
                </a:lnTo>
                <a:lnTo>
                  <a:pt x="97" y="21"/>
                </a:lnTo>
                <a:lnTo>
                  <a:pt x="95" y="18"/>
                </a:lnTo>
                <a:lnTo>
                  <a:pt x="94" y="19"/>
                </a:lnTo>
                <a:lnTo>
                  <a:pt x="94" y="13"/>
                </a:lnTo>
                <a:lnTo>
                  <a:pt x="94" y="11"/>
                </a:lnTo>
                <a:lnTo>
                  <a:pt x="93" y="11"/>
                </a:lnTo>
                <a:lnTo>
                  <a:pt x="93" y="10"/>
                </a:lnTo>
                <a:lnTo>
                  <a:pt x="93" y="8"/>
                </a:lnTo>
                <a:lnTo>
                  <a:pt x="91" y="8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03" name="Freeform 502"/>
          <p:cNvSpPr>
            <a:spLocks/>
          </p:cNvSpPr>
          <p:nvPr/>
        </p:nvSpPr>
        <p:spPr bwMode="auto">
          <a:xfrm>
            <a:off x="5345076" y="3904000"/>
            <a:ext cx="68209" cy="17181"/>
          </a:xfrm>
          <a:custGeom>
            <a:avLst/>
            <a:gdLst/>
            <a:ahLst/>
            <a:cxnLst>
              <a:cxn ang="0">
                <a:pos x="37" y="4"/>
              </a:cxn>
              <a:cxn ang="0">
                <a:pos x="37" y="1"/>
              </a:cxn>
              <a:cxn ang="0">
                <a:pos x="37" y="0"/>
              </a:cxn>
              <a:cxn ang="0">
                <a:pos x="36" y="0"/>
              </a:cxn>
              <a:cxn ang="0">
                <a:pos x="35" y="1"/>
              </a:cxn>
              <a:cxn ang="0">
                <a:pos x="32" y="0"/>
              </a:cxn>
              <a:cxn ang="0">
                <a:pos x="32" y="3"/>
              </a:cxn>
              <a:cxn ang="0">
                <a:pos x="31" y="3"/>
              </a:cxn>
              <a:cxn ang="0">
                <a:pos x="27" y="4"/>
              </a:cxn>
              <a:cxn ang="0">
                <a:pos x="27" y="6"/>
              </a:cxn>
              <a:cxn ang="0">
                <a:pos x="27" y="7"/>
              </a:cxn>
              <a:cxn ang="0">
                <a:pos x="23" y="6"/>
              </a:cxn>
              <a:cxn ang="0">
                <a:pos x="20" y="4"/>
              </a:cxn>
              <a:cxn ang="0">
                <a:pos x="17" y="4"/>
              </a:cxn>
              <a:cxn ang="0">
                <a:pos x="16" y="6"/>
              </a:cxn>
              <a:cxn ang="0">
                <a:pos x="15" y="7"/>
              </a:cxn>
              <a:cxn ang="0">
                <a:pos x="13" y="9"/>
              </a:cxn>
              <a:cxn ang="0">
                <a:pos x="12" y="9"/>
              </a:cxn>
              <a:cxn ang="0">
                <a:pos x="11" y="9"/>
              </a:cxn>
              <a:cxn ang="0">
                <a:pos x="9" y="6"/>
              </a:cxn>
              <a:cxn ang="0">
                <a:pos x="8" y="4"/>
              </a:cxn>
              <a:cxn ang="0">
                <a:pos x="7" y="4"/>
              </a:cxn>
              <a:cxn ang="0">
                <a:pos x="5" y="7"/>
              </a:cxn>
              <a:cxn ang="0">
                <a:pos x="4" y="7"/>
              </a:cxn>
              <a:cxn ang="0">
                <a:pos x="3" y="7"/>
              </a:cxn>
              <a:cxn ang="0">
                <a:pos x="1" y="7"/>
              </a:cxn>
              <a:cxn ang="0">
                <a:pos x="0" y="6"/>
              </a:cxn>
              <a:cxn ang="0">
                <a:pos x="0" y="4"/>
              </a:cxn>
              <a:cxn ang="0">
                <a:pos x="1" y="3"/>
              </a:cxn>
              <a:cxn ang="0">
                <a:pos x="3" y="1"/>
              </a:cxn>
            </a:cxnLst>
            <a:rect l="0" t="0" r="r" b="b"/>
            <a:pathLst>
              <a:path w="37" h="9">
                <a:moveTo>
                  <a:pt x="37" y="4"/>
                </a:moveTo>
                <a:lnTo>
                  <a:pt x="37" y="1"/>
                </a:lnTo>
                <a:lnTo>
                  <a:pt x="37" y="0"/>
                </a:lnTo>
                <a:lnTo>
                  <a:pt x="36" y="0"/>
                </a:lnTo>
                <a:lnTo>
                  <a:pt x="35" y="1"/>
                </a:lnTo>
                <a:lnTo>
                  <a:pt x="32" y="0"/>
                </a:lnTo>
                <a:lnTo>
                  <a:pt x="32" y="3"/>
                </a:lnTo>
                <a:lnTo>
                  <a:pt x="31" y="3"/>
                </a:lnTo>
                <a:lnTo>
                  <a:pt x="27" y="4"/>
                </a:lnTo>
                <a:lnTo>
                  <a:pt x="27" y="6"/>
                </a:lnTo>
                <a:lnTo>
                  <a:pt x="27" y="7"/>
                </a:lnTo>
                <a:lnTo>
                  <a:pt x="23" y="6"/>
                </a:lnTo>
                <a:lnTo>
                  <a:pt x="20" y="4"/>
                </a:lnTo>
                <a:lnTo>
                  <a:pt x="17" y="4"/>
                </a:lnTo>
                <a:lnTo>
                  <a:pt x="16" y="6"/>
                </a:lnTo>
                <a:lnTo>
                  <a:pt x="15" y="7"/>
                </a:lnTo>
                <a:lnTo>
                  <a:pt x="13" y="9"/>
                </a:lnTo>
                <a:lnTo>
                  <a:pt x="12" y="9"/>
                </a:lnTo>
                <a:lnTo>
                  <a:pt x="11" y="9"/>
                </a:lnTo>
                <a:lnTo>
                  <a:pt x="9" y="6"/>
                </a:lnTo>
                <a:lnTo>
                  <a:pt x="8" y="4"/>
                </a:lnTo>
                <a:lnTo>
                  <a:pt x="7" y="4"/>
                </a:lnTo>
                <a:lnTo>
                  <a:pt x="5" y="7"/>
                </a:lnTo>
                <a:lnTo>
                  <a:pt x="4" y="7"/>
                </a:lnTo>
                <a:lnTo>
                  <a:pt x="3" y="7"/>
                </a:lnTo>
                <a:lnTo>
                  <a:pt x="1" y="7"/>
                </a:lnTo>
                <a:lnTo>
                  <a:pt x="0" y="6"/>
                </a:lnTo>
                <a:lnTo>
                  <a:pt x="0" y="4"/>
                </a:lnTo>
                <a:lnTo>
                  <a:pt x="1" y="3"/>
                </a:lnTo>
                <a:lnTo>
                  <a:pt x="3" y="1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04" name="Freeform 503"/>
          <p:cNvSpPr>
            <a:spLocks/>
          </p:cNvSpPr>
          <p:nvPr/>
        </p:nvSpPr>
        <p:spPr bwMode="auto">
          <a:xfrm>
            <a:off x="5884898" y="3025628"/>
            <a:ext cx="114979" cy="249123"/>
          </a:xfrm>
          <a:custGeom>
            <a:avLst/>
            <a:gdLst/>
            <a:ahLst/>
            <a:cxnLst>
              <a:cxn ang="0">
                <a:pos x="34" y="124"/>
              </a:cxn>
              <a:cxn ang="0">
                <a:pos x="40" y="120"/>
              </a:cxn>
              <a:cxn ang="0">
                <a:pos x="42" y="115"/>
              </a:cxn>
              <a:cxn ang="0">
                <a:pos x="40" y="104"/>
              </a:cxn>
              <a:cxn ang="0">
                <a:pos x="46" y="101"/>
              </a:cxn>
              <a:cxn ang="0">
                <a:pos x="50" y="96"/>
              </a:cxn>
              <a:cxn ang="0">
                <a:pos x="59" y="88"/>
              </a:cxn>
              <a:cxn ang="0">
                <a:pos x="60" y="76"/>
              </a:cxn>
              <a:cxn ang="0">
                <a:pos x="57" y="74"/>
              </a:cxn>
              <a:cxn ang="0">
                <a:pos x="55" y="73"/>
              </a:cxn>
              <a:cxn ang="0">
                <a:pos x="51" y="68"/>
              </a:cxn>
              <a:cxn ang="0">
                <a:pos x="47" y="68"/>
              </a:cxn>
              <a:cxn ang="0">
                <a:pos x="46" y="66"/>
              </a:cxn>
              <a:cxn ang="0">
                <a:pos x="42" y="66"/>
              </a:cxn>
              <a:cxn ang="0">
                <a:pos x="38" y="60"/>
              </a:cxn>
              <a:cxn ang="0">
                <a:pos x="42" y="58"/>
              </a:cxn>
              <a:cxn ang="0">
                <a:pos x="42" y="54"/>
              </a:cxn>
              <a:cxn ang="0">
                <a:pos x="46" y="52"/>
              </a:cxn>
              <a:cxn ang="0">
                <a:pos x="51" y="47"/>
              </a:cxn>
              <a:cxn ang="0">
                <a:pos x="55" y="43"/>
              </a:cxn>
              <a:cxn ang="0">
                <a:pos x="56" y="35"/>
              </a:cxn>
              <a:cxn ang="0">
                <a:pos x="54" y="30"/>
              </a:cxn>
              <a:cxn ang="0">
                <a:pos x="50" y="27"/>
              </a:cxn>
              <a:cxn ang="0">
                <a:pos x="47" y="21"/>
              </a:cxn>
              <a:cxn ang="0">
                <a:pos x="51" y="16"/>
              </a:cxn>
              <a:cxn ang="0">
                <a:pos x="56" y="8"/>
              </a:cxn>
              <a:cxn ang="0">
                <a:pos x="54" y="5"/>
              </a:cxn>
              <a:cxn ang="0">
                <a:pos x="50" y="8"/>
              </a:cxn>
              <a:cxn ang="0">
                <a:pos x="47" y="11"/>
              </a:cxn>
              <a:cxn ang="0">
                <a:pos x="44" y="7"/>
              </a:cxn>
              <a:cxn ang="0">
                <a:pos x="43" y="3"/>
              </a:cxn>
              <a:cxn ang="0">
                <a:pos x="38" y="0"/>
              </a:cxn>
              <a:cxn ang="0">
                <a:pos x="31" y="0"/>
              </a:cxn>
              <a:cxn ang="0">
                <a:pos x="26" y="3"/>
              </a:cxn>
              <a:cxn ang="0">
                <a:pos x="22" y="7"/>
              </a:cxn>
              <a:cxn ang="0">
                <a:pos x="20" y="8"/>
              </a:cxn>
              <a:cxn ang="0">
                <a:pos x="18" y="11"/>
              </a:cxn>
              <a:cxn ang="0">
                <a:pos x="14" y="14"/>
              </a:cxn>
              <a:cxn ang="0">
                <a:pos x="16" y="16"/>
              </a:cxn>
              <a:cxn ang="0">
                <a:pos x="15" y="27"/>
              </a:cxn>
              <a:cxn ang="0">
                <a:pos x="15" y="35"/>
              </a:cxn>
              <a:cxn ang="0">
                <a:pos x="16" y="40"/>
              </a:cxn>
              <a:cxn ang="0">
                <a:pos x="14" y="49"/>
              </a:cxn>
              <a:cxn ang="0">
                <a:pos x="7" y="55"/>
              </a:cxn>
              <a:cxn ang="0">
                <a:pos x="4" y="58"/>
              </a:cxn>
              <a:cxn ang="0">
                <a:pos x="0" y="60"/>
              </a:cxn>
              <a:cxn ang="0">
                <a:pos x="2" y="66"/>
              </a:cxn>
              <a:cxn ang="0">
                <a:pos x="10" y="74"/>
              </a:cxn>
              <a:cxn ang="0">
                <a:pos x="12" y="82"/>
              </a:cxn>
              <a:cxn ang="0">
                <a:pos x="18" y="90"/>
              </a:cxn>
              <a:cxn ang="0">
                <a:pos x="26" y="93"/>
              </a:cxn>
              <a:cxn ang="0">
                <a:pos x="28" y="113"/>
              </a:cxn>
              <a:cxn ang="0">
                <a:pos x="31" y="126"/>
              </a:cxn>
            </a:cxnLst>
            <a:rect l="0" t="0" r="r" b="b"/>
            <a:pathLst>
              <a:path w="60" h="126">
                <a:moveTo>
                  <a:pt x="31" y="126"/>
                </a:moveTo>
                <a:lnTo>
                  <a:pt x="34" y="124"/>
                </a:lnTo>
                <a:lnTo>
                  <a:pt x="38" y="123"/>
                </a:lnTo>
                <a:lnTo>
                  <a:pt x="40" y="120"/>
                </a:lnTo>
                <a:lnTo>
                  <a:pt x="42" y="118"/>
                </a:lnTo>
                <a:lnTo>
                  <a:pt x="42" y="115"/>
                </a:lnTo>
                <a:lnTo>
                  <a:pt x="40" y="107"/>
                </a:lnTo>
                <a:lnTo>
                  <a:pt x="40" y="104"/>
                </a:lnTo>
                <a:lnTo>
                  <a:pt x="42" y="102"/>
                </a:lnTo>
                <a:lnTo>
                  <a:pt x="46" y="101"/>
                </a:lnTo>
                <a:lnTo>
                  <a:pt x="48" y="99"/>
                </a:lnTo>
                <a:lnTo>
                  <a:pt x="50" y="96"/>
                </a:lnTo>
                <a:lnTo>
                  <a:pt x="57" y="90"/>
                </a:lnTo>
                <a:lnTo>
                  <a:pt x="59" y="88"/>
                </a:lnTo>
                <a:lnTo>
                  <a:pt x="60" y="85"/>
                </a:lnTo>
                <a:lnTo>
                  <a:pt x="60" y="76"/>
                </a:lnTo>
                <a:lnTo>
                  <a:pt x="59" y="74"/>
                </a:lnTo>
                <a:lnTo>
                  <a:pt x="57" y="74"/>
                </a:lnTo>
                <a:lnTo>
                  <a:pt x="55" y="74"/>
                </a:lnTo>
                <a:lnTo>
                  <a:pt x="55" y="73"/>
                </a:lnTo>
                <a:lnTo>
                  <a:pt x="52" y="68"/>
                </a:lnTo>
                <a:lnTo>
                  <a:pt x="51" y="68"/>
                </a:lnTo>
                <a:lnTo>
                  <a:pt x="48" y="69"/>
                </a:lnTo>
                <a:lnTo>
                  <a:pt x="47" y="68"/>
                </a:lnTo>
                <a:lnTo>
                  <a:pt x="47" y="66"/>
                </a:lnTo>
                <a:lnTo>
                  <a:pt x="46" y="66"/>
                </a:lnTo>
                <a:lnTo>
                  <a:pt x="43" y="66"/>
                </a:lnTo>
                <a:lnTo>
                  <a:pt x="42" y="66"/>
                </a:lnTo>
                <a:lnTo>
                  <a:pt x="39" y="63"/>
                </a:lnTo>
                <a:lnTo>
                  <a:pt x="38" y="60"/>
                </a:lnTo>
                <a:lnTo>
                  <a:pt x="38" y="57"/>
                </a:lnTo>
                <a:lnTo>
                  <a:pt x="42" y="58"/>
                </a:lnTo>
                <a:lnTo>
                  <a:pt x="42" y="57"/>
                </a:lnTo>
                <a:lnTo>
                  <a:pt x="42" y="54"/>
                </a:lnTo>
                <a:lnTo>
                  <a:pt x="44" y="54"/>
                </a:lnTo>
                <a:lnTo>
                  <a:pt x="46" y="52"/>
                </a:lnTo>
                <a:lnTo>
                  <a:pt x="47" y="51"/>
                </a:lnTo>
                <a:lnTo>
                  <a:pt x="51" y="47"/>
                </a:lnTo>
                <a:lnTo>
                  <a:pt x="52" y="46"/>
                </a:lnTo>
                <a:lnTo>
                  <a:pt x="55" y="43"/>
                </a:lnTo>
                <a:lnTo>
                  <a:pt x="57" y="38"/>
                </a:lnTo>
                <a:lnTo>
                  <a:pt x="56" y="35"/>
                </a:lnTo>
                <a:lnTo>
                  <a:pt x="55" y="30"/>
                </a:lnTo>
                <a:lnTo>
                  <a:pt x="54" y="30"/>
                </a:lnTo>
                <a:lnTo>
                  <a:pt x="52" y="27"/>
                </a:lnTo>
                <a:lnTo>
                  <a:pt x="50" y="27"/>
                </a:lnTo>
                <a:lnTo>
                  <a:pt x="48" y="25"/>
                </a:lnTo>
                <a:lnTo>
                  <a:pt x="47" y="21"/>
                </a:lnTo>
                <a:lnTo>
                  <a:pt x="48" y="18"/>
                </a:lnTo>
                <a:lnTo>
                  <a:pt x="51" y="16"/>
                </a:lnTo>
                <a:lnTo>
                  <a:pt x="54" y="14"/>
                </a:lnTo>
                <a:lnTo>
                  <a:pt x="56" y="8"/>
                </a:lnTo>
                <a:lnTo>
                  <a:pt x="55" y="5"/>
                </a:lnTo>
                <a:lnTo>
                  <a:pt x="54" y="5"/>
                </a:lnTo>
                <a:lnTo>
                  <a:pt x="52" y="8"/>
                </a:lnTo>
                <a:lnTo>
                  <a:pt x="50" y="8"/>
                </a:lnTo>
                <a:lnTo>
                  <a:pt x="48" y="10"/>
                </a:lnTo>
                <a:lnTo>
                  <a:pt x="47" y="11"/>
                </a:lnTo>
                <a:lnTo>
                  <a:pt x="44" y="10"/>
                </a:lnTo>
                <a:lnTo>
                  <a:pt x="44" y="7"/>
                </a:lnTo>
                <a:lnTo>
                  <a:pt x="43" y="5"/>
                </a:lnTo>
                <a:lnTo>
                  <a:pt x="43" y="3"/>
                </a:lnTo>
                <a:lnTo>
                  <a:pt x="43" y="2"/>
                </a:lnTo>
                <a:lnTo>
                  <a:pt x="38" y="0"/>
                </a:lnTo>
                <a:lnTo>
                  <a:pt x="35" y="0"/>
                </a:lnTo>
                <a:lnTo>
                  <a:pt x="31" y="0"/>
                </a:lnTo>
                <a:lnTo>
                  <a:pt x="28" y="2"/>
                </a:lnTo>
                <a:lnTo>
                  <a:pt x="26" y="3"/>
                </a:lnTo>
                <a:lnTo>
                  <a:pt x="23" y="5"/>
                </a:lnTo>
                <a:lnTo>
                  <a:pt x="22" y="7"/>
                </a:lnTo>
                <a:lnTo>
                  <a:pt x="20" y="7"/>
                </a:lnTo>
                <a:lnTo>
                  <a:pt x="20" y="8"/>
                </a:lnTo>
                <a:lnTo>
                  <a:pt x="19" y="10"/>
                </a:lnTo>
                <a:lnTo>
                  <a:pt x="18" y="11"/>
                </a:lnTo>
                <a:lnTo>
                  <a:pt x="15" y="13"/>
                </a:lnTo>
                <a:lnTo>
                  <a:pt x="14" y="14"/>
                </a:lnTo>
                <a:lnTo>
                  <a:pt x="16" y="14"/>
                </a:lnTo>
                <a:lnTo>
                  <a:pt x="16" y="16"/>
                </a:lnTo>
                <a:lnTo>
                  <a:pt x="15" y="24"/>
                </a:lnTo>
                <a:lnTo>
                  <a:pt x="15" y="27"/>
                </a:lnTo>
                <a:lnTo>
                  <a:pt x="15" y="30"/>
                </a:lnTo>
                <a:lnTo>
                  <a:pt x="15" y="35"/>
                </a:lnTo>
                <a:lnTo>
                  <a:pt x="16" y="38"/>
                </a:lnTo>
                <a:lnTo>
                  <a:pt x="16" y="40"/>
                </a:lnTo>
                <a:lnTo>
                  <a:pt x="15" y="46"/>
                </a:lnTo>
                <a:lnTo>
                  <a:pt x="14" y="49"/>
                </a:lnTo>
                <a:lnTo>
                  <a:pt x="8" y="52"/>
                </a:lnTo>
                <a:lnTo>
                  <a:pt x="7" y="55"/>
                </a:lnTo>
                <a:lnTo>
                  <a:pt x="6" y="57"/>
                </a:lnTo>
                <a:lnTo>
                  <a:pt x="4" y="58"/>
                </a:lnTo>
                <a:lnTo>
                  <a:pt x="3" y="58"/>
                </a:lnTo>
                <a:lnTo>
                  <a:pt x="0" y="60"/>
                </a:lnTo>
                <a:lnTo>
                  <a:pt x="0" y="63"/>
                </a:lnTo>
                <a:lnTo>
                  <a:pt x="2" y="66"/>
                </a:lnTo>
                <a:lnTo>
                  <a:pt x="4" y="73"/>
                </a:lnTo>
                <a:lnTo>
                  <a:pt x="10" y="74"/>
                </a:lnTo>
                <a:lnTo>
                  <a:pt x="11" y="76"/>
                </a:lnTo>
                <a:lnTo>
                  <a:pt x="12" y="82"/>
                </a:lnTo>
                <a:lnTo>
                  <a:pt x="12" y="87"/>
                </a:lnTo>
                <a:lnTo>
                  <a:pt x="18" y="90"/>
                </a:lnTo>
                <a:lnTo>
                  <a:pt x="24" y="93"/>
                </a:lnTo>
                <a:lnTo>
                  <a:pt x="26" y="93"/>
                </a:lnTo>
                <a:lnTo>
                  <a:pt x="26" y="95"/>
                </a:lnTo>
                <a:lnTo>
                  <a:pt x="28" y="113"/>
                </a:lnTo>
                <a:lnTo>
                  <a:pt x="30" y="124"/>
                </a:lnTo>
                <a:lnTo>
                  <a:pt x="31" y="126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05" name="Freeform 504"/>
          <p:cNvSpPr>
            <a:spLocks/>
          </p:cNvSpPr>
          <p:nvPr/>
        </p:nvSpPr>
        <p:spPr bwMode="auto">
          <a:xfrm>
            <a:off x="5884898" y="3025628"/>
            <a:ext cx="114979" cy="249123"/>
          </a:xfrm>
          <a:custGeom>
            <a:avLst/>
            <a:gdLst/>
            <a:ahLst/>
            <a:cxnLst>
              <a:cxn ang="0">
                <a:pos x="34" y="124"/>
              </a:cxn>
              <a:cxn ang="0">
                <a:pos x="40" y="120"/>
              </a:cxn>
              <a:cxn ang="0">
                <a:pos x="42" y="115"/>
              </a:cxn>
              <a:cxn ang="0">
                <a:pos x="40" y="104"/>
              </a:cxn>
              <a:cxn ang="0">
                <a:pos x="46" y="101"/>
              </a:cxn>
              <a:cxn ang="0">
                <a:pos x="50" y="96"/>
              </a:cxn>
              <a:cxn ang="0">
                <a:pos x="59" y="88"/>
              </a:cxn>
              <a:cxn ang="0">
                <a:pos x="60" y="76"/>
              </a:cxn>
              <a:cxn ang="0">
                <a:pos x="57" y="74"/>
              </a:cxn>
              <a:cxn ang="0">
                <a:pos x="55" y="73"/>
              </a:cxn>
              <a:cxn ang="0">
                <a:pos x="51" y="68"/>
              </a:cxn>
              <a:cxn ang="0">
                <a:pos x="47" y="68"/>
              </a:cxn>
              <a:cxn ang="0">
                <a:pos x="46" y="66"/>
              </a:cxn>
              <a:cxn ang="0">
                <a:pos x="42" y="66"/>
              </a:cxn>
              <a:cxn ang="0">
                <a:pos x="38" y="60"/>
              </a:cxn>
              <a:cxn ang="0">
                <a:pos x="42" y="58"/>
              </a:cxn>
              <a:cxn ang="0">
                <a:pos x="42" y="54"/>
              </a:cxn>
              <a:cxn ang="0">
                <a:pos x="46" y="52"/>
              </a:cxn>
              <a:cxn ang="0">
                <a:pos x="51" y="47"/>
              </a:cxn>
              <a:cxn ang="0">
                <a:pos x="55" y="43"/>
              </a:cxn>
              <a:cxn ang="0">
                <a:pos x="56" y="35"/>
              </a:cxn>
              <a:cxn ang="0">
                <a:pos x="54" y="30"/>
              </a:cxn>
              <a:cxn ang="0">
                <a:pos x="50" y="27"/>
              </a:cxn>
              <a:cxn ang="0">
                <a:pos x="47" y="21"/>
              </a:cxn>
              <a:cxn ang="0">
                <a:pos x="51" y="16"/>
              </a:cxn>
              <a:cxn ang="0">
                <a:pos x="56" y="8"/>
              </a:cxn>
              <a:cxn ang="0">
                <a:pos x="54" y="5"/>
              </a:cxn>
              <a:cxn ang="0">
                <a:pos x="50" y="8"/>
              </a:cxn>
              <a:cxn ang="0">
                <a:pos x="47" y="11"/>
              </a:cxn>
              <a:cxn ang="0">
                <a:pos x="44" y="7"/>
              </a:cxn>
              <a:cxn ang="0">
                <a:pos x="43" y="3"/>
              </a:cxn>
              <a:cxn ang="0">
                <a:pos x="38" y="0"/>
              </a:cxn>
              <a:cxn ang="0">
                <a:pos x="31" y="0"/>
              </a:cxn>
              <a:cxn ang="0">
                <a:pos x="26" y="3"/>
              </a:cxn>
              <a:cxn ang="0">
                <a:pos x="22" y="7"/>
              </a:cxn>
              <a:cxn ang="0">
                <a:pos x="20" y="8"/>
              </a:cxn>
              <a:cxn ang="0">
                <a:pos x="18" y="11"/>
              </a:cxn>
              <a:cxn ang="0">
                <a:pos x="14" y="14"/>
              </a:cxn>
              <a:cxn ang="0">
                <a:pos x="16" y="16"/>
              </a:cxn>
              <a:cxn ang="0">
                <a:pos x="15" y="27"/>
              </a:cxn>
              <a:cxn ang="0">
                <a:pos x="15" y="35"/>
              </a:cxn>
              <a:cxn ang="0">
                <a:pos x="16" y="40"/>
              </a:cxn>
              <a:cxn ang="0">
                <a:pos x="14" y="49"/>
              </a:cxn>
              <a:cxn ang="0">
                <a:pos x="7" y="55"/>
              </a:cxn>
              <a:cxn ang="0">
                <a:pos x="4" y="58"/>
              </a:cxn>
              <a:cxn ang="0">
                <a:pos x="0" y="60"/>
              </a:cxn>
              <a:cxn ang="0">
                <a:pos x="2" y="66"/>
              </a:cxn>
              <a:cxn ang="0">
                <a:pos x="10" y="74"/>
              </a:cxn>
              <a:cxn ang="0">
                <a:pos x="12" y="82"/>
              </a:cxn>
              <a:cxn ang="0">
                <a:pos x="18" y="90"/>
              </a:cxn>
              <a:cxn ang="0">
                <a:pos x="26" y="93"/>
              </a:cxn>
              <a:cxn ang="0">
                <a:pos x="28" y="113"/>
              </a:cxn>
              <a:cxn ang="0">
                <a:pos x="31" y="126"/>
              </a:cxn>
            </a:cxnLst>
            <a:rect l="0" t="0" r="r" b="b"/>
            <a:pathLst>
              <a:path w="60" h="126">
                <a:moveTo>
                  <a:pt x="31" y="126"/>
                </a:moveTo>
                <a:lnTo>
                  <a:pt x="34" y="124"/>
                </a:lnTo>
                <a:lnTo>
                  <a:pt x="38" y="123"/>
                </a:lnTo>
                <a:lnTo>
                  <a:pt x="40" y="120"/>
                </a:lnTo>
                <a:lnTo>
                  <a:pt x="42" y="118"/>
                </a:lnTo>
                <a:lnTo>
                  <a:pt x="42" y="115"/>
                </a:lnTo>
                <a:lnTo>
                  <a:pt x="40" y="107"/>
                </a:lnTo>
                <a:lnTo>
                  <a:pt x="40" y="104"/>
                </a:lnTo>
                <a:lnTo>
                  <a:pt x="42" y="102"/>
                </a:lnTo>
                <a:lnTo>
                  <a:pt x="46" y="101"/>
                </a:lnTo>
                <a:lnTo>
                  <a:pt x="48" y="99"/>
                </a:lnTo>
                <a:lnTo>
                  <a:pt x="50" y="96"/>
                </a:lnTo>
                <a:lnTo>
                  <a:pt x="57" y="90"/>
                </a:lnTo>
                <a:lnTo>
                  <a:pt x="59" y="88"/>
                </a:lnTo>
                <a:lnTo>
                  <a:pt x="60" y="85"/>
                </a:lnTo>
                <a:lnTo>
                  <a:pt x="60" y="76"/>
                </a:lnTo>
                <a:lnTo>
                  <a:pt x="59" y="74"/>
                </a:lnTo>
                <a:lnTo>
                  <a:pt x="57" y="74"/>
                </a:lnTo>
                <a:lnTo>
                  <a:pt x="55" y="74"/>
                </a:lnTo>
                <a:lnTo>
                  <a:pt x="55" y="73"/>
                </a:lnTo>
                <a:lnTo>
                  <a:pt x="52" y="68"/>
                </a:lnTo>
                <a:lnTo>
                  <a:pt x="51" y="68"/>
                </a:lnTo>
                <a:lnTo>
                  <a:pt x="48" y="69"/>
                </a:lnTo>
                <a:lnTo>
                  <a:pt x="47" y="68"/>
                </a:lnTo>
                <a:lnTo>
                  <a:pt x="47" y="66"/>
                </a:lnTo>
                <a:lnTo>
                  <a:pt x="46" y="66"/>
                </a:lnTo>
                <a:lnTo>
                  <a:pt x="43" y="66"/>
                </a:lnTo>
                <a:lnTo>
                  <a:pt x="42" y="66"/>
                </a:lnTo>
                <a:lnTo>
                  <a:pt x="39" y="63"/>
                </a:lnTo>
                <a:lnTo>
                  <a:pt x="38" y="60"/>
                </a:lnTo>
                <a:lnTo>
                  <a:pt x="38" y="57"/>
                </a:lnTo>
                <a:lnTo>
                  <a:pt x="42" y="58"/>
                </a:lnTo>
                <a:lnTo>
                  <a:pt x="42" y="57"/>
                </a:lnTo>
                <a:lnTo>
                  <a:pt x="42" y="54"/>
                </a:lnTo>
                <a:lnTo>
                  <a:pt x="44" y="54"/>
                </a:lnTo>
                <a:lnTo>
                  <a:pt x="46" y="52"/>
                </a:lnTo>
                <a:lnTo>
                  <a:pt x="47" y="51"/>
                </a:lnTo>
                <a:lnTo>
                  <a:pt x="51" y="47"/>
                </a:lnTo>
                <a:lnTo>
                  <a:pt x="52" y="46"/>
                </a:lnTo>
                <a:lnTo>
                  <a:pt x="55" y="43"/>
                </a:lnTo>
                <a:lnTo>
                  <a:pt x="57" y="38"/>
                </a:lnTo>
                <a:lnTo>
                  <a:pt x="56" y="35"/>
                </a:lnTo>
                <a:lnTo>
                  <a:pt x="55" y="30"/>
                </a:lnTo>
                <a:lnTo>
                  <a:pt x="54" y="30"/>
                </a:lnTo>
                <a:lnTo>
                  <a:pt x="52" y="27"/>
                </a:lnTo>
                <a:lnTo>
                  <a:pt x="50" y="27"/>
                </a:lnTo>
                <a:lnTo>
                  <a:pt x="48" y="25"/>
                </a:lnTo>
                <a:lnTo>
                  <a:pt x="47" y="21"/>
                </a:lnTo>
                <a:lnTo>
                  <a:pt x="48" y="18"/>
                </a:lnTo>
                <a:lnTo>
                  <a:pt x="51" y="16"/>
                </a:lnTo>
                <a:lnTo>
                  <a:pt x="54" y="14"/>
                </a:lnTo>
                <a:lnTo>
                  <a:pt x="56" y="8"/>
                </a:lnTo>
                <a:lnTo>
                  <a:pt x="55" y="5"/>
                </a:lnTo>
                <a:lnTo>
                  <a:pt x="54" y="5"/>
                </a:lnTo>
                <a:lnTo>
                  <a:pt x="52" y="8"/>
                </a:lnTo>
                <a:lnTo>
                  <a:pt x="50" y="8"/>
                </a:lnTo>
                <a:lnTo>
                  <a:pt x="48" y="10"/>
                </a:lnTo>
                <a:lnTo>
                  <a:pt x="47" y="11"/>
                </a:lnTo>
                <a:lnTo>
                  <a:pt x="44" y="10"/>
                </a:lnTo>
                <a:lnTo>
                  <a:pt x="44" y="7"/>
                </a:lnTo>
                <a:lnTo>
                  <a:pt x="43" y="5"/>
                </a:lnTo>
                <a:lnTo>
                  <a:pt x="43" y="3"/>
                </a:lnTo>
                <a:lnTo>
                  <a:pt x="43" y="2"/>
                </a:lnTo>
                <a:lnTo>
                  <a:pt x="38" y="0"/>
                </a:lnTo>
                <a:lnTo>
                  <a:pt x="35" y="0"/>
                </a:lnTo>
                <a:lnTo>
                  <a:pt x="31" y="0"/>
                </a:lnTo>
                <a:lnTo>
                  <a:pt x="28" y="2"/>
                </a:lnTo>
                <a:lnTo>
                  <a:pt x="26" y="3"/>
                </a:lnTo>
                <a:lnTo>
                  <a:pt x="23" y="5"/>
                </a:lnTo>
                <a:lnTo>
                  <a:pt x="22" y="7"/>
                </a:lnTo>
                <a:lnTo>
                  <a:pt x="20" y="7"/>
                </a:lnTo>
                <a:lnTo>
                  <a:pt x="20" y="8"/>
                </a:lnTo>
                <a:lnTo>
                  <a:pt x="19" y="10"/>
                </a:lnTo>
                <a:lnTo>
                  <a:pt x="18" y="11"/>
                </a:lnTo>
                <a:lnTo>
                  <a:pt x="15" y="13"/>
                </a:lnTo>
                <a:lnTo>
                  <a:pt x="14" y="14"/>
                </a:lnTo>
                <a:lnTo>
                  <a:pt x="16" y="14"/>
                </a:lnTo>
                <a:lnTo>
                  <a:pt x="16" y="16"/>
                </a:lnTo>
                <a:lnTo>
                  <a:pt x="15" y="24"/>
                </a:lnTo>
                <a:lnTo>
                  <a:pt x="15" y="27"/>
                </a:lnTo>
                <a:lnTo>
                  <a:pt x="15" y="30"/>
                </a:lnTo>
                <a:lnTo>
                  <a:pt x="15" y="35"/>
                </a:lnTo>
                <a:lnTo>
                  <a:pt x="16" y="38"/>
                </a:lnTo>
                <a:lnTo>
                  <a:pt x="16" y="40"/>
                </a:lnTo>
                <a:lnTo>
                  <a:pt x="15" y="46"/>
                </a:lnTo>
                <a:lnTo>
                  <a:pt x="14" y="49"/>
                </a:lnTo>
                <a:lnTo>
                  <a:pt x="8" y="52"/>
                </a:lnTo>
                <a:lnTo>
                  <a:pt x="7" y="55"/>
                </a:lnTo>
                <a:lnTo>
                  <a:pt x="6" y="57"/>
                </a:lnTo>
                <a:lnTo>
                  <a:pt x="4" y="58"/>
                </a:lnTo>
                <a:lnTo>
                  <a:pt x="3" y="58"/>
                </a:lnTo>
                <a:lnTo>
                  <a:pt x="0" y="60"/>
                </a:lnTo>
                <a:lnTo>
                  <a:pt x="0" y="63"/>
                </a:lnTo>
                <a:lnTo>
                  <a:pt x="2" y="66"/>
                </a:lnTo>
                <a:lnTo>
                  <a:pt x="4" y="73"/>
                </a:lnTo>
                <a:lnTo>
                  <a:pt x="10" y="74"/>
                </a:lnTo>
                <a:lnTo>
                  <a:pt x="11" y="76"/>
                </a:lnTo>
                <a:lnTo>
                  <a:pt x="12" y="82"/>
                </a:lnTo>
                <a:lnTo>
                  <a:pt x="12" y="87"/>
                </a:lnTo>
                <a:lnTo>
                  <a:pt x="18" y="90"/>
                </a:lnTo>
                <a:lnTo>
                  <a:pt x="24" y="93"/>
                </a:lnTo>
                <a:lnTo>
                  <a:pt x="26" y="93"/>
                </a:lnTo>
                <a:lnTo>
                  <a:pt x="26" y="95"/>
                </a:lnTo>
                <a:lnTo>
                  <a:pt x="28" y="113"/>
                </a:lnTo>
                <a:lnTo>
                  <a:pt x="30" y="124"/>
                </a:lnTo>
                <a:lnTo>
                  <a:pt x="31" y="126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06" name="Freeform 505"/>
          <p:cNvSpPr>
            <a:spLocks/>
          </p:cNvSpPr>
          <p:nvPr/>
        </p:nvSpPr>
        <p:spPr bwMode="auto">
          <a:xfrm>
            <a:off x="6089522" y="3953396"/>
            <a:ext cx="378071" cy="289926"/>
          </a:xfrm>
          <a:custGeom>
            <a:avLst/>
            <a:gdLst/>
            <a:ahLst/>
            <a:cxnLst>
              <a:cxn ang="0">
                <a:pos x="119" y="2"/>
              </a:cxn>
              <a:cxn ang="0">
                <a:pos x="111" y="5"/>
              </a:cxn>
              <a:cxn ang="0">
                <a:pos x="109" y="14"/>
              </a:cxn>
              <a:cxn ang="0">
                <a:pos x="103" y="18"/>
              </a:cxn>
              <a:cxn ang="0">
                <a:pos x="98" y="29"/>
              </a:cxn>
              <a:cxn ang="0">
                <a:pos x="91" y="33"/>
              </a:cxn>
              <a:cxn ang="0">
                <a:pos x="87" y="33"/>
              </a:cxn>
              <a:cxn ang="0">
                <a:pos x="81" y="35"/>
              </a:cxn>
              <a:cxn ang="0">
                <a:pos x="71" y="36"/>
              </a:cxn>
              <a:cxn ang="0">
                <a:pos x="67" y="40"/>
              </a:cxn>
              <a:cxn ang="0">
                <a:pos x="69" y="44"/>
              </a:cxn>
              <a:cxn ang="0">
                <a:pos x="66" y="49"/>
              </a:cxn>
              <a:cxn ang="0">
                <a:pos x="63" y="52"/>
              </a:cxn>
              <a:cxn ang="0">
                <a:pos x="54" y="54"/>
              </a:cxn>
              <a:cxn ang="0">
                <a:pos x="45" y="57"/>
              </a:cxn>
              <a:cxn ang="0">
                <a:pos x="41" y="60"/>
              </a:cxn>
              <a:cxn ang="0">
                <a:pos x="34" y="60"/>
              </a:cxn>
              <a:cxn ang="0">
                <a:pos x="32" y="57"/>
              </a:cxn>
              <a:cxn ang="0">
                <a:pos x="29" y="60"/>
              </a:cxn>
              <a:cxn ang="0">
                <a:pos x="21" y="63"/>
              </a:cxn>
              <a:cxn ang="0">
                <a:pos x="17" y="63"/>
              </a:cxn>
              <a:cxn ang="0">
                <a:pos x="10" y="73"/>
              </a:cxn>
              <a:cxn ang="0">
                <a:pos x="2" y="87"/>
              </a:cxn>
              <a:cxn ang="0">
                <a:pos x="1" y="99"/>
              </a:cxn>
              <a:cxn ang="0">
                <a:pos x="4" y="116"/>
              </a:cxn>
              <a:cxn ang="0">
                <a:pos x="16" y="140"/>
              </a:cxn>
              <a:cxn ang="0">
                <a:pos x="26" y="142"/>
              </a:cxn>
              <a:cxn ang="0">
                <a:pos x="44" y="131"/>
              </a:cxn>
              <a:cxn ang="0">
                <a:pos x="57" y="134"/>
              </a:cxn>
              <a:cxn ang="0">
                <a:pos x="66" y="129"/>
              </a:cxn>
              <a:cxn ang="0">
                <a:pos x="66" y="116"/>
              </a:cxn>
              <a:cxn ang="0">
                <a:pos x="71" y="107"/>
              </a:cxn>
              <a:cxn ang="0">
                <a:pos x="83" y="104"/>
              </a:cxn>
              <a:cxn ang="0">
                <a:pos x="93" y="116"/>
              </a:cxn>
              <a:cxn ang="0">
                <a:pos x="101" y="118"/>
              </a:cxn>
              <a:cxn ang="0">
                <a:pos x="122" y="118"/>
              </a:cxn>
              <a:cxn ang="0">
                <a:pos x="131" y="112"/>
              </a:cxn>
              <a:cxn ang="0">
                <a:pos x="142" y="109"/>
              </a:cxn>
              <a:cxn ang="0">
                <a:pos x="154" y="105"/>
              </a:cxn>
              <a:cxn ang="0">
                <a:pos x="158" y="107"/>
              </a:cxn>
              <a:cxn ang="0">
                <a:pos x="169" y="105"/>
              </a:cxn>
              <a:cxn ang="0">
                <a:pos x="182" y="107"/>
              </a:cxn>
              <a:cxn ang="0">
                <a:pos x="190" y="104"/>
              </a:cxn>
              <a:cxn ang="0">
                <a:pos x="195" y="98"/>
              </a:cxn>
              <a:cxn ang="0">
                <a:pos x="183" y="88"/>
              </a:cxn>
              <a:cxn ang="0">
                <a:pos x="179" y="77"/>
              </a:cxn>
              <a:cxn ang="0">
                <a:pos x="173" y="69"/>
              </a:cxn>
              <a:cxn ang="0">
                <a:pos x="161" y="58"/>
              </a:cxn>
              <a:cxn ang="0">
                <a:pos x="159" y="51"/>
              </a:cxn>
              <a:cxn ang="0">
                <a:pos x="147" y="47"/>
              </a:cxn>
              <a:cxn ang="0">
                <a:pos x="139" y="41"/>
              </a:cxn>
              <a:cxn ang="0">
                <a:pos x="137" y="29"/>
              </a:cxn>
              <a:cxn ang="0">
                <a:pos x="133" y="11"/>
              </a:cxn>
            </a:cxnLst>
            <a:rect l="0" t="0" r="r" b="b"/>
            <a:pathLst>
              <a:path w="198" h="146">
                <a:moveTo>
                  <a:pt x="125" y="0"/>
                </a:moveTo>
                <a:lnTo>
                  <a:pt x="121" y="0"/>
                </a:lnTo>
                <a:lnTo>
                  <a:pt x="119" y="2"/>
                </a:lnTo>
                <a:lnTo>
                  <a:pt x="115" y="2"/>
                </a:lnTo>
                <a:lnTo>
                  <a:pt x="113" y="3"/>
                </a:lnTo>
                <a:lnTo>
                  <a:pt x="111" y="5"/>
                </a:lnTo>
                <a:lnTo>
                  <a:pt x="110" y="8"/>
                </a:lnTo>
                <a:lnTo>
                  <a:pt x="110" y="13"/>
                </a:lnTo>
                <a:lnTo>
                  <a:pt x="109" y="14"/>
                </a:lnTo>
                <a:lnTo>
                  <a:pt x="106" y="18"/>
                </a:lnTo>
                <a:lnTo>
                  <a:pt x="105" y="18"/>
                </a:lnTo>
                <a:lnTo>
                  <a:pt x="103" y="18"/>
                </a:lnTo>
                <a:lnTo>
                  <a:pt x="99" y="24"/>
                </a:lnTo>
                <a:lnTo>
                  <a:pt x="98" y="27"/>
                </a:lnTo>
                <a:lnTo>
                  <a:pt x="98" y="29"/>
                </a:lnTo>
                <a:lnTo>
                  <a:pt x="94" y="30"/>
                </a:lnTo>
                <a:lnTo>
                  <a:pt x="93" y="30"/>
                </a:lnTo>
                <a:lnTo>
                  <a:pt x="91" y="33"/>
                </a:lnTo>
                <a:lnTo>
                  <a:pt x="90" y="33"/>
                </a:lnTo>
                <a:lnTo>
                  <a:pt x="89" y="35"/>
                </a:lnTo>
                <a:lnTo>
                  <a:pt x="87" y="33"/>
                </a:lnTo>
                <a:lnTo>
                  <a:pt x="85" y="33"/>
                </a:lnTo>
                <a:lnTo>
                  <a:pt x="83" y="35"/>
                </a:lnTo>
                <a:lnTo>
                  <a:pt x="81" y="35"/>
                </a:lnTo>
                <a:lnTo>
                  <a:pt x="79" y="35"/>
                </a:lnTo>
                <a:lnTo>
                  <a:pt x="74" y="35"/>
                </a:lnTo>
                <a:lnTo>
                  <a:pt x="71" y="36"/>
                </a:lnTo>
                <a:lnTo>
                  <a:pt x="69" y="38"/>
                </a:lnTo>
                <a:lnTo>
                  <a:pt x="67" y="38"/>
                </a:lnTo>
                <a:lnTo>
                  <a:pt x="67" y="40"/>
                </a:lnTo>
                <a:lnTo>
                  <a:pt x="69" y="41"/>
                </a:lnTo>
                <a:lnTo>
                  <a:pt x="70" y="44"/>
                </a:lnTo>
                <a:lnTo>
                  <a:pt x="69" y="44"/>
                </a:lnTo>
                <a:lnTo>
                  <a:pt x="67" y="46"/>
                </a:lnTo>
                <a:lnTo>
                  <a:pt x="67" y="49"/>
                </a:lnTo>
                <a:lnTo>
                  <a:pt x="66" y="49"/>
                </a:lnTo>
                <a:lnTo>
                  <a:pt x="65" y="51"/>
                </a:lnTo>
                <a:lnTo>
                  <a:pt x="63" y="51"/>
                </a:lnTo>
                <a:lnTo>
                  <a:pt x="63" y="52"/>
                </a:lnTo>
                <a:lnTo>
                  <a:pt x="63" y="54"/>
                </a:lnTo>
                <a:lnTo>
                  <a:pt x="57" y="54"/>
                </a:lnTo>
                <a:lnTo>
                  <a:pt x="54" y="54"/>
                </a:lnTo>
                <a:lnTo>
                  <a:pt x="52" y="55"/>
                </a:lnTo>
                <a:lnTo>
                  <a:pt x="50" y="54"/>
                </a:lnTo>
                <a:lnTo>
                  <a:pt x="45" y="57"/>
                </a:lnTo>
                <a:lnTo>
                  <a:pt x="44" y="58"/>
                </a:lnTo>
                <a:lnTo>
                  <a:pt x="42" y="58"/>
                </a:lnTo>
                <a:lnTo>
                  <a:pt x="41" y="60"/>
                </a:lnTo>
                <a:lnTo>
                  <a:pt x="38" y="60"/>
                </a:lnTo>
                <a:lnTo>
                  <a:pt x="37" y="62"/>
                </a:lnTo>
                <a:lnTo>
                  <a:pt x="34" y="60"/>
                </a:lnTo>
                <a:lnTo>
                  <a:pt x="34" y="58"/>
                </a:lnTo>
                <a:lnTo>
                  <a:pt x="33" y="57"/>
                </a:lnTo>
                <a:lnTo>
                  <a:pt x="32" y="57"/>
                </a:lnTo>
                <a:lnTo>
                  <a:pt x="30" y="57"/>
                </a:lnTo>
                <a:lnTo>
                  <a:pt x="29" y="58"/>
                </a:lnTo>
                <a:lnTo>
                  <a:pt x="29" y="60"/>
                </a:lnTo>
                <a:lnTo>
                  <a:pt x="25" y="60"/>
                </a:lnTo>
                <a:lnTo>
                  <a:pt x="22" y="63"/>
                </a:lnTo>
                <a:lnTo>
                  <a:pt x="21" y="63"/>
                </a:lnTo>
                <a:lnTo>
                  <a:pt x="20" y="63"/>
                </a:lnTo>
                <a:lnTo>
                  <a:pt x="18" y="63"/>
                </a:lnTo>
                <a:lnTo>
                  <a:pt x="17" y="63"/>
                </a:lnTo>
                <a:lnTo>
                  <a:pt x="14" y="63"/>
                </a:lnTo>
                <a:lnTo>
                  <a:pt x="13" y="65"/>
                </a:lnTo>
                <a:lnTo>
                  <a:pt x="10" y="73"/>
                </a:lnTo>
                <a:lnTo>
                  <a:pt x="8" y="77"/>
                </a:lnTo>
                <a:lnTo>
                  <a:pt x="5" y="82"/>
                </a:lnTo>
                <a:lnTo>
                  <a:pt x="2" y="87"/>
                </a:lnTo>
                <a:lnTo>
                  <a:pt x="0" y="91"/>
                </a:lnTo>
                <a:lnTo>
                  <a:pt x="0" y="95"/>
                </a:lnTo>
                <a:lnTo>
                  <a:pt x="1" y="99"/>
                </a:lnTo>
                <a:lnTo>
                  <a:pt x="1" y="105"/>
                </a:lnTo>
                <a:lnTo>
                  <a:pt x="1" y="110"/>
                </a:lnTo>
                <a:lnTo>
                  <a:pt x="4" y="116"/>
                </a:lnTo>
                <a:lnTo>
                  <a:pt x="6" y="120"/>
                </a:lnTo>
                <a:lnTo>
                  <a:pt x="13" y="135"/>
                </a:lnTo>
                <a:lnTo>
                  <a:pt x="16" y="140"/>
                </a:lnTo>
                <a:lnTo>
                  <a:pt x="22" y="146"/>
                </a:lnTo>
                <a:lnTo>
                  <a:pt x="25" y="146"/>
                </a:lnTo>
                <a:lnTo>
                  <a:pt x="26" y="142"/>
                </a:lnTo>
                <a:lnTo>
                  <a:pt x="32" y="137"/>
                </a:lnTo>
                <a:lnTo>
                  <a:pt x="38" y="132"/>
                </a:lnTo>
                <a:lnTo>
                  <a:pt x="44" y="131"/>
                </a:lnTo>
                <a:lnTo>
                  <a:pt x="48" y="134"/>
                </a:lnTo>
                <a:lnTo>
                  <a:pt x="53" y="135"/>
                </a:lnTo>
                <a:lnTo>
                  <a:pt x="57" y="134"/>
                </a:lnTo>
                <a:lnTo>
                  <a:pt x="61" y="132"/>
                </a:lnTo>
                <a:lnTo>
                  <a:pt x="62" y="131"/>
                </a:lnTo>
                <a:lnTo>
                  <a:pt x="66" y="129"/>
                </a:lnTo>
                <a:lnTo>
                  <a:pt x="65" y="127"/>
                </a:lnTo>
                <a:lnTo>
                  <a:pt x="66" y="121"/>
                </a:lnTo>
                <a:lnTo>
                  <a:pt x="66" y="116"/>
                </a:lnTo>
                <a:lnTo>
                  <a:pt x="69" y="115"/>
                </a:lnTo>
                <a:lnTo>
                  <a:pt x="70" y="110"/>
                </a:lnTo>
                <a:lnTo>
                  <a:pt x="71" y="107"/>
                </a:lnTo>
                <a:lnTo>
                  <a:pt x="75" y="104"/>
                </a:lnTo>
                <a:lnTo>
                  <a:pt x="79" y="104"/>
                </a:lnTo>
                <a:lnTo>
                  <a:pt x="83" y="104"/>
                </a:lnTo>
                <a:lnTo>
                  <a:pt x="86" y="107"/>
                </a:lnTo>
                <a:lnTo>
                  <a:pt x="87" y="110"/>
                </a:lnTo>
                <a:lnTo>
                  <a:pt x="93" y="116"/>
                </a:lnTo>
                <a:lnTo>
                  <a:pt x="94" y="116"/>
                </a:lnTo>
                <a:lnTo>
                  <a:pt x="97" y="115"/>
                </a:lnTo>
                <a:lnTo>
                  <a:pt x="101" y="118"/>
                </a:lnTo>
                <a:lnTo>
                  <a:pt x="106" y="120"/>
                </a:lnTo>
                <a:lnTo>
                  <a:pt x="121" y="120"/>
                </a:lnTo>
                <a:lnTo>
                  <a:pt x="122" y="118"/>
                </a:lnTo>
                <a:lnTo>
                  <a:pt x="123" y="113"/>
                </a:lnTo>
                <a:lnTo>
                  <a:pt x="127" y="110"/>
                </a:lnTo>
                <a:lnTo>
                  <a:pt x="131" y="112"/>
                </a:lnTo>
                <a:lnTo>
                  <a:pt x="134" y="113"/>
                </a:lnTo>
                <a:lnTo>
                  <a:pt x="139" y="112"/>
                </a:lnTo>
                <a:lnTo>
                  <a:pt x="142" y="109"/>
                </a:lnTo>
                <a:lnTo>
                  <a:pt x="150" y="107"/>
                </a:lnTo>
                <a:lnTo>
                  <a:pt x="153" y="105"/>
                </a:lnTo>
                <a:lnTo>
                  <a:pt x="154" y="105"/>
                </a:lnTo>
                <a:lnTo>
                  <a:pt x="154" y="107"/>
                </a:lnTo>
                <a:lnTo>
                  <a:pt x="157" y="109"/>
                </a:lnTo>
                <a:lnTo>
                  <a:pt x="158" y="107"/>
                </a:lnTo>
                <a:lnTo>
                  <a:pt x="162" y="107"/>
                </a:lnTo>
                <a:lnTo>
                  <a:pt x="162" y="104"/>
                </a:lnTo>
                <a:lnTo>
                  <a:pt x="169" y="105"/>
                </a:lnTo>
                <a:lnTo>
                  <a:pt x="174" y="104"/>
                </a:lnTo>
                <a:lnTo>
                  <a:pt x="179" y="102"/>
                </a:lnTo>
                <a:lnTo>
                  <a:pt x="182" y="107"/>
                </a:lnTo>
                <a:lnTo>
                  <a:pt x="184" y="105"/>
                </a:lnTo>
                <a:lnTo>
                  <a:pt x="187" y="107"/>
                </a:lnTo>
                <a:lnTo>
                  <a:pt x="190" y="104"/>
                </a:lnTo>
                <a:lnTo>
                  <a:pt x="198" y="104"/>
                </a:lnTo>
                <a:lnTo>
                  <a:pt x="195" y="102"/>
                </a:lnTo>
                <a:lnTo>
                  <a:pt x="195" y="98"/>
                </a:lnTo>
                <a:lnTo>
                  <a:pt x="194" y="95"/>
                </a:lnTo>
                <a:lnTo>
                  <a:pt x="186" y="88"/>
                </a:lnTo>
                <a:lnTo>
                  <a:pt x="183" y="88"/>
                </a:lnTo>
                <a:lnTo>
                  <a:pt x="182" y="85"/>
                </a:lnTo>
                <a:lnTo>
                  <a:pt x="180" y="82"/>
                </a:lnTo>
                <a:lnTo>
                  <a:pt x="179" y="77"/>
                </a:lnTo>
                <a:lnTo>
                  <a:pt x="178" y="74"/>
                </a:lnTo>
                <a:lnTo>
                  <a:pt x="175" y="73"/>
                </a:lnTo>
                <a:lnTo>
                  <a:pt x="173" y="69"/>
                </a:lnTo>
                <a:lnTo>
                  <a:pt x="167" y="66"/>
                </a:lnTo>
                <a:lnTo>
                  <a:pt x="163" y="62"/>
                </a:lnTo>
                <a:lnTo>
                  <a:pt x="161" y="58"/>
                </a:lnTo>
                <a:lnTo>
                  <a:pt x="162" y="55"/>
                </a:lnTo>
                <a:lnTo>
                  <a:pt x="161" y="54"/>
                </a:lnTo>
                <a:lnTo>
                  <a:pt x="159" y="51"/>
                </a:lnTo>
                <a:lnTo>
                  <a:pt x="157" y="49"/>
                </a:lnTo>
                <a:lnTo>
                  <a:pt x="150" y="49"/>
                </a:lnTo>
                <a:lnTo>
                  <a:pt x="147" y="47"/>
                </a:lnTo>
                <a:lnTo>
                  <a:pt x="146" y="43"/>
                </a:lnTo>
                <a:lnTo>
                  <a:pt x="142" y="41"/>
                </a:lnTo>
                <a:lnTo>
                  <a:pt x="139" y="41"/>
                </a:lnTo>
                <a:lnTo>
                  <a:pt x="137" y="38"/>
                </a:lnTo>
                <a:lnTo>
                  <a:pt x="135" y="33"/>
                </a:lnTo>
                <a:lnTo>
                  <a:pt x="137" y="29"/>
                </a:lnTo>
                <a:lnTo>
                  <a:pt x="138" y="22"/>
                </a:lnTo>
                <a:lnTo>
                  <a:pt x="137" y="18"/>
                </a:lnTo>
                <a:lnTo>
                  <a:pt x="133" y="11"/>
                </a:lnTo>
                <a:lnTo>
                  <a:pt x="127" y="5"/>
                </a:lnTo>
                <a:lnTo>
                  <a:pt x="125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07" name="Freeform 506"/>
          <p:cNvSpPr>
            <a:spLocks/>
          </p:cNvSpPr>
          <p:nvPr/>
        </p:nvSpPr>
        <p:spPr bwMode="auto">
          <a:xfrm>
            <a:off x="6089522" y="3953396"/>
            <a:ext cx="378071" cy="289926"/>
          </a:xfrm>
          <a:custGeom>
            <a:avLst/>
            <a:gdLst/>
            <a:ahLst/>
            <a:cxnLst>
              <a:cxn ang="0">
                <a:pos x="119" y="2"/>
              </a:cxn>
              <a:cxn ang="0">
                <a:pos x="111" y="5"/>
              </a:cxn>
              <a:cxn ang="0">
                <a:pos x="109" y="14"/>
              </a:cxn>
              <a:cxn ang="0">
                <a:pos x="103" y="18"/>
              </a:cxn>
              <a:cxn ang="0">
                <a:pos x="98" y="29"/>
              </a:cxn>
              <a:cxn ang="0">
                <a:pos x="91" y="33"/>
              </a:cxn>
              <a:cxn ang="0">
                <a:pos x="87" y="33"/>
              </a:cxn>
              <a:cxn ang="0">
                <a:pos x="81" y="35"/>
              </a:cxn>
              <a:cxn ang="0">
                <a:pos x="71" y="36"/>
              </a:cxn>
              <a:cxn ang="0">
                <a:pos x="67" y="40"/>
              </a:cxn>
              <a:cxn ang="0">
                <a:pos x="69" y="44"/>
              </a:cxn>
              <a:cxn ang="0">
                <a:pos x="66" y="49"/>
              </a:cxn>
              <a:cxn ang="0">
                <a:pos x="63" y="52"/>
              </a:cxn>
              <a:cxn ang="0">
                <a:pos x="54" y="54"/>
              </a:cxn>
              <a:cxn ang="0">
                <a:pos x="45" y="57"/>
              </a:cxn>
              <a:cxn ang="0">
                <a:pos x="41" y="60"/>
              </a:cxn>
              <a:cxn ang="0">
                <a:pos x="34" y="60"/>
              </a:cxn>
              <a:cxn ang="0">
                <a:pos x="32" y="57"/>
              </a:cxn>
              <a:cxn ang="0">
                <a:pos x="29" y="60"/>
              </a:cxn>
              <a:cxn ang="0">
                <a:pos x="21" y="63"/>
              </a:cxn>
              <a:cxn ang="0">
                <a:pos x="17" y="63"/>
              </a:cxn>
              <a:cxn ang="0">
                <a:pos x="10" y="73"/>
              </a:cxn>
              <a:cxn ang="0">
                <a:pos x="2" y="87"/>
              </a:cxn>
              <a:cxn ang="0">
                <a:pos x="1" y="99"/>
              </a:cxn>
              <a:cxn ang="0">
                <a:pos x="4" y="116"/>
              </a:cxn>
              <a:cxn ang="0">
                <a:pos x="16" y="140"/>
              </a:cxn>
              <a:cxn ang="0">
                <a:pos x="26" y="142"/>
              </a:cxn>
              <a:cxn ang="0">
                <a:pos x="44" y="131"/>
              </a:cxn>
              <a:cxn ang="0">
                <a:pos x="57" y="134"/>
              </a:cxn>
              <a:cxn ang="0">
                <a:pos x="66" y="129"/>
              </a:cxn>
              <a:cxn ang="0">
                <a:pos x="66" y="116"/>
              </a:cxn>
              <a:cxn ang="0">
                <a:pos x="71" y="107"/>
              </a:cxn>
              <a:cxn ang="0">
                <a:pos x="83" y="104"/>
              </a:cxn>
              <a:cxn ang="0">
                <a:pos x="93" y="116"/>
              </a:cxn>
              <a:cxn ang="0">
                <a:pos x="101" y="118"/>
              </a:cxn>
              <a:cxn ang="0">
                <a:pos x="122" y="118"/>
              </a:cxn>
              <a:cxn ang="0">
                <a:pos x="131" y="112"/>
              </a:cxn>
              <a:cxn ang="0">
                <a:pos x="142" y="109"/>
              </a:cxn>
              <a:cxn ang="0">
                <a:pos x="154" y="105"/>
              </a:cxn>
              <a:cxn ang="0">
                <a:pos x="158" y="107"/>
              </a:cxn>
              <a:cxn ang="0">
                <a:pos x="169" y="105"/>
              </a:cxn>
              <a:cxn ang="0">
                <a:pos x="182" y="107"/>
              </a:cxn>
              <a:cxn ang="0">
                <a:pos x="190" y="104"/>
              </a:cxn>
              <a:cxn ang="0">
                <a:pos x="195" y="98"/>
              </a:cxn>
              <a:cxn ang="0">
                <a:pos x="183" y="88"/>
              </a:cxn>
              <a:cxn ang="0">
                <a:pos x="179" y="77"/>
              </a:cxn>
              <a:cxn ang="0">
                <a:pos x="173" y="69"/>
              </a:cxn>
              <a:cxn ang="0">
                <a:pos x="161" y="58"/>
              </a:cxn>
              <a:cxn ang="0">
                <a:pos x="159" y="51"/>
              </a:cxn>
              <a:cxn ang="0">
                <a:pos x="147" y="47"/>
              </a:cxn>
              <a:cxn ang="0">
                <a:pos x="139" y="41"/>
              </a:cxn>
              <a:cxn ang="0">
                <a:pos x="137" y="29"/>
              </a:cxn>
              <a:cxn ang="0">
                <a:pos x="133" y="11"/>
              </a:cxn>
            </a:cxnLst>
            <a:rect l="0" t="0" r="r" b="b"/>
            <a:pathLst>
              <a:path w="198" h="146">
                <a:moveTo>
                  <a:pt x="125" y="0"/>
                </a:moveTo>
                <a:lnTo>
                  <a:pt x="121" y="0"/>
                </a:lnTo>
                <a:lnTo>
                  <a:pt x="119" y="2"/>
                </a:lnTo>
                <a:lnTo>
                  <a:pt x="115" y="2"/>
                </a:lnTo>
                <a:lnTo>
                  <a:pt x="113" y="3"/>
                </a:lnTo>
                <a:lnTo>
                  <a:pt x="111" y="5"/>
                </a:lnTo>
                <a:lnTo>
                  <a:pt x="110" y="8"/>
                </a:lnTo>
                <a:lnTo>
                  <a:pt x="110" y="13"/>
                </a:lnTo>
                <a:lnTo>
                  <a:pt x="109" y="14"/>
                </a:lnTo>
                <a:lnTo>
                  <a:pt x="106" y="18"/>
                </a:lnTo>
                <a:lnTo>
                  <a:pt x="105" y="18"/>
                </a:lnTo>
                <a:lnTo>
                  <a:pt x="103" y="18"/>
                </a:lnTo>
                <a:lnTo>
                  <a:pt x="99" y="24"/>
                </a:lnTo>
                <a:lnTo>
                  <a:pt x="98" y="27"/>
                </a:lnTo>
                <a:lnTo>
                  <a:pt x="98" y="29"/>
                </a:lnTo>
                <a:lnTo>
                  <a:pt x="94" y="30"/>
                </a:lnTo>
                <a:lnTo>
                  <a:pt x="93" y="30"/>
                </a:lnTo>
                <a:lnTo>
                  <a:pt x="91" y="33"/>
                </a:lnTo>
                <a:lnTo>
                  <a:pt x="90" y="33"/>
                </a:lnTo>
                <a:lnTo>
                  <a:pt x="89" y="35"/>
                </a:lnTo>
                <a:lnTo>
                  <a:pt x="87" y="33"/>
                </a:lnTo>
                <a:lnTo>
                  <a:pt x="85" y="33"/>
                </a:lnTo>
                <a:lnTo>
                  <a:pt x="83" y="35"/>
                </a:lnTo>
                <a:lnTo>
                  <a:pt x="81" y="35"/>
                </a:lnTo>
                <a:lnTo>
                  <a:pt x="79" y="35"/>
                </a:lnTo>
                <a:lnTo>
                  <a:pt x="74" y="35"/>
                </a:lnTo>
                <a:lnTo>
                  <a:pt x="71" y="36"/>
                </a:lnTo>
                <a:lnTo>
                  <a:pt x="69" y="38"/>
                </a:lnTo>
                <a:lnTo>
                  <a:pt x="67" y="38"/>
                </a:lnTo>
                <a:lnTo>
                  <a:pt x="67" y="40"/>
                </a:lnTo>
                <a:lnTo>
                  <a:pt x="69" y="41"/>
                </a:lnTo>
                <a:lnTo>
                  <a:pt x="70" y="44"/>
                </a:lnTo>
                <a:lnTo>
                  <a:pt x="69" y="44"/>
                </a:lnTo>
                <a:lnTo>
                  <a:pt x="67" y="46"/>
                </a:lnTo>
                <a:lnTo>
                  <a:pt x="67" y="49"/>
                </a:lnTo>
                <a:lnTo>
                  <a:pt x="66" y="49"/>
                </a:lnTo>
                <a:lnTo>
                  <a:pt x="65" y="51"/>
                </a:lnTo>
                <a:lnTo>
                  <a:pt x="63" y="51"/>
                </a:lnTo>
                <a:lnTo>
                  <a:pt x="63" y="52"/>
                </a:lnTo>
                <a:lnTo>
                  <a:pt x="63" y="54"/>
                </a:lnTo>
                <a:lnTo>
                  <a:pt x="57" y="54"/>
                </a:lnTo>
                <a:lnTo>
                  <a:pt x="54" y="54"/>
                </a:lnTo>
                <a:lnTo>
                  <a:pt x="52" y="55"/>
                </a:lnTo>
                <a:lnTo>
                  <a:pt x="50" y="54"/>
                </a:lnTo>
                <a:lnTo>
                  <a:pt x="45" y="57"/>
                </a:lnTo>
                <a:lnTo>
                  <a:pt x="44" y="58"/>
                </a:lnTo>
                <a:lnTo>
                  <a:pt x="42" y="58"/>
                </a:lnTo>
                <a:lnTo>
                  <a:pt x="41" y="60"/>
                </a:lnTo>
                <a:lnTo>
                  <a:pt x="38" y="60"/>
                </a:lnTo>
                <a:lnTo>
                  <a:pt x="37" y="62"/>
                </a:lnTo>
                <a:lnTo>
                  <a:pt x="34" y="60"/>
                </a:lnTo>
                <a:lnTo>
                  <a:pt x="34" y="58"/>
                </a:lnTo>
                <a:lnTo>
                  <a:pt x="33" y="57"/>
                </a:lnTo>
                <a:lnTo>
                  <a:pt x="32" y="57"/>
                </a:lnTo>
                <a:lnTo>
                  <a:pt x="30" y="57"/>
                </a:lnTo>
                <a:lnTo>
                  <a:pt x="29" y="58"/>
                </a:lnTo>
                <a:lnTo>
                  <a:pt x="29" y="60"/>
                </a:lnTo>
                <a:lnTo>
                  <a:pt x="25" y="60"/>
                </a:lnTo>
                <a:lnTo>
                  <a:pt x="22" y="63"/>
                </a:lnTo>
                <a:lnTo>
                  <a:pt x="21" y="63"/>
                </a:lnTo>
                <a:lnTo>
                  <a:pt x="20" y="63"/>
                </a:lnTo>
                <a:lnTo>
                  <a:pt x="18" y="63"/>
                </a:lnTo>
                <a:lnTo>
                  <a:pt x="17" y="63"/>
                </a:lnTo>
                <a:lnTo>
                  <a:pt x="14" y="63"/>
                </a:lnTo>
                <a:lnTo>
                  <a:pt x="13" y="65"/>
                </a:lnTo>
                <a:lnTo>
                  <a:pt x="10" y="73"/>
                </a:lnTo>
                <a:lnTo>
                  <a:pt x="8" y="77"/>
                </a:lnTo>
                <a:lnTo>
                  <a:pt x="5" y="82"/>
                </a:lnTo>
                <a:lnTo>
                  <a:pt x="2" y="87"/>
                </a:lnTo>
                <a:lnTo>
                  <a:pt x="0" y="91"/>
                </a:lnTo>
                <a:lnTo>
                  <a:pt x="0" y="95"/>
                </a:lnTo>
                <a:lnTo>
                  <a:pt x="1" y="99"/>
                </a:lnTo>
                <a:lnTo>
                  <a:pt x="1" y="105"/>
                </a:lnTo>
                <a:lnTo>
                  <a:pt x="1" y="110"/>
                </a:lnTo>
                <a:lnTo>
                  <a:pt x="4" y="116"/>
                </a:lnTo>
                <a:lnTo>
                  <a:pt x="6" y="120"/>
                </a:lnTo>
                <a:lnTo>
                  <a:pt x="13" y="135"/>
                </a:lnTo>
                <a:lnTo>
                  <a:pt x="16" y="140"/>
                </a:lnTo>
                <a:lnTo>
                  <a:pt x="22" y="146"/>
                </a:lnTo>
                <a:lnTo>
                  <a:pt x="25" y="146"/>
                </a:lnTo>
                <a:lnTo>
                  <a:pt x="26" y="142"/>
                </a:lnTo>
                <a:lnTo>
                  <a:pt x="32" y="137"/>
                </a:lnTo>
                <a:lnTo>
                  <a:pt x="38" y="132"/>
                </a:lnTo>
                <a:lnTo>
                  <a:pt x="44" y="131"/>
                </a:lnTo>
                <a:lnTo>
                  <a:pt x="48" y="134"/>
                </a:lnTo>
                <a:lnTo>
                  <a:pt x="53" y="135"/>
                </a:lnTo>
                <a:lnTo>
                  <a:pt x="57" y="134"/>
                </a:lnTo>
                <a:lnTo>
                  <a:pt x="61" y="132"/>
                </a:lnTo>
                <a:lnTo>
                  <a:pt x="62" y="131"/>
                </a:lnTo>
                <a:lnTo>
                  <a:pt x="66" y="129"/>
                </a:lnTo>
                <a:lnTo>
                  <a:pt x="65" y="127"/>
                </a:lnTo>
                <a:lnTo>
                  <a:pt x="66" y="121"/>
                </a:lnTo>
                <a:lnTo>
                  <a:pt x="66" y="116"/>
                </a:lnTo>
                <a:lnTo>
                  <a:pt x="69" y="115"/>
                </a:lnTo>
                <a:lnTo>
                  <a:pt x="70" y="110"/>
                </a:lnTo>
                <a:lnTo>
                  <a:pt x="71" y="107"/>
                </a:lnTo>
                <a:lnTo>
                  <a:pt x="75" y="104"/>
                </a:lnTo>
                <a:lnTo>
                  <a:pt x="79" y="104"/>
                </a:lnTo>
                <a:lnTo>
                  <a:pt x="83" y="104"/>
                </a:lnTo>
                <a:lnTo>
                  <a:pt x="86" y="107"/>
                </a:lnTo>
                <a:lnTo>
                  <a:pt x="87" y="110"/>
                </a:lnTo>
                <a:lnTo>
                  <a:pt x="93" y="116"/>
                </a:lnTo>
                <a:lnTo>
                  <a:pt x="94" y="116"/>
                </a:lnTo>
                <a:lnTo>
                  <a:pt x="97" y="115"/>
                </a:lnTo>
                <a:lnTo>
                  <a:pt x="101" y="118"/>
                </a:lnTo>
                <a:lnTo>
                  <a:pt x="106" y="120"/>
                </a:lnTo>
                <a:lnTo>
                  <a:pt x="121" y="120"/>
                </a:lnTo>
                <a:lnTo>
                  <a:pt x="122" y="118"/>
                </a:lnTo>
                <a:lnTo>
                  <a:pt x="123" y="113"/>
                </a:lnTo>
                <a:lnTo>
                  <a:pt x="127" y="110"/>
                </a:lnTo>
                <a:lnTo>
                  <a:pt x="131" y="112"/>
                </a:lnTo>
                <a:lnTo>
                  <a:pt x="134" y="113"/>
                </a:lnTo>
                <a:lnTo>
                  <a:pt x="139" y="112"/>
                </a:lnTo>
                <a:lnTo>
                  <a:pt x="142" y="109"/>
                </a:lnTo>
                <a:lnTo>
                  <a:pt x="150" y="107"/>
                </a:lnTo>
                <a:lnTo>
                  <a:pt x="153" y="105"/>
                </a:lnTo>
                <a:lnTo>
                  <a:pt x="154" y="105"/>
                </a:lnTo>
                <a:lnTo>
                  <a:pt x="154" y="107"/>
                </a:lnTo>
                <a:lnTo>
                  <a:pt x="157" y="109"/>
                </a:lnTo>
                <a:lnTo>
                  <a:pt x="158" y="107"/>
                </a:lnTo>
                <a:lnTo>
                  <a:pt x="162" y="107"/>
                </a:lnTo>
                <a:lnTo>
                  <a:pt x="162" y="104"/>
                </a:lnTo>
                <a:lnTo>
                  <a:pt x="169" y="105"/>
                </a:lnTo>
                <a:lnTo>
                  <a:pt x="174" y="104"/>
                </a:lnTo>
                <a:lnTo>
                  <a:pt x="179" y="102"/>
                </a:lnTo>
                <a:lnTo>
                  <a:pt x="182" y="107"/>
                </a:lnTo>
                <a:lnTo>
                  <a:pt x="184" y="105"/>
                </a:lnTo>
                <a:lnTo>
                  <a:pt x="187" y="107"/>
                </a:lnTo>
                <a:lnTo>
                  <a:pt x="190" y="104"/>
                </a:lnTo>
                <a:lnTo>
                  <a:pt x="198" y="104"/>
                </a:lnTo>
                <a:lnTo>
                  <a:pt x="195" y="102"/>
                </a:lnTo>
                <a:lnTo>
                  <a:pt x="195" y="98"/>
                </a:lnTo>
                <a:lnTo>
                  <a:pt x="194" y="95"/>
                </a:lnTo>
                <a:lnTo>
                  <a:pt x="186" y="88"/>
                </a:lnTo>
                <a:lnTo>
                  <a:pt x="183" y="88"/>
                </a:lnTo>
                <a:lnTo>
                  <a:pt x="182" y="85"/>
                </a:lnTo>
                <a:lnTo>
                  <a:pt x="180" y="82"/>
                </a:lnTo>
                <a:lnTo>
                  <a:pt x="179" y="77"/>
                </a:lnTo>
                <a:lnTo>
                  <a:pt x="178" y="74"/>
                </a:lnTo>
                <a:lnTo>
                  <a:pt x="175" y="73"/>
                </a:lnTo>
                <a:lnTo>
                  <a:pt x="173" y="69"/>
                </a:lnTo>
                <a:lnTo>
                  <a:pt x="167" y="66"/>
                </a:lnTo>
                <a:lnTo>
                  <a:pt x="163" y="62"/>
                </a:lnTo>
                <a:lnTo>
                  <a:pt x="161" y="58"/>
                </a:lnTo>
                <a:lnTo>
                  <a:pt x="162" y="55"/>
                </a:lnTo>
                <a:lnTo>
                  <a:pt x="161" y="54"/>
                </a:lnTo>
                <a:lnTo>
                  <a:pt x="159" y="51"/>
                </a:lnTo>
                <a:lnTo>
                  <a:pt x="157" y="49"/>
                </a:lnTo>
                <a:lnTo>
                  <a:pt x="150" y="49"/>
                </a:lnTo>
                <a:lnTo>
                  <a:pt x="147" y="47"/>
                </a:lnTo>
                <a:lnTo>
                  <a:pt x="146" y="43"/>
                </a:lnTo>
                <a:lnTo>
                  <a:pt x="142" y="41"/>
                </a:lnTo>
                <a:lnTo>
                  <a:pt x="139" y="41"/>
                </a:lnTo>
                <a:lnTo>
                  <a:pt x="137" y="38"/>
                </a:lnTo>
                <a:lnTo>
                  <a:pt x="135" y="33"/>
                </a:lnTo>
                <a:lnTo>
                  <a:pt x="137" y="29"/>
                </a:lnTo>
                <a:lnTo>
                  <a:pt x="138" y="22"/>
                </a:lnTo>
                <a:lnTo>
                  <a:pt x="137" y="18"/>
                </a:lnTo>
                <a:lnTo>
                  <a:pt x="133" y="11"/>
                </a:lnTo>
                <a:lnTo>
                  <a:pt x="127" y="5"/>
                </a:lnTo>
                <a:lnTo>
                  <a:pt x="125" y="0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08" name="Freeform 507"/>
          <p:cNvSpPr>
            <a:spLocks/>
          </p:cNvSpPr>
          <p:nvPr/>
        </p:nvSpPr>
        <p:spPr bwMode="auto">
          <a:xfrm>
            <a:off x="6874895" y="3893263"/>
            <a:ext cx="46772" cy="66576"/>
          </a:xfrm>
          <a:custGeom>
            <a:avLst/>
            <a:gdLst/>
            <a:ahLst/>
            <a:cxnLst>
              <a:cxn ang="0">
                <a:pos x="18" y="0"/>
              </a:cxn>
              <a:cxn ang="0">
                <a:pos x="13" y="3"/>
              </a:cxn>
              <a:cxn ang="0">
                <a:pos x="9" y="6"/>
              </a:cxn>
              <a:cxn ang="0">
                <a:pos x="8" y="8"/>
              </a:cxn>
              <a:cxn ang="0">
                <a:pos x="6" y="9"/>
              </a:cxn>
              <a:cxn ang="0">
                <a:pos x="5" y="17"/>
              </a:cxn>
              <a:cxn ang="0">
                <a:pos x="4" y="20"/>
              </a:cxn>
              <a:cxn ang="0">
                <a:pos x="2" y="23"/>
              </a:cxn>
              <a:cxn ang="0">
                <a:pos x="0" y="27"/>
              </a:cxn>
              <a:cxn ang="0">
                <a:pos x="0" y="28"/>
              </a:cxn>
              <a:cxn ang="0">
                <a:pos x="0" y="31"/>
              </a:cxn>
              <a:cxn ang="0">
                <a:pos x="2" y="33"/>
              </a:cxn>
              <a:cxn ang="0">
                <a:pos x="5" y="33"/>
              </a:cxn>
              <a:cxn ang="0">
                <a:pos x="6" y="33"/>
              </a:cxn>
              <a:cxn ang="0">
                <a:pos x="8" y="33"/>
              </a:cxn>
              <a:cxn ang="0">
                <a:pos x="9" y="33"/>
              </a:cxn>
              <a:cxn ang="0">
                <a:pos x="13" y="31"/>
              </a:cxn>
              <a:cxn ang="0">
                <a:pos x="14" y="31"/>
              </a:cxn>
              <a:cxn ang="0">
                <a:pos x="16" y="33"/>
              </a:cxn>
              <a:cxn ang="0">
                <a:pos x="16" y="34"/>
              </a:cxn>
              <a:cxn ang="0">
                <a:pos x="17" y="31"/>
              </a:cxn>
              <a:cxn ang="0">
                <a:pos x="20" y="28"/>
              </a:cxn>
              <a:cxn ang="0">
                <a:pos x="21" y="25"/>
              </a:cxn>
              <a:cxn ang="0">
                <a:pos x="21" y="23"/>
              </a:cxn>
              <a:cxn ang="0">
                <a:pos x="20" y="23"/>
              </a:cxn>
              <a:cxn ang="0">
                <a:pos x="20" y="22"/>
              </a:cxn>
              <a:cxn ang="0">
                <a:pos x="17" y="22"/>
              </a:cxn>
              <a:cxn ang="0">
                <a:pos x="16" y="22"/>
              </a:cxn>
              <a:cxn ang="0">
                <a:pos x="13" y="23"/>
              </a:cxn>
              <a:cxn ang="0">
                <a:pos x="12" y="23"/>
              </a:cxn>
              <a:cxn ang="0">
                <a:pos x="10" y="22"/>
              </a:cxn>
              <a:cxn ang="0">
                <a:pos x="12" y="22"/>
              </a:cxn>
              <a:cxn ang="0">
                <a:pos x="13" y="22"/>
              </a:cxn>
              <a:cxn ang="0">
                <a:pos x="14" y="19"/>
              </a:cxn>
              <a:cxn ang="0">
                <a:pos x="16" y="19"/>
              </a:cxn>
              <a:cxn ang="0">
                <a:pos x="17" y="19"/>
              </a:cxn>
              <a:cxn ang="0">
                <a:pos x="18" y="16"/>
              </a:cxn>
              <a:cxn ang="0">
                <a:pos x="21" y="16"/>
              </a:cxn>
              <a:cxn ang="0">
                <a:pos x="22" y="14"/>
              </a:cxn>
              <a:cxn ang="0">
                <a:pos x="24" y="12"/>
              </a:cxn>
              <a:cxn ang="0">
                <a:pos x="22" y="8"/>
              </a:cxn>
              <a:cxn ang="0">
                <a:pos x="22" y="6"/>
              </a:cxn>
              <a:cxn ang="0">
                <a:pos x="21" y="5"/>
              </a:cxn>
              <a:cxn ang="0">
                <a:pos x="20" y="3"/>
              </a:cxn>
              <a:cxn ang="0">
                <a:pos x="18" y="1"/>
              </a:cxn>
              <a:cxn ang="0">
                <a:pos x="18" y="0"/>
              </a:cxn>
            </a:cxnLst>
            <a:rect l="0" t="0" r="r" b="b"/>
            <a:pathLst>
              <a:path w="24" h="34">
                <a:moveTo>
                  <a:pt x="18" y="0"/>
                </a:moveTo>
                <a:lnTo>
                  <a:pt x="13" y="3"/>
                </a:lnTo>
                <a:lnTo>
                  <a:pt x="9" y="6"/>
                </a:lnTo>
                <a:lnTo>
                  <a:pt x="8" y="8"/>
                </a:lnTo>
                <a:lnTo>
                  <a:pt x="6" y="9"/>
                </a:lnTo>
                <a:lnTo>
                  <a:pt x="5" y="17"/>
                </a:lnTo>
                <a:lnTo>
                  <a:pt x="4" y="20"/>
                </a:lnTo>
                <a:lnTo>
                  <a:pt x="2" y="23"/>
                </a:lnTo>
                <a:lnTo>
                  <a:pt x="0" y="27"/>
                </a:lnTo>
                <a:lnTo>
                  <a:pt x="0" y="28"/>
                </a:lnTo>
                <a:lnTo>
                  <a:pt x="0" y="31"/>
                </a:lnTo>
                <a:lnTo>
                  <a:pt x="2" y="33"/>
                </a:lnTo>
                <a:lnTo>
                  <a:pt x="5" y="33"/>
                </a:lnTo>
                <a:lnTo>
                  <a:pt x="6" y="33"/>
                </a:lnTo>
                <a:lnTo>
                  <a:pt x="8" y="33"/>
                </a:lnTo>
                <a:lnTo>
                  <a:pt x="9" y="33"/>
                </a:lnTo>
                <a:lnTo>
                  <a:pt x="13" y="31"/>
                </a:lnTo>
                <a:lnTo>
                  <a:pt x="14" y="31"/>
                </a:lnTo>
                <a:lnTo>
                  <a:pt x="16" y="33"/>
                </a:lnTo>
                <a:lnTo>
                  <a:pt x="16" y="34"/>
                </a:lnTo>
                <a:lnTo>
                  <a:pt x="17" y="31"/>
                </a:lnTo>
                <a:lnTo>
                  <a:pt x="20" y="28"/>
                </a:lnTo>
                <a:lnTo>
                  <a:pt x="21" y="25"/>
                </a:lnTo>
                <a:lnTo>
                  <a:pt x="21" y="23"/>
                </a:lnTo>
                <a:lnTo>
                  <a:pt x="20" y="23"/>
                </a:lnTo>
                <a:lnTo>
                  <a:pt x="20" y="22"/>
                </a:lnTo>
                <a:lnTo>
                  <a:pt x="17" y="22"/>
                </a:lnTo>
                <a:lnTo>
                  <a:pt x="16" y="22"/>
                </a:lnTo>
                <a:lnTo>
                  <a:pt x="13" y="23"/>
                </a:lnTo>
                <a:lnTo>
                  <a:pt x="12" y="23"/>
                </a:lnTo>
                <a:lnTo>
                  <a:pt x="10" y="22"/>
                </a:lnTo>
                <a:lnTo>
                  <a:pt x="12" y="22"/>
                </a:lnTo>
                <a:lnTo>
                  <a:pt x="13" y="22"/>
                </a:lnTo>
                <a:lnTo>
                  <a:pt x="14" y="19"/>
                </a:lnTo>
                <a:lnTo>
                  <a:pt x="16" y="19"/>
                </a:lnTo>
                <a:lnTo>
                  <a:pt x="17" y="19"/>
                </a:lnTo>
                <a:lnTo>
                  <a:pt x="18" y="16"/>
                </a:lnTo>
                <a:lnTo>
                  <a:pt x="21" y="16"/>
                </a:lnTo>
                <a:lnTo>
                  <a:pt x="22" y="14"/>
                </a:lnTo>
                <a:lnTo>
                  <a:pt x="24" y="12"/>
                </a:lnTo>
                <a:lnTo>
                  <a:pt x="22" y="8"/>
                </a:lnTo>
                <a:lnTo>
                  <a:pt x="22" y="6"/>
                </a:lnTo>
                <a:lnTo>
                  <a:pt x="21" y="5"/>
                </a:lnTo>
                <a:lnTo>
                  <a:pt x="20" y="3"/>
                </a:lnTo>
                <a:lnTo>
                  <a:pt x="18" y="1"/>
                </a:lnTo>
                <a:lnTo>
                  <a:pt x="1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09" name="Freeform 508"/>
          <p:cNvSpPr>
            <a:spLocks/>
          </p:cNvSpPr>
          <p:nvPr/>
        </p:nvSpPr>
        <p:spPr bwMode="auto">
          <a:xfrm>
            <a:off x="6874895" y="3893263"/>
            <a:ext cx="46772" cy="66576"/>
          </a:xfrm>
          <a:custGeom>
            <a:avLst/>
            <a:gdLst/>
            <a:ahLst/>
            <a:cxnLst>
              <a:cxn ang="0">
                <a:pos x="18" y="0"/>
              </a:cxn>
              <a:cxn ang="0">
                <a:pos x="13" y="3"/>
              </a:cxn>
              <a:cxn ang="0">
                <a:pos x="9" y="6"/>
              </a:cxn>
              <a:cxn ang="0">
                <a:pos x="8" y="8"/>
              </a:cxn>
              <a:cxn ang="0">
                <a:pos x="6" y="9"/>
              </a:cxn>
              <a:cxn ang="0">
                <a:pos x="5" y="17"/>
              </a:cxn>
              <a:cxn ang="0">
                <a:pos x="4" y="20"/>
              </a:cxn>
              <a:cxn ang="0">
                <a:pos x="2" y="23"/>
              </a:cxn>
              <a:cxn ang="0">
                <a:pos x="0" y="27"/>
              </a:cxn>
              <a:cxn ang="0">
                <a:pos x="0" y="28"/>
              </a:cxn>
              <a:cxn ang="0">
                <a:pos x="0" y="31"/>
              </a:cxn>
              <a:cxn ang="0">
                <a:pos x="2" y="33"/>
              </a:cxn>
              <a:cxn ang="0">
                <a:pos x="5" y="33"/>
              </a:cxn>
              <a:cxn ang="0">
                <a:pos x="6" y="33"/>
              </a:cxn>
              <a:cxn ang="0">
                <a:pos x="8" y="33"/>
              </a:cxn>
              <a:cxn ang="0">
                <a:pos x="9" y="33"/>
              </a:cxn>
              <a:cxn ang="0">
                <a:pos x="13" y="31"/>
              </a:cxn>
              <a:cxn ang="0">
                <a:pos x="14" y="31"/>
              </a:cxn>
              <a:cxn ang="0">
                <a:pos x="16" y="33"/>
              </a:cxn>
              <a:cxn ang="0">
                <a:pos x="16" y="34"/>
              </a:cxn>
              <a:cxn ang="0">
                <a:pos x="17" y="31"/>
              </a:cxn>
              <a:cxn ang="0">
                <a:pos x="20" y="28"/>
              </a:cxn>
              <a:cxn ang="0">
                <a:pos x="21" y="25"/>
              </a:cxn>
              <a:cxn ang="0">
                <a:pos x="21" y="23"/>
              </a:cxn>
              <a:cxn ang="0">
                <a:pos x="20" y="23"/>
              </a:cxn>
              <a:cxn ang="0">
                <a:pos x="20" y="22"/>
              </a:cxn>
              <a:cxn ang="0">
                <a:pos x="17" y="22"/>
              </a:cxn>
              <a:cxn ang="0">
                <a:pos x="16" y="22"/>
              </a:cxn>
              <a:cxn ang="0">
                <a:pos x="13" y="23"/>
              </a:cxn>
              <a:cxn ang="0">
                <a:pos x="12" y="23"/>
              </a:cxn>
              <a:cxn ang="0">
                <a:pos x="10" y="22"/>
              </a:cxn>
              <a:cxn ang="0">
                <a:pos x="12" y="22"/>
              </a:cxn>
              <a:cxn ang="0">
                <a:pos x="13" y="22"/>
              </a:cxn>
              <a:cxn ang="0">
                <a:pos x="14" y="19"/>
              </a:cxn>
              <a:cxn ang="0">
                <a:pos x="16" y="19"/>
              </a:cxn>
              <a:cxn ang="0">
                <a:pos x="17" y="19"/>
              </a:cxn>
              <a:cxn ang="0">
                <a:pos x="18" y="16"/>
              </a:cxn>
              <a:cxn ang="0">
                <a:pos x="21" y="16"/>
              </a:cxn>
              <a:cxn ang="0">
                <a:pos x="22" y="14"/>
              </a:cxn>
              <a:cxn ang="0">
                <a:pos x="24" y="12"/>
              </a:cxn>
              <a:cxn ang="0">
                <a:pos x="22" y="8"/>
              </a:cxn>
              <a:cxn ang="0">
                <a:pos x="22" y="6"/>
              </a:cxn>
              <a:cxn ang="0">
                <a:pos x="21" y="5"/>
              </a:cxn>
              <a:cxn ang="0">
                <a:pos x="20" y="3"/>
              </a:cxn>
              <a:cxn ang="0">
                <a:pos x="18" y="1"/>
              </a:cxn>
              <a:cxn ang="0">
                <a:pos x="18" y="0"/>
              </a:cxn>
            </a:cxnLst>
            <a:rect l="0" t="0" r="r" b="b"/>
            <a:pathLst>
              <a:path w="24" h="34">
                <a:moveTo>
                  <a:pt x="18" y="0"/>
                </a:moveTo>
                <a:lnTo>
                  <a:pt x="13" y="3"/>
                </a:lnTo>
                <a:lnTo>
                  <a:pt x="9" y="6"/>
                </a:lnTo>
                <a:lnTo>
                  <a:pt x="8" y="8"/>
                </a:lnTo>
                <a:lnTo>
                  <a:pt x="6" y="9"/>
                </a:lnTo>
                <a:lnTo>
                  <a:pt x="5" y="17"/>
                </a:lnTo>
                <a:lnTo>
                  <a:pt x="4" y="20"/>
                </a:lnTo>
                <a:lnTo>
                  <a:pt x="2" y="23"/>
                </a:lnTo>
                <a:lnTo>
                  <a:pt x="0" y="27"/>
                </a:lnTo>
                <a:lnTo>
                  <a:pt x="0" y="28"/>
                </a:lnTo>
                <a:lnTo>
                  <a:pt x="0" y="31"/>
                </a:lnTo>
                <a:lnTo>
                  <a:pt x="2" y="33"/>
                </a:lnTo>
                <a:lnTo>
                  <a:pt x="5" y="33"/>
                </a:lnTo>
                <a:lnTo>
                  <a:pt x="6" y="33"/>
                </a:lnTo>
                <a:lnTo>
                  <a:pt x="8" y="33"/>
                </a:lnTo>
                <a:lnTo>
                  <a:pt x="9" y="33"/>
                </a:lnTo>
                <a:lnTo>
                  <a:pt x="13" y="31"/>
                </a:lnTo>
                <a:lnTo>
                  <a:pt x="14" y="31"/>
                </a:lnTo>
                <a:lnTo>
                  <a:pt x="16" y="33"/>
                </a:lnTo>
                <a:lnTo>
                  <a:pt x="16" y="34"/>
                </a:lnTo>
                <a:lnTo>
                  <a:pt x="17" y="31"/>
                </a:lnTo>
                <a:lnTo>
                  <a:pt x="20" y="28"/>
                </a:lnTo>
                <a:lnTo>
                  <a:pt x="21" y="25"/>
                </a:lnTo>
                <a:lnTo>
                  <a:pt x="21" y="23"/>
                </a:lnTo>
                <a:lnTo>
                  <a:pt x="20" y="23"/>
                </a:lnTo>
                <a:lnTo>
                  <a:pt x="20" y="22"/>
                </a:lnTo>
                <a:lnTo>
                  <a:pt x="17" y="22"/>
                </a:lnTo>
                <a:lnTo>
                  <a:pt x="16" y="22"/>
                </a:lnTo>
                <a:lnTo>
                  <a:pt x="13" y="23"/>
                </a:lnTo>
                <a:lnTo>
                  <a:pt x="12" y="23"/>
                </a:lnTo>
                <a:lnTo>
                  <a:pt x="10" y="22"/>
                </a:lnTo>
                <a:lnTo>
                  <a:pt x="12" y="22"/>
                </a:lnTo>
                <a:lnTo>
                  <a:pt x="13" y="22"/>
                </a:lnTo>
                <a:lnTo>
                  <a:pt x="14" y="19"/>
                </a:lnTo>
                <a:lnTo>
                  <a:pt x="16" y="19"/>
                </a:lnTo>
                <a:lnTo>
                  <a:pt x="17" y="19"/>
                </a:lnTo>
                <a:lnTo>
                  <a:pt x="18" y="16"/>
                </a:lnTo>
                <a:lnTo>
                  <a:pt x="21" y="16"/>
                </a:lnTo>
                <a:lnTo>
                  <a:pt x="22" y="14"/>
                </a:lnTo>
                <a:lnTo>
                  <a:pt x="24" y="12"/>
                </a:lnTo>
                <a:lnTo>
                  <a:pt x="22" y="8"/>
                </a:lnTo>
                <a:lnTo>
                  <a:pt x="22" y="6"/>
                </a:lnTo>
                <a:lnTo>
                  <a:pt x="21" y="5"/>
                </a:lnTo>
                <a:lnTo>
                  <a:pt x="20" y="3"/>
                </a:lnTo>
                <a:lnTo>
                  <a:pt x="18" y="1"/>
                </a:lnTo>
                <a:lnTo>
                  <a:pt x="18" y="0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10" name="Freeform 509"/>
          <p:cNvSpPr>
            <a:spLocks/>
          </p:cNvSpPr>
          <p:nvPr/>
        </p:nvSpPr>
        <p:spPr bwMode="auto">
          <a:xfrm>
            <a:off x="6506570" y="4378623"/>
            <a:ext cx="56516" cy="62279"/>
          </a:xfrm>
          <a:custGeom>
            <a:avLst/>
            <a:gdLst/>
            <a:ahLst/>
            <a:cxnLst>
              <a:cxn ang="0">
                <a:pos x="3" y="30"/>
              </a:cxn>
              <a:cxn ang="0">
                <a:pos x="3" y="28"/>
              </a:cxn>
              <a:cxn ang="0">
                <a:pos x="4" y="27"/>
              </a:cxn>
              <a:cxn ang="0">
                <a:pos x="5" y="27"/>
              </a:cxn>
              <a:cxn ang="0">
                <a:pos x="7" y="28"/>
              </a:cxn>
              <a:cxn ang="0">
                <a:pos x="8" y="31"/>
              </a:cxn>
              <a:cxn ang="0">
                <a:pos x="11" y="31"/>
              </a:cxn>
              <a:cxn ang="0">
                <a:pos x="12" y="30"/>
              </a:cxn>
              <a:cxn ang="0">
                <a:pos x="13" y="30"/>
              </a:cxn>
              <a:cxn ang="0">
                <a:pos x="15" y="30"/>
              </a:cxn>
              <a:cxn ang="0">
                <a:pos x="15" y="27"/>
              </a:cxn>
              <a:cxn ang="0">
                <a:pos x="15" y="25"/>
              </a:cxn>
              <a:cxn ang="0">
                <a:pos x="16" y="25"/>
              </a:cxn>
              <a:cxn ang="0">
                <a:pos x="19" y="25"/>
              </a:cxn>
              <a:cxn ang="0">
                <a:pos x="21" y="23"/>
              </a:cxn>
              <a:cxn ang="0">
                <a:pos x="23" y="23"/>
              </a:cxn>
              <a:cxn ang="0">
                <a:pos x="24" y="23"/>
              </a:cxn>
              <a:cxn ang="0">
                <a:pos x="25" y="25"/>
              </a:cxn>
              <a:cxn ang="0">
                <a:pos x="28" y="20"/>
              </a:cxn>
              <a:cxn ang="0">
                <a:pos x="29" y="17"/>
              </a:cxn>
              <a:cxn ang="0">
                <a:pos x="28" y="14"/>
              </a:cxn>
              <a:cxn ang="0">
                <a:pos x="27" y="9"/>
              </a:cxn>
              <a:cxn ang="0">
                <a:pos x="24" y="3"/>
              </a:cxn>
              <a:cxn ang="0">
                <a:pos x="23" y="0"/>
              </a:cxn>
              <a:cxn ang="0">
                <a:pos x="21" y="1"/>
              </a:cxn>
              <a:cxn ang="0">
                <a:pos x="19" y="1"/>
              </a:cxn>
              <a:cxn ang="0">
                <a:pos x="19" y="3"/>
              </a:cxn>
              <a:cxn ang="0">
                <a:pos x="16" y="6"/>
              </a:cxn>
              <a:cxn ang="0">
                <a:pos x="15" y="8"/>
              </a:cxn>
              <a:cxn ang="0">
                <a:pos x="12" y="6"/>
              </a:cxn>
              <a:cxn ang="0">
                <a:pos x="11" y="6"/>
              </a:cxn>
              <a:cxn ang="0">
                <a:pos x="8" y="8"/>
              </a:cxn>
              <a:cxn ang="0">
                <a:pos x="7" y="12"/>
              </a:cxn>
              <a:cxn ang="0">
                <a:pos x="4" y="17"/>
              </a:cxn>
              <a:cxn ang="0">
                <a:pos x="4" y="20"/>
              </a:cxn>
              <a:cxn ang="0">
                <a:pos x="0" y="25"/>
              </a:cxn>
              <a:cxn ang="0">
                <a:pos x="0" y="27"/>
              </a:cxn>
              <a:cxn ang="0">
                <a:pos x="1" y="28"/>
              </a:cxn>
              <a:cxn ang="0">
                <a:pos x="3" y="30"/>
              </a:cxn>
            </a:cxnLst>
            <a:rect l="0" t="0" r="r" b="b"/>
            <a:pathLst>
              <a:path w="29" h="31">
                <a:moveTo>
                  <a:pt x="3" y="30"/>
                </a:moveTo>
                <a:lnTo>
                  <a:pt x="3" y="28"/>
                </a:lnTo>
                <a:lnTo>
                  <a:pt x="4" y="27"/>
                </a:lnTo>
                <a:lnTo>
                  <a:pt x="5" y="27"/>
                </a:lnTo>
                <a:lnTo>
                  <a:pt x="7" y="28"/>
                </a:lnTo>
                <a:lnTo>
                  <a:pt x="8" y="31"/>
                </a:lnTo>
                <a:lnTo>
                  <a:pt x="11" y="31"/>
                </a:lnTo>
                <a:lnTo>
                  <a:pt x="12" y="30"/>
                </a:lnTo>
                <a:lnTo>
                  <a:pt x="13" y="30"/>
                </a:lnTo>
                <a:lnTo>
                  <a:pt x="15" y="30"/>
                </a:lnTo>
                <a:lnTo>
                  <a:pt x="15" y="27"/>
                </a:lnTo>
                <a:lnTo>
                  <a:pt x="15" y="25"/>
                </a:lnTo>
                <a:lnTo>
                  <a:pt x="16" y="25"/>
                </a:lnTo>
                <a:lnTo>
                  <a:pt x="19" y="25"/>
                </a:lnTo>
                <a:lnTo>
                  <a:pt x="21" y="23"/>
                </a:lnTo>
                <a:lnTo>
                  <a:pt x="23" y="23"/>
                </a:lnTo>
                <a:lnTo>
                  <a:pt x="24" y="23"/>
                </a:lnTo>
                <a:lnTo>
                  <a:pt x="25" y="25"/>
                </a:lnTo>
                <a:lnTo>
                  <a:pt x="28" y="20"/>
                </a:lnTo>
                <a:lnTo>
                  <a:pt x="29" y="17"/>
                </a:lnTo>
                <a:lnTo>
                  <a:pt x="28" y="14"/>
                </a:lnTo>
                <a:lnTo>
                  <a:pt x="27" y="9"/>
                </a:lnTo>
                <a:lnTo>
                  <a:pt x="24" y="3"/>
                </a:lnTo>
                <a:lnTo>
                  <a:pt x="23" y="0"/>
                </a:lnTo>
                <a:lnTo>
                  <a:pt x="21" y="1"/>
                </a:lnTo>
                <a:lnTo>
                  <a:pt x="19" y="1"/>
                </a:lnTo>
                <a:lnTo>
                  <a:pt x="19" y="3"/>
                </a:lnTo>
                <a:lnTo>
                  <a:pt x="16" y="6"/>
                </a:lnTo>
                <a:lnTo>
                  <a:pt x="15" y="8"/>
                </a:lnTo>
                <a:lnTo>
                  <a:pt x="12" y="6"/>
                </a:lnTo>
                <a:lnTo>
                  <a:pt x="11" y="6"/>
                </a:lnTo>
                <a:lnTo>
                  <a:pt x="8" y="8"/>
                </a:lnTo>
                <a:lnTo>
                  <a:pt x="7" y="12"/>
                </a:lnTo>
                <a:lnTo>
                  <a:pt x="4" y="17"/>
                </a:lnTo>
                <a:lnTo>
                  <a:pt x="4" y="20"/>
                </a:lnTo>
                <a:lnTo>
                  <a:pt x="0" y="25"/>
                </a:lnTo>
                <a:lnTo>
                  <a:pt x="0" y="27"/>
                </a:lnTo>
                <a:lnTo>
                  <a:pt x="1" y="28"/>
                </a:lnTo>
                <a:lnTo>
                  <a:pt x="3" y="3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11" name="Freeform 510"/>
          <p:cNvSpPr>
            <a:spLocks/>
          </p:cNvSpPr>
          <p:nvPr/>
        </p:nvSpPr>
        <p:spPr bwMode="auto">
          <a:xfrm>
            <a:off x="6506570" y="4378623"/>
            <a:ext cx="56516" cy="62279"/>
          </a:xfrm>
          <a:custGeom>
            <a:avLst/>
            <a:gdLst/>
            <a:ahLst/>
            <a:cxnLst>
              <a:cxn ang="0">
                <a:pos x="3" y="30"/>
              </a:cxn>
              <a:cxn ang="0">
                <a:pos x="3" y="28"/>
              </a:cxn>
              <a:cxn ang="0">
                <a:pos x="4" y="27"/>
              </a:cxn>
              <a:cxn ang="0">
                <a:pos x="5" y="27"/>
              </a:cxn>
              <a:cxn ang="0">
                <a:pos x="7" y="28"/>
              </a:cxn>
              <a:cxn ang="0">
                <a:pos x="8" y="31"/>
              </a:cxn>
              <a:cxn ang="0">
                <a:pos x="11" y="31"/>
              </a:cxn>
              <a:cxn ang="0">
                <a:pos x="12" y="30"/>
              </a:cxn>
              <a:cxn ang="0">
                <a:pos x="13" y="30"/>
              </a:cxn>
              <a:cxn ang="0">
                <a:pos x="15" y="30"/>
              </a:cxn>
              <a:cxn ang="0">
                <a:pos x="15" y="27"/>
              </a:cxn>
              <a:cxn ang="0">
                <a:pos x="15" y="25"/>
              </a:cxn>
              <a:cxn ang="0">
                <a:pos x="16" y="25"/>
              </a:cxn>
              <a:cxn ang="0">
                <a:pos x="19" y="25"/>
              </a:cxn>
              <a:cxn ang="0">
                <a:pos x="21" y="23"/>
              </a:cxn>
              <a:cxn ang="0">
                <a:pos x="23" y="23"/>
              </a:cxn>
              <a:cxn ang="0">
                <a:pos x="24" y="23"/>
              </a:cxn>
              <a:cxn ang="0">
                <a:pos x="25" y="25"/>
              </a:cxn>
              <a:cxn ang="0">
                <a:pos x="28" y="20"/>
              </a:cxn>
              <a:cxn ang="0">
                <a:pos x="29" y="17"/>
              </a:cxn>
              <a:cxn ang="0">
                <a:pos x="28" y="14"/>
              </a:cxn>
              <a:cxn ang="0">
                <a:pos x="27" y="9"/>
              </a:cxn>
              <a:cxn ang="0">
                <a:pos x="24" y="3"/>
              </a:cxn>
              <a:cxn ang="0">
                <a:pos x="23" y="0"/>
              </a:cxn>
              <a:cxn ang="0">
                <a:pos x="21" y="1"/>
              </a:cxn>
              <a:cxn ang="0">
                <a:pos x="19" y="1"/>
              </a:cxn>
              <a:cxn ang="0">
                <a:pos x="19" y="3"/>
              </a:cxn>
              <a:cxn ang="0">
                <a:pos x="16" y="6"/>
              </a:cxn>
              <a:cxn ang="0">
                <a:pos x="15" y="8"/>
              </a:cxn>
              <a:cxn ang="0">
                <a:pos x="12" y="6"/>
              </a:cxn>
              <a:cxn ang="0">
                <a:pos x="11" y="6"/>
              </a:cxn>
              <a:cxn ang="0">
                <a:pos x="8" y="8"/>
              </a:cxn>
              <a:cxn ang="0">
                <a:pos x="7" y="12"/>
              </a:cxn>
              <a:cxn ang="0">
                <a:pos x="4" y="17"/>
              </a:cxn>
              <a:cxn ang="0">
                <a:pos x="4" y="20"/>
              </a:cxn>
              <a:cxn ang="0">
                <a:pos x="0" y="25"/>
              </a:cxn>
              <a:cxn ang="0">
                <a:pos x="0" y="27"/>
              </a:cxn>
              <a:cxn ang="0">
                <a:pos x="1" y="28"/>
              </a:cxn>
              <a:cxn ang="0">
                <a:pos x="3" y="30"/>
              </a:cxn>
            </a:cxnLst>
            <a:rect l="0" t="0" r="r" b="b"/>
            <a:pathLst>
              <a:path w="29" h="31">
                <a:moveTo>
                  <a:pt x="3" y="30"/>
                </a:moveTo>
                <a:lnTo>
                  <a:pt x="3" y="28"/>
                </a:lnTo>
                <a:lnTo>
                  <a:pt x="4" y="27"/>
                </a:lnTo>
                <a:lnTo>
                  <a:pt x="5" y="27"/>
                </a:lnTo>
                <a:lnTo>
                  <a:pt x="7" y="28"/>
                </a:lnTo>
                <a:lnTo>
                  <a:pt x="8" y="31"/>
                </a:lnTo>
                <a:lnTo>
                  <a:pt x="11" y="31"/>
                </a:lnTo>
                <a:lnTo>
                  <a:pt x="12" y="30"/>
                </a:lnTo>
                <a:lnTo>
                  <a:pt x="13" y="30"/>
                </a:lnTo>
                <a:lnTo>
                  <a:pt x="15" y="30"/>
                </a:lnTo>
                <a:lnTo>
                  <a:pt x="15" y="27"/>
                </a:lnTo>
                <a:lnTo>
                  <a:pt x="15" y="25"/>
                </a:lnTo>
                <a:lnTo>
                  <a:pt x="16" y="25"/>
                </a:lnTo>
                <a:lnTo>
                  <a:pt x="19" y="25"/>
                </a:lnTo>
                <a:lnTo>
                  <a:pt x="21" y="23"/>
                </a:lnTo>
                <a:lnTo>
                  <a:pt x="23" y="23"/>
                </a:lnTo>
                <a:lnTo>
                  <a:pt x="24" y="23"/>
                </a:lnTo>
                <a:lnTo>
                  <a:pt x="25" y="25"/>
                </a:lnTo>
                <a:lnTo>
                  <a:pt x="28" y="20"/>
                </a:lnTo>
                <a:lnTo>
                  <a:pt x="29" y="17"/>
                </a:lnTo>
                <a:lnTo>
                  <a:pt x="28" y="14"/>
                </a:lnTo>
                <a:lnTo>
                  <a:pt x="27" y="9"/>
                </a:lnTo>
                <a:lnTo>
                  <a:pt x="24" y="3"/>
                </a:lnTo>
                <a:lnTo>
                  <a:pt x="23" y="0"/>
                </a:lnTo>
                <a:lnTo>
                  <a:pt x="21" y="1"/>
                </a:lnTo>
                <a:lnTo>
                  <a:pt x="19" y="1"/>
                </a:lnTo>
                <a:lnTo>
                  <a:pt x="19" y="3"/>
                </a:lnTo>
                <a:lnTo>
                  <a:pt x="16" y="6"/>
                </a:lnTo>
                <a:lnTo>
                  <a:pt x="15" y="8"/>
                </a:lnTo>
                <a:lnTo>
                  <a:pt x="12" y="6"/>
                </a:lnTo>
                <a:lnTo>
                  <a:pt x="11" y="6"/>
                </a:lnTo>
                <a:lnTo>
                  <a:pt x="8" y="8"/>
                </a:lnTo>
                <a:lnTo>
                  <a:pt x="7" y="12"/>
                </a:lnTo>
                <a:lnTo>
                  <a:pt x="4" y="17"/>
                </a:lnTo>
                <a:lnTo>
                  <a:pt x="4" y="20"/>
                </a:lnTo>
                <a:lnTo>
                  <a:pt x="0" y="25"/>
                </a:lnTo>
                <a:lnTo>
                  <a:pt x="0" y="27"/>
                </a:lnTo>
                <a:lnTo>
                  <a:pt x="1" y="28"/>
                </a:lnTo>
                <a:lnTo>
                  <a:pt x="3" y="30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12" name="Freeform 511"/>
          <p:cNvSpPr>
            <a:spLocks/>
          </p:cNvSpPr>
          <p:nvPr/>
        </p:nvSpPr>
        <p:spPr bwMode="auto">
          <a:xfrm>
            <a:off x="6921668" y="2883887"/>
            <a:ext cx="87696" cy="85905"/>
          </a:xfrm>
          <a:custGeom>
            <a:avLst/>
            <a:gdLst/>
            <a:ahLst/>
            <a:cxnLst>
              <a:cxn ang="0">
                <a:pos x="21" y="30"/>
              </a:cxn>
              <a:cxn ang="0">
                <a:pos x="18" y="27"/>
              </a:cxn>
              <a:cxn ang="0">
                <a:pos x="17" y="27"/>
              </a:cxn>
              <a:cxn ang="0">
                <a:pos x="14" y="25"/>
              </a:cxn>
              <a:cxn ang="0">
                <a:pos x="12" y="22"/>
              </a:cxn>
              <a:cxn ang="0">
                <a:pos x="10" y="21"/>
              </a:cxn>
              <a:cxn ang="0">
                <a:pos x="6" y="21"/>
              </a:cxn>
              <a:cxn ang="0">
                <a:pos x="5" y="17"/>
              </a:cxn>
              <a:cxn ang="0">
                <a:pos x="4" y="14"/>
              </a:cxn>
              <a:cxn ang="0">
                <a:pos x="4" y="10"/>
              </a:cxn>
              <a:cxn ang="0">
                <a:pos x="1" y="6"/>
              </a:cxn>
              <a:cxn ang="0">
                <a:pos x="0" y="5"/>
              </a:cxn>
              <a:cxn ang="0">
                <a:pos x="5" y="5"/>
              </a:cxn>
              <a:cxn ang="0">
                <a:pos x="6" y="3"/>
              </a:cxn>
              <a:cxn ang="0">
                <a:pos x="12" y="3"/>
              </a:cxn>
              <a:cxn ang="0">
                <a:pos x="13" y="2"/>
              </a:cxn>
              <a:cxn ang="0">
                <a:pos x="18" y="3"/>
              </a:cxn>
              <a:cxn ang="0">
                <a:pos x="20" y="2"/>
              </a:cxn>
              <a:cxn ang="0">
                <a:pos x="24" y="0"/>
              </a:cxn>
              <a:cxn ang="0">
                <a:pos x="24" y="3"/>
              </a:cxn>
              <a:cxn ang="0">
                <a:pos x="26" y="6"/>
              </a:cxn>
              <a:cxn ang="0">
                <a:pos x="29" y="6"/>
              </a:cxn>
              <a:cxn ang="0">
                <a:pos x="30" y="6"/>
              </a:cxn>
              <a:cxn ang="0">
                <a:pos x="30" y="10"/>
              </a:cxn>
              <a:cxn ang="0">
                <a:pos x="30" y="11"/>
              </a:cxn>
              <a:cxn ang="0">
                <a:pos x="29" y="13"/>
              </a:cxn>
              <a:cxn ang="0">
                <a:pos x="30" y="14"/>
              </a:cxn>
              <a:cxn ang="0">
                <a:pos x="32" y="16"/>
              </a:cxn>
              <a:cxn ang="0">
                <a:pos x="33" y="17"/>
              </a:cxn>
              <a:cxn ang="0">
                <a:pos x="37" y="19"/>
              </a:cxn>
              <a:cxn ang="0">
                <a:pos x="37" y="22"/>
              </a:cxn>
              <a:cxn ang="0">
                <a:pos x="37" y="24"/>
              </a:cxn>
              <a:cxn ang="0">
                <a:pos x="34" y="24"/>
              </a:cxn>
              <a:cxn ang="0">
                <a:pos x="34" y="25"/>
              </a:cxn>
              <a:cxn ang="0">
                <a:pos x="37" y="28"/>
              </a:cxn>
              <a:cxn ang="0">
                <a:pos x="41" y="32"/>
              </a:cxn>
              <a:cxn ang="0">
                <a:pos x="44" y="32"/>
              </a:cxn>
              <a:cxn ang="0">
                <a:pos x="46" y="32"/>
              </a:cxn>
              <a:cxn ang="0">
                <a:pos x="45" y="33"/>
              </a:cxn>
              <a:cxn ang="0">
                <a:pos x="45" y="35"/>
              </a:cxn>
              <a:cxn ang="0">
                <a:pos x="46" y="36"/>
              </a:cxn>
              <a:cxn ang="0">
                <a:pos x="46" y="38"/>
              </a:cxn>
              <a:cxn ang="0">
                <a:pos x="44" y="39"/>
              </a:cxn>
              <a:cxn ang="0">
                <a:pos x="45" y="41"/>
              </a:cxn>
              <a:cxn ang="0">
                <a:pos x="46" y="42"/>
              </a:cxn>
              <a:cxn ang="0">
                <a:pos x="46" y="44"/>
              </a:cxn>
              <a:cxn ang="0">
                <a:pos x="45" y="44"/>
              </a:cxn>
              <a:cxn ang="0">
                <a:pos x="40" y="44"/>
              </a:cxn>
              <a:cxn ang="0">
                <a:pos x="38" y="44"/>
              </a:cxn>
              <a:cxn ang="0">
                <a:pos x="38" y="38"/>
              </a:cxn>
              <a:cxn ang="0">
                <a:pos x="37" y="36"/>
              </a:cxn>
              <a:cxn ang="0">
                <a:pos x="36" y="35"/>
              </a:cxn>
              <a:cxn ang="0">
                <a:pos x="34" y="33"/>
              </a:cxn>
              <a:cxn ang="0">
                <a:pos x="33" y="32"/>
              </a:cxn>
              <a:cxn ang="0">
                <a:pos x="30" y="33"/>
              </a:cxn>
              <a:cxn ang="0">
                <a:pos x="29" y="33"/>
              </a:cxn>
              <a:cxn ang="0">
                <a:pos x="26" y="32"/>
              </a:cxn>
              <a:cxn ang="0">
                <a:pos x="25" y="30"/>
              </a:cxn>
              <a:cxn ang="0">
                <a:pos x="24" y="30"/>
              </a:cxn>
              <a:cxn ang="0">
                <a:pos x="21" y="30"/>
              </a:cxn>
            </a:cxnLst>
            <a:rect l="0" t="0" r="r" b="b"/>
            <a:pathLst>
              <a:path w="46" h="44">
                <a:moveTo>
                  <a:pt x="21" y="30"/>
                </a:moveTo>
                <a:lnTo>
                  <a:pt x="18" y="27"/>
                </a:lnTo>
                <a:lnTo>
                  <a:pt x="17" y="27"/>
                </a:lnTo>
                <a:lnTo>
                  <a:pt x="14" y="25"/>
                </a:lnTo>
                <a:lnTo>
                  <a:pt x="12" y="22"/>
                </a:lnTo>
                <a:lnTo>
                  <a:pt x="10" y="21"/>
                </a:lnTo>
                <a:lnTo>
                  <a:pt x="6" y="21"/>
                </a:lnTo>
                <a:lnTo>
                  <a:pt x="5" y="17"/>
                </a:lnTo>
                <a:lnTo>
                  <a:pt x="4" y="14"/>
                </a:lnTo>
                <a:lnTo>
                  <a:pt x="4" y="10"/>
                </a:lnTo>
                <a:lnTo>
                  <a:pt x="1" y="6"/>
                </a:lnTo>
                <a:lnTo>
                  <a:pt x="0" y="5"/>
                </a:lnTo>
                <a:lnTo>
                  <a:pt x="5" y="5"/>
                </a:lnTo>
                <a:lnTo>
                  <a:pt x="6" y="3"/>
                </a:lnTo>
                <a:lnTo>
                  <a:pt x="12" y="3"/>
                </a:lnTo>
                <a:lnTo>
                  <a:pt x="13" y="2"/>
                </a:lnTo>
                <a:lnTo>
                  <a:pt x="18" y="3"/>
                </a:lnTo>
                <a:lnTo>
                  <a:pt x="20" y="2"/>
                </a:lnTo>
                <a:lnTo>
                  <a:pt x="24" y="0"/>
                </a:lnTo>
                <a:lnTo>
                  <a:pt x="24" y="3"/>
                </a:lnTo>
                <a:lnTo>
                  <a:pt x="26" y="6"/>
                </a:lnTo>
                <a:lnTo>
                  <a:pt x="29" y="6"/>
                </a:lnTo>
                <a:lnTo>
                  <a:pt x="30" y="6"/>
                </a:lnTo>
                <a:lnTo>
                  <a:pt x="30" y="10"/>
                </a:lnTo>
                <a:lnTo>
                  <a:pt x="30" y="11"/>
                </a:lnTo>
                <a:lnTo>
                  <a:pt x="29" y="13"/>
                </a:lnTo>
                <a:lnTo>
                  <a:pt x="30" y="14"/>
                </a:lnTo>
                <a:lnTo>
                  <a:pt x="32" y="16"/>
                </a:lnTo>
                <a:lnTo>
                  <a:pt x="33" y="17"/>
                </a:lnTo>
                <a:lnTo>
                  <a:pt x="37" y="19"/>
                </a:lnTo>
                <a:lnTo>
                  <a:pt x="37" y="22"/>
                </a:lnTo>
                <a:lnTo>
                  <a:pt x="37" y="24"/>
                </a:lnTo>
                <a:lnTo>
                  <a:pt x="34" y="24"/>
                </a:lnTo>
                <a:lnTo>
                  <a:pt x="34" y="25"/>
                </a:lnTo>
                <a:lnTo>
                  <a:pt x="37" y="28"/>
                </a:lnTo>
                <a:lnTo>
                  <a:pt x="41" y="32"/>
                </a:lnTo>
                <a:lnTo>
                  <a:pt x="44" y="32"/>
                </a:lnTo>
                <a:lnTo>
                  <a:pt x="46" y="32"/>
                </a:lnTo>
                <a:lnTo>
                  <a:pt x="45" y="33"/>
                </a:lnTo>
                <a:lnTo>
                  <a:pt x="45" y="35"/>
                </a:lnTo>
                <a:lnTo>
                  <a:pt x="46" y="36"/>
                </a:lnTo>
                <a:lnTo>
                  <a:pt x="46" y="38"/>
                </a:lnTo>
                <a:lnTo>
                  <a:pt x="44" y="39"/>
                </a:lnTo>
                <a:lnTo>
                  <a:pt x="45" y="41"/>
                </a:lnTo>
                <a:lnTo>
                  <a:pt x="46" y="42"/>
                </a:lnTo>
                <a:lnTo>
                  <a:pt x="46" y="44"/>
                </a:lnTo>
                <a:lnTo>
                  <a:pt x="45" y="44"/>
                </a:lnTo>
                <a:lnTo>
                  <a:pt x="40" y="44"/>
                </a:lnTo>
                <a:lnTo>
                  <a:pt x="38" y="44"/>
                </a:lnTo>
                <a:lnTo>
                  <a:pt x="38" y="38"/>
                </a:lnTo>
                <a:lnTo>
                  <a:pt x="37" y="36"/>
                </a:lnTo>
                <a:lnTo>
                  <a:pt x="36" y="35"/>
                </a:lnTo>
                <a:lnTo>
                  <a:pt x="34" y="33"/>
                </a:lnTo>
                <a:lnTo>
                  <a:pt x="33" y="32"/>
                </a:lnTo>
                <a:lnTo>
                  <a:pt x="30" y="33"/>
                </a:lnTo>
                <a:lnTo>
                  <a:pt x="29" y="33"/>
                </a:lnTo>
                <a:lnTo>
                  <a:pt x="26" y="32"/>
                </a:lnTo>
                <a:lnTo>
                  <a:pt x="25" y="30"/>
                </a:lnTo>
                <a:lnTo>
                  <a:pt x="24" y="30"/>
                </a:lnTo>
                <a:lnTo>
                  <a:pt x="21" y="30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13" name="Freeform 512"/>
          <p:cNvSpPr>
            <a:spLocks/>
          </p:cNvSpPr>
          <p:nvPr/>
        </p:nvSpPr>
        <p:spPr bwMode="auto">
          <a:xfrm>
            <a:off x="7699243" y="2935431"/>
            <a:ext cx="9745" cy="2146"/>
          </a:xfrm>
          <a:custGeom>
            <a:avLst/>
            <a:gdLst/>
            <a:ahLst/>
            <a:cxnLst>
              <a:cxn ang="0">
                <a:pos x="4" y="1"/>
              </a:cxn>
              <a:cxn ang="0">
                <a:pos x="2" y="0"/>
              </a:cxn>
              <a:cxn ang="0">
                <a:pos x="0" y="0"/>
              </a:cxn>
              <a:cxn ang="0">
                <a:pos x="1" y="1"/>
              </a:cxn>
              <a:cxn ang="0">
                <a:pos x="4" y="1"/>
              </a:cxn>
            </a:cxnLst>
            <a:rect l="0" t="0" r="r" b="b"/>
            <a:pathLst>
              <a:path w="4" h="1">
                <a:moveTo>
                  <a:pt x="4" y="1"/>
                </a:moveTo>
                <a:lnTo>
                  <a:pt x="2" y="0"/>
                </a:lnTo>
                <a:lnTo>
                  <a:pt x="0" y="0"/>
                </a:lnTo>
                <a:lnTo>
                  <a:pt x="1" y="1"/>
                </a:lnTo>
                <a:lnTo>
                  <a:pt x="4" y="1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14" name="Freeform 513"/>
          <p:cNvSpPr>
            <a:spLocks/>
          </p:cNvSpPr>
          <p:nvPr/>
        </p:nvSpPr>
        <p:spPr bwMode="auto">
          <a:xfrm>
            <a:off x="7699243" y="2935431"/>
            <a:ext cx="9745" cy="2146"/>
          </a:xfrm>
          <a:custGeom>
            <a:avLst/>
            <a:gdLst/>
            <a:ahLst/>
            <a:cxnLst>
              <a:cxn ang="0">
                <a:pos x="4" y="1"/>
              </a:cxn>
              <a:cxn ang="0">
                <a:pos x="2" y="0"/>
              </a:cxn>
              <a:cxn ang="0">
                <a:pos x="0" y="0"/>
              </a:cxn>
              <a:cxn ang="0">
                <a:pos x="1" y="1"/>
              </a:cxn>
              <a:cxn ang="0">
                <a:pos x="4" y="1"/>
              </a:cxn>
            </a:cxnLst>
            <a:rect l="0" t="0" r="r" b="b"/>
            <a:pathLst>
              <a:path w="4" h="1">
                <a:moveTo>
                  <a:pt x="4" y="1"/>
                </a:moveTo>
                <a:lnTo>
                  <a:pt x="2" y="0"/>
                </a:lnTo>
                <a:lnTo>
                  <a:pt x="0" y="0"/>
                </a:lnTo>
                <a:lnTo>
                  <a:pt x="1" y="1"/>
                </a:lnTo>
                <a:lnTo>
                  <a:pt x="4" y="1"/>
                </a:lnTo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15" name="Freeform 514"/>
          <p:cNvSpPr>
            <a:spLocks/>
          </p:cNvSpPr>
          <p:nvPr/>
        </p:nvSpPr>
        <p:spPr bwMode="auto">
          <a:xfrm>
            <a:off x="5187223" y="3384280"/>
            <a:ext cx="346888" cy="435964"/>
          </a:xfrm>
          <a:custGeom>
            <a:avLst/>
            <a:gdLst/>
            <a:ahLst/>
            <a:cxnLst>
              <a:cxn ang="0">
                <a:pos x="26" y="102"/>
              </a:cxn>
              <a:cxn ang="0">
                <a:pos x="4" y="105"/>
              </a:cxn>
              <a:cxn ang="0">
                <a:pos x="1" y="108"/>
              </a:cxn>
              <a:cxn ang="0">
                <a:pos x="2" y="110"/>
              </a:cxn>
              <a:cxn ang="0">
                <a:pos x="8" y="116"/>
              </a:cxn>
              <a:cxn ang="0">
                <a:pos x="10" y="127"/>
              </a:cxn>
              <a:cxn ang="0">
                <a:pos x="9" y="137"/>
              </a:cxn>
              <a:cxn ang="0">
                <a:pos x="12" y="146"/>
              </a:cxn>
              <a:cxn ang="0">
                <a:pos x="13" y="159"/>
              </a:cxn>
              <a:cxn ang="0">
                <a:pos x="8" y="185"/>
              </a:cxn>
              <a:cxn ang="0">
                <a:pos x="6" y="196"/>
              </a:cxn>
              <a:cxn ang="0">
                <a:pos x="9" y="188"/>
              </a:cxn>
              <a:cxn ang="0">
                <a:pos x="13" y="188"/>
              </a:cxn>
              <a:cxn ang="0">
                <a:pos x="21" y="188"/>
              </a:cxn>
              <a:cxn ang="0">
                <a:pos x="28" y="188"/>
              </a:cxn>
              <a:cxn ang="0">
                <a:pos x="30" y="187"/>
              </a:cxn>
              <a:cxn ang="0">
                <a:pos x="38" y="187"/>
              </a:cxn>
              <a:cxn ang="0">
                <a:pos x="44" y="191"/>
              </a:cxn>
              <a:cxn ang="0">
                <a:pos x="48" y="196"/>
              </a:cxn>
              <a:cxn ang="0">
                <a:pos x="50" y="196"/>
              </a:cxn>
              <a:cxn ang="0">
                <a:pos x="54" y="199"/>
              </a:cxn>
              <a:cxn ang="0">
                <a:pos x="57" y="204"/>
              </a:cxn>
              <a:cxn ang="0">
                <a:pos x="60" y="207"/>
              </a:cxn>
              <a:cxn ang="0">
                <a:pos x="62" y="210"/>
              </a:cxn>
              <a:cxn ang="0">
                <a:pos x="64" y="213"/>
              </a:cxn>
              <a:cxn ang="0">
                <a:pos x="68" y="215"/>
              </a:cxn>
              <a:cxn ang="0">
                <a:pos x="72" y="220"/>
              </a:cxn>
              <a:cxn ang="0">
                <a:pos x="81" y="204"/>
              </a:cxn>
              <a:cxn ang="0">
                <a:pos x="85" y="201"/>
              </a:cxn>
              <a:cxn ang="0">
                <a:pos x="87" y="207"/>
              </a:cxn>
              <a:cxn ang="0">
                <a:pos x="102" y="207"/>
              </a:cxn>
              <a:cxn ang="0">
                <a:pos x="166" y="209"/>
              </a:cxn>
              <a:cxn ang="0">
                <a:pos x="169" y="191"/>
              </a:cxn>
              <a:cxn ang="0">
                <a:pos x="163" y="140"/>
              </a:cxn>
              <a:cxn ang="0">
                <a:pos x="159" y="89"/>
              </a:cxn>
              <a:cxn ang="0">
                <a:pos x="154" y="38"/>
              </a:cxn>
              <a:cxn ang="0">
                <a:pos x="143" y="12"/>
              </a:cxn>
              <a:cxn ang="0">
                <a:pos x="111" y="20"/>
              </a:cxn>
              <a:cxn ang="0">
                <a:pos x="77" y="20"/>
              </a:cxn>
              <a:cxn ang="0">
                <a:pos x="77" y="66"/>
              </a:cxn>
              <a:cxn ang="0">
                <a:pos x="62" y="69"/>
              </a:cxn>
              <a:cxn ang="0">
                <a:pos x="58" y="75"/>
              </a:cxn>
              <a:cxn ang="0">
                <a:pos x="60" y="91"/>
              </a:cxn>
              <a:cxn ang="0">
                <a:pos x="54" y="102"/>
              </a:cxn>
            </a:cxnLst>
            <a:rect l="0" t="0" r="r" b="b"/>
            <a:pathLst>
              <a:path w="181" h="220">
                <a:moveTo>
                  <a:pt x="54" y="102"/>
                </a:moveTo>
                <a:lnTo>
                  <a:pt x="41" y="102"/>
                </a:lnTo>
                <a:lnTo>
                  <a:pt x="26" y="102"/>
                </a:lnTo>
                <a:lnTo>
                  <a:pt x="12" y="102"/>
                </a:lnTo>
                <a:lnTo>
                  <a:pt x="4" y="102"/>
                </a:lnTo>
                <a:lnTo>
                  <a:pt x="4" y="105"/>
                </a:lnTo>
                <a:lnTo>
                  <a:pt x="1" y="107"/>
                </a:lnTo>
                <a:lnTo>
                  <a:pt x="0" y="108"/>
                </a:lnTo>
                <a:lnTo>
                  <a:pt x="1" y="108"/>
                </a:lnTo>
                <a:lnTo>
                  <a:pt x="0" y="110"/>
                </a:lnTo>
                <a:lnTo>
                  <a:pt x="2" y="108"/>
                </a:lnTo>
                <a:lnTo>
                  <a:pt x="2" y="110"/>
                </a:lnTo>
                <a:lnTo>
                  <a:pt x="5" y="116"/>
                </a:lnTo>
                <a:lnTo>
                  <a:pt x="6" y="116"/>
                </a:lnTo>
                <a:lnTo>
                  <a:pt x="8" y="116"/>
                </a:lnTo>
                <a:lnTo>
                  <a:pt x="10" y="121"/>
                </a:lnTo>
                <a:lnTo>
                  <a:pt x="10" y="122"/>
                </a:lnTo>
                <a:lnTo>
                  <a:pt x="10" y="127"/>
                </a:lnTo>
                <a:lnTo>
                  <a:pt x="10" y="130"/>
                </a:lnTo>
                <a:lnTo>
                  <a:pt x="9" y="135"/>
                </a:lnTo>
                <a:lnTo>
                  <a:pt x="9" y="137"/>
                </a:lnTo>
                <a:lnTo>
                  <a:pt x="8" y="137"/>
                </a:lnTo>
                <a:lnTo>
                  <a:pt x="6" y="138"/>
                </a:lnTo>
                <a:lnTo>
                  <a:pt x="12" y="146"/>
                </a:lnTo>
                <a:lnTo>
                  <a:pt x="13" y="151"/>
                </a:lnTo>
                <a:lnTo>
                  <a:pt x="13" y="154"/>
                </a:lnTo>
                <a:lnTo>
                  <a:pt x="13" y="159"/>
                </a:lnTo>
                <a:lnTo>
                  <a:pt x="13" y="170"/>
                </a:lnTo>
                <a:lnTo>
                  <a:pt x="12" y="174"/>
                </a:lnTo>
                <a:lnTo>
                  <a:pt x="8" y="185"/>
                </a:lnTo>
                <a:lnTo>
                  <a:pt x="8" y="188"/>
                </a:lnTo>
                <a:lnTo>
                  <a:pt x="6" y="193"/>
                </a:lnTo>
                <a:lnTo>
                  <a:pt x="6" y="196"/>
                </a:lnTo>
                <a:lnTo>
                  <a:pt x="8" y="195"/>
                </a:lnTo>
                <a:lnTo>
                  <a:pt x="9" y="193"/>
                </a:lnTo>
                <a:lnTo>
                  <a:pt x="9" y="188"/>
                </a:lnTo>
                <a:lnTo>
                  <a:pt x="10" y="188"/>
                </a:lnTo>
                <a:lnTo>
                  <a:pt x="12" y="188"/>
                </a:lnTo>
                <a:lnTo>
                  <a:pt x="13" y="188"/>
                </a:lnTo>
                <a:lnTo>
                  <a:pt x="16" y="188"/>
                </a:lnTo>
                <a:lnTo>
                  <a:pt x="18" y="190"/>
                </a:lnTo>
                <a:lnTo>
                  <a:pt x="21" y="188"/>
                </a:lnTo>
                <a:lnTo>
                  <a:pt x="24" y="188"/>
                </a:lnTo>
                <a:lnTo>
                  <a:pt x="26" y="188"/>
                </a:lnTo>
                <a:lnTo>
                  <a:pt x="28" y="188"/>
                </a:lnTo>
                <a:lnTo>
                  <a:pt x="28" y="187"/>
                </a:lnTo>
                <a:lnTo>
                  <a:pt x="29" y="187"/>
                </a:lnTo>
                <a:lnTo>
                  <a:pt x="30" y="187"/>
                </a:lnTo>
                <a:lnTo>
                  <a:pt x="32" y="187"/>
                </a:lnTo>
                <a:lnTo>
                  <a:pt x="37" y="187"/>
                </a:lnTo>
                <a:lnTo>
                  <a:pt x="38" y="187"/>
                </a:lnTo>
                <a:lnTo>
                  <a:pt x="40" y="188"/>
                </a:lnTo>
                <a:lnTo>
                  <a:pt x="41" y="188"/>
                </a:lnTo>
                <a:lnTo>
                  <a:pt x="44" y="191"/>
                </a:lnTo>
                <a:lnTo>
                  <a:pt x="44" y="193"/>
                </a:lnTo>
                <a:lnTo>
                  <a:pt x="46" y="196"/>
                </a:lnTo>
                <a:lnTo>
                  <a:pt x="48" y="196"/>
                </a:lnTo>
                <a:lnTo>
                  <a:pt x="49" y="195"/>
                </a:lnTo>
                <a:lnTo>
                  <a:pt x="49" y="196"/>
                </a:lnTo>
                <a:lnTo>
                  <a:pt x="50" y="196"/>
                </a:lnTo>
                <a:lnTo>
                  <a:pt x="52" y="195"/>
                </a:lnTo>
                <a:lnTo>
                  <a:pt x="52" y="196"/>
                </a:lnTo>
                <a:lnTo>
                  <a:pt x="54" y="199"/>
                </a:lnTo>
                <a:lnTo>
                  <a:pt x="56" y="202"/>
                </a:lnTo>
                <a:lnTo>
                  <a:pt x="56" y="204"/>
                </a:lnTo>
                <a:lnTo>
                  <a:pt x="57" y="204"/>
                </a:lnTo>
                <a:lnTo>
                  <a:pt x="58" y="206"/>
                </a:lnTo>
                <a:lnTo>
                  <a:pt x="58" y="207"/>
                </a:lnTo>
                <a:lnTo>
                  <a:pt x="60" y="207"/>
                </a:lnTo>
                <a:lnTo>
                  <a:pt x="61" y="209"/>
                </a:lnTo>
                <a:lnTo>
                  <a:pt x="61" y="210"/>
                </a:lnTo>
                <a:lnTo>
                  <a:pt x="62" y="210"/>
                </a:lnTo>
                <a:lnTo>
                  <a:pt x="61" y="212"/>
                </a:lnTo>
                <a:lnTo>
                  <a:pt x="62" y="212"/>
                </a:lnTo>
                <a:lnTo>
                  <a:pt x="64" y="213"/>
                </a:lnTo>
                <a:lnTo>
                  <a:pt x="65" y="213"/>
                </a:lnTo>
                <a:lnTo>
                  <a:pt x="66" y="215"/>
                </a:lnTo>
                <a:lnTo>
                  <a:pt x="68" y="215"/>
                </a:lnTo>
                <a:lnTo>
                  <a:pt x="68" y="218"/>
                </a:lnTo>
                <a:lnTo>
                  <a:pt x="70" y="218"/>
                </a:lnTo>
                <a:lnTo>
                  <a:pt x="72" y="220"/>
                </a:lnTo>
                <a:lnTo>
                  <a:pt x="78" y="213"/>
                </a:lnTo>
                <a:lnTo>
                  <a:pt x="80" y="207"/>
                </a:lnTo>
                <a:lnTo>
                  <a:pt x="81" y="204"/>
                </a:lnTo>
                <a:lnTo>
                  <a:pt x="82" y="201"/>
                </a:lnTo>
                <a:lnTo>
                  <a:pt x="83" y="201"/>
                </a:lnTo>
                <a:lnTo>
                  <a:pt x="85" y="201"/>
                </a:lnTo>
                <a:lnTo>
                  <a:pt x="86" y="201"/>
                </a:lnTo>
                <a:lnTo>
                  <a:pt x="87" y="202"/>
                </a:lnTo>
                <a:lnTo>
                  <a:pt x="87" y="207"/>
                </a:lnTo>
                <a:lnTo>
                  <a:pt x="90" y="212"/>
                </a:lnTo>
                <a:lnTo>
                  <a:pt x="95" y="213"/>
                </a:lnTo>
                <a:lnTo>
                  <a:pt x="102" y="207"/>
                </a:lnTo>
                <a:lnTo>
                  <a:pt x="126" y="207"/>
                </a:lnTo>
                <a:lnTo>
                  <a:pt x="146" y="207"/>
                </a:lnTo>
                <a:lnTo>
                  <a:pt x="166" y="209"/>
                </a:lnTo>
                <a:lnTo>
                  <a:pt x="171" y="209"/>
                </a:lnTo>
                <a:lnTo>
                  <a:pt x="175" y="193"/>
                </a:lnTo>
                <a:lnTo>
                  <a:pt x="169" y="191"/>
                </a:lnTo>
                <a:lnTo>
                  <a:pt x="167" y="173"/>
                </a:lnTo>
                <a:lnTo>
                  <a:pt x="166" y="157"/>
                </a:lnTo>
                <a:lnTo>
                  <a:pt x="163" y="140"/>
                </a:lnTo>
                <a:lnTo>
                  <a:pt x="162" y="122"/>
                </a:lnTo>
                <a:lnTo>
                  <a:pt x="161" y="107"/>
                </a:lnTo>
                <a:lnTo>
                  <a:pt x="159" y="89"/>
                </a:lnTo>
                <a:lnTo>
                  <a:pt x="158" y="72"/>
                </a:lnTo>
                <a:lnTo>
                  <a:pt x="157" y="55"/>
                </a:lnTo>
                <a:lnTo>
                  <a:pt x="154" y="38"/>
                </a:lnTo>
                <a:lnTo>
                  <a:pt x="181" y="38"/>
                </a:lnTo>
                <a:lnTo>
                  <a:pt x="161" y="23"/>
                </a:lnTo>
                <a:lnTo>
                  <a:pt x="143" y="12"/>
                </a:lnTo>
                <a:lnTo>
                  <a:pt x="126" y="0"/>
                </a:lnTo>
                <a:lnTo>
                  <a:pt x="126" y="20"/>
                </a:lnTo>
                <a:lnTo>
                  <a:pt x="111" y="20"/>
                </a:lnTo>
                <a:lnTo>
                  <a:pt x="97" y="20"/>
                </a:lnTo>
                <a:lnTo>
                  <a:pt x="82" y="20"/>
                </a:lnTo>
                <a:lnTo>
                  <a:pt x="77" y="20"/>
                </a:lnTo>
                <a:lnTo>
                  <a:pt x="77" y="38"/>
                </a:lnTo>
                <a:lnTo>
                  <a:pt x="77" y="55"/>
                </a:lnTo>
                <a:lnTo>
                  <a:pt x="77" y="66"/>
                </a:lnTo>
                <a:lnTo>
                  <a:pt x="72" y="67"/>
                </a:lnTo>
                <a:lnTo>
                  <a:pt x="66" y="67"/>
                </a:lnTo>
                <a:lnTo>
                  <a:pt x="62" y="69"/>
                </a:lnTo>
                <a:lnTo>
                  <a:pt x="61" y="71"/>
                </a:lnTo>
                <a:lnTo>
                  <a:pt x="60" y="72"/>
                </a:lnTo>
                <a:lnTo>
                  <a:pt x="58" y="75"/>
                </a:lnTo>
                <a:lnTo>
                  <a:pt x="58" y="77"/>
                </a:lnTo>
                <a:lnTo>
                  <a:pt x="58" y="85"/>
                </a:lnTo>
                <a:lnTo>
                  <a:pt x="60" y="91"/>
                </a:lnTo>
                <a:lnTo>
                  <a:pt x="60" y="97"/>
                </a:lnTo>
                <a:lnTo>
                  <a:pt x="61" y="102"/>
                </a:lnTo>
                <a:lnTo>
                  <a:pt x="54" y="10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16" name="Freeform 515"/>
          <p:cNvSpPr>
            <a:spLocks/>
          </p:cNvSpPr>
          <p:nvPr/>
        </p:nvSpPr>
        <p:spPr bwMode="auto">
          <a:xfrm>
            <a:off x="5187223" y="3384280"/>
            <a:ext cx="346888" cy="435964"/>
          </a:xfrm>
          <a:custGeom>
            <a:avLst/>
            <a:gdLst/>
            <a:ahLst/>
            <a:cxnLst>
              <a:cxn ang="0">
                <a:pos x="26" y="102"/>
              </a:cxn>
              <a:cxn ang="0">
                <a:pos x="4" y="105"/>
              </a:cxn>
              <a:cxn ang="0">
                <a:pos x="1" y="108"/>
              </a:cxn>
              <a:cxn ang="0">
                <a:pos x="2" y="110"/>
              </a:cxn>
              <a:cxn ang="0">
                <a:pos x="8" y="116"/>
              </a:cxn>
              <a:cxn ang="0">
                <a:pos x="10" y="127"/>
              </a:cxn>
              <a:cxn ang="0">
                <a:pos x="9" y="137"/>
              </a:cxn>
              <a:cxn ang="0">
                <a:pos x="12" y="146"/>
              </a:cxn>
              <a:cxn ang="0">
                <a:pos x="13" y="159"/>
              </a:cxn>
              <a:cxn ang="0">
                <a:pos x="8" y="185"/>
              </a:cxn>
              <a:cxn ang="0">
                <a:pos x="6" y="196"/>
              </a:cxn>
              <a:cxn ang="0">
                <a:pos x="9" y="188"/>
              </a:cxn>
              <a:cxn ang="0">
                <a:pos x="13" y="188"/>
              </a:cxn>
              <a:cxn ang="0">
                <a:pos x="21" y="188"/>
              </a:cxn>
              <a:cxn ang="0">
                <a:pos x="28" y="188"/>
              </a:cxn>
              <a:cxn ang="0">
                <a:pos x="30" y="187"/>
              </a:cxn>
              <a:cxn ang="0">
                <a:pos x="38" y="187"/>
              </a:cxn>
              <a:cxn ang="0">
                <a:pos x="44" y="191"/>
              </a:cxn>
              <a:cxn ang="0">
                <a:pos x="48" y="196"/>
              </a:cxn>
              <a:cxn ang="0">
                <a:pos x="50" y="196"/>
              </a:cxn>
              <a:cxn ang="0">
                <a:pos x="54" y="199"/>
              </a:cxn>
              <a:cxn ang="0">
                <a:pos x="57" y="204"/>
              </a:cxn>
              <a:cxn ang="0">
                <a:pos x="60" y="207"/>
              </a:cxn>
              <a:cxn ang="0">
                <a:pos x="62" y="210"/>
              </a:cxn>
              <a:cxn ang="0">
                <a:pos x="64" y="213"/>
              </a:cxn>
              <a:cxn ang="0">
                <a:pos x="68" y="215"/>
              </a:cxn>
              <a:cxn ang="0">
                <a:pos x="72" y="220"/>
              </a:cxn>
              <a:cxn ang="0">
                <a:pos x="81" y="204"/>
              </a:cxn>
              <a:cxn ang="0">
                <a:pos x="85" y="201"/>
              </a:cxn>
              <a:cxn ang="0">
                <a:pos x="87" y="207"/>
              </a:cxn>
              <a:cxn ang="0">
                <a:pos x="102" y="207"/>
              </a:cxn>
              <a:cxn ang="0">
                <a:pos x="166" y="209"/>
              </a:cxn>
              <a:cxn ang="0">
                <a:pos x="169" y="191"/>
              </a:cxn>
              <a:cxn ang="0">
                <a:pos x="163" y="140"/>
              </a:cxn>
              <a:cxn ang="0">
                <a:pos x="159" y="89"/>
              </a:cxn>
              <a:cxn ang="0">
                <a:pos x="154" y="38"/>
              </a:cxn>
              <a:cxn ang="0">
                <a:pos x="143" y="12"/>
              </a:cxn>
              <a:cxn ang="0">
                <a:pos x="111" y="20"/>
              </a:cxn>
              <a:cxn ang="0">
                <a:pos x="77" y="20"/>
              </a:cxn>
              <a:cxn ang="0">
                <a:pos x="77" y="66"/>
              </a:cxn>
              <a:cxn ang="0">
                <a:pos x="62" y="69"/>
              </a:cxn>
              <a:cxn ang="0">
                <a:pos x="58" y="75"/>
              </a:cxn>
              <a:cxn ang="0">
                <a:pos x="60" y="91"/>
              </a:cxn>
              <a:cxn ang="0">
                <a:pos x="54" y="102"/>
              </a:cxn>
            </a:cxnLst>
            <a:rect l="0" t="0" r="r" b="b"/>
            <a:pathLst>
              <a:path w="181" h="220">
                <a:moveTo>
                  <a:pt x="54" y="102"/>
                </a:moveTo>
                <a:lnTo>
                  <a:pt x="41" y="102"/>
                </a:lnTo>
                <a:lnTo>
                  <a:pt x="26" y="102"/>
                </a:lnTo>
                <a:lnTo>
                  <a:pt x="12" y="102"/>
                </a:lnTo>
                <a:lnTo>
                  <a:pt x="4" y="102"/>
                </a:lnTo>
                <a:lnTo>
                  <a:pt x="4" y="105"/>
                </a:lnTo>
                <a:lnTo>
                  <a:pt x="1" y="107"/>
                </a:lnTo>
                <a:lnTo>
                  <a:pt x="0" y="108"/>
                </a:lnTo>
                <a:lnTo>
                  <a:pt x="1" y="108"/>
                </a:lnTo>
                <a:lnTo>
                  <a:pt x="0" y="110"/>
                </a:lnTo>
                <a:lnTo>
                  <a:pt x="2" y="108"/>
                </a:lnTo>
                <a:lnTo>
                  <a:pt x="2" y="110"/>
                </a:lnTo>
                <a:lnTo>
                  <a:pt x="5" y="116"/>
                </a:lnTo>
                <a:lnTo>
                  <a:pt x="6" y="116"/>
                </a:lnTo>
                <a:lnTo>
                  <a:pt x="8" y="116"/>
                </a:lnTo>
                <a:lnTo>
                  <a:pt x="10" y="121"/>
                </a:lnTo>
                <a:lnTo>
                  <a:pt x="10" y="122"/>
                </a:lnTo>
                <a:lnTo>
                  <a:pt x="10" y="127"/>
                </a:lnTo>
                <a:lnTo>
                  <a:pt x="10" y="130"/>
                </a:lnTo>
                <a:lnTo>
                  <a:pt x="9" y="135"/>
                </a:lnTo>
                <a:lnTo>
                  <a:pt x="9" y="137"/>
                </a:lnTo>
                <a:lnTo>
                  <a:pt x="8" y="137"/>
                </a:lnTo>
                <a:lnTo>
                  <a:pt x="6" y="138"/>
                </a:lnTo>
                <a:lnTo>
                  <a:pt x="12" y="146"/>
                </a:lnTo>
                <a:lnTo>
                  <a:pt x="13" y="151"/>
                </a:lnTo>
                <a:lnTo>
                  <a:pt x="13" y="154"/>
                </a:lnTo>
                <a:lnTo>
                  <a:pt x="13" y="159"/>
                </a:lnTo>
                <a:lnTo>
                  <a:pt x="13" y="170"/>
                </a:lnTo>
                <a:lnTo>
                  <a:pt x="12" y="174"/>
                </a:lnTo>
                <a:lnTo>
                  <a:pt x="8" y="185"/>
                </a:lnTo>
                <a:lnTo>
                  <a:pt x="8" y="188"/>
                </a:lnTo>
                <a:lnTo>
                  <a:pt x="6" y="193"/>
                </a:lnTo>
                <a:lnTo>
                  <a:pt x="6" y="196"/>
                </a:lnTo>
                <a:lnTo>
                  <a:pt x="8" y="195"/>
                </a:lnTo>
                <a:lnTo>
                  <a:pt x="9" y="193"/>
                </a:lnTo>
                <a:lnTo>
                  <a:pt x="9" y="188"/>
                </a:lnTo>
                <a:lnTo>
                  <a:pt x="10" y="188"/>
                </a:lnTo>
                <a:lnTo>
                  <a:pt x="12" y="188"/>
                </a:lnTo>
                <a:lnTo>
                  <a:pt x="13" y="188"/>
                </a:lnTo>
                <a:lnTo>
                  <a:pt x="16" y="188"/>
                </a:lnTo>
                <a:lnTo>
                  <a:pt x="18" y="190"/>
                </a:lnTo>
                <a:lnTo>
                  <a:pt x="21" y="188"/>
                </a:lnTo>
                <a:lnTo>
                  <a:pt x="24" y="188"/>
                </a:lnTo>
                <a:lnTo>
                  <a:pt x="26" y="188"/>
                </a:lnTo>
                <a:lnTo>
                  <a:pt x="28" y="188"/>
                </a:lnTo>
                <a:lnTo>
                  <a:pt x="28" y="187"/>
                </a:lnTo>
                <a:lnTo>
                  <a:pt x="29" y="187"/>
                </a:lnTo>
                <a:lnTo>
                  <a:pt x="30" y="187"/>
                </a:lnTo>
                <a:lnTo>
                  <a:pt x="32" y="187"/>
                </a:lnTo>
                <a:lnTo>
                  <a:pt x="37" y="187"/>
                </a:lnTo>
                <a:lnTo>
                  <a:pt x="38" y="187"/>
                </a:lnTo>
                <a:lnTo>
                  <a:pt x="40" y="188"/>
                </a:lnTo>
                <a:lnTo>
                  <a:pt x="41" y="188"/>
                </a:lnTo>
                <a:lnTo>
                  <a:pt x="44" y="191"/>
                </a:lnTo>
                <a:lnTo>
                  <a:pt x="44" y="193"/>
                </a:lnTo>
                <a:lnTo>
                  <a:pt x="46" y="196"/>
                </a:lnTo>
                <a:lnTo>
                  <a:pt x="48" y="196"/>
                </a:lnTo>
                <a:lnTo>
                  <a:pt x="49" y="195"/>
                </a:lnTo>
                <a:lnTo>
                  <a:pt x="49" y="196"/>
                </a:lnTo>
                <a:lnTo>
                  <a:pt x="50" y="196"/>
                </a:lnTo>
                <a:lnTo>
                  <a:pt x="52" y="195"/>
                </a:lnTo>
                <a:lnTo>
                  <a:pt x="52" y="196"/>
                </a:lnTo>
                <a:lnTo>
                  <a:pt x="54" y="199"/>
                </a:lnTo>
                <a:lnTo>
                  <a:pt x="56" y="202"/>
                </a:lnTo>
                <a:lnTo>
                  <a:pt x="56" y="204"/>
                </a:lnTo>
                <a:lnTo>
                  <a:pt x="57" y="204"/>
                </a:lnTo>
                <a:lnTo>
                  <a:pt x="58" y="206"/>
                </a:lnTo>
                <a:lnTo>
                  <a:pt x="58" y="207"/>
                </a:lnTo>
                <a:lnTo>
                  <a:pt x="60" y="207"/>
                </a:lnTo>
                <a:lnTo>
                  <a:pt x="61" y="209"/>
                </a:lnTo>
                <a:lnTo>
                  <a:pt x="61" y="210"/>
                </a:lnTo>
                <a:lnTo>
                  <a:pt x="62" y="210"/>
                </a:lnTo>
                <a:lnTo>
                  <a:pt x="61" y="212"/>
                </a:lnTo>
                <a:lnTo>
                  <a:pt x="62" y="212"/>
                </a:lnTo>
                <a:lnTo>
                  <a:pt x="64" y="213"/>
                </a:lnTo>
                <a:lnTo>
                  <a:pt x="65" y="213"/>
                </a:lnTo>
                <a:lnTo>
                  <a:pt x="66" y="215"/>
                </a:lnTo>
                <a:lnTo>
                  <a:pt x="68" y="215"/>
                </a:lnTo>
                <a:lnTo>
                  <a:pt x="68" y="218"/>
                </a:lnTo>
                <a:lnTo>
                  <a:pt x="70" y="218"/>
                </a:lnTo>
                <a:lnTo>
                  <a:pt x="72" y="220"/>
                </a:lnTo>
                <a:lnTo>
                  <a:pt x="78" y="213"/>
                </a:lnTo>
                <a:lnTo>
                  <a:pt x="80" y="207"/>
                </a:lnTo>
                <a:lnTo>
                  <a:pt x="81" y="204"/>
                </a:lnTo>
                <a:lnTo>
                  <a:pt x="82" y="201"/>
                </a:lnTo>
                <a:lnTo>
                  <a:pt x="83" y="201"/>
                </a:lnTo>
                <a:lnTo>
                  <a:pt x="85" y="201"/>
                </a:lnTo>
                <a:lnTo>
                  <a:pt x="86" y="201"/>
                </a:lnTo>
                <a:lnTo>
                  <a:pt x="87" y="202"/>
                </a:lnTo>
                <a:lnTo>
                  <a:pt x="87" y="207"/>
                </a:lnTo>
                <a:lnTo>
                  <a:pt x="90" y="212"/>
                </a:lnTo>
                <a:lnTo>
                  <a:pt x="95" y="213"/>
                </a:lnTo>
                <a:lnTo>
                  <a:pt x="102" y="207"/>
                </a:lnTo>
                <a:lnTo>
                  <a:pt x="126" y="207"/>
                </a:lnTo>
                <a:lnTo>
                  <a:pt x="146" y="207"/>
                </a:lnTo>
                <a:lnTo>
                  <a:pt x="166" y="209"/>
                </a:lnTo>
                <a:lnTo>
                  <a:pt x="171" y="209"/>
                </a:lnTo>
                <a:lnTo>
                  <a:pt x="175" y="193"/>
                </a:lnTo>
                <a:lnTo>
                  <a:pt x="169" y="191"/>
                </a:lnTo>
                <a:lnTo>
                  <a:pt x="167" y="173"/>
                </a:lnTo>
                <a:lnTo>
                  <a:pt x="166" y="157"/>
                </a:lnTo>
                <a:lnTo>
                  <a:pt x="163" y="140"/>
                </a:lnTo>
                <a:lnTo>
                  <a:pt x="162" y="122"/>
                </a:lnTo>
                <a:lnTo>
                  <a:pt x="161" y="107"/>
                </a:lnTo>
                <a:lnTo>
                  <a:pt x="159" y="89"/>
                </a:lnTo>
                <a:lnTo>
                  <a:pt x="158" y="72"/>
                </a:lnTo>
                <a:lnTo>
                  <a:pt x="157" y="55"/>
                </a:lnTo>
                <a:lnTo>
                  <a:pt x="154" y="38"/>
                </a:lnTo>
                <a:lnTo>
                  <a:pt x="181" y="38"/>
                </a:lnTo>
                <a:lnTo>
                  <a:pt x="161" y="23"/>
                </a:lnTo>
                <a:lnTo>
                  <a:pt x="143" y="12"/>
                </a:lnTo>
                <a:lnTo>
                  <a:pt x="126" y="0"/>
                </a:lnTo>
                <a:lnTo>
                  <a:pt x="126" y="20"/>
                </a:lnTo>
                <a:lnTo>
                  <a:pt x="111" y="20"/>
                </a:lnTo>
                <a:lnTo>
                  <a:pt x="97" y="20"/>
                </a:lnTo>
                <a:lnTo>
                  <a:pt x="82" y="20"/>
                </a:lnTo>
                <a:lnTo>
                  <a:pt x="77" y="20"/>
                </a:lnTo>
                <a:lnTo>
                  <a:pt x="77" y="38"/>
                </a:lnTo>
                <a:lnTo>
                  <a:pt x="77" y="55"/>
                </a:lnTo>
                <a:lnTo>
                  <a:pt x="77" y="66"/>
                </a:lnTo>
                <a:lnTo>
                  <a:pt x="72" y="67"/>
                </a:lnTo>
                <a:lnTo>
                  <a:pt x="66" y="67"/>
                </a:lnTo>
                <a:lnTo>
                  <a:pt x="62" y="69"/>
                </a:lnTo>
                <a:lnTo>
                  <a:pt x="61" y="71"/>
                </a:lnTo>
                <a:lnTo>
                  <a:pt x="60" y="72"/>
                </a:lnTo>
                <a:lnTo>
                  <a:pt x="58" y="75"/>
                </a:lnTo>
                <a:lnTo>
                  <a:pt x="58" y="77"/>
                </a:lnTo>
                <a:lnTo>
                  <a:pt x="58" y="85"/>
                </a:lnTo>
                <a:lnTo>
                  <a:pt x="60" y="91"/>
                </a:lnTo>
                <a:lnTo>
                  <a:pt x="60" y="97"/>
                </a:lnTo>
                <a:lnTo>
                  <a:pt x="61" y="102"/>
                </a:lnTo>
                <a:lnTo>
                  <a:pt x="54" y="102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FFC000"/>
              </a:solidFill>
            </a:endParaRPr>
          </a:p>
        </p:txBody>
      </p:sp>
      <p:sp>
        <p:nvSpPr>
          <p:cNvPr id="617" name="Freeform 516"/>
          <p:cNvSpPr>
            <a:spLocks/>
          </p:cNvSpPr>
          <p:nvPr/>
        </p:nvSpPr>
        <p:spPr bwMode="auto">
          <a:xfrm>
            <a:off x="6305842" y="4636335"/>
            <a:ext cx="335195" cy="343617"/>
          </a:xfrm>
          <a:custGeom>
            <a:avLst/>
            <a:gdLst/>
            <a:ahLst/>
            <a:cxnLst>
              <a:cxn ang="0">
                <a:pos x="0" y="102"/>
              </a:cxn>
              <a:cxn ang="0">
                <a:pos x="31" y="83"/>
              </a:cxn>
              <a:cxn ang="0">
                <a:pos x="29" y="73"/>
              </a:cxn>
              <a:cxn ang="0">
                <a:pos x="31" y="56"/>
              </a:cxn>
              <a:cxn ang="0">
                <a:pos x="31" y="48"/>
              </a:cxn>
              <a:cxn ang="0">
                <a:pos x="35" y="45"/>
              </a:cxn>
              <a:cxn ang="0">
                <a:pos x="37" y="55"/>
              </a:cxn>
              <a:cxn ang="0">
                <a:pos x="48" y="51"/>
              </a:cxn>
              <a:cxn ang="0">
                <a:pos x="55" y="59"/>
              </a:cxn>
              <a:cxn ang="0">
                <a:pos x="69" y="64"/>
              </a:cxn>
              <a:cxn ang="0">
                <a:pos x="81" y="69"/>
              </a:cxn>
              <a:cxn ang="0">
                <a:pos x="93" y="73"/>
              </a:cxn>
              <a:cxn ang="0">
                <a:pos x="104" y="86"/>
              </a:cxn>
              <a:cxn ang="0">
                <a:pos x="112" y="86"/>
              </a:cxn>
              <a:cxn ang="0">
                <a:pos x="117" y="89"/>
              </a:cxn>
              <a:cxn ang="0">
                <a:pos x="116" y="70"/>
              </a:cxn>
              <a:cxn ang="0">
                <a:pos x="105" y="70"/>
              </a:cxn>
              <a:cxn ang="0">
                <a:pos x="98" y="62"/>
              </a:cxn>
              <a:cxn ang="0">
                <a:pos x="104" y="40"/>
              </a:cxn>
              <a:cxn ang="0">
                <a:pos x="101" y="20"/>
              </a:cxn>
              <a:cxn ang="0">
                <a:pos x="104" y="11"/>
              </a:cxn>
              <a:cxn ang="0">
                <a:pos x="112" y="3"/>
              </a:cxn>
              <a:cxn ang="0">
                <a:pos x="129" y="6"/>
              </a:cxn>
              <a:cxn ang="0">
                <a:pos x="137" y="6"/>
              </a:cxn>
              <a:cxn ang="0">
                <a:pos x="145" y="11"/>
              </a:cxn>
              <a:cxn ang="0">
                <a:pos x="161" y="18"/>
              </a:cxn>
              <a:cxn ang="0">
                <a:pos x="165" y="22"/>
              </a:cxn>
              <a:cxn ang="0">
                <a:pos x="170" y="28"/>
              </a:cxn>
              <a:cxn ang="0">
                <a:pos x="174" y="40"/>
              </a:cxn>
              <a:cxn ang="0">
                <a:pos x="173" y="47"/>
              </a:cxn>
              <a:cxn ang="0">
                <a:pos x="170" y="59"/>
              </a:cxn>
              <a:cxn ang="0">
                <a:pos x="170" y="72"/>
              </a:cxn>
              <a:cxn ang="0">
                <a:pos x="172" y="77"/>
              </a:cxn>
              <a:cxn ang="0">
                <a:pos x="166" y="80"/>
              </a:cxn>
              <a:cxn ang="0">
                <a:pos x="162" y="95"/>
              </a:cxn>
              <a:cxn ang="0">
                <a:pos x="165" y="102"/>
              </a:cxn>
              <a:cxn ang="0">
                <a:pos x="120" y="122"/>
              </a:cxn>
              <a:cxn ang="0">
                <a:pos x="122" y="132"/>
              </a:cxn>
              <a:cxn ang="0">
                <a:pos x="114" y="132"/>
              </a:cxn>
              <a:cxn ang="0">
                <a:pos x="104" y="136"/>
              </a:cxn>
              <a:cxn ang="0">
                <a:pos x="100" y="143"/>
              </a:cxn>
              <a:cxn ang="0">
                <a:pos x="97" y="147"/>
              </a:cxn>
              <a:cxn ang="0">
                <a:pos x="89" y="152"/>
              </a:cxn>
              <a:cxn ang="0">
                <a:pos x="84" y="155"/>
              </a:cxn>
              <a:cxn ang="0">
                <a:pos x="77" y="163"/>
              </a:cxn>
              <a:cxn ang="0">
                <a:pos x="74" y="171"/>
              </a:cxn>
              <a:cxn ang="0">
                <a:pos x="68" y="174"/>
              </a:cxn>
              <a:cxn ang="0">
                <a:pos x="62" y="172"/>
              </a:cxn>
              <a:cxn ang="0">
                <a:pos x="48" y="171"/>
              </a:cxn>
              <a:cxn ang="0">
                <a:pos x="41" y="164"/>
              </a:cxn>
              <a:cxn ang="0">
                <a:pos x="17" y="166"/>
              </a:cxn>
              <a:cxn ang="0">
                <a:pos x="11" y="160"/>
              </a:cxn>
              <a:cxn ang="0">
                <a:pos x="1" y="150"/>
              </a:cxn>
            </a:cxnLst>
            <a:rect l="0" t="0" r="r" b="b"/>
            <a:pathLst>
              <a:path w="175" h="174">
                <a:moveTo>
                  <a:pt x="0" y="147"/>
                </a:moveTo>
                <a:lnTo>
                  <a:pt x="0" y="136"/>
                </a:lnTo>
                <a:lnTo>
                  <a:pt x="0" y="119"/>
                </a:lnTo>
                <a:lnTo>
                  <a:pt x="0" y="102"/>
                </a:lnTo>
                <a:lnTo>
                  <a:pt x="0" y="84"/>
                </a:lnTo>
                <a:lnTo>
                  <a:pt x="16" y="84"/>
                </a:lnTo>
                <a:lnTo>
                  <a:pt x="32" y="84"/>
                </a:lnTo>
                <a:lnTo>
                  <a:pt x="31" y="83"/>
                </a:lnTo>
                <a:lnTo>
                  <a:pt x="29" y="83"/>
                </a:lnTo>
                <a:lnTo>
                  <a:pt x="28" y="81"/>
                </a:lnTo>
                <a:lnTo>
                  <a:pt x="29" y="77"/>
                </a:lnTo>
                <a:lnTo>
                  <a:pt x="29" y="73"/>
                </a:lnTo>
                <a:lnTo>
                  <a:pt x="29" y="69"/>
                </a:lnTo>
                <a:lnTo>
                  <a:pt x="29" y="64"/>
                </a:lnTo>
                <a:lnTo>
                  <a:pt x="31" y="61"/>
                </a:lnTo>
                <a:lnTo>
                  <a:pt x="31" y="56"/>
                </a:lnTo>
                <a:lnTo>
                  <a:pt x="31" y="55"/>
                </a:lnTo>
                <a:lnTo>
                  <a:pt x="31" y="53"/>
                </a:lnTo>
                <a:lnTo>
                  <a:pt x="31" y="50"/>
                </a:lnTo>
                <a:lnTo>
                  <a:pt x="31" y="48"/>
                </a:lnTo>
                <a:lnTo>
                  <a:pt x="31" y="47"/>
                </a:lnTo>
                <a:lnTo>
                  <a:pt x="32" y="45"/>
                </a:lnTo>
                <a:lnTo>
                  <a:pt x="33" y="45"/>
                </a:lnTo>
                <a:lnTo>
                  <a:pt x="35" y="45"/>
                </a:lnTo>
                <a:lnTo>
                  <a:pt x="36" y="48"/>
                </a:lnTo>
                <a:lnTo>
                  <a:pt x="36" y="53"/>
                </a:lnTo>
                <a:lnTo>
                  <a:pt x="36" y="55"/>
                </a:lnTo>
                <a:lnTo>
                  <a:pt x="37" y="55"/>
                </a:lnTo>
                <a:lnTo>
                  <a:pt x="41" y="53"/>
                </a:lnTo>
                <a:lnTo>
                  <a:pt x="43" y="53"/>
                </a:lnTo>
                <a:lnTo>
                  <a:pt x="44" y="53"/>
                </a:lnTo>
                <a:lnTo>
                  <a:pt x="48" y="51"/>
                </a:lnTo>
                <a:lnTo>
                  <a:pt x="49" y="53"/>
                </a:lnTo>
                <a:lnTo>
                  <a:pt x="51" y="56"/>
                </a:lnTo>
                <a:lnTo>
                  <a:pt x="51" y="58"/>
                </a:lnTo>
                <a:lnTo>
                  <a:pt x="55" y="59"/>
                </a:lnTo>
                <a:lnTo>
                  <a:pt x="59" y="62"/>
                </a:lnTo>
                <a:lnTo>
                  <a:pt x="64" y="64"/>
                </a:lnTo>
                <a:lnTo>
                  <a:pt x="66" y="66"/>
                </a:lnTo>
                <a:lnTo>
                  <a:pt x="69" y="64"/>
                </a:lnTo>
                <a:lnTo>
                  <a:pt x="72" y="62"/>
                </a:lnTo>
                <a:lnTo>
                  <a:pt x="74" y="62"/>
                </a:lnTo>
                <a:lnTo>
                  <a:pt x="76" y="62"/>
                </a:lnTo>
                <a:lnTo>
                  <a:pt x="81" y="69"/>
                </a:lnTo>
                <a:lnTo>
                  <a:pt x="85" y="70"/>
                </a:lnTo>
                <a:lnTo>
                  <a:pt x="88" y="72"/>
                </a:lnTo>
                <a:lnTo>
                  <a:pt x="92" y="72"/>
                </a:lnTo>
                <a:lnTo>
                  <a:pt x="93" y="73"/>
                </a:lnTo>
                <a:lnTo>
                  <a:pt x="94" y="78"/>
                </a:lnTo>
                <a:lnTo>
                  <a:pt x="96" y="80"/>
                </a:lnTo>
                <a:lnTo>
                  <a:pt x="100" y="83"/>
                </a:lnTo>
                <a:lnTo>
                  <a:pt x="104" y="86"/>
                </a:lnTo>
                <a:lnTo>
                  <a:pt x="106" y="88"/>
                </a:lnTo>
                <a:lnTo>
                  <a:pt x="109" y="88"/>
                </a:lnTo>
                <a:lnTo>
                  <a:pt x="112" y="88"/>
                </a:lnTo>
                <a:lnTo>
                  <a:pt x="112" y="86"/>
                </a:lnTo>
                <a:lnTo>
                  <a:pt x="113" y="88"/>
                </a:lnTo>
                <a:lnTo>
                  <a:pt x="114" y="89"/>
                </a:lnTo>
                <a:lnTo>
                  <a:pt x="116" y="89"/>
                </a:lnTo>
                <a:lnTo>
                  <a:pt x="117" y="89"/>
                </a:lnTo>
                <a:lnTo>
                  <a:pt x="117" y="86"/>
                </a:lnTo>
                <a:lnTo>
                  <a:pt x="116" y="84"/>
                </a:lnTo>
                <a:lnTo>
                  <a:pt x="116" y="73"/>
                </a:lnTo>
                <a:lnTo>
                  <a:pt x="116" y="70"/>
                </a:lnTo>
                <a:lnTo>
                  <a:pt x="114" y="70"/>
                </a:lnTo>
                <a:lnTo>
                  <a:pt x="112" y="72"/>
                </a:lnTo>
                <a:lnTo>
                  <a:pt x="108" y="72"/>
                </a:lnTo>
                <a:lnTo>
                  <a:pt x="105" y="70"/>
                </a:lnTo>
                <a:lnTo>
                  <a:pt x="102" y="70"/>
                </a:lnTo>
                <a:lnTo>
                  <a:pt x="100" y="66"/>
                </a:lnTo>
                <a:lnTo>
                  <a:pt x="98" y="64"/>
                </a:lnTo>
                <a:lnTo>
                  <a:pt x="98" y="62"/>
                </a:lnTo>
                <a:lnTo>
                  <a:pt x="98" y="59"/>
                </a:lnTo>
                <a:lnTo>
                  <a:pt x="98" y="58"/>
                </a:lnTo>
                <a:lnTo>
                  <a:pt x="100" y="53"/>
                </a:lnTo>
                <a:lnTo>
                  <a:pt x="104" y="40"/>
                </a:lnTo>
                <a:lnTo>
                  <a:pt x="104" y="39"/>
                </a:lnTo>
                <a:lnTo>
                  <a:pt x="104" y="31"/>
                </a:lnTo>
                <a:lnTo>
                  <a:pt x="104" y="26"/>
                </a:lnTo>
                <a:lnTo>
                  <a:pt x="101" y="20"/>
                </a:lnTo>
                <a:lnTo>
                  <a:pt x="101" y="17"/>
                </a:lnTo>
                <a:lnTo>
                  <a:pt x="102" y="15"/>
                </a:lnTo>
                <a:lnTo>
                  <a:pt x="102" y="14"/>
                </a:lnTo>
                <a:lnTo>
                  <a:pt x="104" y="11"/>
                </a:lnTo>
                <a:lnTo>
                  <a:pt x="106" y="6"/>
                </a:lnTo>
                <a:lnTo>
                  <a:pt x="108" y="4"/>
                </a:lnTo>
                <a:lnTo>
                  <a:pt x="109" y="4"/>
                </a:lnTo>
                <a:lnTo>
                  <a:pt x="112" y="3"/>
                </a:lnTo>
                <a:lnTo>
                  <a:pt x="128" y="0"/>
                </a:lnTo>
                <a:lnTo>
                  <a:pt x="129" y="1"/>
                </a:lnTo>
                <a:lnTo>
                  <a:pt x="129" y="3"/>
                </a:lnTo>
                <a:lnTo>
                  <a:pt x="129" y="6"/>
                </a:lnTo>
                <a:lnTo>
                  <a:pt x="130" y="6"/>
                </a:lnTo>
                <a:lnTo>
                  <a:pt x="132" y="7"/>
                </a:lnTo>
                <a:lnTo>
                  <a:pt x="136" y="9"/>
                </a:lnTo>
                <a:lnTo>
                  <a:pt x="137" y="6"/>
                </a:lnTo>
                <a:lnTo>
                  <a:pt x="140" y="6"/>
                </a:lnTo>
                <a:lnTo>
                  <a:pt x="141" y="6"/>
                </a:lnTo>
                <a:lnTo>
                  <a:pt x="144" y="9"/>
                </a:lnTo>
                <a:lnTo>
                  <a:pt x="145" y="11"/>
                </a:lnTo>
                <a:lnTo>
                  <a:pt x="148" y="12"/>
                </a:lnTo>
                <a:lnTo>
                  <a:pt x="150" y="14"/>
                </a:lnTo>
                <a:lnTo>
                  <a:pt x="157" y="17"/>
                </a:lnTo>
                <a:lnTo>
                  <a:pt x="161" y="18"/>
                </a:lnTo>
                <a:lnTo>
                  <a:pt x="164" y="18"/>
                </a:lnTo>
                <a:lnTo>
                  <a:pt x="165" y="18"/>
                </a:lnTo>
                <a:lnTo>
                  <a:pt x="165" y="20"/>
                </a:lnTo>
                <a:lnTo>
                  <a:pt x="165" y="22"/>
                </a:lnTo>
                <a:lnTo>
                  <a:pt x="165" y="23"/>
                </a:lnTo>
                <a:lnTo>
                  <a:pt x="166" y="25"/>
                </a:lnTo>
                <a:lnTo>
                  <a:pt x="169" y="25"/>
                </a:lnTo>
                <a:lnTo>
                  <a:pt x="170" y="28"/>
                </a:lnTo>
                <a:lnTo>
                  <a:pt x="170" y="29"/>
                </a:lnTo>
                <a:lnTo>
                  <a:pt x="172" y="33"/>
                </a:lnTo>
                <a:lnTo>
                  <a:pt x="173" y="34"/>
                </a:lnTo>
                <a:lnTo>
                  <a:pt x="174" y="40"/>
                </a:lnTo>
                <a:lnTo>
                  <a:pt x="175" y="42"/>
                </a:lnTo>
                <a:lnTo>
                  <a:pt x="175" y="44"/>
                </a:lnTo>
                <a:lnTo>
                  <a:pt x="175" y="45"/>
                </a:lnTo>
                <a:lnTo>
                  <a:pt x="173" y="47"/>
                </a:lnTo>
                <a:lnTo>
                  <a:pt x="172" y="48"/>
                </a:lnTo>
                <a:lnTo>
                  <a:pt x="172" y="50"/>
                </a:lnTo>
                <a:lnTo>
                  <a:pt x="172" y="53"/>
                </a:lnTo>
                <a:lnTo>
                  <a:pt x="170" y="59"/>
                </a:lnTo>
                <a:lnTo>
                  <a:pt x="170" y="61"/>
                </a:lnTo>
                <a:lnTo>
                  <a:pt x="170" y="66"/>
                </a:lnTo>
                <a:lnTo>
                  <a:pt x="170" y="70"/>
                </a:lnTo>
                <a:lnTo>
                  <a:pt x="170" y="72"/>
                </a:lnTo>
                <a:lnTo>
                  <a:pt x="172" y="73"/>
                </a:lnTo>
                <a:lnTo>
                  <a:pt x="173" y="73"/>
                </a:lnTo>
                <a:lnTo>
                  <a:pt x="173" y="75"/>
                </a:lnTo>
                <a:lnTo>
                  <a:pt x="172" y="77"/>
                </a:lnTo>
                <a:lnTo>
                  <a:pt x="170" y="77"/>
                </a:lnTo>
                <a:lnTo>
                  <a:pt x="168" y="78"/>
                </a:lnTo>
                <a:lnTo>
                  <a:pt x="166" y="78"/>
                </a:lnTo>
                <a:lnTo>
                  <a:pt x="166" y="80"/>
                </a:lnTo>
                <a:lnTo>
                  <a:pt x="165" y="84"/>
                </a:lnTo>
                <a:lnTo>
                  <a:pt x="165" y="89"/>
                </a:lnTo>
                <a:lnTo>
                  <a:pt x="164" y="94"/>
                </a:lnTo>
                <a:lnTo>
                  <a:pt x="162" y="95"/>
                </a:lnTo>
                <a:lnTo>
                  <a:pt x="162" y="97"/>
                </a:lnTo>
                <a:lnTo>
                  <a:pt x="162" y="100"/>
                </a:lnTo>
                <a:lnTo>
                  <a:pt x="164" y="100"/>
                </a:lnTo>
                <a:lnTo>
                  <a:pt x="165" y="102"/>
                </a:lnTo>
                <a:lnTo>
                  <a:pt x="166" y="102"/>
                </a:lnTo>
                <a:lnTo>
                  <a:pt x="168" y="103"/>
                </a:lnTo>
                <a:lnTo>
                  <a:pt x="165" y="103"/>
                </a:lnTo>
                <a:lnTo>
                  <a:pt x="120" y="122"/>
                </a:lnTo>
                <a:lnTo>
                  <a:pt x="122" y="127"/>
                </a:lnTo>
                <a:lnTo>
                  <a:pt x="122" y="130"/>
                </a:lnTo>
                <a:lnTo>
                  <a:pt x="124" y="132"/>
                </a:lnTo>
                <a:lnTo>
                  <a:pt x="122" y="132"/>
                </a:lnTo>
                <a:lnTo>
                  <a:pt x="120" y="132"/>
                </a:lnTo>
                <a:lnTo>
                  <a:pt x="117" y="132"/>
                </a:lnTo>
                <a:lnTo>
                  <a:pt x="116" y="132"/>
                </a:lnTo>
                <a:lnTo>
                  <a:pt x="114" y="132"/>
                </a:lnTo>
                <a:lnTo>
                  <a:pt x="112" y="133"/>
                </a:lnTo>
                <a:lnTo>
                  <a:pt x="108" y="133"/>
                </a:lnTo>
                <a:lnTo>
                  <a:pt x="105" y="135"/>
                </a:lnTo>
                <a:lnTo>
                  <a:pt x="104" y="136"/>
                </a:lnTo>
                <a:lnTo>
                  <a:pt x="102" y="136"/>
                </a:lnTo>
                <a:lnTo>
                  <a:pt x="100" y="138"/>
                </a:lnTo>
                <a:lnTo>
                  <a:pt x="100" y="139"/>
                </a:lnTo>
                <a:lnTo>
                  <a:pt x="100" y="143"/>
                </a:lnTo>
                <a:lnTo>
                  <a:pt x="100" y="144"/>
                </a:lnTo>
                <a:lnTo>
                  <a:pt x="100" y="146"/>
                </a:lnTo>
                <a:lnTo>
                  <a:pt x="100" y="147"/>
                </a:lnTo>
                <a:lnTo>
                  <a:pt x="97" y="147"/>
                </a:lnTo>
                <a:lnTo>
                  <a:pt x="93" y="147"/>
                </a:lnTo>
                <a:lnTo>
                  <a:pt x="92" y="149"/>
                </a:lnTo>
                <a:lnTo>
                  <a:pt x="90" y="149"/>
                </a:lnTo>
                <a:lnTo>
                  <a:pt x="89" y="152"/>
                </a:lnTo>
                <a:lnTo>
                  <a:pt x="86" y="152"/>
                </a:lnTo>
                <a:lnTo>
                  <a:pt x="85" y="152"/>
                </a:lnTo>
                <a:lnTo>
                  <a:pt x="85" y="154"/>
                </a:lnTo>
                <a:lnTo>
                  <a:pt x="84" y="155"/>
                </a:lnTo>
                <a:lnTo>
                  <a:pt x="82" y="155"/>
                </a:lnTo>
                <a:lnTo>
                  <a:pt x="81" y="158"/>
                </a:lnTo>
                <a:lnTo>
                  <a:pt x="78" y="161"/>
                </a:lnTo>
                <a:lnTo>
                  <a:pt x="77" y="163"/>
                </a:lnTo>
                <a:lnTo>
                  <a:pt x="78" y="166"/>
                </a:lnTo>
                <a:lnTo>
                  <a:pt x="77" y="168"/>
                </a:lnTo>
                <a:lnTo>
                  <a:pt x="76" y="168"/>
                </a:lnTo>
                <a:lnTo>
                  <a:pt x="74" y="171"/>
                </a:lnTo>
                <a:lnTo>
                  <a:pt x="72" y="174"/>
                </a:lnTo>
                <a:lnTo>
                  <a:pt x="70" y="172"/>
                </a:lnTo>
                <a:lnTo>
                  <a:pt x="69" y="174"/>
                </a:lnTo>
                <a:lnTo>
                  <a:pt x="68" y="174"/>
                </a:lnTo>
                <a:lnTo>
                  <a:pt x="66" y="172"/>
                </a:lnTo>
                <a:lnTo>
                  <a:pt x="65" y="171"/>
                </a:lnTo>
                <a:lnTo>
                  <a:pt x="64" y="172"/>
                </a:lnTo>
                <a:lnTo>
                  <a:pt x="62" y="172"/>
                </a:lnTo>
                <a:lnTo>
                  <a:pt x="57" y="172"/>
                </a:lnTo>
                <a:lnTo>
                  <a:pt x="53" y="171"/>
                </a:lnTo>
                <a:lnTo>
                  <a:pt x="49" y="171"/>
                </a:lnTo>
                <a:lnTo>
                  <a:pt x="48" y="171"/>
                </a:lnTo>
                <a:lnTo>
                  <a:pt x="47" y="171"/>
                </a:lnTo>
                <a:lnTo>
                  <a:pt x="45" y="169"/>
                </a:lnTo>
                <a:lnTo>
                  <a:pt x="43" y="166"/>
                </a:lnTo>
                <a:lnTo>
                  <a:pt x="41" y="164"/>
                </a:lnTo>
                <a:lnTo>
                  <a:pt x="37" y="163"/>
                </a:lnTo>
                <a:lnTo>
                  <a:pt x="32" y="163"/>
                </a:lnTo>
                <a:lnTo>
                  <a:pt x="20" y="166"/>
                </a:lnTo>
                <a:lnTo>
                  <a:pt x="17" y="166"/>
                </a:lnTo>
                <a:lnTo>
                  <a:pt x="16" y="164"/>
                </a:lnTo>
                <a:lnTo>
                  <a:pt x="15" y="163"/>
                </a:lnTo>
                <a:lnTo>
                  <a:pt x="12" y="161"/>
                </a:lnTo>
                <a:lnTo>
                  <a:pt x="11" y="160"/>
                </a:lnTo>
                <a:lnTo>
                  <a:pt x="8" y="158"/>
                </a:lnTo>
                <a:lnTo>
                  <a:pt x="7" y="155"/>
                </a:lnTo>
                <a:lnTo>
                  <a:pt x="3" y="152"/>
                </a:lnTo>
                <a:lnTo>
                  <a:pt x="1" y="150"/>
                </a:lnTo>
                <a:lnTo>
                  <a:pt x="0" y="149"/>
                </a:lnTo>
                <a:lnTo>
                  <a:pt x="0" y="147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18" name="Freeform 517"/>
          <p:cNvSpPr>
            <a:spLocks/>
          </p:cNvSpPr>
          <p:nvPr/>
        </p:nvSpPr>
        <p:spPr bwMode="auto">
          <a:xfrm>
            <a:off x="6305841" y="4926261"/>
            <a:ext cx="91594" cy="47248"/>
          </a:xfrm>
          <a:custGeom>
            <a:avLst/>
            <a:gdLst/>
            <a:ahLst/>
            <a:cxnLst>
              <a:cxn ang="0">
                <a:pos x="47" y="24"/>
              </a:cxn>
              <a:cxn ang="0">
                <a:pos x="45" y="22"/>
              </a:cxn>
              <a:cxn ang="0">
                <a:pos x="43" y="19"/>
              </a:cxn>
              <a:cxn ang="0">
                <a:pos x="41" y="17"/>
              </a:cxn>
              <a:cxn ang="0">
                <a:pos x="37" y="16"/>
              </a:cxn>
              <a:cxn ang="0">
                <a:pos x="32" y="16"/>
              </a:cxn>
              <a:cxn ang="0">
                <a:pos x="20" y="19"/>
              </a:cxn>
              <a:cxn ang="0">
                <a:pos x="17" y="19"/>
              </a:cxn>
              <a:cxn ang="0">
                <a:pos x="16" y="17"/>
              </a:cxn>
              <a:cxn ang="0">
                <a:pos x="15" y="16"/>
              </a:cxn>
              <a:cxn ang="0">
                <a:pos x="12" y="14"/>
              </a:cxn>
              <a:cxn ang="0">
                <a:pos x="11" y="13"/>
              </a:cxn>
              <a:cxn ang="0">
                <a:pos x="8" y="11"/>
              </a:cxn>
              <a:cxn ang="0">
                <a:pos x="7" y="8"/>
              </a:cxn>
              <a:cxn ang="0">
                <a:pos x="3" y="5"/>
              </a:cxn>
              <a:cxn ang="0">
                <a:pos x="1" y="3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47" h="24">
                <a:moveTo>
                  <a:pt x="47" y="24"/>
                </a:moveTo>
                <a:lnTo>
                  <a:pt x="45" y="22"/>
                </a:lnTo>
                <a:lnTo>
                  <a:pt x="43" y="19"/>
                </a:lnTo>
                <a:lnTo>
                  <a:pt x="41" y="17"/>
                </a:lnTo>
                <a:lnTo>
                  <a:pt x="37" y="16"/>
                </a:lnTo>
                <a:lnTo>
                  <a:pt x="32" y="16"/>
                </a:lnTo>
                <a:lnTo>
                  <a:pt x="20" y="19"/>
                </a:lnTo>
                <a:lnTo>
                  <a:pt x="17" y="19"/>
                </a:lnTo>
                <a:lnTo>
                  <a:pt x="16" y="17"/>
                </a:lnTo>
                <a:lnTo>
                  <a:pt x="15" y="16"/>
                </a:lnTo>
                <a:lnTo>
                  <a:pt x="12" y="14"/>
                </a:lnTo>
                <a:lnTo>
                  <a:pt x="11" y="13"/>
                </a:lnTo>
                <a:lnTo>
                  <a:pt x="8" y="11"/>
                </a:lnTo>
                <a:lnTo>
                  <a:pt x="7" y="8"/>
                </a:lnTo>
                <a:lnTo>
                  <a:pt x="3" y="5"/>
                </a:lnTo>
                <a:lnTo>
                  <a:pt x="1" y="3"/>
                </a:lnTo>
                <a:lnTo>
                  <a:pt x="0" y="2"/>
                </a:lnTo>
                <a:lnTo>
                  <a:pt x="0" y="0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19" name="Freeform 518"/>
          <p:cNvSpPr>
            <a:spLocks/>
          </p:cNvSpPr>
          <p:nvPr/>
        </p:nvSpPr>
        <p:spPr bwMode="auto">
          <a:xfrm>
            <a:off x="3739253" y="3689240"/>
            <a:ext cx="44823" cy="21476"/>
          </a:xfrm>
          <a:custGeom>
            <a:avLst/>
            <a:gdLst/>
            <a:ahLst/>
            <a:cxnLst>
              <a:cxn ang="0">
                <a:pos x="21" y="1"/>
              </a:cxn>
              <a:cxn ang="0">
                <a:pos x="23" y="3"/>
              </a:cxn>
              <a:cxn ang="0">
                <a:pos x="23" y="6"/>
              </a:cxn>
              <a:cxn ang="0">
                <a:pos x="20" y="8"/>
              </a:cxn>
              <a:cxn ang="0">
                <a:pos x="19" y="9"/>
              </a:cxn>
              <a:cxn ang="0">
                <a:pos x="15" y="11"/>
              </a:cxn>
              <a:cxn ang="0">
                <a:pos x="11" y="11"/>
              </a:cxn>
              <a:cxn ang="0">
                <a:pos x="8" y="9"/>
              </a:cxn>
              <a:cxn ang="0">
                <a:pos x="3" y="11"/>
              </a:cxn>
              <a:cxn ang="0">
                <a:pos x="3" y="9"/>
              </a:cxn>
              <a:cxn ang="0">
                <a:pos x="1" y="6"/>
              </a:cxn>
              <a:cxn ang="0">
                <a:pos x="0" y="5"/>
              </a:cxn>
              <a:cxn ang="0">
                <a:pos x="0" y="1"/>
              </a:cxn>
              <a:cxn ang="0">
                <a:pos x="1" y="0"/>
              </a:cxn>
              <a:cxn ang="0">
                <a:pos x="19" y="0"/>
              </a:cxn>
              <a:cxn ang="0">
                <a:pos x="20" y="1"/>
              </a:cxn>
              <a:cxn ang="0">
                <a:pos x="21" y="1"/>
              </a:cxn>
            </a:cxnLst>
            <a:rect l="0" t="0" r="r" b="b"/>
            <a:pathLst>
              <a:path w="23" h="11">
                <a:moveTo>
                  <a:pt x="21" y="1"/>
                </a:moveTo>
                <a:lnTo>
                  <a:pt x="23" y="3"/>
                </a:lnTo>
                <a:lnTo>
                  <a:pt x="23" y="6"/>
                </a:lnTo>
                <a:lnTo>
                  <a:pt x="20" y="8"/>
                </a:lnTo>
                <a:lnTo>
                  <a:pt x="19" y="9"/>
                </a:lnTo>
                <a:lnTo>
                  <a:pt x="15" y="11"/>
                </a:lnTo>
                <a:lnTo>
                  <a:pt x="11" y="11"/>
                </a:lnTo>
                <a:lnTo>
                  <a:pt x="8" y="9"/>
                </a:lnTo>
                <a:lnTo>
                  <a:pt x="3" y="11"/>
                </a:lnTo>
                <a:lnTo>
                  <a:pt x="3" y="9"/>
                </a:lnTo>
                <a:lnTo>
                  <a:pt x="1" y="6"/>
                </a:lnTo>
                <a:lnTo>
                  <a:pt x="0" y="5"/>
                </a:lnTo>
                <a:lnTo>
                  <a:pt x="0" y="1"/>
                </a:lnTo>
                <a:lnTo>
                  <a:pt x="1" y="0"/>
                </a:lnTo>
                <a:lnTo>
                  <a:pt x="19" y="0"/>
                </a:lnTo>
                <a:lnTo>
                  <a:pt x="20" y="1"/>
                </a:lnTo>
                <a:lnTo>
                  <a:pt x="21" y="1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20" name="Freeform 519"/>
          <p:cNvSpPr>
            <a:spLocks/>
          </p:cNvSpPr>
          <p:nvPr/>
        </p:nvSpPr>
        <p:spPr bwMode="auto">
          <a:xfrm>
            <a:off x="3739253" y="3689240"/>
            <a:ext cx="44823" cy="21476"/>
          </a:xfrm>
          <a:custGeom>
            <a:avLst/>
            <a:gdLst/>
            <a:ahLst/>
            <a:cxnLst>
              <a:cxn ang="0">
                <a:pos x="21" y="1"/>
              </a:cxn>
              <a:cxn ang="0">
                <a:pos x="23" y="3"/>
              </a:cxn>
              <a:cxn ang="0">
                <a:pos x="23" y="6"/>
              </a:cxn>
              <a:cxn ang="0">
                <a:pos x="20" y="8"/>
              </a:cxn>
              <a:cxn ang="0">
                <a:pos x="19" y="9"/>
              </a:cxn>
              <a:cxn ang="0">
                <a:pos x="15" y="11"/>
              </a:cxn>
              <a:cxn ang="0">
                <a:pos x="11" y="11"/>
              </a:cxn>
              <a:cxn ang="0">
                <a:pos x="8" y="9"/>
              </a:cxn>
              <a:cxn ang="0">
                <a:pos x="3" y="11"/>
              </a:cxn>
              <a:cxn ang="0">
                <a:pos x="3" y="9"/>
              </a:cxn>
              <a:cxn ang="0">
                <a:pos x="1" y="6"/>
              </a:cxn>
              <a:cxn ang="0">
                <a:pos x="0" y="5"/>
              </a:cxn>
              <a:cxn ang="0">
                <a:pos x="0" y="1"/>
              </a:cxn>
              <a:cxn ang="0">
                <a:pos x="1" y="0"/>
              </a:cxn>
              <a:cxn ang="0">
                <a:pos x="19" y="0"/>
              </a:cxn>
              <a:cxn ang="0">
                <a:pos x="20" y="1"/>
              </a:cxn>
              <a:cxn ang="0">
                <a:pos x="21" y="1"/>
              </a:cxn>
            </a:cxnLst>
            <a:rect l="0" t="0" r="r" b="b"/>
            <a:pathLst>
              <a:path w="23" h="11">
                <a:moveTo>
                  <a:pt x="21" y="1"/>
                </a:moveTo>
                <a:lnTo>
                  <a:pt x="23" y="3"/>
                </a:lnTo>
                <a:lnTo>
                  <a:pt x="23" y="6"/>
                </a:lnTo>
                <a:lnTo>
                  <a:pt x="20" y="8"/>
                </a:lnTo>
                <a:lnTo>
                  <a:pt x="19" y="9"/>
                </a:lnTo>
                <a:lnTo>
                  <a:pt x="15" y="11"/>
                </a:lnTo>
                <a:lnTo>
                  <a:pt x="11" y="11"/>
                </a:lnTo>
                <a:lnTo>
                  <a:pt x="8" y="9"/>
                </a:lnTo>
                <a:lnTo>
                  <a:pt x="3" y="11"/>
                </a:lnTo>
                <a:lnTo>
                  <a:pt x="3" y="9"/>
                </a:lnTo>
                <a:lnTo>
                  <a:pt x="1" y="6"/>
                </a:lnTo>
                <a:lnTo>
                  <a:pt x="0" y="5"/>
                </a:lnTo>
                <a:lnTo>
                  <a:pt x="0" y="1"/>
                </a:lnTo>
                <a:lnTo>
                  <a:pt x="1" y="0"/>
                </a:lnTo>
                <a:lnTo>
                  <a:pt x="19" y="0"/>
                </a:lnTo>
                <a:lnTo>
                  <a:pt x="20" y="1"/>
                </a:lnTo>
                <a:lnTo>
                  <a:pt x="21" y="1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21" name="Freeform 520"/>
          <p:cNvSpPr>
            <a:spLocks/>
          </p:cNvSpPr>
          <p:nvPr/>
        </p:nvSpPr>
        <p:spPr bwMode="auto">
          <a:xfrm>
            <a:off x="3916595" y="3871787"/>
            <a:ext cx="3898" cy="10737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0" y="2"/>
              </a:cxn>
              <a:cxn ang="0">
                <a:pos x="0" y="5"/>
              </a:cxn>
              <a:cxn ang="0">
                <a:pos x="1" y="4"/>
              </a:cxn>
              <a:cxn ang="0">
                <a:pos x="1" y="0"/>
              </a:cxn>
            </a:cxnLst>
            <a:rect l="0" t="0" r="r" b="b"/>
            <a:pathLst>
              <a:path w="1" h="5">
                <a:moveTo>
                  <a:pt x="1" y="0"/>
                </a:moveTo>
                <a:lnTo>
                  <a:pt x="0" y="2"/>
                </a:lnTo>
                <a:lnTo>
                  <a:pt x="0" y="5"/>
                </a:lnTo>
                <a:lnTo>
                  <a:pt x="1" y="4"/>
                </a:lnTo>
                <a:lnTo>
                  <a:pt x="1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22" name="Freeform 521"/>
          <p:cNvSpPr>
            <a:spLocks/>
          </p:cNvSpPr>
          <p:nvPr/>
        </p:nvSpPr>
        <p:spPr bwMode="auto">
          <a:xfrm>
            <a:off x="3916595" y="3871787"/>
            <a:ext cx="3898" cy="10737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0" y="2"/>
              </a:cxn>
              <a:cxn ang="0">
                <a:pos x="0" y="5"/>
              </a:cxn>
              <a:cxn ang="0">
                <a:pos x="1" y="4"/>
              </a:cxn>
              <a:cxn ang="0">
                <a:pos x="1" y="0"/>
              </a:cxn>
            </a:cxnLst>
            <a:rect l="0" t="0" r="r" b="b"/>
            <a:pathLst>
              <a:path w="1" h="5">
                <a:moveTo>
                  <a:pt x="1" y="0"/>
                </a:moveTo>
                <a:lnTo>
                  <a:pt x="0" y="2"/>
                </a:lnTo>
                <a:lnTo>
                  <a:pt x="0" y="5"/>
                </a:lnTo>
                <a:lnTo>
                  <a:pt x="1" y="4"/>
                </a:lnTo>
                <a:lnTo>
                  <a:pt x="1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23" name="Freeform 522"/>
          <p:cNvSpPr>
            <a:spLocks/>
          </p:cNvSpPr>
          <p:nvPr/>
        </p:nvSpPr>
        <p:spPr bwMode="auto">
          <a:xfrm>
            <a:off x="3895156" y="3762258"/>
            <a:ext cx="15591" cy="17181"/>
          </a:xfrm>
          <a:custGeom>
            <a:avLst/>
            <a:gdLst/>
            <a:ahLst/>
            <a:cxnLst>
              <a:cxn ang="0">
                <a:pos x="6" y="0"/>
              </a:cxn>
              <a:cxn ang="0">
                <a:pos x="4" y="0"/>
              </a:cxn>
              <a:cxn ang="0">
                <a:pos x="4" y="3"/>
              </a:cxn>
              <a:cxn ang="0">
                <a:pos x="0" y="3"/>
              </a:cxn>
              <a:cxn ang="0">
                <a:pos x="0" y="6"/>
              </a:cxn>
              <a:cxn ang="0">
                <a:pos x="0" y="9"/>
              </a:cxn>
              <a:cxn ang="0">
                <a:pos x="3" y="9"/>
              </a:cxn>
              <a:cxn ang="0">
                <a:pos x="3" y="6"/>
              </a:cxn>
              <a:cxn ang="0">
                <a:pos x="4" y="5"/>
              </a:cxn>
              <a:cxn ang="0">
                <a:pos x="7" y="5"/>
              </a:cxn>
              <a:cxn ang="0">
                <a:pos x="8" y="5"/>
              </a:cxn>
              <a:cxn ang="0">
                <a:pos x="8" y="3"/>
              </a:cxn>
              <a:cxn ang="0">
                <a:pos x="7" y="1"/>
              </a:cxn>
              <a:cxn ang="0">
                <a:pos x="6" y="0"/>
              </a:cxn>
            </a:cxnLst>
            <a:rect l="0" t="0" r="r" b="b"/>
            <a:pathLst>
              <a:path w="8" h="9">
                <a:moveTo>
                  <a:pt x="6" y="0"/>
                </a:moveTo>
                <a:lnTo>
                  <a:pt x="4" y="0"/>
                </a:lnTo>
                <a:lnTo>
                  <a:pt x="4" y="3"/>
                </a:lnTo>
                <a:lnTo>
                  <a:pt x="0" y="3"/>
                </a:lnTo>
                <a:lnTo>
                  <a:pt x="0" y="6"/>
                </a:lnTo>
                <a:lnTo>
                  <a:pt x="0" y="9"/>
                </a:lnTo>
                <a:lnTo>
                  <a:pt x="3" y="9"/>
                </a:lnTo>
                <a:lnTo>
                  <a:pt x="3" y="6"/>
                </a:lnTo>
                <a:lnTo>
                  <a:pt x="4" y="5"/>
                </a:lnTo>
                <a:lnTo>
                  <a:pt x="7" y="5"/>
                </a:lnTo>
                <a:lnTo>
                  <a:pt x="8" y="5"/>
                </a:lnTo>
                <a:lnTo>
                  <a:pt x="8" y="3"/>
                </a:lnTo>
                <a:lnTo>
                  <a:pt x="7" y="1"/>
                </a:lnTo>
                <a:lnTo>
                  <a:pt x="6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24" name="Freeform 523"/>
          <p:cNvSpPr>
            <a:spLocks/>
          </p:cNvSpPr>
          <p:nvPr/>
        </p:nvSpPr>
        <p:spPr bwMode="auto">
          <a:xfrm>
            <a:off x="3895156" y="3762258"/>
            <a:ext cx="15591" cy="17181"/>
          </a:xfrm>
          <a:custGeom>
            <a:avLst/>
            <a:gdLst/>
            <a:ahLst/>
            <a:cxnLst>
              <a:cxn ang="0">
                <a:pos x="6" y="0"/>
              </a:cxn>
              <a:cxn ang="0">
                <a:pos x="4" y="0"/>
              </a:cxn>
              <a:cxn ang="0">
                <a:pos x="4" y="3"/>
              </a:cxn>
              <a:cxn ang="0">
                <a:pos x="0" y="3"/>
              </a:cxn>
              <a:cxn ang="0">
                <a:pos x="0" y="6"/>
              </a:cxn>
              <a:cxn ang="0">
                <a:pos x="0" y="9"/>
              </a:cxn>
              <a:cxn ang="0">
                <a:pos x="3" y="9"/>
              </a:cxn>
              <a:cxn ang="0">
                <a:pos x="3" y="6"/>
              </a:cxn>
              <a:cxn ang="0">
                <a:pos x="4" y="5"/>
              </a:cxn>
              <a:cxn ang="0">
                <a:pos x="7" y="5"/>
              </a:cxn>
              <a:cxn ang="0">
                <a:pos x="8" y="5"/>
              </a:cxn>
              <a:cxn ang="0">
                <a:pos x="8" y="3"/>
              </a:cxn>
              <a:cxn ang="0">
                <a:pos x="7" y="1"/>
              </a:cxn>
              <a:cxn ang="0">
                <a:pos x="6" y="0"/>
              </a:cxn>
            </a:cxnLst>
            <a:rect l="0" t="0" r="r" b="b"/>
            <a:pathLst>
              <a:path w="8" h="9">
                <a:moveTo>
                  <a:pt x="6" y="0"/>
                </a:moveTo>
                <a:lnTo>
                  <a:pt x="4" y="0"/>
                </a:lnTo>
                <a:lnTo>
                  <a:pt x="4" y="3"/>
                </a:lnTo>
                <a:lnTo>
                  <a:pt x="0" y="3"/>
                </a:lnTo>
                <a:lnTo>
                  <a:pt x="0" y="6"/>
                </a:lnTo>
                <a:lnTo>
                  <a:pt x="0" y="9"/>
                </a:lnTo>
                <a:lnTo>
                  <a:pt x="3" y="9"/>
                </a:lnTo>
                <a:lnTo>
                  <a:pt x="3" y="6"/>
                </a:lnTo>
                <a:lnTo>
                  <a:pt x="4" y="5"/>
                </a:lnTo>
                <a:lnTo>
                  <a:pt x="7" y="5"/>
                </a:lnTo>
                <a:lnTo>
                  <a:pt x="8" y="5"/>
                </a:lnTo>
                <a:lnTo>
                  <a:pt x="8" y="3"/>
                </a:lnTo>
                <a:lnTo>
                  <a:pt x="7" y="1"/>
                </a:lnTo>
                <a:lnTo>
                  <a:pt x="6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25" name="Freeform 524"/>
          <p:cNvSpPr>
            <a:spLocks/>
          </p:cNvSpPr>
          <p:nvPr/>
        </p:nvSpPr>
        <p:spPr bwMode="auto">
          <a:xfrm>
            <a:off x="9692881" y="2739997"/>
            <a:ext cx="177342" cy="143890"/>
          </a:xfrm>
          <a:custGeom>
            <a:avLst/>
            <a:gdLst/>
            <a:ahLst/>
            <a:cxnLst>
              <a:cxn ang="0">
                <a:pos x="83" y="22"/>
              </a:cxn>
              <a:cxn ang="0">
                <a:pos x="83" y="27"/>
              </a:cxn>
              <a:cxn ang="0">
                <a:pos x="82" y="33"/>
              </a:cxn>
              <a:cxn ang="0">
                <a:pos x="84" y="38"/>
              </a:cxn>
              <a:cxn ang="0">
                <a:pos x="92" y="38"/>
              </a:cxn>
              <a:cxn ang="0">
                <a:pos x="86" y="41"/>
              </a:cxn>
              <a:cxn ang="0">
                <a:pos x="79" y="44"/>
              </a:cxn>
              <a:cxn ang="0">
                <a:pos x="75" y="45"/>
              </a:cxn>
              <a:cxn ang="0">
                <a:pos x="67" y="45"/>
              </a:cxn>
              <a:cxn ang="0">
                <a:pos x="58" y="52"/>
              </a:cxn>
              <a:cxn ang="0">
                <a:pos x="55" y="61"/>
              </a:cxn>
              <a:cxn ang="0">
                <a:pos x="46" y="58"/>
              </a:cxn>
              <a:cxn ang="0">
                <a:pos x="32" y="52"/>
              </a:cxn>
              <a:cxn ang="0">
                <a:pos x="24" y="53"/>
              </a:cxn>
              <a:cxn ang="0">
                <a:pos x="19" y="55"/>
              </a:cxn>
              <a:cxn ang="0">
                <a:pos x="11" y="53"/>
              </a:cxn>
              <a:cxn ang="0">
                <a:pos x="10" y="60"/>
              </a:cxn>
              <a:cxn ang="0">
                <a:pos x="22" y="66"/>
              </a:cxn>
              <a:cxn ang="0">
                <a:pos x="16" y="67"/>
              </a:cxn>
              <a:cxn ang="0">
                <a:pos x="12" y="69"/>
              </a:cxn>
              <a:cxn ang="0">
                <a:pos x="7" y="72"/>
              </a:cxn>
              <a:cxn ang="0">
                <a:pos x="4" y="69"/>
              </a:cxn>
              <a:cxn ang="0">
                <a:pos x="0" y="58"/>
              </a:cxn>
              <a:cxn ang="0">
                <a:pos x="4" y="50"/>
              </a:cxn>
              <a:cxn ang="0">
                <a:pos x="10" y="45"/>
              </a:cxn>
              <a:cxn ang="0">
                <a:pos x="10" y="41"/>
              </a:cxn>
              <a:cxn ang="0">
                <a:pos x="14" y="39"/>
              </a:cxn>
              <a:cxn ang="0">
                <a:pos x="23" y="41"/>
              </a:cxn>
              <a:cxn ang="0">
                <a:pos x="24" y="34"/>
              </a:cxn>
              <a:cxn ang="0">
                <a:pos x="27" y="30"/>
              </a:cxn>
              <a:cxn ang="0">
                <a:pos x="28" y="20"/>
              </a:cxn>
              <a:cxn ang="0">
                <a:pos x="28" y="6"/>
              </a:cxn>
              <a:cxn ang="0">
                <a:pos x="31" y="1"/>
              </a:cxn>
              <a:cxn ang="0">
                <a:pos x="35" y="1"/>
              </a:cxn>
              <a:cxn ang="0">
                <a:pos x="38" y="5"/>
              </a:cxn>
              <a:cxn ang="0">
                <a:pos x="50" y="17"/>
              </a:cxn>
              <a:cxn ang="0">
                <a:pos x="62" y="23"/>
              </a:cxn>
              <a:cxn ang="0">
                <a:pos x="70" y="27"/>
              </a:cxn>
              <a:cxn ang="0">
                <a:pos x="76" y="27"/>
              </a:cxn>
            </a:cxnLst>
            <a:rect l="0" t="0" r="r" b="b"/>
            <a:pathLst>
              <a:path w="92" h="72">
                <a:moveTo>
                  <a:pt x="79" y="25"/>
                </a:moveTo>
                <a:lnTo>
                  <a:pt x="83" y="22"/>
                </a:lnTo>
                <a:lnTo>
                  <a:pt x="84" y="22"/>
                </a:lnTo>
                <a:lnTo>
                  <a:pt x="83" y="27"/>
                </a:lnTo>
                <a:lnTo>
                  <a:pt x="80" y="30"/>
                </a:lnTo>
                <a:lnTo>
                  <a:pt x="82" y="33"/>
                </a:lnTo>
                <a:lnTo>
                  <a:pt x="84" y="34"/>
                </a:lnTo>
                <a:lnTo>
                  <a:pt x="84" y="38"/>
                </a:lnTo>
                <a:lnTo>
                  <a:pt x="88" y="38"/>
                </a:lnTo>
                <a:lnTo>
                  <a:pt x="92" y="38"/>
                </a:lnTo>
                <a:lnTo>
                  <a:pt x="90" y="39"/>
                </a:lnTo>
                <a:lnTo>
                  <a:pt x="86" y="41"/>
                </a:lnTo>
                <a:lnTo>
                  <a:pt x="82" y="44"/>
                </a:lnTo>
                <a:lnTo>
                  <a:pt x="79" y="44"/>
                </a:lnTo>
                <a:lnTo>
                  <a:pt x="78" y="44"/>
                </a:lnTo>
                <a:lnTo>
                  <a:pt x="75" y="45"/>
                </a:lnTo>
                <a:lnTo>
                  <a:pt x="71" y="45"/>
                </a:lnTo>
                <a:lnTo>
                  <a:pt x="67" y="45"/>
                </a:lnTo>
                <a:lnTo>
                  <a:pt x="62" y="47"/>
                </a:lnTo>
                <a:lnTo>
                  <a:pt x="58" y="52"/>
                </a:lnTo>
                <a:lnTo>
                  <a:pt x="55" y="56"/>
                </a:lnTo>
                <a:lnTo>
                  <a:pt x="55" y="61"/>
                </a:lnTo>
                <a:lnTo>
                  <a:pt x="52" y="63"/>
                </a:lnTo>
                <a:lnTo>
                  <a:pt x="46" y="58"/>
                </a:lnTo>
                <a:lnTo>
                  <a:pt x="40" y="56"/>
                </a:lnTo>
                <a:lnTo>
                  <a:pt x="32" y="52"/>
                </a:lnTo>
                <a:lnTo>
                  <a:pt x="27" y="52"/>
                </a:lnTo>
                <a:lnTo>
                  <a:pt x="24" y="53"/>
                </a:lnTo>
                <a:lnTo>
                  <a:pt x="22" y="55"/>
                </a:lnTo>
                <a:lnTo>
                  <a:pt x="19" y="55"/>
                </a:lnTo>
                <a:lnTo>
                  <a:pt x="15" y="53"/>
                </a:lnTo>
                <a:lnTo>
                  <a:pt x="11" y="53"/>
                </a:lnTo>
                <a:lnTo>
                  <a:pt x="8" y="56"/>
                </a:lnTo>
                <a:lnTo>
                  <a:pt x="10" y="60"/>
                </a:lnTo>
                <a:lnTo>
                  <a:pt x="16" y="61"/>
                </a:lnTo>
                <a:lnTo>
                  <a:pt x="22" y="66"/>
                </a:lnTo>
                <a:lnTo>
                  <a:pt x="20" y="67"/>
                </a:lnTo>
                <a:lnTo>
                  <a:pt x="16" y="67"/>
                </a:lnTo>
                <a:lnTo>
                  <a:pt x="14" y="67"/>
                </a:lnTo>
                <a:lnTo>
                  <a:pt x="12" y="69"/>
                </a:lnTo>
                <a:lnTo>
                  <a:pt x="11" y="71"/>
                </a:lnTo>
                <a:lnTo>
                  <a:pt x="7" y="72"/>
                </a:lnTo>
                <a:lnTo>
                  <a:pt x="4" y="72"/>
                </a:lnTo>
                <a:lnTo>
                  <a:pt x="4" y="69"/>
                </a:lnTo>
                <a:lnTo>
                  <a:pt x="6" y="63"/>
                </a:lnTo>
                <a:lnTo>
                  <a:pt x="0" y="58"/>
                </a:lnTo>
                <a:lnTo>
                  <a:pt x="2" y="52"/>
                </a:lnTo>
                <a:lnTo>
                  <a:pt x="4" y="50"/>
                </a:lnTo>
                <a:lnTo>
                  <a:pt x="7" y="49"/>
                </a:lnTo>
                <a:lnTo>
                  <a:pt x="10" y="45"/>
                </a:lnTo>
                <a:lnTo>
                  <a:pt x="11" y="42"/>
                </a:lnTo>
                <a:lnTo>
                  <a:pt x="10" y="41"/>
                </a:lnTo>
                <a:lnTo>
                  <a:pt x="10" y="39"/>
                </a:lnTo>
                <a:lnTo>
                  <a:pt x="14" y="39"/>
                </a:lnTo>
                <a:lnTo>
                  <a:pt x="18" y="41"/>
                </a:lnTo>
                <a:lnTo>
                  <a:pt x="23" y="41"/>
                </a:lnTo>
                <a:lnTo>
                  <a:pt x="26" y="38"/>
                </a:lnTo>
                <a:lnTo>
                  <a:pt x="24" y="34"/>
                </a:lnTo>
                <a:lnTo>
                  <a:pt x="24" y="31"/>
                </a:lnTo>
                <a:lnTo>
                  <a:pt x="27" y="30"/>
                </a:lnTo>
                <a:lnTo>
                  <a:pt x="28" y="25"/>
                </a:lnTo>
                <a:lnTo>
                  <a:pt x="28" y="20"/>
                </a:lnTo>
                <a:lnTo>
                  <a:pt x="31" y="14"/>
                </a:lnTo>
                <a:lnTo>
                  <a:pt x="28" y="6"/>
                </a:lnTo>
                <a:lnTo>
                  <a:pt x="28" y="3"/>
                </a:lnTo>
                <a:lnTo>
                  <a:pt x="31" y="1"/>
                </a:lnTo>
                <a:lnTo>
                  <a:pt x="32" y="0"/>
                </a:lnTo>
                <a:lnTo>
                  <a:pt x="35" y="1"/>
                </a:lnTo>
                <a:lnTo>
                  <a:pt x="35" y="3"/>
                </a:lnTo>
                <a:lnTo>
                  <a:pt x="38" y="5"/>
                </a:lnTo>
                <a:lnTo>
                  <a:pt x="44" y="12"/>
                </a:lnTo>
                <a:lnTo>
                  <a:pt x="50" y="17"/>
                </a:lnTo>
                <a:lnTo>
                  <a:pt x="55" y="22"/>
                </a:lnTo>
                <a:lnTo>
                  <a:pt x="62" y="23"/>
                </a:lnTo>
                <a:lnTo>
                  <a:pt x="68" y="25"/>
                </a:lnTo>
                <a:lnTo>
                  <a:pt x="70" y="27"/>
                </a:lnTo>
                <a:lnTo>
                  <a:pt x="72" y="28"/>
                </a:lnTo>
                <a:lnTo>
                  <a:pt x="76" y="27"/>
                </a:lnTo>
                <a:lnTo>
                  <a:pt x="79" y="25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26" name="Freeform 525"/>
          <p:cNvSpPr>
            <a:spLocks/>
          </p:cNvSpPr>
          <p:nvPr/>
        </p:nvSpPr>
        <p:spPr bwMode="auto">
          <a:xfrm>
            <a:off x="9692881" y="2739997"/>
            <a:ext cx="177342" cy="143890"/>
          </a:xfrm>
          <a:custGeom>
            <a:avLst/>
            <a:gdLst/>
            <a:ahLst/>
            <a:cxnLst>
              <a:cxn ang="0">
                <a:pos x="83" y="22"/>
              </a:cxn>
              <a:cxn ang="0">
                <a:pos x="83" y="27"/>
              </a:cxn>
              <a:cxn ang="0">
                <a:pos x="82" y="33"/>
              </a:cxn>
              <a:cxn ang="0">
                <a:pos x="84" y="38"/>
              </a:cxn>
              <a:cxn ang="0">
                <a:pos x="92" y="38"/>
              </a:cxn>
              <a:cxn ang="0">
                <a:pos x="86" y="41"/>
              </a:cxn>
              <a:cxn ang="0">
                <a:pos x="79" y="44"/>
              </a:cxn>
              <a:cxn ang="0">
                <a:pos x="75" y="45"/>
              </a:cxn>
              <a:cxn ang="0">
                <a:pos x="67" y="45"/>
              </a:cxn>
              <a:cxn ang="0">
                <a:pos x="58" y="52"/>
              </a:cxn>
              <a:cxn ang="0">
                <a:pos x="55" y="61"/>
              </a:cxn>
              <a:cxn ang="0">
                <a:pos x="46" y="58"/>
              </a:cxn>
              <a:cxn ang="0">
                <a:pos x="32" y="52"/>
              </a:cxn>
              <a:cxn ang="0">
                <a:pos x="24" y="53"/>
              </a:cxn>
              <a:cxn ang="0">
                <a:pos x="19" y="55"/>
              </a:cxn>
              <a:cxn ang="0">
                <a:pos x="11" y="53"/>
              </a:cxn>
              <a:cxn ang="0">
                <a:pos x="10" y="60"/>
              </a:cxn>
              <a:cxn ang="0">
                <a:pos x="22" y="66"/>
              </a:cxn>
              <a:cxn ang="0">
                <a:pos x="16" y="67"/>
              </a:cxn>
              <a:cxn ang="0">
                <a:pos x="12" y="69"/>
              </a:cxn>
              <a:cxn ang="0">
                <a:pos x="7" y="72"/>
              </a:cxn>
              <a:cxn ang="0">
                <a:pos x="4" y="69"/>
              </a:cxn>
              <a:cxn ang="0">
                <a:pos x="0" y="58"/>
              </a:cxn>
              <a:cxn ang="0">
                <a:pos x="4" y="50"/>
              </a:cxn>
              <a:cxn ang="0">
                <a:pos x="10" y="45"/>
              </a:cxn>
              <a:cxn ang="0">
                <a:pos x="10" y="41"/>
              </a:cxn>
              <a:cxn ang="0">
                <a:pos x="14" y="39"/>
              </a:cxn>
              <a:cxn ang="0">
                <a:pos x="23" y="41"/>
              </a:cxn>
              <a:cxn ang="0">
                <a:pos x="24" y="34"/>
              </a:cxn>
              <a:cxn ang="0">
                <a:pos x="27" y="30"/>
              </a:cxn>
              <a:cxn ang="0">
                <a:pos x="28" y="20"/>
              </a:cxn>
              <a:cxn ang="0">
                <a:pos x="28" y="6"/>
              </a:cxn>
              <a:cxn ang="0">
                <a:pos x="31" y="1"/>
              </a:cxn>
              <a:cxn ang="0">
                <a:pos x="35" y="1"/>
              </a:cxn>
              <a:cxn ang="0">
                <a:pos x="38" y="5"/>
              </a:cxn>
              <a:cxn ang="0">
                <a:pos x="50" y="17"/>
              </a:cxn>
              <a:cxn ang="0">
                <a:pos x="62" y="23"/>
              </a:cxn>
              <a:cxn ang="0">
                <a:pos x="70" y="27"/>
              </a:cxn>
              <a:cxn ang="0">
                <a:pos x="76" y="27"/>
              </a:cxn>
            </a:cxnLst>
            <a:rect l="0" t="0" r="r" b="b"/>
            <a:pathLst>
              <a:path w="92" h="72">
                <a:moveTo>
                  <a:pt x="79" y="25"/>
                </a:moveTo>
                <a:lnTo>
                  <a:pt x="83" y="22"/>
                </a:lnTo>
                <a:lnTo>
                  <a:pt x="84" y="22"/>
                </a:lnTo>
                <a:lnTo>
                  <a:pt x="83" y="27"/>
                </a:lnTo>
                <a:lnTo>
                  <a:pt x="80" y="30"/>
                </a:lnTo>
                <a:lnTo>
                  <a:pt x="82" y="33"/>
                </a:lnTo>
                <a:lnTo>
                  <a:pt x="84" y="34"/>
                </a:lnTo>
                <a:lnTo>
                  <a:pt x="84" y="38"/>
                </a:lnTo>
                <a:lnTo>
                  <a:pt x="88" y="38"/>
                </a:lnTo>
                <a:lnTo>
                  <a:pt x="92" y="38"/>
                </a:lnTo>
                <a:lnTo>
                  <a:pt x="90" y="39"/>
                </a:lnTo>
                <a:lnTo>
                  <a:pt x="86" y="41"/>
                </a:lnTo>
                <a:lnTo>
                  <a:pt x="82" y="44"/>
                </a:lnTo>
                <a:lnTo>
                  <a:pt x="79" y="44"/>
                </a:lnTo>
                <a:lnTo>
                  <a:pt x="78" y="44"/>
                </a:lnTo>
                <a:lnTo>
                  <a:pt x="75" y="45"/>
                </a:lnTo>
                <a:lnTo>
                  <a:pt x="71" y="45"/>
                </a:lnTo>
                <a:lnTo>
                  <a:pt x="67" y="45"/>
                </a:lnTo>
                <a:lnTo>
                  <a:pt x="62" y="47"/>
                </a:lnTo>
                <a:lnTo>
                  <a:pt x="58" y="52"/>
                </a:lnTo>
                <a:lnTo>
                  <a:pt x="55" y="56"/>
                </a:lnTo>
                <a:lnTo>
                  <a:pt x="55" y="61"/>
                </a:lnTo>
                <a:lnTo>
                  <a:pt x="52" y="63"/>
                </a:lnTo>
                <a:lnTo>
                  <a:pt x="46" y="58"/>
                </a:lnTo>
                <a:lnTo>
                  <a:pt x="40" y="56"/>
                </a:lnTo>
                <a:lnTo>
                  <a:pt x="32" y="52"/>
                </a:lnTo>
                <a:lnTo>
                  <a:pt x="27" y="52"/>
                </a:lnTo>
                <a:lnTo>
                  <a:pt x="24" y="53"/>
                </a:lnTo>
                <a:lnTo>
                  <a:pt x="22" y="55"/>
                </a:lnTo>
                <a:lnTo>
                  <a:pt x="19" y="55"/>
                </a:lnTo>
                <a:lnTo>
                  <a:pt x="15" y="53"/>
                </a:lnTo>
                <a:lnTo>
                  <a:pt x="11" y="53"/>
                </a:lnTo>
                <a:lnTo>
                  <a:pt x="8" y="56"/>
                </a:lnTo>
                <a:lnTo>
                  <a:pt x="10" y="60"/>
                </a:lnTo>
                <a:lnTo>
                  <a:pt x="16" y="61"/>
                </a:lnTo>
                <a:lnTo>
                  <a:pt x="22" y="66"/>
                </a:lnTo>
                <a:lnTo>
                  <a:pt x="20" y="67"/>
                </a:lnTo>
                <a:lnTo>
                  <a:pt x="16" y="67"/>
                </a:lnTo>
                <a:lnTo>
                  <a:pt x="14" y="67"/>
                </a:lnTo>
                <a:lnTo>
                  <a:pt x="12" y="69"/>
                </a:lnTo>
                <a:lnTo>
                  <a:pt x="11" y="71"/>
                </a:lnTo>
                <a:lnTo>
                  <a:pt x="7" y="72"/>
                </a:lnTo>
                <a:lnTo>
                  <a:pt x="4" y="72"/>
                </a:lnTo>
                <a:lnTo>
                  <a:pt x="4" y="69"/>
                </a:lnTo>
                <a:lnTo>
                  <a:pt x="6" y="63"/>
                </a:lnTo>
                <a:lnTo>
                  <a:pt x="0" y="58"/>
                </a:lnTo>
                <a:lnTo>
                  <a:pt x="2" y="52"/>
                </a:lnTo>
                <a:lnTo>
                  <a:pt x="4" y="50"/>
                </a:lnTo>
                <a:lnTo>
                  <a:pt x="7" y="49"/>
                </a:lnTo>
                <a:lnTo>
                  <a:pt x="10" y="45"/>
                </a:lnTo>
                <a:lnTo>
                  <a:pt x="11" y="42"/>
                </a:lnTo>
                <a:lnTo>
                  <a:pt x="10" y="41"/>
                </a:lnTo>
                <a:lnTo>
                  <a:pt x="10" y="39"/>
                </a:lnTo>
                <a:lnTo>
                  <a:pt x="14" y="39"/>
                </a:lnTo>
                <a:lnTo>
                  <a:pt x="18" y="41"/>
                </a:lnTo>
                <a:lnTo>
                  <a:pt x="23" y="41"/>
                </a:lnTo>
                <a:lnTo>
                  <a:pt x="26" y="38"/>
                </a:lnTo>
                <a:lnTo>
                  <a:pt x="24" y="34"/>
                </a:lnTo>
                <a:lnTo>
                  <a:pt x="24" y="31"/>
                </a:lnTo>
                <a:lnTo>
                  <a:pt x="27" y="30"/>
                </a:lnTo>
                <a:lnTo>
                  <a:pt x="28" y="25"/>
                </a:lnTo>
                <a:lnTo>
                  <a:pt x="28" y="20"/>
                </a:lnTo>
                <a:lnTo>
                  <a:pt x="31" y="14"/>
                </a:lnTo>
                <a:lnTo>
                  <a:pt x="28" y="6"/>
                </a:lnTo>
                <a:lnTo>
                  <a:pt x="28" y="3"/>
                </a:lnTo>
                <a:lnTo>
                  <a:pt x="31" y="1"/>
                </a:lnTo>
                <a:lnTo>
                  <a:pt x="32" y="0"/>
                </a:lnTo>
                <a:lnTo>
                  <a:pt x="35" y="1"/>
                </a:lnTo>
                <a:lnTo>
                  <a:pt x="35" y="3"/>
                </a:lnTo>
                <a:lnTo>
                  <a:pt x="38" y="5"/>
                </a:lnTo>
                <a:lnTo>
                  <a:pt x="44" y="12"/>
                </a:lnTo>
                <a:lnTo>
                  <a:pt x="50" y="17"/>
                </a:lnTo>
                <a:lnTo>
                  <a:pt x="55" y="22"/>
                </a:lnTo>
                <a:lnTo>
                  <a:pt x="62" y="23"/>
                </a:lnTo>
                <a:lnTo>
                  <a:pt x="68" y="25"/>
                </a:lnTo>
                <a:lnTo>
                  <a:pt x="70" y="27"/>
                </a:lnTo>
                <a:lnTo>
                  <a:pt x="72" y="28"/>
                </a:lnTo>
                <a:lnTo>
                  <a:pt x="76" y="27"/>
                </a:lnTo>
                <a:lnTo>
                  <a:pt x="79" y="25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27" name="Freeform 526"/>
          <p:cNvSpPr>
            <a:spLocks/>
          </p:cNvSpPr>
          <p:nvPr/>
        </p:nvSpPr>
        <p:spPr bwMode="auto">
          <a:xfrm>
            <a:off x="9729908" y="2750735"/>
            <a:ext cx="7795" cy="2146"/>
          </a:xfrm>
          <a:custGeom>
            <a:avLst/>
            <a:gdLst/>
            <a:ahLst/>
            <a:cxnLst>
              <a:cxn ang="0">
                <a:pos x="3" y="0"/>
              </a:cxn>
              <a:cxn ang="0">
                <a:pos x="0" y="1"/>
              </a:cxn>
              <a:cxn ang="0">
                <a:pos x="3" y="1"/>
              </a:cxn>
              <a:cxn ang="0">
                <a:pos x="4" y="1"/>
              </a:cxn>
              <a:cxn ang="0">
                <a:pos x="4" y="0"/>
              </a:cxn>
              <a:cxn ang="0">
                <a:pos x="3" y="0"/>
              </a:cxn>
            </a:cxnLst>
            <a:rect l="0" t="0" r="r" b="b"/>
            <a:pathLst>
              <a:path w="4" h="1">
                <a:moveTo>
                  <a:pt x="3" y="0"/>
                </a:moveTo>
                <a:lnTo>
                  <a:pt x="0" y="1"/>
                </a:lnTo>
                <a:lnTo>
                  <a:pt x="3" y="1"/>
                </a:lnTo>
                <a:lnTo>
                  <a:pt x="4" y="1"/>
                </a:lnTo>
                <a:lnTo>
                  <a:pt x="4" y="0"/>
                </a:lnTo>
                <a:lnTo>
                  <a:pt x="3" y="0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28" name="Freeform 527"/>
          <p:cNvSpPr>
            <a:spLocks/>
          </p:cNvSpPr>
          <p:nvPr/>
        </p:nvSpPr>
        <p:spPr bwMode="auto">
          <a:xfrm>
            <a:off x="9729908" y="2750735"/>
            <a:ext cx="7795" cy="2146"/>
          </a:xfrm>
          <a:custGeom>
            <a:avLst/>
            <a:gdLst/>
            <a:ahLst/>
            <a:cxnLst>
              <a:cxn ang="0">
                <a:pos x="3" y="0"/>
              </a:cxn>
              <a:cxn ang="0">
                <a:pos x="0" y="1"/>
              </a:cxn>
              <a:cxn ang="0">
                <a:pos x="3" y="1"/>
              </a:cxn>
              <a:cxn ang="0">
                <a:pos x="4" y="1"/>
              </a:cxn>
              <a:cxn ang="0">
                <a:pos x="4" y="0"/>
              </a:cxn>
              <a:cxn ang="0">
                <a:pos x="3" y="0"/>
              </a:cxn>
            </a:cxnLst>
            <a:rect l="0" t="0" r="r" b="b"/>
            <a:pathLst>
              <a:path w="4" h="1">
                <a:moveTo>
                  <a:pt x="3" y="0"/>
                </a:moveTo>
                <a:lnTo>
                  <a:pt x="0" y="1"/>
                </a:lnTo>
                <a:lnTo>
                  <a:pt x="3" y="1"/>
                </a:lnTo>
                <a:lnTo>
                  <a:pt x="4" y="1"/>
                </a:lnTo>
                <a:lnTo>
                  <a:pt x="4" y="0"/>
                </a:lnTo>
                <a:lnTo>
                  <a:pt x="3" y="0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29" name="Freeform 528"/>
          <p:cNvSpPr>
            <a:spLocks/>
          </p:cNvSpPr>
          <p:nvPr/>
        </p:nvSpPr>
        <p:spPr bwMode="auto">
          <a:xfrm>
            <a:off x="9437587" y="2883887"/>
            <a:ext cx="323502" cy="279189"/>
          </a:xfrm>
          <a:custGeom>
            <a:avLst/>
            <a:gdLst/>
            <a:ahLst/>
            <a:cxnLst>
              <a:cxn ang="0">
                <a:pos x="160" y="3"/>
              </a:cxn>
              <a:cxn ang="0">
                <a:pos x="161" y="16"/>
              </a:cxn>
              <a:cxn ang="0">
                <a:pos x="168" y="28"/>
              </a:cxn>
              <a:cxn ang="0">
                <a:pos x="168" y="39"/>
              </a:cxn>
              <a:cxn ang="0">
                <a:pos x="164" y="44"/>
              </a:cxn>
              <a:cxn ang="0">
                <a:pos x="157" y="55"/>
              </a:cxn>
              <a:cxn ang="0">
                <a:pos x="153" y="66"/>
              </a:cxn>
              <a:cxn ang="0">
                <a:pos x="154" y="79"/>
              </a:cxn>
              <a:cxn ang="0">
                <a:pos x="148" y="91"/>
              </a:cxn>
              <a:cxn ang="0">
                <a:pos x="150" y="102"/>
              </a:cxn>
              <a:cxn ang="0">
                <a:pos x="144" y="112"/>
              </a:cxn>
              <a:cxn ang="0">
                <a:pos x="137" y="107"/>
              </a:cxn>
              <a:cxn ang="0">
                <a:pos x="136" y="104"/>
              </a:cxn>
              <a:cxn ang="0">
                <a:pos x="133" y="112"/>
              </a:cxn>
              <a:cxn ang="0">
                <a:pos x="126" y="112"/>
              </a:cxn>
              <a:cxn ang="0">
                <a:pos x="121" y="121"/>
              </a:cxn>
              <a:cxn ang="0">
                <a:pos x="118" y="113"/>
              </a:cxn>
              <a:cxn ang="0">
                <a:pos x="112" y="121"/>
              </a:cxn>
              <a:cxn ang="0">
                <a:pos x="99" y="121"/>
              </a:cxn>
              <a:cxn ang="0">
                <a:pos x="97" y="119"/>
              </a:cxn>
              <a:cxn ang="0">
                <a:pos x="92" y="119"/>
              </a:cxn>
              <a:cxn ang="0">
                <a:pos x="89" y="115"/>
              </a:cxn>
              <a:cxn ang="0">
                <a:pos x="91" y="129"/>
              </a:cxn>
              <a:cxn ang="0">
                <a:pos x="85" y="129"/>
              </a:cxn>
              <a:cxn ang="0">
                <a:pos x="81" y="132"/>
              </a:cxn>
              <a:cxn ang="0">
                <a:pos x="71" y="140"/>
              </a:cxn>
              <a:cxn ang="0">
                <a:pos x="65" y="132"/>
              </a:cxn>
              <a:cxn ang="0">
                <a:pos x="69" y="123"/>
              </a:cxn>
              <a:cxn ang="0">
                <a:pos x="64" y="121"/>
              </a:cxn>
              <a:cxn ang="0">
                <a:pos x="53" y="119"/>
              </a:cxn>
              <a:cxn ang="0">
                <a:pos x="44" y="123"/>
              </a:cxn>
              <a:cxn ang="0">
                <a:pos x="37" y="126"/>
              </a:cxn>
              <a:cxn ang="0">
                <a:pos x="27" y="129"/>
              </a:cxn>
              <a:cxn ang="0">
                <a:pos x="20" y="134"/>
              </a:cxn>
              <a:cxn ang="0">
                <a:pos x="12" y="132"/>
              </a:cxn>
              <a:cxn ang="0">
                <a:pos x="7" y="134"/>
              </a:cxn>
              <a:cxn ang="0">
                <a:pos x="0" y="129"/>
              </a:cxn>
              <a:cxn ang="0">
                <a:pos x="11" y="123"/>
              </a:cxn>
              <a:cxn ang="0">
                <a:pos x="21" y="113"/>
              </a:cxn>
              <a:cxn ang="0">
                <a:pos x="29" y="105"/>
              </a:cxn>
              <a:cxn ang="0">
                <a:pos x="43" y="105"/>
              </a:cxn>
              <a:cxn ang="0">
                <a:pos x="61" y="102"/>
              </a:cxn>
              <a:cxn ang="0">
                <a:pos x="67" y="104"/>
              </a:cxn>
              <a:cxn ang="0">
                <a:pos x="75" y="104"/>
              </a:cxn>
              <a:cxn ang="0">
                <a:pos x="83" y="90"/>
              </a:cxn>
              <a:cxn ang="0">
                <a:pos x="89" y="75"/>
              </a:cxn>
              <a:cxn ang="0">
                <a:pos x="97" y="71"/>
              </a:cxn>
              <a:cxn ang="0">
                <a:pos x="92" y="77"/>
              </a:cxn>
              <a:cxn ang="0">
                <a:pos x="95" y="83"/>
              </a:cxn>
              <a:cxn ang="0">
                <a:pos x="104" y="79"/>
              </a:cxn>
              <a:cxn ang="0">
                <a:pos x="117" y="71"/>
              </a:cxn>
              <a:cxn ang="0">
                <a:pos x="125" y="61"/>
              </a:cxn>
              <a:cxn ang="0">
                <a:pos x="129" y="55"/>
              </a:cxn>
              <a:cxn ang="0">
                <a:pos x="136" y="42"/>
              </a:cxn>
              <a:cxn ang="0">
                <a:pos x="138" y="33"/>
              </a:cxn>
              <a:cxn ang="0">
                <a:pos x="133" y="27"/>
              </a:cxn>
              <a:cxn ang="0">
                <a:pos x="137" y="14"/>
              </a:cxn>
              <a:cxn ang="0">
                <a:pos x="142" y="6"/>
              </a:cxn>
              <a:cxn ang="0">
                <a:pos x="146" y="6"/>
              </a:cxn>
              <a:cxn ang="0">
                <a:pos x="150" y="10"/>
              </a:cxn>
              <a:cxn ang="0">
                <a:pos x="157" y="6"/>
              </a:cxn>
              <a:cxn ang="0">
                <a:pos x="150" y="6"/>
              </a:cxn>
              <a:cxn ang="0">
                <a:pos x="152" y="0"/>
              </a:cxn>
            </a:cxnLst>
            <a:rect l="0" t="0" r="r" b="b"/>
            <a:pathLst>
              <a:path w="169" h="141">
                <a:moveTo>
                  <a:pt x="154" y="2"/>
                </a:moveTo>
                <a:lnTo>
                  <a:pt x="158" y="0"/>
                </a:lnTo>
                <a:lnTo>
                  <a:pt x="160" y="3"/>
                </a:lnTo>
                <a:lnTo>
                  <a:pt x="160" y="8"/>
                </a:lnTo>
                <a:lnTo>
                  <a:pt x="160" y="13"/>
                </a:lnTo>
                <a:lnTo>
                  <a:pt x="161" y="16"/>
                </a:lnTo>
                <a:lnTo>
                  <a:pt x="164" y="19"/>
                </a:lnTo>
                <a:lnTo>
                  <a:pt x="165" y="24"/>
                </a:lnTo>
                <a:lnTo>
                  <a:pt x="168" y="28"/>
                </a:lnTo>
                <a:lnTo>
                  <a:pt x="169" y="35"/>
                </a:lnTo>
                <a:lnTo>
                  <a:pt x="169" y="38"/>
                </a:lnTo>
                <a:lnTo>
                  <a:pt x="168" y="39"/>
                </a:lnTo>
                <a:lnTo>
                  <a:pt x="168" y="42"/>
                </a:lnTo>
                <a:lnTo>
                  <a:pt x="165" y="44"/>
                </a:lnTo>
                <a:lnTo>
                  <a:pt x="164" y="44"/>
                </a:lnTo>
                <a:lnTo>
                  <a:pt x="161" y="52"/>
                </a:lnTo>
                <a:lnTo>
                  <a:pt x="161" y="55"/>
                </a:lnTo>
                <a:lnTo>
                  <a:pt x="157" y="55"/>
                </a:lnTo>
                <a:lnTo>
                  <a:pt x="154" y="57"/>
                </a:lnTo>
                <a:lnTo>
                  <a:pt x="153" y="61"/>
                </a:lnTo>
                <a:lnTo>
                  <a:pt x="153" y="66"/>
                </a:lnTo>
                <a:lnTo>
                  <a:pt x="154" y="71"/>
                </a:lnTo>
                <a:lnTo>
                  <a:pt x="154" y="75"/>
                </a:lnTo>
                <a:lnTo>
                  <a:pt x="154" y="79"/>
                </a:lnTo>
                <a:lnTo>
                  <a:pt x="152" y="82"/>
                </a:lnTo>
                <a:lnTo>
                  <a:pt x="149" y="86"/>
                </a:lnTo>
                <a:lnTo>
                  <a:pt x="148" y="91"/>
                </a:lnTo>
                <a:lnTo>
                  <a:pt x="148" y="97"/>
                </a:lnTo>
                <a:lnTo>
                  <a:pt x="150" y="101"/>
                </a:lnTo>
                <a:lnTo>
                  <a:pt x="150" y="102"/>
                </a:lnTo>
                <a:lnTo>
                  <a:pt x="148" y="104"/>
                </a:lnTo>
                <a:lnTo>
                  <a:pt x="145" y="108"/>
                </a:lnTo>
                <a:lnTo>
                  <a:pt x="144" y="112"/>
                </a:lnTo>
                <a:lnTo>
                  <a:pt x="137" y="116"/>
                </a:lnTo>
                <a:lnTo>
                  <a:pt x="136" y="115"/>
                </a:lnTo>
                <a:lnTo>
                  <a:pt x="137" y="107"/>
                </a:lnTo>
                <a:lnTo>
                  <a:pt x="138" y="105"/>
                </a:lnTo>
                <a:lnTo>
                  <a:pt x="140" y="104"/>
                </a:lnTo>
                <a:lnTo>
                  <a:pt x="136" y="104"/>
                </a:lnTo>
                <a:lnTo>
                  <a:pt x="134" y="107"/>
                </a:lnTo>
                <a:lnTo>
                  <a:pt x="133" y="108"/>
                </a:lnTo>
                <a:lnTo>
                  <a:pt x="133" y="112"/>
                </a:lnTo>
                <a:lnTo>
                  <a:pt x="132" y="110"/>
                </a:lnTo>
                <a:lnTo>
                  <a:pt x="128" y="110"/>
                </a:lnTo>
                <a:lnTo>
                  <a:pt x="126" y="112"/>
                </a:lnTo>
                <a:lnTo>
                  <a:pt x="125" y="119"/>
                </a:lnTo>
                <a:lnTo>
                  <a:pt x="122" y="121"/>
                </a:lnTo>
                <a:lnTo>
                  <a:pt x="121" y="121"/>
                </a:lnTo>
                <a:lnTo>
                  <a:pt x="120" y="116"/>
                </a:lnTo>
                <a:lnTo>
                  <a:pt x="121" y="113"/>
                </a:lnTo>
                <a:lnTo>
                  <a:pt x="118" y="113"/>
                </a:lnTo>
                <a:lnTo>
                  <a:pt x="116" y="116"/>
                </a:lnTo>
                <a:lnTo>
                  <a:pt x="113" y="118"/>
                </a:lnTo>
                <a:lnTo>
                  <a:pt x="112" y="121"/>
                </a:lnTo>
                <a:lnTo>
                  <a:pt x="112" y="123"/>
                </a:lnTo>
                <a:lnTo>
                  <a:pt x="107" y="121"/>
                </a:lnTo>
                <a:lnTo>
                  <a:pt x="99" y="121"/>
                </a:lnTo>
                <a:lnTo>
                  <a:pt x="95" y="123"/>
                </a:lnTo>
                <a:lnTo>
                  <a:pt x="96" y="121"/>
                </a:lnTo>
                <a:lnTo>
                  <a:pt x="97" y="119"/>
                </a:lnTo>
                <a:lnTo>
                  <a:pt x="95" y="119"/>
                </a:lnTo>
                <a:lnTo>
                  <a:pt x="93" y="118"/>
                </a:lnTo>
                <a:lnTo>
                  <a:pt x="92" y="119"/>
                </a:lnTo>
                <a:lnTo>
                  <a:pt x="91" y="118"/>
                </a:lnTo>
                <a:lnTo>
                  <a:pt x="91" y="113"/>
                </a:lnTo>
                <a:lnTo>
                  <a:pt x="89" y="115"/>
                </a:lnTo>
                <a:lnTo>
                  <a:pt x="85" y="121"/>
                </a:lnTo>
                <a:lnTo>
                  <a:pt x="91" y="124"/>
                </a:lnTo>
                <a:lnTo>
                  <a:pt x="91" y="129"/>
                </a:lnTo>
                <a:lnTo>
                  <a:pt x="89" y="127"/>
                </a:lnTo>
                <a:lnTo>
                  <a:pt x="87" y="129"/>
                </a:lnTo>
                <a:lnTo>
                  <a:pt x="85" y="129"/>
                </a:lnTo>
                <a:lnTo>
                  <a:pt x="83" y="129"/>
                </a:lnTo>
                <a:lnTo>
                  <a:pt x="83" y="132"/>
                </a:lnTo>
                <a:lnTo>
                  <a:pt x="81" y="132"/>
                </a:lnTo>
                <a:lnTo>
                  <a:pt x="77" y="140"/>
                </a:lnTo>
                <a:lnTo>
                  <a:pt x="75" y="141"/>
                </a:lnTo>
                <a:lnTo>
                  <a:pt x="71" y="140"/>
                </a:lnTo>
                <a:lnTo>
                  <a:pt x="68" y="137"/>
                </a:lnTo>
                <a:lnTo>
                  <a:pt x="65" y="135"/>
                </a:lnTo>
                <a:lnTo>
                  <a:pt x="65" y="132"/>
                </a:lnTo>
                <a:lnTo>
                  <a:pt x="65" y="127"/>
                </a:lnTo>
                <a:lnTo>
                  <a:pt x="67" y="126"/>
                </a:lnTo>
                <a:lnTo>
                  <a:pt x="69" y="123"/>
                </a:lnTo>
                <a:lnTo>
                  <a:pt x="69" y="121"/>
                </a:lnTo>
                <a:lnTo>
                  <a:pt x="68" y="119"/>
                </a:lnTo>
                <a:lnTo>
                  <a:pt x="64" y="121"/>
                </a:lnTo>
                <a:lnTo>
                  <a:pt x="60" y="119"/>
                </a:lnTo>
                <a:lnTo>
                  <a:pt x="56" y="119"/>
                </a:lnTo>
                <a:lnTo>
                  <a:pt x="53" y="119"/>
                </a:lnTo>
                <a:lnTo>
                  <a:pt x="51" y="121"/>
                </a:lnTo>
                <a:lnTo>
                  <a:pt x="45" y="124"/>
                </a:lnTo>
                <a:lnTo>
                  <a:pt x="44" y="123"/>
                </a:lnTo>
                <a:lnTo>
                  <a:pt x="41" y="124"/>
                </a:lnTo>
                <a:lnTo>
                  <a:pt x="40" y="124"/>
                </a:lnTo>
                <a:lnTo>
                  <a:pt x="37" y="126"/>
                </a:lnTo>
                <a:lnTo>
                  <a:pt x="36" y="126"/>
                </a:lnTo>
                <a:lnTo>
                  <a:pt x="33" y="127"/>
                </a:lnTo>
                <a:lnTo>
                  <a:pt x="27" y="129"/>
                </a:lnTo>
                <a:lnTo>
                  <a:pt x="24" y="127"/>
                </a:lnTo>
                <a:lnTo>
                  <a:pt x="23" y="127"/>
                </a:lnTo>
                <a:lnTo>
                  <a:pt x="20" y="134"/>
                </a:lnTo>
                <a:lnTo>
                  <a:pt x="19" y="134"/>
                </a:lnTo>
                <a:lnTo>
                  <a:pt x="15" y="134"/>
                </a:lnTo>
                <a:lnTo>
                  <a:pt x="12" y="132"/>
                </a:lnTo>
                <a:lnTo>
                  <a:pt x="9" y="134"/>
                </a:lnTo>
                <a:lnTo>
                  <a:pt x="8" y="134"/>
                </a:lnTo>
                <a:lnTo>
                  <a:pt x="7" y="134"/>
                </a:lnTo>
                <a:lnTo>
                  <a:pt x="4" y="132"/>
                </a:lnTo>
                <a:lnTo>
                  <a:pt x="2" y="132"/>
                </a:lnTo>
                <a:lnTo>
                  <a:pt x="0" y="129"/>
                </a:lnTo>
                <a:lnTo>
                  <a:pt x="2" y="126"/>
                </a:lnTo>
                <a:lnTo>
                  <a:pt x="8" y="124"/>
                </a:lnTo>
                <a:lnTo>
                  <a:pt x="11" y="123"/>
                </a:lnTo>
                <a:lnTo>
                  <a:pt x="13" y="119"/>
                </a:lnTo>
                <a:lnTo>
                  <a:pt x="17" y="118"/>
                </a:lnTo>
                <a:lnTo>
                  <a:pt x="21" y="113"/>
                </a:lnTo>
                <a:lnTo>
                  <a:pt x="24" y="112"/>
                </a:lnTo>
                <a:lnTo>
                  <a:pt x="27" y="107"/>
                </a:lnTo>
                <a:lnTo>
                  <a:pt x="29" y="105"/>
                </a:lnTo>
                <a:lnTo>
                  <a:pt x="33" y="104"/>
                </a:lnTo>
                <a:lnTo>
                  <a:pt x="39" y="105"/>
                </a:lnTo>
                <a:lnTo>
                  <a:pt x="43" y="105"/>
                </a:lnTo>
                <a:lnTo>
                  <a:pt x="48" y="105"/>
                </a:lnTo>
                <a:lnTo>
                  <a:pt x="59" y="104"/>
                </a:lnTo>
                <a:lnTo>
                  <a:pt x="61" y="102"/>
                </a:lnTo>
                <a:lnTo>
                  <a:pt x="64" y="102"/>
                </a:lnTo>
                <a:lnTo>
                  <a:pt x="67" y="102"/>
                </a:lnTo>
                <a:lnTo>
                  <a:pt x="67" y="104"/>
                </a:lnTo>
                <a:lnTo>
                  <a:pt x="72" y="105"/>
                </a:lnTo>
                <a:lnTo>
                  <a:pt x="73" y="105"/>
                </a:lnTo>
                <a:lnTo>
                  <a:pt x="75" y="104"/>
                </a:lnTo>
                <a:lnTo>
                  <a:pt x="79" y="102"/>
                </a:lnTo>
                <a:lnTo>
                  <a:pt x="79" y="93"/>
                </a:lnTo>
                <a:lnTo>
                  <a:pt x="83" y="90"/>
                </a:lnTo>
                <a:lnTo>
                  <a:pt x="87" y="85"/>
                </a:lnTo>
                <a:lnTo>
                  <a:pt x="89" y="80"/>
                </a:lnTo>
                <a:lnTo>
                  <a:pt x="89" y="75"/>
                </a:lnTo>
                <a:lnTo>
                  <a:pt x="89" y="72"/>
                </a:lnTo>
                <a:lnTo>
                  <a:pt x="95" y="71"/>
                </a:lnTo>
                <a:lnTo>
                  <a:pt x="97" y="71"/>
                </a:lnTo>
                <a:lnTo>
                  <a:pt x="97" y="72"/>
                </a:lnTo>
                <a:lnTo>
                  <a:pt x="95" y="74"/>
                </a:lnTo>
                <a:lnTo>
                  <a:pt x="92" y="77"/>
                </a:lnTo>
                <a:lnTo>
                  <a:pt x="93" y="80"/>
                </a:lnTo>
                <a:lnTo>
                  <a:pt x="93" y="83"/>
                </a:lnTo>
                <a:lnTo>
                  <a:pt x="95" y="83"/>
                </a:lnTo>
                <a:lnTo>
                  <a:pt x="99" y="83"/>
                </a:lnTo>
                <a:lnTo>
                  <a:pt x="101" y="80"/>
                </a:lnTo>
                <a:lnTo>
                  <a:pt x="104" y="79"/>
                </a:lnTo>
                <a:lnTo>
                  <a:pt x="109" y="77"/>
                </a:lnTo>
                <a:lnTo>
                  <a:pt x="113" y="74"/>
                </a:lnTo>
                <a:lnTo>
                  <a:pt x="117" y="71"/>
                </a:lnTo>
                <a:lnTo>
                  <a:pt x="118" y="68"/>
                </a:lnTo>
                <a:lnTo>
                  <a:pt x="121" y="63"/>
                </a:lnTo>
                <a:lnTo>
                  <a:pt x="125" y="61"/>
                </a:lnTo>
                <a:lnTo>
                  <a:pt x="126" y="61"/>
                </a:lnTo>
                <a:lnTo>
                  <a:pt x="129" y="58"/>
                </a:lnTo>
                <a:lnTo>
                  <a:pt x="129" y="55"/>
                </a:lnTo>
                <a:lnTo>
                  <a:pt x="130" y="53"/>
                </a:lnTo>
                <a:lnTo>
                  <a:pt x="134" y="46"/>
                </a:lnTo>
                <a:lnTo>
                  <a:pt x="136" y="42"/>
                </a:lnTo>
                <a:lnTo>
                  <a:pt x="136" y="41"/>
                </a:lnTo>
                <a:lnTo>
                  <a:pt x="137" y="38"/>
                </a:lnTo>
                <a:lnTo>
                  <a:pt x="138" y="33"/>
                </a:lnTo>
                <a:lnTo>
                  <a:pt x="138" y="30"/>
                </a:lnTo>
                <a:lnTo>
                  <a:pt x="137" y="28"/>
                </a:lnTo>
                <a:lnTo>
                  <a:pt x="133" y="27"/>
                </a:lnTo>
                <a:lnTo>
                  <a:pt x="136" y="25"/>
                </a:lnTo>
                <a:lnTo>
                  <a:pt x="138" y="22"/>
                </a:lnTo>
                <a:lnTo>
                  <a:pt x="137" y="14"/>
                </a:lnTo>
                <a:lnTo>
                  <a:pt x="138" y="13"/>
                </a:lnTo>
                <a:lnTo>
                  <a:pt x="141" y="11"/>
                </a:lnTo>
                <a:lnTo>
                  <a:pt x="142" y="6"/>
                </a:lnTo>
                <a:lnTo>
                  <a:pt x="142" y="5"/>
                </a:lnTo>
                <a:lnTo>
                  <a:pt x="145" y="5"/>
                </a:lnTo>
                <a:lnTo>
                  <a:pt x="146" y="6"/>
                </a:lnTo>
                <a:lnTo>
                  <a:pt x="148" y="10"/>
                </a:lnTo>
                <a:lnTo>
                  <a:pt x="149" y="11"/>
                </a:lnTo>
                <a:lnTo>
                  <a:pt x="150" y="10"/>
                </a:lnTo>
                <a:lnTo>
                  <a:pt x="153" y="10"/>
                </a:lnTo>
                <a:lnTo>
                  <a:pt x="154" y="10"/>
                </a:lnTo>
                <a:lnTo>
                  <a:pt x="157" y="6"/>
                </a:lnTo>
                <a:lnTo>
                  <a:pt x="157" y="3"/>
                </a:lnTo>
                <a:lnTo>
                  <a:pt x="154" y="5"/>
                </a:lnTo>
                <a:lnTo>
                  <a:pt x="150" y="6"/>
                </a:lnTo>
                <a:lnTo>
                  <a:pt x="150" y="3"/>
                </a:lnTo>
                <a:lnTo>
                  <a:pt x="150" y="0"/>
                </a:lnTo>
                <a:lnTo>
                  <a:pt x="152" y="0"/>
                </a:lnTo>
                <a:lnTo>
                  <a:pt x="154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30" name="Freeform 529"/>
          <p:cNvSpPr>
            <a:spLocks/>
          </p:cNvSpPr>
          <p:nvPr/>
        </p:nvSpPr>
        <p:spPr bwMode="auto">
          <a:xfrm>
            <a:off x="9437587" y="2883887"/>
            <a:ext cx="323502" cy="279189"/>
          </a:xfrm>
          <a:custGeom>
            <a:avLst/>
            <a:gdLst/>
            <a:ahLst/>
            <a:cxnLst>
              <a:cxn ang="0">
                <a:pos x="160" y="3"/>
              </a:cxn>
              <a:cxn ang="0">
                <a:pos x="161" y="16"/>
              </a:cxn>
              <a:cxn ang="0">
                <a:pos x="168" y="28"/>
              </a:cxn>
              <a:cxn ang="0">
                <a:pos x="168" y="39"/>
              </a:cxn>
              <a:cxn ang="0">
                <a:pos x="164" y="44"/>
              </a:cxn>
              <a:cxn ang="0">
                <a:pos x="157" y="55"/>
              </a:cxn>
              <a:cxn ang="0">
                <a:pos x="153" y="66"/>
              </a:cxn>
              <a:cxn ang="0">
                <a:pos x="154" y="79"/>
              </a:cxn>
              <a:cxn ang="0">
                <a:pos x="148" y="91"/>
              </a:cxn>
              <a:cxn ang="0">
                <a:pos x="150" y="102"/>
              </a:cxn>
              <a:cxn ang="0">
                <a:pos x="144" y="112"/>
              </a:cxn>
              <a:cxn ang="0">
                <a:pos x="137" y="107"/>
              </a:cxn>
              <a:cxn ang="0">
                <a:pos x="136" y="104"/>
              </a:cxn>
              <a:cxn ang="0">
                <a:pos x="133" y="112"/>
              </a:cxn>
              <a:cxn ang="0">
                <a:pos x="126" y="112"/>
              </a:cxn>
              <a:cxn ang="0">
                <a:pos x="121" y="121"/>
              </a:cxn>
              <a:cxn ang="0">
                <a:pos x="118" y="113"/>
              </a:cxn>
              <a:cxn ang="0">
                <a:pos x="112" y="121"/>
              </a:cxn>
              <a:cxn ang="0">
                <a:pos x="99" y="121"/>
              </a:cxn>
              <a:cxn ang="0">
                <a:pos x="97" y="119"/>
              </a:cxn>
              <a:cxn ang="0">
                <a:pos x="92" y="119"/>
              </a:cxn>
              <a:cxn ang="0">
                <a:pos x="89" y="115"/>
              </a:cxn>
              <a:cxn ang="0">
                <a:pos x="91" y="129"/>
              </a:cxn>
              <a:cxn ang="0">
                <a:pos x="85" y="129"/>
              </a:cxn>
              <a:cxn ang="0">
                <a:pos x="81" y="132"/>
              </a:cxn>
              <a:cxn ang="0">
                <a:pos x="71" y="140"/>
              </a:cxn>
              <a:cxn ang="0">
                <a:pos x="65" y="132"/>
              </a:cxn>
              <a:cxn ang="0">
                <a:pos x="69" y="123"/>
              </a:cxn>
              <a:cxn ang="0">
                <a:pos x="64" y="121"/>
              </a:cxn>
              <a:cxn ang="0">
                <a:pos x="53" y="119"/>
              </a:cxn>
              <a:cxn ang="0">
                <a:pos x="44" y="123"/>
              </a:cxn>
              <a:cxn ang="0">
                <a:pos x="37" y="126"/>
              </a:cxn>
              <a:cxn ang="0">
                <a:pos x="27" y="129"/>
              </a:cxn>
              <a:cxn ang="0">
                <a:pos x="20" y="134"/>
              </a:cxn>
              <a:cxn ang="0">
                <a:pos x="12" y="132"/>
              </a:cxn>
              <a:cxn ang="0">
                <a:pos x="7" y="134"/>
              </a:cxn>
              <a:cxn ang="0">
                <a:pos x="0" y="129"/>
              </a:cxn>
              <a:cxn ang="0">
                <a:pos x="11" y="123"/>
              </a:cxn>
              <a:cxn ang="0">
                <a:pos x="21" y="113"/>
              </a:cxn>
              <a:cxn ang="0">
                <a:pos x="29" y="105"/>
              </a:cxn>
              <a:cxn ang="0">
                <a:pos x="43" y="105"/>
              </a:cxn>
              <a:cxn ang="0">
                <a:pos x="61" y="102"/>
              </a:cxn>
              <a:cxn ang="0">
                <a:pos x="67" y="104"/>
              </a:cxn>
              <a:cxn ang="0">
                <a:pos x="75" y="104"/>
              </a:cxn>
              <a:cxn ang="0">
                <a:pos x="83" y="90"/>
              </a:cxn>
              <a:cxn ang="0">
                <a:pos x="89" y="75"/>
              </a:cxn>
              <a:cxn ang="0">
                <a:pos x="97" y="71"/>
              </a:cxn>
              <a:cxn ang="0">
                <a:pos x="92" y="77"/>
              </a:cxn>
              <a:cxn ang="0">
                <a:pos x="95" y="83"/>
              </a:cxn>
              <a:cxn ang="0">
                <a:pos x="104" y="79"/>
              </a:cxn>
              <a:cxn ang="0">
                <a:pos x="117" y="71"/>
              </a:cxn>
              <a:cxn ang="0">
                <a:pos x="125" y="61"/>
              </a:cxn>
              <a:cxn ang="0">
                <a:pos x="129" y="55"/>
              </a:cxn>
              <a:cxn ang="0">
                <a:pos x="136" y="42"/>
              </a:cxn>
              <a:cxn ang="0">
                <a:pos x="138" y="33"/>
              </a:cxn>
              <a:cxn ang="0">
                <a:pos x="133" y="27"/>
              </a:cxn>
              <a:cxn ang="0">
                <a:pos x="137" y="14"/>
              </a:cxn>
              <a:cxn ang="0">
                <a:pos x="142" y="6"/>
              </a:cxn>
              <a:cxn ang="0">
                <a:pos x="146" y="6"/>
              </a:cxn>
              <a:cxn ang="0">
                <a:pos x="150" y="10"/>
              </a:cxn>
              <a:cxn ang="0">
                <a:pos x="157" y="6"/>
              </a:cxn>
              <a:cxn ang="0">
                <a:pos x="150" y="6"/>
              </a:cxn>
              <a:cxn ang="0">
                <a:pos x="152" y="0"/>
              </a:cxn>
            </a:cxnLst>
            <a:rect l="0" t="0" r="r" b="b"/>
            <a:pathLst>
              <a:path w="169" h="141">
                <a:moveTo>
                  <a:pt x="154" y="2"/>
                </a:moveTo>
                <a:lnTo>
                  <a:pt x="158" y="0"/>
                </a:lnTo>
                <a:lnTo>
                  <a:pt x="160" y="3"/>
                </a:lnTo>
                <a:lnTo>
                  <a:pt x="160" y="8"/>
                </a:lnTo>
                <a:lnTo>
                  <a:pt x="160" y="13"/>
                </a:lnTo>
                <a:lnTo>
                  <a:pt x="161" y="16"/>
                </a:lnTo>
                <a:lnTo>
                  <a:pt x="164" y="19"/>
                </a:lnTo>
                <a:lnTo>
                  <a:pt x="165" y="24"/>
                </a:lnTo>
                <a:lnTo>
                  <a:pt x="168" y="28"/>
                </a:lnTo>
                <a:lnTo>
                  <a:pt x="169" y="35"/>
                </a:lnTo>
                <a:lnTo>
                  <a:pt x="169" y="38"/>
                </a:lnTo>
                <a:lnTo>
                  <a:pt x="168" y="39"/>
                </a:lnTo>
                <a:lnTo>
                  <a:pt x="168" y="42"/>
                </a:lnTo>
                <a:lnTo>
                  <a:pt x="165" y="44"/>
                </a:lnTo>
                <a:lnTo>
                  <a:pt x="164" y="44"/>
                </a:lnTo>
                <a:lnTo>
                  <a:pt x="161" y="52"/>
                </a:lnTo>
                <a:lnTo>
                  <a:pt x="161" y="55"/>
                </a:lnTo>
                <a:lnTo>
                  <a:pt x="157" y="55"/>
                </a:lnTo>
                <a:lnTo>
                  <a:pt x="154" y="57"/>
                </a:lnTo>
                <a:lnTo>
                  <a:pt x="153" y="61"/>
                </a:lnTo>
                <a:lnTo>
                  <a:pt x="153" y="66"/>
                </a:lnTo>
                <a:lnTo>
                  <a:pt x="154" y="71"/>
                </a:lnTo>
                <a:lnTo>
                  <a:pt x="154" y="75"/>
                </a:lnTo>
                <a:lnTo>
                  <a:pt x="154" y="79"/>
                </a:lnTo>
                <a:lnTo>
                  <a:pt x="152" y="82"/>
                </a:lnTo>
                <a:lnTo>
                  <a:pt x="149" y="86"/>
                </a:lnTo>
                <a:lnTo>
                  <a:pt x="148" y="91"/>
                </a:lnTo>
                <a:lnTo>
                  <a:pt x="148" y="97"/>
                </a:lnTo>
                <a:lnTo>
                  <a:pt x="150" y="101"/>
                </a:lnTo>
                <a:lnTo>
                  <a:pt x="150" y="102"/>
                </a:lnTo>
                <a:lnTo>
                  <a:pt x="148" y="104"/>
                </a:lnTo>
                <a:lnTo>
                  <a:pt x="145" y="108"/>
                </a:lnTo>
                <a:lnTo>
                  <a:pt x="144" y="112"/>
                </a:lnTo>
                <a:lnTo>
                  <a:pt x="137" y="116"/>
                </a:lnTo>
                <a:lnTo>
                  <a:pt x="136" y="115"/>
                </a:lnTo>
                <a:lnTo>
                  <a:pt x="137" y="107"/>
                </a:lnTo>
                <a:lnTo>
                  <a:pt x="138" y="105"/>
                </a:lnTo>
                <a:lnTo>
                  <a:pt x="140" y="104"/>
                </a:lnTo>
                <a:lnTo>
                  <a:pt x="136" y="104"/>
                </a:lnTo>
                <a:lnTo>
                  <a:pt x="134" y="107"/>
                </a:lnTo>
                <a:lnTo>
                  <a:pt x="133" y="108"/>
                </a:lnTo>
                <a:lnTo>
                  <a:pt x="133" y="112"/>
                </a:lnTo>
                <a:lnTo>
                  <a:pt x="132" y="110"/>
                </a:lnTo>
                <a:lnTo>
                  <a:pt x="128" y="110"/>
                </a:lnTo>
                <a:lnTo>
                  <a:pt x="126" y="112"/>
                </a:lnTo>
                <a:lnTo>
                  <a:pt x="125" y="119"/>
                </a:lnTo>
                <a:lnTo>
                  <a:pt x="122" y="121"/>
                </a:lnTo>
                <a:lnTo>
                  <a:pt x="121" y="121"/>
                </a:lnTo>
                <a:lnTo>
                  <a:pt x="120" y="116"/>
                </a:lnTo>
                <a:lnTo>
                  <a:pt x="121" y="113"/>
                </a:lnTo>
                <a:lnTo>
                  <a:pt x="118" y="113"/>
                </a:lnTo>
                <a:lnTo>
                  <a:pt x="116" y="116"/>
                </a:lnTo>
                <a:lnTo>
                  <a:pt x="113" y="118"/>
                </a:lnTo>
                <a:lnTo>
                  <a:pt x="112" y="121"/>
                </a:lnTo>
                <a:lnTo>
                  <a:pt x="112" y="123"/>
                </a:lnTo>
                <a:lnTo>
                  <a:pt x="107" y="121"/>
                </a:lnTo>
                <a:lnTo>
                  <a:pt x="99" y="121"/>
                </a:lnTo>
                <a:lnTo>
                  <a:pt x="95" y="123"/>
                </a:lnTo>
                <a:lnTo>
                  <a:pt x="96" y="121"/>
                </a:lnTo>
                <a:lnTo>
                  <a:pt x="97" y="119"/>
                </a:lnTo>
                <a:lnTo>
                  <a:pt x="95" y="119"/>
                </a:lnTo>
                <a:lnTo>
                  <a:pt x="93" y="118"/>
                </a:lnTo>
                <a:lnTo>
                  <a:pt x="92" y="119"/>
                </a:lnTo>
                <a:lnTo>
                  <a:pt x="91" y="118"/>
                </a:lnTo>
                <a:lnTo>
                  <a:pt x="91" y="113"/>
                </a:lnTo>
                <a:lnTo>
                  <a:pt x="89" y="115"/>
                </a:lnTo>
                <a:lnTo>
                  <a:pt x="85" y="121"/>
                </a:lnTo>
                <a:lnTo>
                  <a:pt x="91" y="124"/>
                </a:lnTo>
                <a:lnTo>
                  <a:pt x="91" y="129"/>
                </a:lnTo>
                <a:lnTo>
                  <a:pt x="89" y="127"/>
                </a:lnTo>
                <a:lnTo>
                  <a:pt x="87" y="129"/>
                </a:lnTo>
                <a:lnTo>
                  <a:pt x="85" y="129"/>
                </a:lnTo>
                <a:lnTo>
                  <a:pt x="83" y="129"/>
                </a:lnTo>
                <a:lnTo>
                  <a:pt x="83" y="132"/>
                </a:lnTo>
                <a:lnTo>
                  <a:pt x="81" y="132"/>
                </a:lnTo>
                <a:lnTo>
                  <a:pt x="77" y="140"/>
                </a:lnTo>
                <a:lnTo>
                  <a:pt x="75" y="141"/>
                </a:lnTo>
                <a:lnTo>
                  <a:pt x="71" y="140"/>
                </a:lnTo>
                <a:lnTo>
                  <a:pt x="68" y="137"/>
                </a:lnTo>
                <a:lnTo>
                  <a:pt x="65" y="135"/>
                </a:lnTo>
                <a:lnTo>
                  <a:pt x="65" y="132"/>
                </a:lnTo>
                <a:lnTo>
                  <a:pt x="65" y="127"/>
                </a:lnTo>
                <a:lnTo>
                  <a:pt x="67" y="126"/>
                </a:lnTo>
                <a:lnTo>
                  <a:pt x="69" y="123"/>
                </a:lnTo>
                <a:lnTo>
                  <a:pt x="69" y="121"/>
                </a:lnTo>
                <a:lnTo>
                  <a:pt x="68" y="119"/>
                </a:lnTo>
                <a:lnTo>
                  <a:pt x="64" y="121"/>
                </a:lnTo>
                <a:lnTo>
                  <a:pt x="60" y="119"/>
                </a:lnTo>
                <a:lnTo>
                  <a:pt x="56" y="119"/>
                </a:lnTo>
                <a:lnTo>
                  <a:pt x="53" y="119"/>
                </a:lnTo>
                <a:lnTo>
                  <a:pt x="51" y="121"/>
                </a:lnTo>
                <a:lnTo>
                  <a:pt x="45" y="124"/>
                </a:lnTo>
                <a:lnTo>
                  <a:pt x="44" y="123"/>
                </a:lnTo>
                <a:lnTo>
                  <a:pt x="41" y="124"/>
                </a:lnTo>
                <a:lnTo>
                  <a:pt x="40" y="124"/>
                </a:lnTo>
                <a:lnTo>
                  <a:pt x="37" y="126"/>
                </a:lnTo>
                <a:lnTo>
                  <a:pt x="36" y="126"/>
                </a:lnTo>
                <a:lnTo>
                  <a:pt x="33" y="127"/>
                </a:lnTo>
                <a:lnTo>
                  <a:pt x="27" y="129"/>
                </a:lnTo>
                <a:lnTo>
                  <a:pt x="24" y="127"/>
                </a:lnTo>
                <a:lnTo>
                  <a:pt x="23" y="127"/>
                </a:lnTo>
                <a:lnTo>
                  <a:pt x="20" y="134"/>
                </a:lnTo>
                <a:lnTo>
                  <a:pt x="19" y="134"/>
                </a:lnTo>
                <a:lnTo>
                  <a:pt x="15" y="134"/>
                </a:lnTo>
                <a:lnTo>
                  <a:pt x="12" y="132"/>
                </a:lnTo>
                <a:lnTo>
                  <a:pt x="9" y="134"/>
                </a:lnTo>
                <a:lnTo>
                  <a:pt x="8" y="134"/>
                </a:lnTo>
                <a:lnTo>
                  <a:pt x="7" y="134"/>
                </a:lnTo>
                <a:lnTo>
                  <a:pt x="4" y="132"/>
                </a:lnTo>
                <a:lnTo>
                  <a:pt x="2" y="132"/>
                </a:lnTo>
                <a:lnTo>
                  <a:pt x="0" y="129"/>
                </a:lnTo>
                <a:lnTo>
                  <a:pt x="2" y="126"/>
                </a:lnTo>
                <a:lnTo>
                  <a:pt x="8" y="124"/>
                </a:lnTo>
                <a:lnTo>
                  <a:pt x="11" y="123"/>
                </a:lnTo>
                <a:lnTo>
                  <a:pt x="13" y="119"/>
                </a:lnTo>
                <a:lnTo>
                  <a:pt x="17" y="118"/>
                </a:lnTo>
                <a:lnTo>
                  <a:pt x="21" y="113"/>
                </a:lnTo>
                <a:lnTo>
                  <a:pt x="24" y="112"/>
                </a:lnTo>
                <a:lnTo>
                  <a:pt x="27" y="107"/>
                </a:lnTo>
                <a:lnTo>
                  <a:pt x="29" y="105"/>
                </a:lnTo>
                <a:lnTo>
                  <a:pt x="33" y="104"/>
                </a:lnTo>
                <a:lnTo>
                  <a:pt x="39" y="105"/>
                </a:lnTo>
                <a:lnTo>
                  <a:pt x="43" y="105"/>
                </a:lnTo>
                <a:lnTo>
                  <a:pt x="48" y="105"/>
                </a:lnTo>
                <a:lnTo>
                  <a:pt x="59" y="104"/>
                </a:lnTo>
                <a:lnTo>
                  <a:pt x="61" y="102"/>
                </a:lnTo>
                <a:lnTo>
                  <a:pt x="64" y="102"/>
                </a:lnTo>
                <a:lnTo>
                  <a:pt x="67" y="102"/>
                </a:lnTo>
                <a:lnTo>
                  <a:pt x="67" y="104"/>
                </a:lnTo>
                <a:lnTo>
                  <a:pt x="72" y="105"/>
                </a:lnTo>
                <a:lnTo>
                  <a:pt x="73" y="105"/>
                </a:lnTo>
                <a:lnTo>
                  <a:pt x="75" y="104"/>
                </a:lnTo>
                <a:lnTo>
                  <a:pt x="79" y="102"/>
                </a:lnTo>
                <a:lnTo>
                  <a:pt x="79" y="93"/>
                </a:lnTo>
                <a:lnTo>
                  <a:pt x="83" y="90"/>
                </a:lnTo>
                <a:lnTo>
                  <a:pt x="87" y="85"/>
                </a:lnTo>
                <a:lnTo>
                  <a:pt x="89" y="80"/>
                </a:lnTo>
                <a:lnTo>
                  <a:pt x="89" y="75"/>
                </a:lnTo>
                <a:lnTo>
                  <a:pt x="89" y="72"/>
                </a:lnTo>
                <a:lnTo>
                  <a:pt x="95" y="71"/>
                </a:lnTo>
                <a:lnTo>
                  <a:pt x="97" y="71"/>
                </a:lnTo>
                <a:lnTo>
                  <a:pt x="97" y="72"/>
                </a:lnTo>
                <a:lnTo>
                  <a:pt x="95" y="74"/>
                </a:lnTo>
                <a:lnTo>
                  <a:pt x="92" y="77"/>
                </a:lnTo>
                <a:lnTo>
                  <a:pt x="93" y="80"/>
                </a:lnTo>
                <a:lnTo>
                  <a:pt x="93" y="83"/>
                </a:lnTo>
                <a:lnTo>
                  <a:pt x="95" y="83"/>
                </a:lnTo>
                <a:lnTo>
                  <a:pt x="99" y="83"/>
                </a:lnTo>
                <a:lnTo>
                  <a:pt x="101" y="80"/>
                </a:lnTo>
                <a:lnTo>
                  <a:pt x="104" y="79"/>
                </a:lnTo>
                <a:lnTo>
                  <a:pt x="109" y="77"/>
                </a:lnTo>
                <a:lnTo>
                  <a:pt x="113" y="74"/>
                </a:lnTo>
                <a:lnTo>
                  <a:pt x="117" y="71"/>
                </a:lnTo>
                <a:lnTo>
                  <a:pt x="118" y="68"/>
                </a:lnTo>
                <a:lnTo>
                  <a:pt x="121" y="63"/>
                </a:lnTo>
                <a:lnTo>
                  <a:pt x="125" y="61"/>
                </a:lnTo>
                <a:lnTo>
                  <a:pt x="126" y="61"/>
                </a:lnTo>
                <a:lnTo>
                  <a:pt x="129" y="58"/>
                </a:lnTo>
                <a:lnTo>
                  <a:pt x="129" y="55"/>
                </a:lnTo>
                <a:lnTo>
                  <a:pt x="130" y="53"/>
                </a:lnTo>
                <a:lnTo>
                  <a:pt x="134" y="46"/>
                </a:lnTo>
                <a:lnTo>
                  <a:pt x="136" y="42"/>
                </a:lnTo>
                <a:lnTo>
                  <a:pt x="136" y="41"/>
                </a:lnTo>
                <a:lnTo>
                  <a:pt x="137" y="38"/>
                </a:lnTo>
                <a:lnTo>
                  <a:pt x="138" y="33"/>
                </a:lnTo>
                <a:lnTo>
                  <a:pt x="138" y="30"/>
                </a:lnTo>
                <a:lnTo>
                  <a:pt x="137" y="28"/>
                </a:lnTo>
                <a:lnTo>
                  <a:pt x="133" y="27"/>
                </a:lnTo>
                <a:lnTo>
                  <a:pt x="136" y="25"/>
                </a:lnTo>
                <a:lnTo>
                  <a:pt x="138" y="22"/>
                </a:lnTo>
                <a:lnTo>
                  <a:pt x="137" y="14"/>
                </a:lnTo>
                <a:lnTo>
                  <a:pt x="138" y="13"/>
                </a:lnTo>
                <a:lnTo>
                  <a:pt x="141" y="11"/>
                </a:lnTo>
                <a:lnTo>
                  <a:pt x="142" y="6"/>
                </a:lnTo>
                <a:lnTo>
                  <a:pt x="142" y="5"/>
                </a:lnTo>
                <a:lnTo>
                  <a:pt x="145" y="5"/>
                </a:lnTo>
                <a:lnTo>
                  <a:pt x="146" y="6"/>
                </a:lnTo>
                <a:lnTo>
                  <a:pt x="148" y="10"/>
                </a:lnTo>
                <a:lnTo>
                  <a:pt x="149" y="11"/>
                </a:lnTo>
                <a:lnTo>
                  <a:pt x="150" y="10"/>
                </a:lnTo>
                <a:lnTo>
                  <a:pt x="153" y="10"/>
                </a:lnTo>
                <a:lnTo>
                  <a:pt x="154" y="10"/>
                </a:lnTo>
                <a:lnTo>
                  <a:pt x="157" y="6"/>
                </a:lnTo>
                <a:lnTo>
                  <a:pt x="157" y="3"/>
                </a:lnTo>
                <a:lnTo>
                  <a:pt x="154" y="5"/>
                </a:lnTo>
                <a:lnTo>
                  <a:pt x="150" y="6"/>
                </a:lnTo>
                <a:lnTo>
                  <a:pt x="150" y="3"/>
                </a:lnTo>
                <a:lnTo>
                  <a:pt x="150" y="0"/>
                </a:lnTo>
                <a:lnTo>
                  <a:pt x="152" y="0"/>
                </a:lnTo>
                <a:lnTo>
                  <a:pt x="154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31" name="Freeform 530"/>
          <p:cNvSpPr>
            <a:spLocks/>
          </p:cNvSpPr>
          <p:nvPr/>
        </p:nvSpPr>
        <p:spPr bwMode="auto">
          <a:xfrm>
            <a:off x="9650008" y="2997710"/>
            <a:ext cx="9744" cy="12885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4" y="3"/>
              </a:cxn>
              <a:cxn ang="0">
                <a:pos x="3" y="7"/>
              </a:cxn>
              <a:cxn ang="0">
                <a:pos x="0" y="7"/>
              </a:cxn>
              <a:cxn ang="0">
                <a:pos x="0" y="4"/>
              </a:cxn>
              <a:cxn ang="0">
                <a:pos x="1" y="0"/>
              </a:cxn>
              <a:cxn ang="0">
                <a:pos x="4" y="0"/>
              </a:cxn>
            </a:cxnLst>
            <a:rect l="0" t="0" r="r" b="b"/>
            <a:pathLst>
              <a:path w="4" h="7">
                <a:moveTo>
                  <a:pt x="4" y="0"/>
                </a:moveTo>
                <a:lnTo>
                  <a:pt x="4" y="3"/>
                </a:lnTo>
                <a:lnTo>
                  <a:pt x="3" y="7"/>
                </a:lnTo>
                <a:lnTo>
                  <a:pt x="0" y="7"/>
                </a:lnTo>
                <a:lnTo>
                  <a:pt x="0" y="4"/>
                </a:lnTo>
                <a:lnTo>
                  <a:pt x="1" y="0"/>
                </a:lnTo>
                <a:lnTo>
                  <a:pt x="4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32" name="Freeform 531"/>
          <p:cNvSpPr>
            <a:spLocks/>
          </p:cNvSpPr>
          <p:nvPr/>
        </p:nvSpPr>
        <p:spPr bwMode="auto">
          <a:xfrm>
            <a:off x="9650008" y="2997710"/>
            <a:ext cx="9744" cy="12885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4" y="3"/>
              </a:cxn>
              <a:cxn ang="0">
                <a:pos x="3" y="7"/>
              </a:cxn>
              <a:cxn ang="0">
                <a:pos x="0" y="7"/>
              </a:cxn>
              <a:cxn ang="0">
                <a:pos x="0" y="4"/>
              </a:cxn>
              <a:cxn ang="0">
                <a:pos x="1" y="0"/>
              </a:cxn>
              <a:cxn ang="0">
                <a:pos x="4" y="0"/>
              </a:cxn>
            </a:cxnLst>
            <a:rect l="0" t="0" r="r" b="b"/>
            <a:pathLst>
              <a:path w="4" h="7">
                <a:moveTo>
                  <a:pt x="4" y="0"/>
                </a:moveTo>
                <a:lnTo>
                  <a:pt x="4" y="3"/>
                </a:lnTo>
                <a:lnTo>
                  <a:pt x="3" y="7"/>
                </a:lnTo>
                <a:lnTo>
                  <a:pt x="0" y="7"/>
                </a:lnTo>
                <a:lnTo>
                  <a:pt x="0" y="4"/>
                </a:lnTo>
                <a:lnTo>
                  <a:pt x="1" y="0"/>
                </a:lnTo>
                <a:lnTo>
                  <a:pt x="4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33" name="Freeform 532"/>
          <p:cNvSpPr>
            <a:spLocks/>
          </p:cNvSpPr>
          <p:nvPr/>
        </p:nvSpPr>
        <p:spPr bwMode="auto">
          <a:xfrm>
            <a:off x="9476563" y="3133009"/>
            <a:ext cx="70158" cy="60133"/>
          </a:xfrm>
          <a:custGeom>
            <a:avLst/>
            <a:gdLst/>
            <a:ahLst/>
            <a:cxnLst>
              <a:cxn ang="0">
                <a:pos x="31" y="19"/>
              </a:cxn>
              <a:cxn ang="0">
                <a:pos x="27" y="17"/>
              </a:cxn>
              <a:cxn ang="0">
                <a:pos x="23" y="15"/>
              </a:cxn>
              <a:cxn ang="0">
                <a:pos x="20" y="17"/>
              </a:cxn>
              <a:cxn ang="0">
                <a:pos x="17" y="19"/>
              </a:cxn>
              <a:cxn ang="0">
                <a:pos x="16" y="22"/>
              </a:cxn>
              <a:cxn ang="0">
                <a:pos x="13" y="26"/>
              </a:cxn>
              <a:cxn ang="0">
                <a:pos x="12" y="30"/>
              </a:cxn>
              <a:cxn ang="0">
                <a:pos x="9" y="30"/>
              </a:cxn>
              <a:cxn ang="0">
                <a:pos x="8" y="28"/>
              </a:cxn>
              <a:cxn ang="0">
                <a:pos x="7" y="26"/>
              </a:cxn>
              <a:cxn ang="0">
                <a:pos x="4" y="22"/>
              </a:cxn>
              <a:cxn ang="0">
                <a:pos x="5" y="20"/>
              </a:cxn>
              <a:cxn ang="0">
                <a:pos x="4" y="19"/>
              </a:cxn>
              <a:cxn ang="0">
                <a:pos x="1" y="17"/>
              </a:cxn>
              <a:cxn ang="0">
                <a:pos x="0" y="17"/>
              </a:cxn>
              <a:cxn ang="0">
                <a:pos x="4" y="14"/>
              </a:cxn>
              <a:cxn ang="0">
                <a:pos x="9" y="6"/>
              </a:cxn>
              <a:cxn ang="0">
                <a:pos x="13" y="8"/>
              </a:cxn>
              <a:cxn ang="0">
                <a:pos x="15" y="8"/>
              </a:cxn>
              <a:cxn ang="0">
                <a:pos x="17" y="8"/>
              </a:cxn>
              <a:cxn ang="0">
                <a:pos x="20" y="6"/>
              </a:cxn>
              <a:cxn ang="0">
                <a:pos x="21" y="3"/>
              </a:cxn>
              <a:cxn ang="0">
                <a:pos x="25" y="0"/>
              </a:cxn>
              <a:cxn ang="0">
                <a:pos x="27" y="0"/>
              </a:cxn>
              <a:cxn ang="0">
                <a:pos x="31" y="1"/>
              </a:cxn>
              <a:cxn ang="0">
                <a:pos x="33" y="3"/>
              </a:cxn>
              <a:cxn ang="0">
                <a:pos x="36" y="3"/>
              </a:cxn>
              <a:cxn ang="0">
                <a:pos x="37" y="9"/>
              </a:cxn>
              <a:cxn ang="0">
                <a:pos x="36" y="12"/>
              </a:cxn>
              <a:cxn ang="0">
                <a:pos x="35" y="12"/>
              </a:cxn>
              <a:cxn ang="0">
                <a:pos x="33" y="14"/>
              </a:cxn>
              <a:cxn ang="0">
                <a:pos x="32" y="17"/>
              </a:cxn>
              <a:cxn ang="0">
                <a:pos x="31" y="19"/>
              </a:cxn>
            </a:cxnLst>
            <a:rect l="0" t="0" r="r" b="b"/>
            <a:pathLst>
              <a:path w="37" h="30">
                <a:moveTo>
                  <a:pt x="31" y="19"/>
                </a:moveTo>
                <a:lnTo>
                  <a:pt x="27" y="17"/>
                </a:lnTo>
                <a:lnTo>
                  <a:pt x="23" y="15"/>
                </a:lnTo>
                <a:lnTo>
                  <a:pt x="20" y="17"/>
                </a:lnTo>
                <a:lnTo>
                  <a:pt x="17" y="19"/>
                </a:lnTo>
                <a:lnTo>
                  <a:pt x="16" y="22"/>
                </a:lnTo>
                <a:lnTo>
                  <a:pt x="13" y="26"/>
                </a:lnTo>
                <a:lnTo>
                  <a:pt x="12" y="30"/>
                </a:lnTo>
                <a:lnTo>
                  <a:pt x="9" y="30"/>
                </a:lnTo>
                <a:lnTo>
                  <a:pt x="8" y="28"/>
                </a:lnTo>
                <a:lnTo>
                  <a:pt x="7" y="26"/>
                </a:lnTo>
                <a:lnTo>
                  <a:pt x="4" y="22"/>
                </a:lnTo>
                <a:lnTo>
                  <a:pt x="5" y="20"/>
                </a:lnTo>
                <a:lnTo>
                  <a:pt x="4" y="19"/>
                </a:lnTo>
                <a:lnTo>
                  <a:pt x="1" y="17"/>
                </a:lnTo>
                <a:lnTo>
                  <a:pt x="0" y="17"/>
                </a:lnTo>
                <a:lnTo>
                  <a:pt x="4" y="14"/>
                </a:lnTo>
                <a:lnTo>
                  <a:pt x="9" y="6"/>
                </a:lnTo>
                <a:lnTo>
                  <a:pt x="13" y="8"/>
                </a:lnTo>
                <a:lnTo>
                  <a:pt x="15" y="8"/>
                </a:lnTo>
                <a:lnTo>
                  <a:pt x="17" y="8"/>
                </a:lnTo>
                <a:lnTo>
                  <a:pt x="20" y="6"/>
                </a:lnTo>
                <a:lnTo>
                  <a:pt x="21" y="3"/>
                </a:lnTo>
                <a:lnTo>
                  <a:pt x="25" y="0"/>
                </a:lnTo>
                <a:lnTo>
                  <a:pt x="27" y="0"/>
                </a:lnTo>
                <a:lnTo>
                  <a:pt x="31" y="1"/>
                </a:lnTo>
                <a:lnTo>
                  <a:pt x="33" y="3"/>
                </a:lnTo>
                <a:lnTo>
                  <a:pt x="36" y="3"/>
                </a:lnTo>
                <a:lnTo>
                  <a:pt x="37" y="9"/>
                </a:lnTo>
                <a:lnTo>
                  <a:pt x="36" y="12"/>
                </a:lnTo>
                <a:lnTo>
                  <a:pt x="35" y="12"/>
                </a:lnTo>
                <a:lnTo>
                  <a:pt x="33" y="14"/>
                </a:lnTo>
                <a:lnTo>
                  <a:pt x="32" y="17"/>
                </a:lnTo>
                <a:lnTo>
                  <a:pt x="31" y="19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34" name="Freeform 533"/>
          <p:cNvSpPr>
            <a:spLocks/>
          </p:cNvSpPr>
          <p:nvPr/>
        </p:nvSpPr>
        <p:spPr bwMode="auto">
          <a:xfrm>
            <a:off x="9476563" y="3133009"/>
            <a:ext cx="70158" cy="60133"/>
          </a:xfrm>
          <a:custGeom>
            <a:avLst/>
            <a:gdLst/>
            <a:ahLst/>
            <a:cxnLst>
              <a:cxn ang="0">
                <a:pos x="31" y="19"/>
              </a:cxn>
              <a:cxn ang="0">
                <a:pos x="27" y="17"/>
              </a:cxn>
              <a:cxn ang="0">
                <a:pos x="23" y="15"/>
              </a:cxn>
              <a:cxn ang="0">
                <a:pos x="20" y="17"/>
              </a:cxn>
              <a:cxn ang="0">
                <a:pos x="17" y="19"/>
              </a:cxn>
              <a:cxn ang="0">
                <a:pos x="16" y="22"/>
              </a:cxn>
              <a:cxn ang="0">
                <a:pos x="13" y="26"/>
              </a:cxn>
              <a:cxn ang="0">
                <a:pos x="12" y="30"/>
              </a:cxn>
              <a:cxn ang="0">
                <a:pos x="9" y="30"/>
              </a:cxn>
              <a:cxn ang="0">
                <a:pos x="8" y="28"/>
              </a:cxn>
              <a:cxn ang="0">
                <a:pos x="7" y="26"/>
              </a:cxn>
              <a:cxn ang="0">
                <a:pos x="4" y="22"/>
              </a:cxn>
              <a:cxn ang="0">
                <a:pos x="5" y="20"/>
              </a:cxn>
              <a:cxn ang="0">
                <a:pos x="4" y="19"/>
              </a:cxn>
              <a:cxn ang="0">
                <a:pos x="1" y="17"/>
              </a:cxn>
              <a:cxn ang="0">
                <a:pos x="0" y="17"/>
              </a:cxn>
              <a:cxn ang="0">
                <a:pos x="4" y="14"/>
              </a:cxn>
              <a:cxn ang="0">
                <a:pos x="9" y="6"/>
              </a:cxn>
              <a:cxn ang="0">
                <a:pos x="13" y="8"/>
              </a:cxn>
              <a:cxn ang="0">
                <a:pos x="15" y="8"/>
              </a:cxn>
              <a:cxn ang="0">
                <a:pos x="17" y="8"/>
              </a:cxn>
              <a:cxn ang="0">
                <a:pos x="20" y="6"/>
              </a:cxn>
              <a:cxn ang="0">
                <a:pos x="21" y="3"/>
              </a:cxn>
              <a:cxn ang="0">
                <a:pos x="25" y="0"/>
              </a:cxn>
              <a:cxn ang="0">
                <a:pos x="27" y="0"/>
              </a:cxn>
              <a:cxn ang="0">
                <a:pos x="31" y="1"/>
              </a:cxn>
              <a:cxn ang="0">
                <a:pos x="33" y="3"/>
              </a:cxn>
              <a:cxn ang="0">
                <a:pos x="36" y="3"/>
              </a:cxn>
              <a:cxn ang="0">
                <a:pos x="37" y="9"/>
              </a:cxn>
              <a:cxn ang="0">
                <a:pos x="36" y="12"/>
              </a:cxn>
              <a:cxn ang="0">
                <a:pos x="35" y="12"/>
              </a:cxn>
              <a:cxn ang="0">
                <a:pos x="33" y="14"/>
              </a:cxn>
              <a:cxn ang="0">
                <a:pos x="32" y="17"/>
              </a:cxn>
              <a:cxn ang="0">
                <a:pos x="31" y="19"/>
              </a:cxn>
            </a:cxnLst>
            <a:rect l="0" t="0" r="r" b="b"/>
            <a:pathLst>
              <a:path w="37" h="30">
                <a:moveTo>
                  <a:pt x="31" y="19"/>
                </a:moveTo>
                <a:lnTo>
                  <a:pt x="27" y="17"/>
                </a:lnTo>
                <a:lnTo>
                  <a:pt x="23" y="15"/>
                </a:lnTo>
                <a:lnTo>
                  <a:pt x="20" y="17"/>
                </a:lnTo>
                <a:lnTo>
                  <a:pt x="17" y="19"/>
                </a:lnTo>
                <a:lnTo>
                  <a:pt x="16" y="22"/>
                </a:lnTo>
                <a:lnTo>
                  <a:pt x="13" y="26"/>
                </a:lnTo>
                <a:lnTo>
                  <a:pt x="12" y="30"/>
                </a:lnTo>
                <a:lnTo>
                  <a:pt x="9" y="30"/>
                </a:lnTo>
                <a:lnTo>
                  <a:pt x="8" y="28"/>
                </a:lnTo>
                <a:lnTo>
                  <a:pt x="7" y="26"/>
                </a:lnTo>
                <a:lnTo>
                  <a:pt x="4" y="22"/>
                </a:lnTo>
                <a:lnTo>
                  <a:pt x="5" y="20"/>
                </a:lnTo>
                <a:lnTo>
                  <a:pt x="4" y="19"/>
                </a:lnTo>
                <a:lnTo>
                  <a:pt x="1" y="17"/>
                </a:lnTo>
                <a:lnTo>
                  <a:pt x="0" y="17"/>
                </a:lnTo>
                <a:lnTo>
                  <a:pt x="4" y="14"/>
                </a:lnTo>
                <a:lnTo>
                  <a:pt x="9" y="6"/>
                </a:lnTo>
                <a:lnTo>
                  <a:pt x="13" y="8"/>
                </a:lnTo>
                <a:lnTo>
                  <a:pt x="15" y="8"/>
                </a:lnTo>
                <a:lnTo>
                  <a:pt x="17" y="8"/>
                </a:lnTo>
                <a:lnTo>
                  <a:pt x="20" y="6"/>
                </a:lnTo>
                <a:lnTo>
                  <a:pt x="21" y="3"/>
                </a:lnTo>
                <a:lnTo>
                  <a:pt x="25" y="0"/>
                </a:lnTo>
                <a:lnTo>
                  <a:pt x="27" y="0"/>
                </a:lnTo>
                <a:lnTo>
                  <a:pt x="31" y="1"/>
                </a:lnTo>
                <a:lnTo>
                  <a:pt x="33" y="3"/>
                </a:lnTo>
                <a:lnTo>
                  <a:pt x="36" y="3"/>
                </a:lnTo>
                <a:lnTo>
                  <a:pt x="37" y="9"/>
                </a:lnTo>
                <a:lnTo>
                  <a:pt x="36" y="12"/>
                </a:lnTo>
                <a:lnTo>
                  <a:pt x="35" y="12"/>
                </a:lnTo>
                <a:lnTo>
                  <a:pt x="33" y="14"/>
                </a:lnTo>
                <a:lnTo>
                  <a:pt x="32" y="17"/>
                </a:lnTo>
                <a:lnTo>
                  <a:pt x="31" y="19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35" name="Freeform 534"/>
          <p:cNvSpPr>
            <a:spLocks/>
          </p:cNvSpPr>
          <p:nvPr/>
        </p:nvSpPr>
        <p:spPr bwMode="auto">
          <a:xfrm>
            <a:off x="9546720" y="3128715"/>
            <a:ext cx="11693" cy="10737"/>
          </a:xfrm>
          <a:custGeom>
            <a:avLst/>
            <a:gdLst/>
            <a:ahLst/>
            <a:cxnLst>
              <a:cxn ang="0">
                <a:pos x="6" y="0"/>
              </a:cxn>
              <a:cxn ang="0">
                <a:pos x="3" y="3"/>
              </a:cxn>
              <a:cxn ang="0">
                <a:pos x="0" y="6"/>
              </a:cxn>
              <a:cxn ang="0">
                <a:pos x="3" y="6"/>
              </a:cxn>
              <a:cxn ang="0">
                <a:pos x="4" y="4"/>
              </a:cxn>
              <a:cxn ang="0">
                <a:pos x="4" y="3"/>
              </a:cxn>
              <a:cxn ang="0">
                <a:pos x="6" y="0"/>
              </a:cxn>
            </a:cxnLst>
            <a:rect l="0" t="0" r="r" b="b"/>
            <a:pathLst>
              <a:path w="6" h="6">
                <a:moveTo>
                  <a:pt x="6" y="0"/>
                </a:moveTo>
                <a:lnTo>
                  <a:pt x="3" y="3"/>
                </a:lnTo>
                <a:lnTo>
                  <a:pt x="0" y="6"/>
                </a:lnTo>
                <a:lnTo>
                  <a:pt x="3" y="6"/>
                </a:lnTo>
                <a:lnTo>
                  <a:pt x="4" y="4"/>
                </a:lnTo>
                <a:lnTo>
                  <a:pt x="4" y="3"/>
                </a:lnTo>
                <a:lnTo>
                  <a:pt x="6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36" name="Freeform 535"/>
          <p:cNvSpPr>
            <a:spLocks/>
          </p:cNvSpPr>
          <p:nvPr/>
        </p:nvSpPr>
        <p:spPr bwMode="auto">
          <a:xfrm>
            <a:off x="9546720" y="3128715"/>
            <a:ext cx="11693" cy="10737"/>
          </a:xfrm>
          <a:custGeom>
            <a:avLst/>
            <a:gdLst/>
            <a:ahLst/>
            <a:cxnLst>
              <a:cxn ang="0">
                <a:pos x="6" y="0"/>
              </a:cxn>
              <a:cxn ang="0">
                <a:pos x="3" y="3"/>
              </a:cxn>
              <a:cxn ang="0">
                <a:pos x="0" y="6"/>
              </a:cxn>
              <a:cxn ang="0">
                <a:pos x="3" y="6"/>
              </a:cxn>
              <a:cxn ang="0">
                <a:pos x="4" y="4"/>
              </a:cxn>
              <a:cxn ang="0">
                <a:pos x="4" y="3"/>
              </a:cxn>
              <a:cxn ang="0">
                <a:pos x="6" y="0"/>
              </a:cxn>
            </a:cxnLst>
            <a:rect l="0" t="0" r="r" b="b"/>
            <a:pathLst>
              <a:path w="6" h="6">
                <a:moveTo>
                  <a:pt x="6" y="0"/>
                </a:moveTo>
                <a:lnTo>
                  <a:pt x="3" y="3"/>
                </a:lnTo>
                <a:lnTo>
                  <a:pt x="0" y="6"/>
                </a:lnTo>
                <a:lnTo>
                  <a:pt x="3" y="6"/>
                </a:lnTo>
                <a:lnTo>
                  <a:pt x="4" y="4"/>
                </a:lnTo>
                <a:lnTo>
                  <a:pt x="4" y="3"/>
                </a:lnTo>
                <a:lnTo>
                  <a:pt x="6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37" name="Freeform 536"/>
          <p:cNvSpPr>
            <a:spLocks/>
          </p:cNvSpPr>
          <p:nvPr/>
        </p:nvSpPr>
        <p:spPr bwMode="auto">
          <a:xfrm>
            <a:off x="9404457" y="3150191"/>
            <a:ext cx="64310" cy="98790"/>
          </a:xfrm>
          <a:custGeom>
            <a:avLst/>
            <a:gdLst/>
            <a:ahLst/>
            <a:cxnLst>
              <a:cxn ang="0">
                <a:pos x="18" y="0"/>
              </a:cxn>
              <a:cxn ang="0">
                <a:pos x="14" y="1"/>
              </a:cxn>
              <a:cxn ang="0">
                <a:pos x="10" y="6"/>
              </a:cxn>
              <a:cxn ang="0">
                <a:pos x="6" y="7"/>
              </a:cxn>
              <a:cxn ang="0">
                <a:pos x="4" y="7"/>
              </a:cxn>
              <a:cxn ang="0">
                <a:pos x="0" y="12"/>
              </a:cxn>
              <a:cxn ang="0">
                <a:pos x="4" y="17"/>
              </a:cxn>
              <a:cxn ang="0">
                <a:pos x="2" y="17"/>
              </a:cxn>
              <a:cxn ang="0">
                <a:pos x="1" y="23"/>
              </a:cxn>
              <a:cxn ang="0">
                <a:pos x="6" y="22"/>
              </a:cxn>
              <a:cxn ang="0">
                <a:pos x="10" y="20"/>
              </a:cxn>
              <a:cxn ang="0">
                <a:pos x="8" y="17"/>
              </a:cxn>
              <a:cxn ang="0">
                <a:pos x="9" y="14"/>
              </a:cxn>
              <a:cxn ang="0">
                <a:pos x="13" y="20"/>
              </a:cxn>
              <a:cxn ang="0">
                <a:pos x="14" y="23"/>
              </a:cxn>
              <a:cxn ang="0">
                <a:pos x="12" y="31"/>
              </a:cxn>
              <a:cxn ang="0">
                <a:pos x="9" y="34"/>
              </a:cxn>
              <a:cxn ang="0">
                <a:pos x="9" y="44"/>
              </a:cxn>
              <a:cxn ang="0">
                <a:pos x="10" y="47"/>
              </a:cxn>
              <a:cxn ang="0">
                <a:pos x="14" y="45"/>
              </a:cxn>
              <a:cxn ang="0">
                <a:pos x="14" y="39"/>
              </a:cxn>
              <a:cxn ang="0">
                <a:pos x="16" y="42"/>
              </a:cxn>
              <a:cxn ang="0">
                <a:pos x="17" y="47"/>
              </a:cxn>
              <a:cxn ang="0">
                <a:pos x="18" y="50"/>
              </a:cxn>
              <a:cxn ang="0">
                <a:pos x="21" y="47"/>
              </a:cxn>
              <a:cxn ang="0">
                <a:pos x="25" y="45"/>
              </a:cxn>
              <a:cxn ang="0">
                <a:pos x="29" y="31"/>
              </a:cxn>
              <a:cxn ang="0">
                <a:pos x="31" y="23"/>
              </a:cxn>
              <a:cxn ang="0">
                <a:pos x="34" y="18"/>
              </a:cxn>
              <a:cxn ang="0">
                <a:pos x="33" y="12"/>
              </a:cxn>
              <a:cxn ang="0">
                <a:pos x="29" y="11"/>
              </a:cxn>
              <a:cxn ang="0">
                <a:pos x="30" y="4"/>
              </a:cxn>
              <a:cxn ang="0">
                <a:pos x="22" y="6"/>
              </a:cxn>
              <a:cxn ang="0">
                <a:pos x="20" y="1"/>
              </a:cxn>
            </a:cxnLst>
            <a:rect l="0" t="0" r="r" b="b"/>
            <a:pathLst>
              <a:path w="34" h="51">
                <a:moveTo>
                  <a:pt x="17" y="0"/>
                </a:moveTo>
                <a:lnTo>
                  <a:pt x="18" y="0"/>
                </a:lnTo>
                <a:lnTo>
                  <a:pt x="17" y="0"/>
                </a:lnTo>
                <a:lnTo>
                  <a:pt x="14" y="1"/>
                </a:lnTo>
                <a:lnTo>
                  <a:pt x="12" y="3"/>
                </a:lnTo>
                <a:lnTo>
                  <a:pt x="10" y="6"/>
                </a:lnTo>
                <a:lnTo>
                  <a:pt x="9" y="6"/>
                </a:lnTo>
                <a:lnTo>
                  <a:pt x="6" y="7"/>
                </a:lnTo>
                <a:lnTo>
                  <a:pt x="5" y="9"/>
                </a:lnTo>
                <a:lnTo>
                  <a:pt x="4" y="7"/>
                </a:lnTo>
                <a:lnTo>
                  <a:pt x="2" y="9"/>
                </a:lnTo>
                <a:lnTo>
                  <a:pt x="0" y="12"/>
                </a:lnTo>
                <a:lnTo>
                  <a:pt x="2" y="15"/>
                </a:lnTo>
                <a:lnTo>
                  <a:pt x="4" y="17"/>
                </a:lnTo>
                <a:lnTo>
                  <a:pt x="4" y="18"/>
                </a:lnTo>
                <a:lnTo>
                  <a:pt x="2" y="17"/>
                </a:lnTo>
                <a:lnTo>
                  <a:pt x="1" y="17"/>
                </a:lnTo>
                <a:lnTo>
                  <a:pt x="1" y="23"/>
                </a:lnTo>
                <a:lnTo>
                  <a:pt x="2" y="22"/>
                </a:lnTo>
                <a:lnTo>
                  <a:pt x="6" y="22"/>
                </a:lnTo>
                <a:lnTo>
                  <a:pt x="9" y="23"/>
                </a:lnTo>
                <a:lnTo>
                  <a:pt x="10" y="20"/>
                </a:lnTo>
                <a:lnTo>
                  <a:pt x="9" y="18"/>
                </a:lnTo>
                <a:lnTo>
                  <a:pt x="8" y="17"/>
                </a:lnTo>
                <a:lnTo>
                  <a:pt x="8" y="14"/>
                </a:lnTo>
                <a:lnTo>
                  <a:pt x="9" y="14"/>
                </a:lnTo>
                <a:lnTo>
                  <a:pt x="10" y="17"/>
                </a:lnTo>
                <a:lnTo>
                  <a:pt x="13" y="20"/>
                </a:lnTo>
                <a:lnTo>
                  <a:pt x="13" y="23"/>
                </a:lnTo>
                <a:lnTo>
                  <a:pt x="14" y="23"/>
                </a:lnTo>
                <a:lnTo>
                  <a:pt x="13" y="26"/>
                </a:lnTo>
                <a:lnTo>
                  <a:pt x="12" y="31"/>
                </a:lnTo>
                <a:lnTo>
                  <a:pt x="10" y="33"/>
                </a:lnTo>
                <a:lnTo>
                  <a:pt x="9" y="34"/>
                </a:lnTo>
                <a:lnTo>
                  <a:pt x="9" y="39"/>
                </a:lnTo>
                <a:lnTo>
                  <a:pt x="9" y="44"/>
                </a:lnTo>
                <a:lnTo>
                  <a:pt x="9" y="45"/>
                </a:lnTo>
                <a:lnTo>
                  <a:pt x="10" y="47"/>
                </a:lnTo>
                <a:lnTo>
                  <a:pt x="14" y="50"/>
                </a:lnTo>
                <a:lnTo>
                  <a:pt x="14" y="45"/>
                </a:lnTo>
                <a:lnTo>
                  <a:pt x="14" y="42"/>
                </a:lnTo>
                <a:lnTo>
                  <a:pt x="14" y="39"/>
                </a:lnTo>
                <a:lnTo>
                  <a:pt x="17" y="40"/>
                </a:lnTo>
                <a:lnTo>
                  <a:pt x="16" y="42"/>
                </a:lnTo>
                <a:lnTo>
                  <a:pt x="16" y="44"/>
                </a:lnTo>
                <a:lnTo>
                  <a:pt x="17" y="47"/>
                </a:lnTo>
                <a:lnTo>
                  <a:pt x="17" y="51"/>
                </a:lnTo>
                <a:lnTo>
                  <a:pt x="18" y="50"/>
                </a:lnTo>
                <a:lnTo>
                  <a:pt x="21" y="48"/>
                </a:lnTo>
                <a:lnTo>
                  <a:pt x="21" y="47"/>
                </a:lnTo>
                <a:lnTo>
                  <a:pt x="23" y="44"/>
                </a:lnTo>
                <a:lnTo>
                  <a:pt x="25" y="45"/>
                </a:lnTo>
                <a:lnTo>
                  <a:pt x="26" y="40"/>
                </a:lnTo>
                <a:lnTo>
                  <a:pt x="29" y="31"/>
                </a:lnTo>
                <a:lnTo>
                  <a:pt x="30" y="26"/>
                </a:lnTo>
                <a:lnTo>
                  <a:pt x="31" y="23"/>
                </a:lnTo>
                <a:lnTo>
                  <a:pt x="34" y="22"/>
                </a:lnTo>
                <a:lnTo>
                  <a:pt x="34" y="18"/>
                </a:lnTo>
                <a:lnTo>
                  <a:pt x="34" y="15"/>
                </a:lnTo>
                <a:lnTo>
                  <a:pt x="33" y="12"/>
                </a:lnTo>
                <a:lnTo>
                  <a:pt x="29" y="12"/>
                </a:lnTo>
                <a:lnTo>
                  <a:pt x="29" y="11"/>
                </a:lnTo>
                <a:lnTo>
                  <a:pt x="30" y="6"/>
                </a:lnTo>
                <a:lnTo>
                  <a:pt x="30" y="4"/>
                </a:lnTo>
                <a:lnTo>
                  <a:pt x="27" y="6"/>
                </a:lnTo>
                <a:lnTo>
                  <a:pt x="22" y="6"/>
                </a:lnTo>
                <a:lnTo>
                  <a:pt x="20" y="3"/>
                </a:lnTo>
                <a:lnTo>
                  <a:pt x="20" y="1"/>
                </a:lnTo>
                <a:lnTo>
                  <a:pt x="17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38" name="Freeform 537"/>
          <p:cNvSpPr>
            <a:spLocks/>
          </p:cNvSpPr>
          <p:nvPr/>
        </p:nvSpPr>
        <p:spPr bwMode="auto">
          <a:xfrm>
            <a:off x="9404457" y="3150191"/>
            <a:ext cx="64310" cy="98790"/>
          </a:xfrm>
          <a:custGeom>
            <a:avLst/>
            <a:gdLst/>
            <a:ahLst/>
            <a:cxnLst>
              <a:cxn ang="0">
                <a:pos x="18" y="0"/>
              </a:cxn>
              <a:cxn ang="0">
                <a:pos x="14" y="1"/>
              </a:cxn>
              <a:cxn ang="0">
                <a:pos x="10" y="6"/>
              </a:cxn>
              <a:cxn ang="0">
                <a:pos x="6" y="7"/>
              </a:cxn>
              <a:cxn ang="0">
                <a:pos x="4" y="7"/>
              </a:cxn>
              <a:cxn ang="0">
                <a:pos x="0" y="12"/>
              </a:cxn>
              <a:cxn ang="0">
                <a:pos x="4" y="17"/>
              </a:cxn>
              <a:cxn ang="0">
                <a:pos x="2" y="17"/>
              </a:cxn>
              <a:cxn ang="0">
                <a:pos x="1" y="23"/>
              </a:cxn>
              <a:cxn ang="0">
                <a:pos x="6" y="22"/>
              </a:cxn>
              <a:cxn ang="0">
                <a:pos x="10" y="20"/>
              </a:cxn>
              <a:cxn ang="0">
                <a:pos x="8" y="17"/>
              </a:cxn>
              <a:cxn ang="0">
                <a:pos x="9" y="14"/>
              </a:cxn>
              <a:cxn ang="0">
                <a:pos x="13" y="20"/>
              </a:cxn>
              <a:cxn ang="0">
                <a:pos x="14" y="23"/>
              </a:cxn>
              <a:cxn ang="0">
                <a:pos x="12" y="31"/>
              </a:cxn>
              <a:cxn ang="0">
                <a:pos x="9" y="34"/>
              </a:cxn>
              <a:cxn ang="0">
                <a:pos x="9" y="44"/>
              </a:cxn>
              <a:cxn ang="0">
                <a:pos x="10" y="47"/>
              </a:cxn>
              <a:cxn ang="0">
                <a:pos x="14" y="45"/>
              </a:cxn>
              <a:cxn ang="0">
                <a:pos x="14" y="39"/>
              </a:cxn>
              <a:cxn ang="0">
                <a:pos x="16" y="42"/>
              </a:cxn>
              <a:cxn ang="0">
                <a:pos x="17" y="47"/>
              </a:cxn>
              <a:cxn ang="0">
                <a:pos x="18" y="50"/>
              </a:cxn>
              <a:cxn ang="0">
                <a:pos x="21" y="47"/>
              </a:cxn>
              <a:cxn ang="0">
                <a:pos x="25" y="45"/>
              </a:cxn>
              <a:cxn ang="0">
                <a:pos x="29" y="31"/>
              </a:cxn>
              <a:cxn ang="0">
                <a:pos x="31" y="23"/>
              </a:cxn>
              <a:cxn ang="0">
                <a:pos x="34" y="18"/>
              </a:cxn>
              <a:cxn ang="0">
                <a:pos x="33" y="12"/>
              </a:cxn>
              <a:cxn ang="0">
                <a:pos x="29" y="11"/>
              </a:cxn>
              <a:cxn ang="0">
                <a:pos x="30" y="4"/>
              </a:cxn>
              <a:cxn ang="0">
                <a:pos x="22" y="6"/>
              </a:cxn>
              <a:cxn ang="0">
                <a:pos x="20" y="1"/>
              </a:cxn>
            </a:cxnLst>
            <a:rect l="0" t="0" r="r" b="b"/>
            <a:pathLst>
              <a:path w="34" h="51">
                <a:moveTo>
                  <a:pt x="17" y="0"/>
                </a:moveTo>
                <a:lnTo>
                  <a:pt x="18" y="0"/>
                </a:lnTo>
                <a:lnTo>
                  <a:pt x="17" y="0"/>
                </a:lnTo>
                <a:lnTo>
                  <a:pt x="14" y="1"/>
                </a:lnTo>
                <a:lnTo>
                  <a:pt x="12" y="3"/>
                </a:lnTo>
                <a:lnTo>
                  <a:pt x="10" y="6"/>
                </a:lnTo>
                <a:lnTo>
                  <a:pt x="9" y="6"/>
                </a:lnTo>
                <a:lnTo>
                  <a:pt x="6" y="7"/>
                </a:lnTo>
                <a:lnTo>
                  <a:pt x="5" y="9"/>
                </a:lnTo>
                <a:lnTo>
                  <a:pt x="4" y="7"/>
                </a:lnTo>
                <a:lnTo>
                  <a:pt x="2" y="9"/>
                </a:lnTo>
                <a:lnTo>
                  <a:pt x="0" y="12"/>
                </a:lnTo>
                <a:lnTo>
                  <a:pt x="2" y="15"/>
                </a:lnTo>
                <a:lnTo>
                  <a:pt x="4" y="17"/>
                </a:lnTo>
                <a:lnTo>
                  <a:pt x="4" y="18"/>
                </a:lnTo>
                <a:lnTo>
                  <a:pt x="2" y="17"/>
                </a:lnTo>
                <a:lnTo>
                  <a:pt x="1" y="17"/>
                </a:lnTo>
                <a:lnTo>
                  <a:pt x="1" y="23"/>
                </a:lnTo>
                <a:lnTo>
                  <a:pt x="2" y="22"/>
                </a:lnTo>
                <a:lnTo>
                  <a:pt x="6" y="22"/>
                </a:lnTo>
                <a:lnTo>
                  <a:pt x="9" y="23"/>
                </a:lnTo>
                <a:lnTo>
                  <a:pt x="10" y="20"/>
                </a:lnTo>
                <a:lnTo>
                  <a:pt x="9" y="18"/>
                </a:lnTo>
                <a:lnTo>
                  <a:pt x="8" y="17"/>
                </a:lnTo>
                <a:lnTo>
                  <a:pt x="8" y="14"/>
                </a:lnTo>
                <a:lnTo>
                  <a:pt x="9" y="14"/>
                </a:lnTo>
                <a:lnTo>
                  <a:pt x="10" y="17"/>
                </a:lnTo>
                <a:lnTo>
                  <a:pt x="13" y="20"/>
                </a:lnTo>
                <a:lnTo>
                  <a:pt x="13" y="23"/>
                </a:lnTo>
                <a:lnTo>
                  <a:pt x="14" y="23"/>
                </a:lnTo>
                <a:lnTo>
                  <a:pt x="13" y="26"/>
                </a:lnTo>
                <a:lnTo>
                  <a:pt x="12" y="31"/>
                </a:lnTo>
                <a:lnTo>
                  <a:pt x="10" y="33"/>
                </a:lnTo>
                <a:lnTo>
                  <a:pt x="9" y="34"/>
                </a:lnTo>
                <a:lnTo>
                  <a:pt x="9" y="39"/>
                </a:lnTo>
                <a:lnTo>
                  <a:pt x="9" y="44"/>
                </a:lnTo>
                <a:lnTo>
                  <a:pt x="9" y="45"/>
                </a:lnTo>
                <a:lnTo>
                  <a:pt x="10" y="47"/>
                </a:lnTo>
                <a:lnTo>
                  <a:pt x="14" y="50"/>
                </a:lnTo>
                <a:lnTo>
                  <a:pt x="14" y="45"/>
                </a:lnTo>
                <a:lnTo>
                  <a:pt x="14" y="42"/>
                </a:lnTo>
                <a:lnTo>
                  <a:pt x="14" y="39"/>
                </a:lnTo>
                <a:lnTo>
                  <a:pt x="17" y="40"/>
                </a:lnTo>
                <a:lnTo>
                  <a:pt x="16" y="42"/>
                </a:lnTo>
                <a:lnTo>
                  <a:pt x="16" y="44"/>
                </a:lnTo>
                <a:lnTo>
                  <a:pt x="17" y="47"/>
                </a:lnTo>
                <a:lnTo>
                  <a:pt x="17" y="51"/>
                </a:lnTo>
                <a:lnTo>
                  <a:pt x="18" y="50"/>
                </a:lnTo>
                <a:lnTo>
                  <a:pt x="21" y="48"/>
                </a:lnTo>
                <a:lnTo>
                  <a:pt x="21" y="47"/>
                </a:lnTo>
                <a:lnTo>
                  <a:pt x="23" y="44"/>
                </a:lnTo>
                <a:lnTo>
                  <a:pt x="25" y="45"/>
                </a:lnTo>
                <a:lnTo>
                  <a:pt x="26" y="40"/>
                </a:lnTo>
                <a:lnTo>
                  <a:pt x="29" y="31"/>
                </a:lnTo>
                <a:lnTo>
                  <a:pt x="30" y="26"/>
                </a:lnTo>
                <a:lnTo>
                  <a:pt x="31" y="23"/>
                </a:lnTo>
                <a:lnTo>
                  <a:pt x="34" y="22"/>
                </a:lnTo>
                <a:lnTo>
                  <a:pt x="34" y="18"/>
                </a:lnTo>
                <a:lnTo>
                  <a:pt x="34" y="15"/>
                </a:lnTo>
                <a:lnTo>
                  <a:pt x="33" y="12"/>
                </a:lnTo>
                <a:lnTo>
                  <a:pt x="29" y="12"/>
                </a:lnTo>
                <a:lnTo>
                  <a:pt x="29" y="11"/>
                </a:lnTo>
                <a:lnTo>
                  <a:pt x="30" y="6"/>
                </a:lnTo>
                <a:lnTo>
                  <a:pt x="30" y="4"/>
                </a:lnTo>
                <a:lnTo>
                  <a:pt x="27" y="6"/>
                </a:lnTo>
                <a:lnTo>
                  <a:pt x="22" y="6"/>
                </a:lnTo>
                <a:lnTo>
                  <a:pt x="20" y="3"/>
                </a:lnTo>
                <a:lnTo>
                  <a:pt x="20" y="1"/>
                </a:lnTo>
                <a:lnTo>
                  <a:pt x="17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39" name="Freeform 538"/>
          <p:cNvSpPr>
            <a:spLocks/>
          </p:cNvSpPr>
          <p:nvPr/>
        </p:nvSpPr>
        <p:spPr bwMode="auto">
          <a:xfrm>
            <a:off x="9412252" y="3197438"/>
            <a:ext cx="5846" cy="12885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0" y="3"/>
              </a:cxn>
              <a:cxn ang="0">
                <a:pos x="0" y="4"/>
              </a:cxn>
              <a:cxn ang="0">
                <a:pos x="1" y="6"/>
              </a:cxn>
              <a:cxn ang="0">
                <a:pos x="3" y="1"/>
              </a:cxn>
              <a:cxn ang="0">
                <a:pos x="1" y="0"/>
              </a:cxn>
            </a:cxnLst>
            <a:rect l="0" t="0" r="r" b="b"/>
            <a:pathLst>
              <a:path w="3" h="6">
                <a:moveTo>
                  <a:pt x="1" y="0"/>
                </a:moveTo>
                <a:lnTo>
                  <a:pt x="0" y="3"/>
                </a:lnTo>
                <a:lnTo>
                  <a:pt x="0" y="4"/>
                </a:lnTo>
                <a:lnTo>
                  <a:pt x="1" y="6"/>
                </a:lnTo>
                <a:lnTo>
                  <a:pt x="3" y="1"/>
                </a:lnTo>
                <a:lnTo>
                  <a:pt x="1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40" name="Freeform 539"/>
          <p:cNvSpPr>
            <a:spLocks/>
          </p:cNvSpPr>
          <p:nvPr/>
        </p:nvSpPr>
        <p:spPr bwMode="auto">
          <a:xfrm>
            <a:off x="9412252" y="3197438"/>
            <a:ext cx="5846" cy="12885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0" y="3"/>
              </a:cxn>
              <a:cxn ang="0">
                <a:pos x="0" y="4"/>
              </a:cxn>
              <a:cxn ang="0">
                <a:pos x="1" y="6"/>
              </a:cxn>
              <a:cxn ang="0">
                <a:pos x="3" y="1"/>
              </a:cxn>
              <a:cxn ang="0">
                <a:pos x="1" y="0"/>
              </a:cxn>
            </a:cxnLst>
            <a:rect l="0" t="0" r="r" b="b"/>
            <a:pathLst>
              <a:path w="3" h="6">
                <a:moveTo>
                  <a:pt x="1" y="0"/>
                </a:moveTo>
                <a:lnTo>
                  <a:pt x="0" y="3"/>
                </a:lnTo>
                <a:lnTo>
                  <a:pt x="0" y="4"/>
                </a:lnTo>
                <a:lnTo>
                  <a:pt x="1" y="6"/>
                </a:lnTo>
                <a:lnTo>
                  <a:pt x="3" y="1"/>
                </a:lnTo>
                <a:lnTo>
                  <a:pt x="1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41" name="Freeform 540"/>
          <p:cNvSpPr>
            <a:spLocks/>
          </p:cNvSpPr>
          <p:nvPr/>
        </p:nvSpPr>
        <p:spPr bwMode="auto">
          <a:xfrm>
            <a:off x="9437586" y="3261866"/>
            <a:ext cx="5847" cy="10737"/>
          </a:xfrm>
          <a:custGeom>
            <a:avLst/>
            <a:gdLst/>
            <a:ahLst/>
            <a:cxnLst>
              <a:cxn ang="0">
                <a:pos x="3" y="2"/>
              </a:cxn>
              <a:cxn ang="0">
                <a:pos x="3" y="0"/>
              </a:cxn>
              <a:cxn ang="0">
                <a:pos x="2" y="2"/>
              </a:cxn>
              <a:cxn ang="0">
                <a:pos x="0" y="6"/>
              </a:cxn>
              <a:cxn ang="0">
                <a:pos x="2" y="6"/>
              </a:cxn>
              <a:cxn ang="0">
                <a:pos x="3" y="2"/>
              </a:cxn>
            </a:cxnLst>
            <a:rect l="0" t="0" r="r" b="b"/>
            <a:pathLst>
              <a:path w="3" h="6">
                <a:moveTo>
                  <a:pt x="3" y="2"/>
                </a:moveTo>
                <a:lnTo>
                  <a:pt x="3" y="0"/>
                </a:lnTo>
                <a:lnTo>
                  <a:pt x="2" y="2"/>
                </a:lnTo>
                <a:lnTo>
                  <a:pt x="0" y="6"/>
                </a:lnTo>
                <a:lnTo>
                  <a:pt x="2" y="6"/>
                </a:lnTo>
                <a:lnTo>
                  <a:pt x="3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42" name="Freeform 541"/>
          <p:cNvSpPr>
            <a:spLocks/>
          </p:cNvSpPr>
          <p:nvPr/>
        </p:nvSpPr>
        <p:spPr bwMode="auto">
          <a:xfrm>
            <a:off x="9437586" y="3261866"/>
            <a:ext cx="5847" cy="10737"/>
          </a:xfrm>
          <a:custGeom>
            <a:avLst/>
            <a:gdLst/>
            <a:ahLst/>
            <a:cxnLst>
              <a:cxn ang="0">
                <a:pos x="3" y="2"/>
              </a:cxn>
              <a:cxn ang="0">
                <a:pos x="3" y="0"/>
              </a:cxn>
              <a:cxn ang="0">
                <a:pos x="2" y="2"/>
              </a:cxn>
              <a:cxn ang="0">
                <a:pos x="0" y="6"/>
              </a:cxn>
              <a:cxn ang="0">
                <a:pos x="2" y="6"/>
              </a:cxn>
              <a:cxn ang="0">
                <a:pos x="3" y="2"/>
              </a:cxn>
            </a:cxnLst>
            <a:rect l="0" t="0" r="r" b="b"/>
            <a:pathLst>
              <a:path w="3" h="6">
                <a:moveTo>
                  <a:pt x="3" y="2"/>
                </a:moveTo>
                <a:lnTo>
                  <a:pt x="3" y="0"/>
                </a:lnTo>
                <a:lnTo>
                  <a:pt x="2" y="2"/>
                </a:lnTo>
                <a:lnTo>
                  <a:pt x="0" y="6"/>
                </a:lnTo>
                <a:lnTo>
                  <a:pt x="2" y="6"/>
                </a:lnTo>
                <a:lnTo>
                  <a:pt x="3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43" name="Freeform 542"/>
          <p:cNvSpPr>
            <a:spLocks/>
          </p:cNvSpPr>
          <p:nvPr/>
        </p:nvSpPr>
        <p:spPr bwMode="auto">
          <a:xfrm>
            <a:off x="9427843" y="3272603"/>
            <a:ext cx="1948" cy="8591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0" y="0"/>
              </a:cxn>
              <a:cxn ang="0">
                <a:pos x="0" y="2"/>
              </a:cxn>
              <a:cxn ang="0">
                <a:pos x="0" y="4"/>
              </a:cxn>
              <a:cxn ang="0">
                <a:pos x="2" y="4"/>
              </a:cxn>
              <a:cxn ang="0">
                <a:pos x="2" y="2"/>
              </a:cxn>
              <a:cxn ang="0">
                <a:pos x="1" y="0"/>
              </a:cxn>
            </a:cxnLst>
            <a:rect l="0" t="0" r="r" b="b"/>
            <a:pathLst>
              <a:path w="2" h="4">
                <a:moveTo>
                  <a:pt x="1" y="0"/>
                </a:move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2" y="4"/>
                </a:lnTo>
                <a:lnTo>
                  <a:pt x="2" y="2"/>
                </a:lnTo>
                <a:lnTo>
                  <a:pt x="1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44" name="Freeform 543"/>
          <p:cNvSpPr>
            <a:spLocks/>
          </p:cNvSpPr>
          <p:nvPr/>
        </p:nvSpPr>
        <p:spPr bwMode="auto">
          <a:xfrm>
            <a:off x="9427843" y="3272603"/>
            <a:ext cx="1948" cy="8591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0" y="0"/>
              </a:cxn>
              <a:cxn ang="0">
                <a:pos x="0" y="2"/>
              </a:cxn>
              <a:cxn ang="0">
                <a:pos x="0" y="4"/>
              </a:cxn>
              <a:cxn ang="0">
                <a:pos x="2" y="4"/>
              </a:cxn>
              <a:cxn ang="0">
                <a:pos x="2" y="2"/>
              </a:cxn>
              <a:cxn ang="0">
                <a:pos x="1" y="0"/>
              </a:cxn>
            </a:cxnLst>
            <a:rect l="0" t="0" r="r" b="b"/>
            <a:pathLst>
              <a:path w="2" h="4">
                <a:moveTo>
                  <a:pt x="1" y="0"/>
                </a:move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2" y="4"/>
                </a:lnTo>
                <a:lnTo>
                  <a:pt x="2" y="2"/>
                </a:lnTo>
                <a:lnTo>
                  <a:pt x="1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45" name="Freeform 544"/>
          <p:cNvSpPr>
            <a:spLocks/>
          </p:cNvSpPr>
          <p:nvPr/>
        </p:nvSpPr>
        <p:spPr bwMode="auto">
          <a:xfrm>
            <a:off x="9375224" y="3186698"/>
            <a:ext cx="5847" cy="10739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0" y="2"/>
              </a:cxn>
              <a:cxn ang="0">
                <a:pos x="0" y="5"/>
              </a:cxn>
              <a:cxn ang="0">
                <a:pos x="3" y="3"/>
              </a:cxn>
              <a:cxn ang="0">
                <a:pos x="1" y="0"/>
              </a:cxn>
            </a:cxnLst>
            <a:rect l="0" t="0" r="r" b="b"/>
            <a:pathLst>
              <a:path w="3" h="5">
                <a:moveTo>
                  <a:pt x="1" y="0"/>
                </a:moveTo>
                <a:lnTo>
                  <a:pt x="0" y="2"/>
                </a:lnTo>
                <a:lnTo>
                  <a:pt x="0" y="5"/>
                </a:lnTo>
                <a:lnTo>
                  <a:pt x="3" y="3"/>
                </a:lnTo>
                <a:lnTo>
                  <a:pt x="1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46" name="Freeform 545"/>
          <p:cNvSpPr>
            <a:spLocks/>
          </p:cNvSpPr>
          <p:nvPr/>
        </p:nvSpPr>
        <p:spPr bwMode="auto">
          <a:xfrm>
            <a:off x="9375224" y="3186698"/>
            <a:ext cx="5847" cy="10739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0" y="2"/>
              </a:cxn>
              <a:cxn ang="0">
                <a:pos x="0" y="5"/>
              </a:cxn>
              <a:cxn ang="0">
                <a:pos x="3" y="3"/>
              </a:cxn>
              <a:cxn ang="0">
                <a:pos x="1" y="0"/>
              </a:cxn>
            </a:cxnLst>
            <a:rect l="0" t="0" r="r" b="b"/>
            <a:pathLst>
              <a:path w="3" h="5">
                <a:moveTo>
                  <a:pt x="1" y="0"/>
                </a:moveTo>
                <a:lnTo>
                  <a:pt x="0" y="2"/>
                </a:lnTo>
                <a:lnTo>
                  <a:pt x="0" y="5"/>
                </a:lnTo>
                <a:lnTo>
                  <a:pt x="3" y="3"/>
                </a:lnTo>
                <a:lnTo>
                  <a:pt x="1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47" name="Freeform 546"/>
          <p:cNvSpPr>
            <a:spLocks/>
          </p:cNvSpPr>
          <p:nvPr/>
        </p:nvSpPr>
        <p:spPr bwMode="auto">
          <a:xfrm>
            <a:off x="9384968" y="3178109"/>
            <a:ext cx="5846" cy="8591"/>
          </a:xfrm>
          <a:custGeom>
            <a:avLst/>
            <a:gdLst/>
            <a:ahLst/>
            <a:cxnLst>
              <a:cxn ang="0">
                <a:pos x="3" y="2"/>
              </a:cxn>
              <a:cxn ang="0">
                <a:pos x="2" y="0"/>
              </a:cxn>
              <a:cxn ang="0">
                <a:pos x="0" y="3"/>
              </a:cxn>
              <a:cxn ang="0">
                <a:pos x="0" y="5"/>
              </a:cxn>
              <a:cxn ang="0">
                <a:pos x="3" y="3"/>
              </a:cxn>
              <a:cxn ang="0">
                <a:pos x="3" y="2"/>
              </a:cxn>
            </a:cxnLst>
            <a:rect l="0" t="0" r="r" b="b"/>
            <a:pathLst>
              <a:path w="3" h="5">
                <a:moveTo>
                  <a:pt x="3" y="2"/>
                </a:moveTo>
                <a:lnTo>
                  <a:pt x="2" y="0"/>
                </a:lnTo>
                <a:lnTo>
                  <a:pt x="0" y="3"/>
                </a:lnTo>
                <a:lnTo>
                  <a:pt x="0" y="5"/>
                </a:lnTo>
                <a:lnTo>
                  <a:pt x="3" y="3"/>
                </a:lnTo>
                <a:lnTo>
                  <a:pt x="3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48" name="Freeform 547"/>
          <p:cNvSpPr>
            <a:spLocks/>
          </p:cNvSpPr>
          <p:nvPr/>
        </p:nvSpPr>
        <p:spPr bwMode="auto">
          <a:xfrm>
            <a:off x="9384968" y="3178109"/>
            <a:ext cx="5846" cy="8591"/>
          </a:xfrm>
          <a:custGeom>
            <a:avLst/>
            <a:gdLst/>
            <a:ahLst/>
            <a:cxnLst>
              <a:cxn ang="0">
                <a:pos x="3" y="2"/>
              </a:cxn>
              <a:cxn ang="0">
                <a:pos x="2" y="0"/>
              </a:cxn>
              <a:cxn ang="0">
                <a:pos x="0" y="3"/>
              </a:cxn>
              <a:cxn ang="0">
                <a:pos x="0" y="5"/>
              </a:cxn>
              <a:cxn ang="0">
                <a:pos x="3" y="3"/>
              </a:cxn>
              <a:cxn ang="0">
                <a:pos x="3" y="2"/>
              </a:cxn>
            </a:cxnLst>
            <a:rect l="0" t="0" r="r" b="b"/>
            <a:pathLst>
              <a:path w="3" h="5">
                <a:moveTo>
                  <a:pt x="3" y="2"/>
                </a:moveTo>
                <a:lnTo>
                  <a:pt x="2" y="0"/>
                </a:lnTo>
                <a:lnTo>
                  <a:pt x="0" y="3"/>
                </a:lnTo>
                <a:lnTo>
                  <a:pt x="0" y="5"/>
                </a:lnTo>
                <a:lnTo>
                  <a:pt x="3" y="3"/>
                </a:lnTo>
                <a:lnTo>
                  <a:pt x="3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49" name="Freeform 548"/>
          <p:cNvSpPr>
            <a:spLocks/>
          </p:cNvSpPr>
          <p:nvPr/>
        </p:nvSpPr>
        <p:spPr bwMode="auto">
          <a:xfrm>
            <a:off x="9679239" y="2445776"/>
            <a:ext cx="1949" cy="2146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0" y="2"/>
              </a:cxn>
              <a:cxn ang="0">
                <a:pos x="1" y="2"/>
              </a:cxn>
              <a:cxn ang="0">
                <a:pos x="1" y="0"/>
              </a:cxn>
            </a:cxnLst>
            <a:rect l="0" t="0" r="r" b="b"/>
            <a:pathLst>
              <a:path w="1" h="2">
                <a:moveTo>
                  <a:pt x="1" y="0"/>
                </a:moveTo>
                <a:lnTo>
                  <a:pt x="0" y="2"/>
                </a:lnTo>
                <a:lnTo>
                  <a:pt x="1" y="2"/>
                </a:lnTo>
                <a:lnTo>
                  <a:pt x="1" y="0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50" name="Freeform 549"/>
          <p:cNvSpPr>
            <a:spLocks/>
          </p:cNvSpPr>
          <p:nvPr/>
        </p:nvSpPr>
        <p:spPr bwMode="auto">
          <a:xfrm>
            <a:off x="9404457" y="3152337"/>
            <a:ext cx="1948" cy="2148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0" y="2"/>
              </a:cxn>
              <a:cxn ang="0">
                <a:pos x="1" y="2"/>
              </a:cxn>
              <a:cxn ang="0">
                <a:pos x="1" y="0"/>
              </a:cxn>
            </a:cxnLst>
            <a:rect l="0" t="0" r="r" b="b"/>
            <a:pathLst>
              <a:path w="1" h="2">
                <a:moveTo>
                  <a:pt x="1" y="0"/>
                </a:moveTo>
                <a:lnTo>
                  <a:pt x="0" y="2"/>
                </a:lnTo>
                <a:lnTo>
                  <a:pt x="1" y="2"/>
                </a:lnTo>
                <a:lnTo>
                  <a:pt x="1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51" name="Freeform 550"/>
          <p:cNvSpPr>
            <a:spLocks/>
          </p:cNvSpPr>
          <p:nvPr/>
        </p:nvSpPr>
        <p:spPr bwMode="auto">
          <a:xfrm>
            <a:off x="9127725" y="3450856"/>
            <a:ext cx="48719" cy="120266"/>
          </a:xfrm>
          <a:custGeom>
            <a:avLst/>
            <a:gdLst/>
            <a:ahLst/>
            <a:cxnLst>
              <a:cxn ang="0">
                <a:pos x="21" y="0"/>
              </a:cxn>
              <a:cxn ang="0">
                <a:pos x="22" y="0"/>
              </a:cxn>
              <a:cxn ang="0">
                <a:pos x="24" y="2"/>
              </a:cxn>
              <a:cxn ang="0">
                <a:pos x="25" y="2"/>
              </a:cxn>
              <a:cxn ang="0">
                <a:pos x="26" y="2"/>
              </a:cxn>
              <a:cxn ang="0">
                <a:pos x="26" y="4"/>
              </a:cxn>
              <a:cxn ang="0">
                <a:pos x="26" y="5"/>
              </a:cxn>
              <a:cxn ang="0">
                <a:pos x="25" y="8"/>
              </a:cxn>
              <a:cxn ang="0">
                <a:pos x="25" y="10"/>
              </a:cxn>
              <a:cxn ang="0">
                <a:pos x="26" y="11"/>
              </a:cxn>
              <a:cxn ang="0">
                <a:pos x="25" y="15"/>
              </a:cxn>
              <a:cxn ang="0">
                <a:pos x="22" y="21"/>
              </a:cxn>
              <a:cxn ang="0">
                <a:pos x="22" y="29"/>
              </a:cxn>
              <a:cxn ang="0">
                <a:pos x="21" y="33"/>
              </a:cxn>
              <a:cxn ang="0">
                <a:pos x="18" y="40"/>
              </a:cxn>
              <a:cxn ang="0">
                <a:pos x="16" y="44"/>
              </a:cxn>
              <a:cxn ang="0">
                <a:pos x="14" y="48"/>
              </a:cxn>
              <a:cxn ang="0">
                <a:pos x="13" y="51"/>
              </a:cxn>
              <a:cxn ang="0">
                <a:pos x="10" y="60"/>
              </a:cxn>
              <a:cxn ang="0">
                <a:pos x="10" y="59"/>
              </a:cxn>
              <a:cxn ang="0">
                <a:pos x="9" y="54"/>
              </a:cxn>
              <a:cxn ang="0">
                <a:pos x="6" y="51"/>
              </a:cxn>
              <a:cxn ang="0">
                <a:pos x="4" y="49"/>
              </a:cxn>
              <a:cxn ang="0">
                <a:pos x="1" y="44"/>
              </a:cxn>
              <a:cxn ang="0">
                <a:pos x="0" y="37"/>
              </a:cxn>
              <a:cxn ang="0">
                <a:pos x="0" y="30"/>
              </a:cxn>
              <a:cxn ang="0">
                <a:pos x="0" y="27"/>
              </a:cxn>
              <a:cxn ang="0">
                <a:pos x="2" y="22"/>
              </a:cxn>
              <a:cxn ang="0">
                <a:pos x="13" y="5"/>
              </a:cxn>
              <a:cxn ang="0">
                <a:pos x="17" y="2"/>
              </a:cxn>
              <a:cxn ang="0">
                <a:pos x="18" y="0"/>
              </a:cxn>
              <a:cxn ang="0">
                <a:pos x="21" y="0"/>
              </a:cxn>
            </a:cxnLst>
            <a:rect l="0" t="0" r="r" b="b"/>
            <a:pathLst>
              <a:path w="26" h="60">
                <a:moveTo>
                  <a:pt x="21" y="0"/>
                </a:moveTo>
                <a:lnTo>
                  <a:pt x="22" y="0"/>
                </a:lnTo>
                <a:lnTo>
                  <a:pt x="24" y="2"/>
                </a:lnTo>
                <a:lnTo>
                  <a:pt x="25" y="2"/>
                </a:lnTo>
                <a:lnTo>
                  <a:pt x="26" y="2"/>
                </a:lnTo>
                <a:lnTo>
                  <a:pt x="26" y="4"/>
                </a:lnTo>
                <a:lnTo>
                  <a:pt x="26" y="5"/>
                </a:lnTo>
                <a:lnTo>
                  <a:pt x="25" y="8"/>
                </a:lnTo>
                <a:lnTo>
                  <a:pt x="25" y="10"/>
                </a:lnTo>
                <a:lnTo>
                  <a:pt x="26" y="11"/>
                </a:lnTo>
                <a:lnTo>
                  <a:pt x="25" y="15"/>
                </a:lnTo>
                <a:lnTo>
                  <a:pt x="22" y="21"/>
                </a:lnTo>
                <a:lnTo>
                  <a:pt x="22" y="29"/>
                </a:lnTo>
                <a:lnTo>
                  <a:pt x="21" y="33"/>
                </a:lnTo>
                <a:lnTo>
                  <a:pt x="18" y="40"/>
                </a:lnTo>
                <a:lnTo>
                  <a:pt x="16" y="44"/>
                </a:lnTo>
                <a:lnTo>
                  <a:pt x="14" y="48"/>
                </a:lnTo>
                <a:lnTo>
                  <a:pt x="13" y="51"/>
                </a:lnTo>
                <a:lnTo>
                  <a:pt x="10" y="60"/>
                </a:lnTo>
                <a:lnTo>
                  <a:pt x="10" y="59"/>
                </a:lnTo>
                <a:lnTo>
                  <a:pt x="9" y="54"/>
                </a:lnTo>
                <a:lnTo>
                  <a:pt x="6" y="51"/>
                </a:lnTo>
                <a:lnTo>
                  <a:pt x="4" y="49"/>
                </a:lnTo>
                <a:lnTo>
                  <a:pt x="1" y="44"/>
                </a:lnTo>
                <a:lnTo>
                  <a:pt x="0" y="37"/>
                </a:lnTo>
                <a:lnTo>
                  <a:pt x="0" y="30"/>
                </a:lnTo>
                <a:lnTo>
                  <a:pt x="0" y="27"/>
                </a:lnTo>
                <a:lnTo>
                  <a:pt x="2" y="22"/>
                </a:lnTo>
                <a:lnTo>
                  <a:pt x="13" y="5"/>
                </a:lnTo>
                <a:lnTo>
                  <a:pt x="17" y="2"/>
                </a:lnTo>
                <a:lnTo>
                  <a:pt x="18" y="0"/>
                </a:lnTo>
                <a:lnTo>
                  <a:pt x="21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52" name="Freeform 551"/>
          <p:cNvSpPr>
            <a:spLocks/>
          </p:cNvSpPr>
          <p:nvPr/>
        </p:nvSpPr>
        <p:spPr bwMode="auto">
          <a:xfrm>
            <a:off x="9127725" y="3450856"/>
            <a:ext cx="48719" cy="120266"/>
          </a:xfrm>
          <a:custGeom>
            <a:avLst/>
            <a:gdLst/>
            <a:ahLst/>
            <a:cxnLst>
              <a:cxn ang="0">
                <a:pos x="21" y="0"/>
              </a:cxn>
              <a:cxn ang="0">
                <a:pos x="22" y="0"/>
              </a:cxn>
              <a:cxn ang="0">
                <a:pos x="24" y="2"/>
              </a:cxn>
              <a:cxn ang="0">
                <a:pos x="25" y="2"/>
              </a:cxn>
              <a:cxn ang="0">
                <a:pos x="26" y="2"/>
              </a:cxn>
              <a:cxn ang="0">
                <a:pos x="26" y="4"/>
              </a:cxn>
              <a:cxn ang="0">
                <a:pos x="26" y="5"/>
              </a:cxn>
              <a:cxn ang="0">
                <a:pos x="25" y="8"/>
              </a:cxn>
              <a:cxn ang="0">
                <a:pos x="25" y="10"/>
              </a:cxn>
              <a:cxn ang="0">
                <a:pos x="26" y="11"/>
              </a:cxn>
              <a:cxn ang="0">
                <a:pos x="25" y="15"/>
              </a:cxn>
              <a:cxn ang="0">
                <a:pos x="22" y="21"/>
              </a:cxn>
              <a:cxn ang="0">
                <a:pos x="22" y="29"/>
              </a:cxn>
              <a:cxn ang="0">
                <a:pos x="21" y="33"/>
              </a:cxn>
              <a:cxn ang="0">
                <a:pos x="18" y="40"/>
              </a:cxn>
              <a:cxn ang="0">
                <a:pos x="16" y="44"/>
              </a:cxn>
              <a:cxn ang="0">
                <a:pos x="14" y="48"/>
              </a:cxn>
              <a:cxn ang="0">
                <a:pos x="13" y="51"/>
              </a:cxn>
              <a:cxn ang="0">
                <a:pos x="10" y="60"/>
              </a:cxn>
              <a:cxn ang="0">
                <a:pos x="10" y="59"/>
              </a:cxn>
              <a:cxn ang="0">
                <a:pos x="9" y="54"/>
              </a:cxn>
              <a:cxn ang="0">
                <a:pos x="6" y="51"/>
              </a:cxn>
              <a:cxn ang="0">
                <a:pos x="4" y="49"/>
              </a:cxn>
              <a:cxn ang="0">
                <a:pos x="1" y="44"/>
              </a:cxn>
              <a:cxn ang="0">
                <a:pos x="0" y="37"/>
              </a:cxn>
              <a:cxn ang="0">
                <a:pos x="0" y="30"/>
              </a:cxn>
              <a:cxn ang="0">
                <a:pos x="0" y="27"/>
              </a:cxn>
              <a:cxn ang="0">
                <a:pos x="2" y="22"/>
              </a:cxn>
              <a:cxn ang="0">
                <a:pos x="13" y="5"/>
              </a:cxn>
              <a:cxn ang="0">
                <a:pos x="17" y="2"/>
              </a:cxn>
              <a:cxn ang="0">
                <a:pos x="18" y="0"/>
              </a:cxn>
              <a:cxn ang="0">
                <a:pos x="21" y="0"/>
              </a:cxn>
            </a:cxnLst>
            <a:rect l="0" t="0" r="r" b="b"/>
            <a:pathLst>
              <a:path w="26" h="60">
                <a:moveTo>
                  <a:pt x="21" y="0"/>
                </a:moveTo>
                <a:lnTo>
                  <a:pt x="22" y="0"/>
                </a:lnTo>
                <a:lnTo>
                  <a:pt x="24" y="2"/>
                </a:lnTo>
                <a:lnTo>
                  <a:pt x="25" y="2"/>
                </a:lnTo>
                <a:lnTo>
                  <a:pt x="26" y="2"/>
                </a:lnTo>
                <a:lnTo>
                  <a:pt x="26" y="4"/>
                </a:lnTo>
                <a:lnTo>
                  <a:pt x="26" y="5"/>
                </a:lnTo>
                <a:lnTo>
                  <a:pt x="25" y="8"/>
                </a:lnTo>
                <a:lnTo>
                  <a:pt x="25" y="10"/>
                </a:lnTo>
                <a:lnTo>
                  <a:pt x="26" y="11"/>
                </a:lnTo>
                <a:lnTo>
                  <a:pt x="25" y="15"/>
                </a:lnTo>
                <a:lnTo>
                  <a:pt x="22" y="21"/>
                </a:lnTo>
                <a:lnTo>
                  <a:pt x="22" y="29"/>
                </a:lnTo>
                <a:lnTo>
                  <a:pt x="21" y="33"/>
                </a:lnTo>
                <a:lnTo>
                  <a:pt x="18" y="40"/>
                </a:lnTo>
                <a:lnTo>
                  <a:pt x="16" y="44"/>
                </a:lnTo>
                <a:lnTo>
                  <a:pt x="14" y="48"/>
                </a:lnTo>
                <a:lnTo>
                  <a:pt x="13" y="51"/>
                </a:lnTo>
                <a:lnTo>
                  <a:pt x="10" y="60"/>
                </a:lnTo>
                <a:lnTo>
                  <a:pt x="10" y="59"/>
                </a:lnTo>
                <a:lnTo>
                  <a:pt x="9" y="54"/>
                </a:lnTo>
                <a:lnTo>
                  <a:pt x="6" y="51"/>
                </a:lnTo>
                <a:lnTo>
                  <a:pt x="4" y="49"/>
                </a:lnTo>
                <a:lnTo>
                  <a:pt x="1" y="44"/>
                </a:lnTo>
                <a:lnTo>
                  <a:pt x="0" y="37"/>
                </a:lnTo>
                <a:lnTo>
                  <a:pt x="0" y="30"/>
                </a:lnTo>
                <a:lnTo>
                  <a:pt x="0" y="27"/>
                </a:lnTo>
                <a:lnTo>
                  <a:pt x="2" y="22"/>
                </a:lnTo>
                <a:lnTo>
                  <a:pt x="13" y="5"/>
                </a:lnTo>
                <a:lnTo>
                  <a:pt x="17" y="2"/>
                </a:lnTo>
                <a:lnTo>
                  <a:pt x="18" y="0"/>
                </a:lnTo>
                <a:lnTo>
                  <a:pt x="21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53" name="Freeform 552"/>
          <p:cNvSpPr>
            <a:spLocks/>
          </p:cNvSpPr>
          <p:nvPr/>
        </p:nvSpPr>
        <p:spPr bwMode="auto">
          <a:xfrm>
            <a:off x="9231013" y="3483069"/>
            <a:ext cx="3898" cy="644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1"/>
              </a:cxn>
              <a:cxn ang="0">
                <a:pos x="3" y="1"/>
              </a:cxn>
              <a:cxn ang="0">
                <a:pos x="3" y="3"/>
              </a:cxn>
              <a:cxn ang="0">
                <a:pos x="0" y="3"/>
              </a:cxn>
              <a:cxn ang="0">
                <a:pos x="0" y="1"/>
              </a:cxn>
              <a:cxn ang="0">
                <a:pos x="0" y="0"/>
              </a:cxn>
            </a:cxnLst>
            <a:rect l="0" t="0" r="r" b="b"/>
            <a:pathLst>
              <a:path w="3" h="3">
                <a:moveTo>
                  <a:pt x="0" y="0"/>
                </a:moveTo>
                <a:lnTo>
                  <a:pt x="1" y="1"/>
                </a:lnTo>
                <a:lnTo>
                  <a:pt x="3" y="1"/>
                </a:lnTo>
                <a:lnTo>
                  <a:pt x="3" y="3"/>
                </a:lnTo>
                <a:lnTo>
                  <a:pt x="0" y="3"/>
                </a:ln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54" name="Freeform 553"/>
          <p:cNvSpPr>
            <a:spLocks/>
          </p:cNvSpPr>
          <p:nvPr/>
        </p:nvSpPr>
        <p:spPr bwMode="auto">
          <a:xfrm>
            <a:off x="9231013" y="3483069"/>
            <a:ext cx="3898" cy="644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1"/>
              </a:cxn>
              <a:cxn ang="0">
                <a:pos x="3" y="1"/>
              </a:cxn>
              <a:cxn ang="0">
                <a:pos x="3" y="3"/>
              </a:cxn>
              <a:cxn ang="0">
                <a:pos x="0" y="3"/>
              </a:cxn>
              <a:cxn ang="0">
                <a:pos x="0" y="1"/>
              </a:cxn>
              <a:cxn ang="0">
                <a:pos x="0" y="0"/>
              </a:cxn>
            </a:cxnLst>
            <a:rect l="0" t="0" r="r" b="b"/>
            <a:pathLst>
              <a:path w="3" h="3">
                <a:moveTo>
                  <a:pt x="0" y="0"/>
                </a:moveTo>
                <a:lnTo>
                  <a:pt x="1" y="1"/>
                </a:lnTo>
                <a:lnTo>
                  <a:pt x="3" y="1"/>
                </a:lnTo>
                <a:lnTo>
                  <a:pt x="3" y="3"/>
                </a:lnTo>
                <a:lnTo>
                  <a:pt x="0" y="3"/>
                </a:lnTo>
                <a:lnTo>
                  <a:pt x="0" y="1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55" name="Freeform 554"/>
          <p:cNvSpPr>
            <a:spLocks/>
          </p:cNvSpPr>
          <p:nvPr/>
        </p:nvSpPr>
        <p:spPr bwMode="auto">
          <a:xfrm>
            <a:off x="9240756" y="3478774"/>
            <a:ext cx="3898" cy="10739"/>
          </a:xfrm>
          <a:custGeom>
            <a:avLst/>
            <a:gdLst/>
            <a:ahLst/>
            <a:cxnLst>
              <a:cxn ang="0">
                <a:pos x="2" y="3"/>
              </a:cxn>
              <a:cxn ang="0">
                <a:pos x="0" y="2"/>
              </a:cxn>
              <a:cxn ang="0">
                <a:pos x="3" y="2"/>
              </a:cxn>
              <a:cxn ang="0">
                <a:pos x="3" y="0"/>
              </a:cxn>
              <a:cxn ang="0">
                <a:pos x="3" y="2"/>
              </a:cxn>
              <a:cxn ang="0">
                <a:pos x="3" y="3"/>
              </a:cxn>
              <a:cxn ang="0">
                <a:pos x="2" y="5"/>
              </a:cxn>
              <a:cxn ang="0">
                <a:pos x="2" y="3"/>
              </a:cxn>
            </a:cxnLst>
            <a:rect l="0" t="0" r="r" b="b"/>
            <a:pathLst>
              <a:path w="3" h="5">
                <a:moveTo>
                  <a:pt x="2" y="3"/>
                </a:moveTo>
                <a:lnTo>
                  <a:pt x="0" y="2"/>
                </a:lnTo>
                <a:lnTo>
                  <a:pt x="3" y="2"/>
                </a:lnTo>
                <a:lnTo>
                  <a:pt x="3" y="0"/>
                </a:lnTo>
                <a:lnTo>
                  <a:pt x="3" y="2"/>
                </a:lnTo>
                <a:lnTo>
                  <a:pt x="3" y="3"/>
                </a:lnTo>
                <a:lnTo>
                  <a:pt x="2" y="5"/>
                </a:lnTo>
                <a:lnTo>
                  <a:pt x="2" y="3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56" name="Freeform 555"/>
          <p:cNvSpPr>
            <a:spLocks/>
          </p:cNvSpPr>
          <p:nvPr/>
        </p:nvSpPr>
        <p:spPr bwMode="auto">
          <a:xfrm>
            <a:off x="9240756" y="3478774"/>
            <a:ext cx="3898" cy="10739"/>
          </a:xfrm>
          <a:custGeom>
            <a:avLst/>
            <a:gdLst/>
            <a:ahLst/>
            <a:cxnLst>
              <a:cxn ang="0">
                <a:pos x="2" y="3"/>
              </a:cxn>
              <a:cxn ang="0">
                <a:pos x="0" y="2"/>
              </a:cxn>
              <a:cxn ang="0">
                <a:pos x="3" y="2"/>
              </a:cxn>
              <a:cxn ang="0">
                <a:pos x="3" y="0"/>
              </a:cxn>
              <a:cxn ang="0">
                <a:pos x="3" y="2"/>
              </a:cxn>
              <a:cxn ang="0">
                <a:pos x="3" y="3"/>
              </a:cxn>
              <a:cxn ang="0">
                <a:pos x="2" y="5"/>
              </a:cxn>
              <a:cxn ang="0">
                <a:pos x="2" y="3"/>
              </a:cxn>
            </a:cxnLst>
            <a:rect l="0" t="0" r="r" b="b"/>
            <a:pathLst>
              <a:path w="3" h="5">
                <a:moveTo>
                  <a:pt x="2" y="3"/>
                </a:moveTo>
                <a:lnTo>
                  <a:pt x="0" y="2"/>
                </a:lnTo>
                <a:lnTo>
                  <a:pt x="3" y="2"/>
                </a:lnTo>
                <a:lnTo>
                  <a:pt x="3" y="0"/>
                </a:lnTo>
                <a:lnTo>
                  <a:pt x="3" y="2"/>
                </a:lnTo>
                <a:lnTo>
                  <a:pt x="3" y="3"/>
                </a:lnTo>
                <a:lnTo>
                  <a:pt x="2" y="5"/>
                </a:lnTo>
                <a:lnTo>
                  <a:pt x="2" y="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57" name="Freeform 556"/>
          <p:cNvSpPr>
            <a:spLocks/>
          </p:cNvSpPr>
          <p:nvPr/>
        </p:nvSpPr>
        <p:spPr bwMode="auto">
          <a:xfrm>
            <a:off x="9344042" y="3397164"/>
            <a:ext cx="15591" cy="25772"/>
          </a:xfrm>
          <a:custGeom>
            <a:avLst/>
            <a:gdLst/>
            <a:ahLst/>
            <a:cxnLst>
              <a:cxn ang="0">
                <a:pos x="1" y="6"/>
              </a:cxn>
              <a:cxn ang="0">
                <a:pos x="3" y="5"/>
              </a:cxn>
              <a:cxn ang="0">
                <a:pos x="3" y="3"/>
              </a:cxn>
              <a:cxn ang="0">
                <a:pos x="4" y="3"/>
              </a:cxn>
              <a:cxn ang="0">
                <a:pos x="7" y="2"/>
              </a:cxn>
              <a:cxn ang="0">
                <a:pos x="8" y="0"/>
              </a:cxn>
              <a:cxn ang="0">
                <a:pos x="8" y="2"/>
              </a:cxn>
              <a:cxn ang="0">
                <a:pos x="7" y="5"/>
              </a:cxn>
              <a:cxn ang="0">
                <a:pos x="5" y="6"/>
              </a:cxn>
              <a:cxn ang="0">
                <a:pos x="3" y="8"/>
              </a:cxn>
              <a:cxn ang="0">
                <a:pos x="3" y="10"/>
              </a:cxn>
              <a:cxn ang="0">
                <a:pos x="1" y="11"/>
              </a:cxn>
              <a:cxn ang="0">
                <a:pos x="1" y="13"/>
              </a:cxn>
              <a:cxn ang="0">
                <a:pos x="0" y="11"/>
              </a:cxn>
              <a:cxn ang="0">
                <a:pos x="1" y="8"/>
              </a:cxn>
              <a:cxn ang="0">
                <a:pos x="1" y="6"/>
              </a:cxn>
            </a:cxnLst>
            <a:rect l="0" t="0" r="r" b="b"/>
            <a:pathLst>
              <a:path w="8" h="13">
                <a:moveTo>
                  <a:pt x="1" y="6"/>
                </a:moveTo>
                <a:lnTo>
                  <a:pt x="3" y="5"/>
                </a:lnTo>
                <a:lnTo>
                  <a:pt x="3" y="3"/>
                </a:lnTo>
                <a:lnTo>
                  <a:pt x="4" y="3"/>
                </a:lnTo>
                <a:lnTo>
                  <a:pt x="7" y="2"/>
                </a:lnTo>
                <a:lnTo>
                  <a:pt x="8" y="0"/>
                </a:lnTo>
                <a:lnTo>
                  <a:pt x="8" y="2"/>
                </a:lnTo>
                <a:lnTo>
                  <a:pt x="7" y="5"/>
                </a:lnTo>
                <a:lnTo>
                  <a:pt x="5" y="6"/>
                </a:lnTo>
                <a:lnTo>
                  <a:pt x="3" y="8"/>
                </a:lnTo>
                <a:lnTo>
                  <a:pt x="3" y="10"/>
                </a:lnTo>
                <a:lnTo>
                  <a:pt x="1" y="11"/>
                </a:lnTo>
                <a:lnTo>
                  <a:pt x="1" y="13"/>
                </a:lnTo>
                <a:lnTo>
                  <a:pt x="0" y="11"/>
                </a:lnTo>
                <a:lnTo>
                  <a:pt x="1" y="8"/>
                </a:lnTo>
                <a:lnTo>
                  <a:pt x="1" y="6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58" name="Freeform 557"/>
          <p:cNvSpPr>
            <a:spLocks/>
          </p:cNvSpPr>
          <p:nvPr/>
        </p:nvSpPr>
        <p:spPr bwMode="auto">
          <a:xfrm>
            <a:off x="9344042" y="3397164"/>
            <a:ext cx="15591" cy="25772"/>
          </a:xfrm>
          <a:custGeom>
            <a:avLst/>
            <a:gdLst/>
            <a:ahLst/>
            <a:cxnLst>
              <a:cxn ang="0">
                <a:pos x="1" y="6"/>
              </a:cxn>
              <a:cxn ang="0">
                <a:pos x="3" y="5"/>
              </a:cxn>
              <a:cxn ang="0">
                <a:pos x="3" y="3"/>
              </a:cxn>
              <a:cxn ang="0">
                <a:pos x="4" y="3"/>
              </a:cxn>
              <a:cxn ang="0">
                <a:pos x="7" y="2"/>
              </a:cxn>
              <a:cxn ang="0">
                <a:pos x="8" y="0"/>
              </a:cxn>
              <a:cxn ang="0">
                <a:pos x="8" y="2"/>
              </a:cxn>
              <a:cxn ang="0">
                <a:pos x="7" y="5"/>
              </a:cxn>
              <a:cxn ang="0">
                <a:pos x="5" y="6"/>
              </a:cxn>
              <a:cxn ang="0">
                <a:pos x="3" y="8"/>
              </a:cxn>
              <a:cxn ang="0">
                <a:pos x="3" y="10"/>
              </a:cxn>
              <a:cxn ang="0">
                <a:pos x="1" y="11"/>
              </a:cxn>
              <a:cxn ang="0">
                <a:pos x="1" y="13"/>
              </a:cxn>
              <a:cxn ang="0">
                <a:pos x="0" y="11"/>
              </a:cxn>
              <a:cxn ang="0">
                <a:pos x="1" y="8"/>
              </a:cxn>
              <a:cxn ang="0">
                <a:pos x="1" y="6"/>
              </a:cxn>
            </a:cxnLst>
            <a:rect l="0" t="0" r="r" b="b"/>
            <a:pathLst>
              <a:path w="8" h="13">
                <a:moveTo>
                  <a:pt x="1" y="6"/>
                </a:moveTo>
                <a:lnTo>
                  <a:pt x="3" y="5"/>
                </a:lnTo>
                <a:lnTo>
                  <a:pt x="3" y="3"/>
                </a:lnTo>
                <a:lnTo>
                  <a:pt x="4" y="3"/>
                </a:lnTo>
                <a:lnTo>
                  <a:pt x="7" y="2"/>
                </a:lnTo>
                <a:lnTo>
                  <a:pt x="8" y="0"/>
                </a:lnTo>
                <a:lnTo>
                  <a:pt x="8" y="2"/>
                </a:lnTo>
                <a:lnTo>
                  <a:pt x="7" y="5"/>
                </a:lnTo>
                <a:lnTo>
                  <a:pt x="5" y="6"/>
                </a:lnTo>
                <a:lnTo>
                  <a:pt x="3" y="8"/>
                </a:lnTo>
                <a:lnTo>
                  <a:pt x="3" y="10"/>
                </a:lnTo>
                <a:lnTo>
                  <a:pt x="1" y="11"/>
                </a:lnTo>
                <a:lnTo>
                  <a:pt x="1" y="13"/>
                </a:lnTo>
                <a:lnTo>
                  <a:pt x="0" y="11"/>
                </a:lnTo>
                <a:lnTo>
                  <a:pt x="1" y="8"/>
                </a:lnTo>
                <a:lnTo>
                  <a:pt x="1" y="6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59" name="Freeform 558"/>
          <p:cNvSpPr>
            <a:spLocks/>
          </p:cNvSpPr>
          <p:nvPr/>
        </p:nvSpPr>
        <p:spPr bwMode="auto">
          <a:xfrm>
            <a:off x="9381072" y="3358508"/>
            <a:ext cx="1948" cy="429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1" y="3"/>
              </a:cxn>
              <a:cxn ang="0">
                <a:pos x="0" y="3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1" h="3">
                <a:moveTo>
                  <a:pt x="0" y="2"/>
                </a:moveTo>
                <a:lnTo>
                  <a:pt x="1" y="3"/>
                </a:lnTo>
                <a:lnTo>
                  <a:pt x="0" y="3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60" name="Freeform 559"/>
          <p:cNvSpPr>
            <a:spLocks/>
          </p:cNvSpPr>
          <p:nvPr/>
        </p:nvSpPr>
        <p:spPr bwMode="auto">
          <a:xfrm>
            <a:off x="9381072" y="3358508"/>
            <a:ext cx="1948" cy="429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1" y="3"/>
              </a:cxn>
              <a:cxn ang="0">
                <a:pos x="0" y="3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1" h="3">
                <a:moveTo>
                  <a:pt x="0" y="2"/>
                </a:moveTo>
                <a:lnTo>
                  <a:pt x="1" y="3"/>
                </a:lnTo>
                <a:lnTo>
                  <a:pt x="0" y="3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61" name="Freeform 560"/>
          <p:cNvSpPr>
            <a:spLocks/>
          </p:cNvSpPr>
          <p:nvPr/>
        </p:nvSpPr>
        <p:spPr bwMode="auto">
          <a:xfrm>
            <a:off x="9390814" y="3337032"/>
            <a:ext cx="9745" cy="15033"/>
          </a:xfrm>
          <a:custGeom>
            <a:avLst/>
            <a:gdLst/>
            <a:ahLst/>
            <a:cxnLst>
              <a:cxn ang="0">
                <a:pos x="3" y="2"/>
              </a:cxn>
              <a:cxn ang="0">
                <a:pos x="5" y="0"/>
              </a:cxn>
              <a:cxn ang="0">
                <a:pos x="5" y="4"/>
              </a:cxn>
              <a:cxn ang="0">
                <a:pos x="4" y="4"/>
              </a:cxn>
              <a:cxn ang="0">
                <a:pos x="3" y="5"/>
              </a:cxn>
              <a:cxn ang="0">
                <a:pos x="1" y="7"/>
              </a:cxn>
              <a:cxn ang="0">
                <a:pos x="0" y="5"/>
              </a:cxn>
              <a:cxn ang="0">
                <a:pos x="0" y="4"/>
              </a:cxn>
              <a:cxn ang="0">
                <a:pos x="1" y="2"/>
              </a:cxn>
              <a:cxn ang="0">
                <a:pos x="3" y="2"/>
              </a:cxn>
            </a:cxnLst>
            <a:rect l="0" t="0" r="r" b="b"/>
            <a:pathLst>
              <a:path w="5" h="7">
                <a:moveTo>
                  <a:pt x="3" y="2"/>
                </a:moveTo>
                <a:lnTo>
                  <a:pt x="5" y="0"/>
                </a:lnTo>
                <a:lnTo>
                  <a:pt x="5" y="4"/>
                </a:lnTo>
                <a:lnTo>
                  <a:pt x="4" y="4"/>
                </a:lnTo>
                <a:lnTo>
                  <a:pt x="3" y="5"/>
                </a:lnTo>
                <a:lnTo>
                  <a:pt x="1" y="7"/>
                </a:lnTo>
                <a:lnTo>
                  <a:pt x="0" y="5"/>
                </a:lnTo>
                <a:lnTo>
                  <a:pt x="0" y="4"/>
                </a:lnTo>
                <a:lnTo>
                  <a:pt x="1" y="2"/>
                </a:lnTo>
                <a:lnTo>
                  <a:pt x="3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62" name="Freeform 561"/>
          <p:cNvSpPr>
            <a:spLocks/>
          </p:cNvSpPr>
          <p:nvPr/>
        </p:nvSpPr>
        <p:spPr bwMode="auto">
          <a:xfrm>
            <a:off x="9390814" y="3337032"/>
            <a:ext cx="9745" cy="15033"/>
          </a:xfrm>
          <a:custGeom>
            <a:avLst/>
            <a:gdLst/>
            <a:ahLst/>
            <a:cxnLst>
              <a:cxn ang="0">
                <a:pos x="3" y="2"/>
              </a:cxn>
              <a:cxn ang="0">
                <a:pos x="5" y="0"/>
              </a:cxn>
              <a:cxn ang="0">
                <a:pos x="5" y="4"/>
              </a:cxn>
              <a:cxn ang="0">
                <a:pos x="4" y="4"/>
              </a:cxn>
              <a:cxn ang="0">
                <a:pos x="3" y="5"/>
              </a:cxn>
              <a:cxn ang="0">
                <a:pos x="1" y="7"/>
              </a:cxn>
              <a:cxn ang="0">
                <a:pos x="0" y="5"/>
              </a:cxn>
              <a:cxn ang="0">
                <a:pos x="0" y="4"/>
              </a:cxn>
              <a:cxn ang="0">
                <a:pos x="1" y="2"/>
              </a:cxn>
              <a:cxn ang="0">
                <a:pos x="3" y="2"/>
              </a:cxn>
            </a:cxnLst>
            <a:rect l="0" t="0" r="r" b="b"/>
            <a:pathLst>
              <a:path w="5" h="7">
                <a:moveTo>
                  <a:pt x="3" y="2"/>
                </a:moveTo>
                <a:lnTo>
                  <a:pt x="5" y="0"/>
                </a:lnTo>
                <a:lnTo>
                  <a:pt x="5" y="4"/>
                </a:lnTo>
                <a:lnTo>
                  <a:pt x="4" y="4"/>
                </a:lnTo>
                <a:lnTo>
                  <a:pt x="3" y="5"/>
                </a:lnTo>
                <a:lnTo>
                  <a:pt x="1" y="7"/>
                </a:lnTo>
                <a:lnTo>
                  <a:pt x="0" y="5"/>
                </a:lnTo>
                <a:lnTo>
                  <a:pt x="0" y="4"/>
                </a:lnTo>
                <a:lnTo>
                  <a:pt x="1" y="2"/>
                </a:lnTo>
                <a:lnTo>
                  <a:pt x="3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63" name="Freeform 562"/>
          <p:cNvSpPr>
            <a:spLocks/>
          </p:cNvSpPr>
          <p:nvPr/>
        </p:nvSpPr>
        <p:spPr bwMode="auto">
          <a:xfrm>
            <a:off x="9277783" y="3468037"/>
            <a:ext cx="3898" cy="429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0"/>
              </a:cxn>
              <a:cxn ang="0">
                <a:pos x="1" y="2"/>
              </a:cxn>
              <a:cxn ang="0">
                <a:pos x="3" y="2"/>
              </a:cxn>
              <a:cxn ang="0">
                <a:pos x="1" y="2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3" h="2">
                <a:moveTo>
                  <a:pt x="0" y="0"/>
                </a:moveTo>
                <a:lnTo>
                  <a:pt x="1" y="0"/>
                </a:lnTo>
                <a:lnTo>
                  <a:pt x="1" y="2"/>
                </a:lnTo>
                <a:lnTo>
                  <a:pt x="3" y="2"/>
                </a:lnTo>
                <a:lnTo>
                  <a:pt x="1" y="2"/>
                </a:ln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64" name="Freeform 563"/>
          <p:cNvSpPr>
            <a:spLocks/>
          </p:cNvSpPr>
          <p:nvPr/>
        </p:nvSpPr>
        <p:spPr bwMode="auto">
          <a:xfrm>
            <a:off x="9277783" y="3468037"/>
            <a:ext cx="3898" cy="429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0"/>
              </a:cxn>
              <a:cxn ang="0">
                <a:pos x="1" y="2"/>
              </a:cxn>
              <a:cxn ang="0">
                <a:pos x="3" y="2"/>
              </a:cxn>
              <a:cxn ang="0">
                <a:pos x="1" y="2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3" h="2">
                <a:moveTo>
                  <a:pt x="0" y="0"/>
                </a:moveTo>
                <a:lnTo>
                  <a:pt x="1" y="0"/>
                </a:lnTo>
                <a:lnTo>
                  <a:pt x="1" y="2"/>
                </a:lnTo>
                <a:lnTo>
                  <a:pt x="3" y="2"/>
                </a:lnTo>
                <a:lnTo>
                  <a:pt x="1" y="2"/>
                </a:lnTo>
                <a:lnTo>
                  <a:pt x="0" y="2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65" name="Freeform 564"/>
          <p:cNvSpPr>
            <a:spLocks/>
          </p:cNvSpPr>
          <p:nvPr/>
        </p:nvSpPr>
        <p:spPr bwMode="auto">
          <a:xfrm>
            <a:off x="8946486" y="3556088"/>
            <a:ext cx="5847" cy="4295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3" y="2"/>
              </a:cxn>
              <a:cxn ang="0">
                <a:pos x="2" y="2"/>
              </a:cxn>
              <a:cxn ang="0">
                <a:pos x="0" y="2"/>
              </a:cxn>
              <a:cxn ang="0">
                <a:pos x="0" y="3"/>
              </a:cxn>
              <a:cxn ang="0">
                <a:pos x="2" y="3"/>
              </a:cxn>
              <a:cxn ang="0">
                <a:pos x="3" y="2"/>
              </a:cxn>
              <a:cxn ang="0">
                <a:pos x="3" y="3"/>
              </a:cxn>
              <a:cxn ang="0">
                <a:pos x="3" y="2"/>
              </a:cxn>
              <a:cxn ang="0">
                <a:pos x="4" y="0"/>
              </a:cxn>
            </a:cxnLst>
            <a:rect l="0" t="0" r="r" b="b"/>
            <a:pathLst>
              <a:path w="4" h="3">
                <a:moveTo>
                  <a:pt x="4" y="0"/>
                </a:moveTo>
                <a:lnTo>
                  <a:pt x="3" y="2"/>
                </a:lnTo>
                <a:lnTo>
                  <a:pt x="2" y="2"/>
                </a:lnTo>
                <a:lnTo>
                  <a:pt x="0" y="2"/>
                </a:lnTo>
                <a:lnTo>
                  <a:pt x="0" y="3"/>
                </a:lnTo>
                <a:lnTo>
                  <a:pt x="2" y="3"/>
                </a:lnTo>
                <a:lnTo>
                  <a:pt x="3" y="2"/>
                </a:lnTo>
                <a:lnTo>
                  <a:pt x="3" y="3"/>
                </a:lnTo>
                <a:lnTo>
                  <a:pt x="3" y="2"/>
                </a:lnTo>
                <a:lnTo>
                  <a:pt x="4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66" name="Freeform 565"/>
          <p:cNvSpPr>
            <a:spLocks/>
          </p:cNvSpPr>
          <p:nvPr/>
        </p:nvSpPr>
        <p:spPr bwMode="auto">
          <a:xfrm>
            <a:off x="8946486" y="3556088"/>
            <a:ext cx="5847" cy="4295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3" y="2"/>
              </a:cxn>
              <a:cxn ang="0">
                <a:pos x="2" y="2"/>
              </a:cxn>
              <a:cxn ang="0">
                <a:pos x="0" y="2"/>
              </a:cxn>
              <a:cxn ang="0">
                <a:pos x="0" y="3"/>
              </a:cxn>
              <a:cxn ang="0">
                <a:pos x="2" y="3"/>
              </a:cxn>
              <a:cxn ang="0">
                <a:pos x="3" y="2"/>
              </a:cxn>
              <a:cxn ang="0">
                <a:pos x="3" y="3"/>
              </a:cxn>
              <a:cxn ang="0">
                <a:pos x="3" y="2"/>
              </a:cxn>
              <a:cxn ang="0">
                <a:pos x="4" y="0"/>
              </a:cxn>
            </a:cxnLst>
            <a:rect l="0" t="0" r="r" b="b"/>
            <a:pathLst>
              <a:path w="4" h="3">
                <a:moveTo>
                  <a:pt x="4" y="0"/>
                </a:moveTo>
                <a:lnTo>
                  <a:pt x="3" y="2"/>
                </a:lnTo>
                <a:lnTo>
                  <a:pt x="2" y="2"/>
                </a:lnTo>
                <a:lnTo>
                  <a:pt x="0" y="2"/>
                </a:lnTo>
                <a:lnTo>
                  <a:pt x="0" y="3"/>
                </a:lnTo>
                <a:lnTo>
                  <a:pt x="2" y="3"/>
                </a:lnTo>
                <a:lnTo>
                  <a:pt x="3" y="2"/>
                </a:lnTo>
                <a:lnTo>
                  <a:pt x="3" y="3"/>
                </a:lnTo>
                <a:lnTo>
                  <a:pt x="3" y="2"/>
                </a:lnTo>
                <a:lnTo>
                  <a:pt x="4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67" name="Freeform 566"/>
          <p:cNvSpPr>
            <a:spLocks/>
          </p:cNvSpPr>
          <p:nvPr/>
        </p:nvSpPr>
        <p:spPr bwMode="auto">
          <a:xfrm>
            <a:off x="8956229" y="3558236"/>
            <a:ext cx="3898" cy="2146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0" y="0"/>
              </a:cxn>
              <a:cxn ang="0">
                <a:pos x="1" y="1"/>
              </a:cxn>
              <a:cxn ang="0">
                <a:pos x="1" y="0"/>
              </a:cxn>
              <a:cxn ang="0">
                <a:pos x="1" y="1"/>
              </a:cxn>
              <a:cxn ang="0">
                <a:pos x="1" y="0"/>
              </a:cxn>
            </a:cxnLst>
            <a:rect l="0" t="0" r="r" b="b"/>
            <a:pathLst>
              <a:path w="1" h="1">
                <a:moveTo>
                  <a:pt x="1" y="0"/>
                </a:moveTo>
                <a:lnTo>
                  <a:pt x="0" y="0"/>
                </a:lnTo>
                <a:lnTo>
                  <a:pt x="1" y="1"/>
                </a:lnTo>
                <a:lnTo>
                  <a:pt x="1" y="0"/>
                </a:lnTo>
                <a:lnTo>
                  <a:pt x="1" y="1"/>
                </a:lnTo>
                <a:lnTo>
                  <a:pt x="1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68" name="Freeform 567"/>
          <p:cNvSpPr>
            <a:spLocks/>
          </p:cNvSpPr>
          <p:nvPr/>
        </p:nvSpPr>
        <p:spPr bwMode="auto">
          <a:xfrm>
            <a:off x="8956229" y="3558236"/>
            <a:ext cx="3898" cy="2146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0" y="0"/>
              </a:cxn>
              <a:cxn ang="0">
                <a:pos x="1" y="1"/>
              </a:cxn>
              <a:cxn ang="0">
                <a:pos x="1" y="0"/>
              </a:cxn>
              <a:cxn ang="0">
                <a:pos x="1" y="1"/>
              </a:cxn>
              <a:cxn ang="0">
                <a:pos x="1" y="0"/>
              </a:cxn>
            </a:cxnLst>
            <a:rect l="0" t="0" r="r" b="b"/>
            <a:pathLst>
              <a:path w="1" h="1">
                <a:moveTo>
                  <a:pt x="1" y="0"/>
                </a:moveTo>
                <a:lnTo>
                  <a:pt x="0" y="0"/>
                </a:lnTo>
                <a:lnTo>
                  <a:pt x="1" y="1"/>
                </a:lnTo>
                <a:lnTo>
                  <a:pt x="1" y="0"/>
                </a:lnTo>
                <a:lnTo>
                  <a:pt x="1" y="1"/>
                </a:lnTo>
                <a:lnTo>
                  <a:pt x="1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69" name="Freeform 568"/>
          <p:cNvSpPr>
            <a:spLocks/>
          </p:cNvSpPr>
          <p:nvPr/>
        </p:nvSpPr>
        <p:spPr bwMode="auto">
          <a:xfrm>
            <a:off x="6604010" y="3085763"/>
            <a:ext cx="66259" cy="36509"/>
          </a:xfrm>
          <a:custGeom>
            <a:avLst/>
            <a:gdLst/>
            <a:ahLst/>
            <a:cxnLst>
              <a:cxn ang="0">
                <a:pos x="25" y="3"/>
              </a:cxn>
              <a:cxn ang="0">
                <a:pos x="29" y="2"/>
              </a:cxn>
              <a:cxn ang="0">
                <a:pos x="30" y="0"/>
              </a:cxn>
              <a:cxn ang="0">
                <a:pos x="33" y="0"/>
              </a:cxn>
              <a:cxn ang="0">
                <a:pos x="34" y="0"/>
              </a:cxn>
              <a:cxn ang="0">
                <a:pos x="33" y="2"/>
              </a:cxn>
              <a:cxn ang="0">
                <a:pos x="31" y="5"/>
              </a:cxn>
              <a:cxn ang="0">
                <a:pos x="29" y="5"/>
              </a:cxn>
              <a:cxn ang="0">
                <a:pos x="26" y="10"/>
              </a:cxn>
              <a:cxn ang="0">
                <a:pos x="26" y="11"/>
              </a:cxn>
              <a:cxn ang="0">
                <a:pos x="25" y="13"/>
              </a:cxn>
              <a:cxn ang="0">
                <a:pos x="21" y="14"/>
              </a:cxn>
              <a:cxn ang="0">
                <a:pos x="18" y="17"/>
              </a:cxn>
              <a:cxn ang="0">
                <a:pos x="14" y="17"/>
              </a:cxn>
              <a:cxn ang="0">
                <a:pos x="12" y="19"/>
              </a:cxn>
              <a:cxn ang="0">
                <a:pos x="6" y="19"/>
              </a:cxn>
              <a:cxn ang="0">
                <a:pos x="2" y="17"/>
              </a:cxn>
              <a:cxn ang="0">
                <a:pos x="1" y="14"/>
              </a:cxn>
              <a:cxn ang="0">
                <a:pos x="0" y="11"/>
              </a:cxn>
              <a:cxn ang="0">
                <a:pos x="2" y="11"/>
              </a:cxn>
              <a:cxn ang="0">
                <a:pos x="5" y="10"/>
              </a:cxn>
              <a:cxn ang="0">
                <a:pos x="8" y="10"/>
              </a:cxn>
              <a:cxn ang="0">
                <a:pos x="10" y="8"/>
              </a:cxn>
              <a:cxn ang="0">
                <a:pos x="10" y="6"/>
              </a:cxn>
              <a:cxn ang="0">
                <a:pos x="12" y="6"/>
              </a:cxn>
              <a:cxn ang="0">
                <a:pos x="17" y="6"/>
              </a:cxn>
              <a:cxn ang="0">
                <a:pos x="25" y="3"/>
              </a:cxn>
            </a:cxnLst>
            <a:rect l="0" t="0" r="r" b="b"/>
            <a:pathLst>
              <a:path w="34" h="19">
                <a:moveTo>
                  <a:pt x="25" y="3"/>
                </a:moveTo>
                <a:lnTo>
                  <a:pt x="29" y="2"/>
                </a:lnTo>
                <a:lnTo>
                  <a:pt x="30" y="0"/>
                </a:lnTo>
                <a:lnTo>
                  <a:pt x="33" y="0"/>
                </a:lnTo>
                <a:lnTo>
                  <a:pt x="34" y="0"/>
                </a:lnTo>
                <a:lnTo>
                  <a:pt x="33" y="2"/>
                </a:lnTo>
                <a:lnTo>
                  <a:pt x="31" y="5"/>
                </a:lnTo>
                <a:lnTo>
                  <a:pt x="29" y="5"/>
                </a:lnTo>
                <a:lnTo>
                  <a:pt x="26" y="10"/>
                </a:lnTo>
                <a:lnTo>
                  <a:pt x="26" y="11"/>
                </a:lnTo>
                <a:lnTo>
                  <a:pt x="25" y="13"/>
                </a:lnTo>
                <a:lnTo>
                  <a:pt x="21" y="14"/>
                </a:lnTo>
                <a:lnTo>
                  <a:pt x="18" y="17"/>
                </a:lnTo>
                <a:lnTo>
                  <a:pt x="14" y="17"/>
                </a:lnTo>
                <a:lnTo>
                  <a:pt x="12" y="19"/>
                </a:lnTo>
                <a:lnTo>
                  <a:pt x="6" y="19"/>
                </a:lnTo>
                <a:lnTo>
                  <a:pt x="2" y="17"/>
                </a:lnTo>
                <a:lnTo>
                  <a:pt x="1" y="14"/>
                </a:lnTo>
                <a:lnTo>
                  <a:pt x="0" y="11"/>
                </a:lnTo>
                <a:lnTo>
                  <a:pt x="2" y="11"/>
                </a:lnTo>
                <a:lnTo>
                  <a:pt x="5" y="10"/>
                </a:lnTo>
                <a:lnTo>
                  <a:pt x="8" y="10"/>
                </a:lnTo>
                <a:lnTo>
                  <a:pt x="10" y="8"/>
                </a:lnTo>
                <a:lnTo>
                  <a:pt x="10" y="6"/>
                </a:lnTo>
                <a:lnTo>
                  <a:pt x="12" y="6"/>
                </a:lnTo>
                <a:lnTo>
                  <a:pt x="17" y="6"/>
                </a:lnTo>
                <a:lnTo>
                  <a:pt x="25" y="3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70" name="Freeform 569"/>
          <p:cNvSpPr>
            <a:spLocks/>
          </p:cNvSpPr>
          <p:nvPr/>
        </p:nvSpPr>
        <p:spPr bwMode="auto">
          <a:xfrm>
            <a:off x="6604010" y="3085763"/>
            <a:ext cx="66259" cy="36509"/>
          </a:xfrm>
          <a:custGeom>
            <a:avLst/>
            <a:gdLst/>
            <a:ahLst/>
            <a:cxnLst>
              <a:cxn ang="0">
                <a:pos x="25" y="3"/>
              </a:cxn>
              <a:cxn ang="0">
                <a:pos x="29" y="2"/>
              </a:cxn>
              <a:cxn ang="0">
                <a:pos x="30" y="0"/>
              </a:cxn>
              <a:cxn ang="0">
                <a:pos x="33" y="0"/>
              </a:cxn>
              <a:cxn ang="0">
                <a:pos x="34" y="0"/>
              </a:cxn>
              <a:cxn ang="0">
                <a:pos x="33" y="2"/>
              </a:cxn>
              <a:cxn ang="0">
                <a:pos x="31" y="5"/>
              </a:cxn>
              <a:cxn ang="0">
                <a:pos x="29" y="5"/>
              </a:cxn>
              <a:cxn ang="0">
                <a:pos x="26" y="10"/>
              </a:cxn>
              <a:cxn ang="0">
                <a:pos x="26" y="11"/>
              </a:cxn>
              <a:cxn ang="0">
                <a:pos x="25" y="13"/>
              </a:cxn>
              <a:cxn ang="0">
                <a:pos x="21" y="14"/>
              </a:cxn>
              <a:cxn ang="0">
                <a:pos x="18" y="17"/>
              </a:cxn>
              <a:cxn ang="0">
                <a:pos x="14" y="17"/>
              </a:cxn>
              <a:cxn ang="0">
                <a:pos x="12" y="19"/>
              </a:cxn>
              <a:cxn ang="0">
                <a:pos x="6" y="19"/>
              </a:cxn>
              <a:cxn ang="0">
                <a:pos x="2" y="17"/>
              </a:cxn>
              <a:cxn ang="0">
                <a:pos x="1" y="14"/>
              </a:cxn>
              <a:cxn ang="0">
                <a:pos x="0" y="11"/>
              </a:cxn>
              <a:cxn ang="0">
                <a:pos x="2" y="11"/>
              </a:cxn>
              <a:cxn ang="0">
                <a:pos x="5" y="10"/>
              </a:cxn>
              <a:cxn ang="0">
                <a:pos x="8" y="10"/>
              </a:cxn>
              <a:cxn ang="0">
                <a:pos x="10" y="8"/>
              </a:cxn>
              <a:cxn ang="0">
                <a:pos x="10" y="6"/>
              </a:cxn>
              <a:cxn ang="0">
                <a:pos x="12" y="6"/>
              </a:cxn>
              <a:cxn ang="0">
                <a:pos x="17" y="6"/>
              </a:cxn>
              <a:cxn ang="0">
                <a:pos x="25" y="3"/>
              </a:cxn>
            </a:cxnLst>
            <a:rect l="0" t="0" r="r" b="b"/>
            <a:pathLst>
              <a:path w="34" h="19">
                <a:moveTo>
                  <a:pt x="25" y="3"/>
                </a:moveTo>
                <a:lnTo>
                  <a:pt x="29" y="2"/>
                </a:lnTo>
                <a:lnTo>
                  <a:pt x="30" y="0"/>
                </a:lnTo>
                <a:lnTo>
                  <a:pt x="33" y="0"/>
                </a:lnTo>
                <a:lnTo>
                  <a:pt x="34" y="0"/>
                </a:lnTo>
                <a:lnTo>
                  <a:pt x="33" y="2"/>
                </a:lnTo>
                <a:lnTo>
                  <a:pt x="31" y="5"/>
                </a:lnTo>
                <a:lnTo>
                  <a:pt x="29" y="5"/>
                </a:lnTo>
                <a:lnTo>
                  <a:pt x="26" y="10"/>
                </a:lnTo>
                <a:lnTo>
                  <a:pt x="26" y="11"/>
                </a:lnTo>
                <a:lnTo>
                  <a:pt x="25" y="13"/>
                </a:lnTo>
                <a:lnTo>
                  <a:pt x="21" y="14"/>
                </a:lnTo>
                <a:lnTo>
                  <a:pt x="18" y="17"/>
                </a:lnTo>
                <a:lnTo>
                  <a:pt x="14" y="17"/>
                </a:lnTo>
                <a:lnTo>
                  <a:pt x="12" y="19"/>
                </a:lnTo>
                <a:lnTo>
                  <a:pt x="6" y="19"/>
                </a:lnTo>
                <a:lnTo>
                  <a:pt x="2" y="17"/>
                </a:lnTo>
                <a:lnTo>
                  <a:pt x="1" y="14"/>
                </a:lnTo>
                <a:lnTo>
                  <a:pt x="0" y="11"/>
                </a:lnTo>
                <a:lnTo>
                  <a:pt x="2" y="11"/>
                </a:lnTo>
                <a:lnTo>
                  <a:pt x="5" y="10"/>
                </a:lnTo>
                <a:lnTo>
                  <a:pt x="8" y="10"/>
                </a:lnTo>
                <a:lnTo>
                  <a:pt x="10" y="8"/>
                </a:lnTo>
                <a:lnTo>
                  <a:pt x="10" y="6"/>
                </a:lnTo>
                <a:lnTo>
                  <a:pt x="12" y="6"/>
                </a:lnTo>
                <a:lnTo>
                  <a:pt x="17" y="6"/>
                </a:lnTo>
                <a:lnTo>
                  <a:pt x="25" y="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71" name="Freeform 570"/>
          <p:cNvSpPr>
            <a:spLocks/>
          </p:cNvSpPr>
          <p:nvPr/>
        </p:nvSpPr>
        <p:spPr bwMode="auto">
          <a:xfrm>
            <a:off x="8798376" y="3635549"/>
            <a:ext cx="66259" cy="66576"/>
          </a:xfrm>
          <a:custGeom>
            <a:avLst/>
            <a:gdLst/>
            <a:ahLst/>
            <a:cxnLst>
              <a:cxn ang="0">
                <a:pos x="28" y="1"/>
              </a:cxn>
              <a:cxn ang="0">
                <a:pos x="27" y="1"/>
              </a:cxn>
              <a:cxn ang="0">
                <a:pos x="28" y="0"/>
              </a:cxn>
              <a:cxn ang="0">
                <a:pos x="31" y="1"/>
              </a:cxn>
              <a:cxn ang="0">
                <a:pos x="33" y="1"/>
              </a:cxn>
              <a:cxn ang="0">
                <a:pos x="35" y="6"/>
              </a:cxn>
              <a:cxn ang="0">
                <a:pos x="35" y="7"/>
              </a:cxn>
              <a:cxn ang="0">
                <a:pos x="32" y="11"/>
              </a:cxn>
              <a:cxn ang="0">
                <a:pos x="28" y="18"/>
              </a:cxn>
              <a:cxn ang="0">
                <a:pos x="27" y="23"/>
              </a:cxn>
              <a:cxn ang="0">
                <a:pos x="24" y="25"/>
              </a:cxn>
              <a:cxn ang="0">
                <a:pos x="21" y="29"/>
              </a:cxn>
              <a:cxn ang="0">
                <a:pos x="17" y="31"/>
              </a:cxn>
              <a:cxn ang="0">
                <a:pos x="16" y="34"/>
              </a:cxn>
              <a:cxn ang="0">
                <a:pos x="15" y="34"/>
              </a:cxn>
              <a:cxn ang="0">
                <a:pos x="13" y="33"/>
              </a:cxn>
              <a:cxn ang="0">
                <a:pos x="3" y="29"/>
              </a:cxn>
              <a:cxn ang="0">
                <a:pos x="0" y="26"/>
              </a:cxn>
              <a:cxn ang="0">
                <a:pos x="0" y="14"/>
              </a:cxn>
              <a:cxn ang="0">
                <a:pos x="1" y="12"/>
              </a:cxn>
              <a:cxn ang="0">
                <a:pos x="5" y="9"/>
              </a:cxn>
              <a:cxn ang="0">
                <a:pos x="8" y="6"/>
              </a:cxn>
              <a:cxn ang="0">
                <a:pos x="9" y="4"/>
              </a:cxn>
              <a:cxn ang="0">
                <a:pos x="13" y="3"/>
              </a:cxn>
              <a:cxn ang="0">
                <a:pos x="21" y="3"/>
              </a:cxn>
              <a:cxn ang="0">
                <a:pos x="23" y="0"/>
              </a:cxn>
              <a:cxn ang="0">
                <a:pos x="25" y="1"/>
              </a:cxn>
              <a:cxn ang="0">
                <a:pos x="27" y="1"/>
              </a:cxn>
              <a:cxn ang="0">
                <a:pos x="28" y="1"/>
              </a:cxn>
            </a:cxnLst>
            <a:rect l="0" t="0" r="r" b="b"/>
            <a:pathLst>
              <a:path w="35" h="34">
                <a:moveTo>
                  <a:pt x="28" y="1"/>
                </a:moveTo>
                <a:lnTo>
                  <a:pt x="27" y="1"/>
                </a:lnTo>
                <a:lnTo>
                  <a:pt x="28" y="0"/>
                </a:lnTo>
                <a:lnTo>
                  <a:pt x="31" y="1"/>
                </a:lnTo>
                <a:lnTo>
                  <a:pt x="33" y="1"/>
                </a:lnTo>
                <a:lnTo>
                  <a:pt x="35" y="6"/>
                </a:lnTo>
                <a:lnTo>
                  <a:pt x="35" y="7"/>
                </a:lnTo>
                <a:lnTo>
                  <a:pt x="32" y="11"/>
                </a:lnTo>
                <a:lnTo>
                  <a:pt x="28" y="18"/>
                </a:lnTo>
                <a:lnTo>
                  <a:pt x="27" y="23"/>
                </a:lnTo>
                <a:lnTo>
                  <a:pt x="24" y="25"/>
                </a:lnTo>
                <a:lnTo>
                  <a:pt x="21" y="29"/>
                </a:lnTo>
                <a:lnTo>
                  <a:pt x="17" y="31"/>
                </a:lnTo>
                <a:lnTo>
                  <a:pt x="16" y="34"/>
                </a:lnTo>
                <a:lnTo>
                  <a:pt x="15" y="34"/>
                </a:lnTo>
                <a:lnTo>
                  <a:pt x="13" y="33"/>
                </a:lnTo>
                <a:lnTo>
                  <a:pt x="3" y="29"/>
                </a:lnTo>
                <a:lnTo>
                  <a:pt x="0" y="26"/>
                </a:lnTo>
                <a:lnTo>
                  <a:pt x="0" y="14"/>
                </a:lnTo>
                <a:lnTo>
                  <a:pt x="1" y="12"/>
                </a:lnTo>
                <a:lnTo>
                  <a:pt x="5" y="9"/>
                </a:lnTo>
                <a:lnTo>
                  <a:pt x="8" y="6"/>
                </a:lnTo>
                <a:lnTo>
                  <a:pt x="9" y="4"/>
                </a:lnTo>
                <a:lnTo>
                  <a:pt x="13" y="3"/>
                </a:lnTo>
                <a:lnTo>
                  <a:pt x="21" y="3"/>
                </a:lnTo>
                <a:lnTo>
                  <a:pt x="23" y="0"/>
                </a:lnTo>
                <a:lnTo>
                  <a:pt x="25" y="1"/>
                </a:lnTo>
                <a:lnTo>
                  <a:pt x="27" y="1"/>
                </a:lnTo>
                <a:lnTo>
                  <a:pt x="28" y="1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72" name="Freeform 571"/>
          <p:cNvSpPr>
            <a:spLocks/>
          </p:cNvSpPr>
          <p:nvPr/>
        </p:nvSpPr>
        <p:spPr bwMode="auto">
          <a:xfrm>
            <a:off x="8798376" y="3635549"/>
            <a:ext cx="66259" cy="66576"/>
          </a:xfrm>
          <a:custGeom>
            <a:avLst/>
            <a:gdLst/>
            <a:ahLst/>
            <a:cxnLst>
              <a:cxn ang="0">
                <a:pos x="28" y="1"/>
              </a:cxn>
              <a:cxn ang="0">
                <a:pos x="27" y="1"/>
              </a:cxn>
              <a:cxn ang="0">
                <a:pos x="28" y="0"/>
              </a:cxn>
              <a:cxn ang="0">
                <a:pos x="31" y="1"/>
              </a:cxn>
              <a:cxn ang="0">
                <a:pos x="33" y="1"/>
              </a:cxn>
              <a:cxn ang="0">
                <a:pos x="35" y="6"/>
              </a:cxn>
              <a:cxn ang="0">
                <a:pos x="35" y="7"/>
              </a:cxn>
              <a:cxn ang="0">
                <a:pos x="32" y="11"/>
              </a:cxn>
              <a:cxn ang="0">
                <a:pos x="28" y="18"/>
              </a:cxn>
              <a:cxn ang="0">
                <a:pos x="27" y="23"/>
              </a:cxn>
              <a:cxn ang="0">
                <a:pos x="24" y="25"/>
              </a:cxn>
              <a:cxn ang="0">
                <a:pos x="21" y="29"/>
              </a:cxn>
              <a:cxn ang="0">
                <a:pos x="17" y="31"/>
              </a:cxn>
              <a:cxn ang="0">
                <a:pos x="16" y="34"/>
              </a:cxn>
              <a:cxn ang="0">
                <a:pos x="15" y="34"/>
              </a:cxn>
              <a:cxn ang="0">
                <a:pos x="13" y="33"/>
              </a:cxn>
              <a:cxn ang="0">
                <a:pos x="3" y="29"/>
              </a:cxn>
              <a:cxn ang="0">
                <a:pos x="0" y="26"/>
              </a:cxn>
              <a:cxn ang="0">
                <a:pos x="0" y="14"/>
              </a:cxn>
              <a:cxn ang="0">
                <a:pos x="1" y="12"/>
              </a:cxn>
              <a:cxn ang="0">
                <a:pos x="5" y="9"/>
              </a:cxn>
              <a:cxn ang="0">
                <a:pos x="8" y="6"/>
              </a:cxn>
              <a:cxn ang="0">
                <a:pos x="9" y="4"/>
              </a:cxn>
              <a:cxn ang="0">
                <a:pos x="13" y="3"/>
              </a:cxn>
              <a:cxn ang="0">
                <a:pos x="21" y="3"/>
              </a:cxn>
              <a:cxn ang="0">
                <a:pos x="23" y="0"/>
              </a:cxn>
              <a:cxn ang="0">
                <a:pos x="25" y="1"/>
              </a:cxn>
              <a:cxn ang="0">
                <a:pos x="27" y="1"/>
              </a:cxn>
              <a:cxn ang="0">
                <a:pos x="28" y="1"/>
              </a:cxn>
            </a:cxnLst>
            <a:rect l="0" t="0" r="r" b="b"/>
            <a:pathLst>
              <a:path w="35" h="34">
                <a:moveTo>
                  <a:pt x="28" y="1"/>
                </a:moveTo>
                <a:lnTo>
                  <a:pt x="27" y="1"/>
                </a:lnTo>
                <a:lnTo>
                  <a:pt x="28" y="0"/>
                </a:lnTo>
                <a:lnTo>
                  <a:pt x="31" y="1"/>
                </a:lnTo>
                <a:lnTo>
                  <a:pt x="33" y="1"/>
                </a:lnTo>
                <a:lnTo>
                  <a:pt x="35" y="6"/>
                </a:lnTo>
                <a:lnTo>
                  <a:pt x="35" y="7"/>
                </a:lnTo>
                <a:lnTo>
                  <a:pt x="32" y="11"/>
                </a:lnTo>
                <a:lnTo>
                  <a:pt x="28" y="18"/>
                </a:lnTo>
                <a:lnTo>
                  <a:pt x="27" y="23"/>
                </a:lnTo>
                <a:lnTo>
                  <a:pt x="24" y="25"/>
                </a:lnTo>
                <a:lnTo>
                  <a:pt x="21" y="29"/>
                </a:lnTo>
                <a:lnTo>
                  <a:pt x="17" y="31"/>
                </a:lnTo>
                <a:lnTo>
                  <a:pt x="16" y="34"/>
                </a:lnTo>
                <a:lnTo>
                  <a:pt x="15" y="34"/>
                </a:lnTo>
                <a:lnTo>
                  <a:pt x="13" y="33"/>
                </a:lnTo>
                <a:lnTo>
                  <a:pt x="3" y="29"/>
                </a:lnTo>
                <a:lnTo>
                  <a:pt x="0" y="26"/>
                </a:lnTo>
                <a:lnTo>
                  <a:pt x="0" y="14"/>
                </a:lnTo>
                <a:lnTo>
                  <a:pt x="1" y="12"/>
                </a:lnTo>
                <a:lnTo>
                  <a:pt x="5" y="9"/>
                </a:lnTo>
                <a:lnTo>
                  <a:pt x="8" y="6"/>
                </a:lnTo>
                <a:lnTo>
                  <a:pt x="9" y="4"/>
                </a:lnTo>
                <a:lnTo>
                  <a:pt x="13" y="3"/>
                </a:lnTo>
                <a:lnTo>
                  <a:pt x="21" y="3"/>
                </a:lnTo>
                <a:lnTo>
                  <a:pt x="23" y="0"/>
                </a:lnTo>
                <a:lnTo>
                  <a:pt x="25" y="1"/>
                </a:lnTo>
                <a:lnTo>
                  <a:pt x="27" y="1"/>
                </a:lnTo>
                <a:lnTo>
                  <a:pt x="28" y="1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73" name="Freeform 572"/>
          <p:cNvSpPr>
            <a:spLocks/>
          </p:cNvSpPr>
          <p:nvPr/>
        </p:nvSpPr>
        <p:spPr bwMode="auto">
          <a:xfrm>
            <a:off x="5191120" y="3337032"/>
            <a:ext cx="21437" cy="21476"/>
          </a:xfrm>
          <a:custGeom>
            <a:avLst/>
            <a:gdLst/>
            <a:ahLst/>
            <a:cxnLst>
              <a:cxn ang="0">
                <a:pos x="9" y="0"/>
              </a:cxn>
              <a:cxn ang="0">
                <a:pos x="7" y="2"/>
              </a:cxn>
              <a:cxn ang="0">
                <a:pos x="4" y="4"/>
              </a:cxn>
              <a:cxn ang="0">
                <a:pos x="0" y="4"/>
              </a:cxn>
              <a:cxn ang="0">
                <a:pos x="1" y="7"/>
              </a:cxn>
              <a:cxn ang="0">
                <a:pos x="4" y="10"/>
              </a:cxn>
              <a:cxn ang="0">
                <a:pos x="7" y="8"/>
              </a:cxn>
              <a:cxn ang="0">
                <a:pos x="7" y="5"/>
              </a:cxn>
              <a:cxn ang="0">
                <a:pos x="9" y="2"/>
              </a:cxn>
              <a:cxn ang="0">
                <a:pos x="11" y="0"/>
              </a:cxn>
              <a:cxn ang="0">
                <a:pos x="9" y="0"/>
              </a:cxn>
            </a:cxnLst>
            <a:rect l="0" t="0" r="r" b="b"/>
            <a:pathLst>
              <a:path w="11" h="10">
                <a:moveTo>
                  <a:pt x="9" y="0"/>
                </a:moveTo>
                <a:lnTo>
                  <a:pt x="7" y="2"/>
                </a:lnTo>
                <a:lnTo>
                  <a:pt x="4" y="4"/>
                </a:lnTo>
                <a:lnTo>
                  <a:pt x="0" y="4"/>
                </a:lnTo>
                <a:lnTo>
                  <a:pt x="1" y="7"/>
                </a:lnTo>
                <a:lnTo>
                  <a:pt x="4" y="10"/>
                </a:lnTo>
                <a:lnTo>
                  <a:pt x="7" y="8"/>
                </a:lnTo>
                <a:lnTo>
                  <a:pt x="7" y="5"/>
                </a:lnTo>
                <a:lnTo>
                  <a:pt x="9" y="2"/>
                </a:lnTo>
                <a:lnTo>
                  <a:pt x="11" y="0"/>
                </a:lnTo>
                <a:lnTo>
                  <a:pt x="9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74" name="Freeform 573"/>
          <p:cNvSpPr>
            <a:spLocks/>
          </p:cNvSpPr>
          <p:nvPr/>
        </p:nvSpPr>
        <p:spPr bwMode="auto">
          <a:xfrm>
            <a:off x="5220351" y="3352065"/>
            <a:ext cx="13642" cy="10737"/>
          </a:xfrm>
          <a:custGeom>
            <a:avLst/>
            <a:gdLst/>
            <a:ahLst/>
            <a:cxnLst>
              <a:cxn ang="0">
                <a:pos x="3" y="0"/>
              </a:cxn>
              <a:cxn ang="0">
                <a:pos x="0" y="4"/>
              </a:cxn>
              <a:cxn ang="0">
                <a:pos x="0" y="7"/>
              </a:cxn>
              <a:cxn ang="0">
                <a:pos x="1" y="7"/>
              </a:cxn>
              <a:cxn ang="0">
                <a:pos x="4" y="7"/>
              </a:cxn>
              <a:cxn ang="0">
                <a:pos x="5" y="7"/>
              </a:cxn>
              <a:cxn ang="0">
                <a:pos x="7" y="6"/>
              </a:cxn>
              <a:cxn ang="0">
                <a:pos x="7" y="4"/>
              </a:cxn>
              <a:cxn ang="0">
                <a:pos x="7" y="1"/>
              </a:cxn>
              <a:cxn ang="0">
                <a:pos x="3" y="0"/>
              </a:cxn>
            </a:cxnLst>
            <a:rect l="0" t="0" r="r" b="b"/>
            <a:pathLst>
              <a:path w="7" h="7">
                <a:moveTo>
                  <a:pt x="3" y="0"/>
                </a:moveTo>
                <a:lnTo>
                  <a:pt x="0" y="4"/>
                </a:lnTo>
                <a:lnTo>
                  <a:pt x="0" y="7"/>
                </a:lnTo>
                <a:lnTo>
                  <a:pt x="1" y="7"/>
                </a:lnTo>
                <a:lnTo>
                  <a:pt x="4" y="7"/>
                </a:lnTo>
                <a:lnTo>
                  <a:pt x="5" y="7"/>
                </a:lnTo>
                <a:lnTo>
                  <a:pt x="7" y="6"/>
                </a:lnTo>
                <a:lnTo>
                  <a:pt x="7" y="4"/>
                </a:lnTo>
                <a:lnTo>
                  <a:pt x="7" y="1"/>
                </a:lnTo>
                <a:lnTo>
                  <a:pt x="3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75" name="Freeform 574"/>
          <p:cNvSpPr>
            <a:spLocks/>
          </p:cNvSpPr>
          <p:nvPr/>
        </p:nvSpPr>
        <p:spPr bwMode="auto">
          <a:xfrm>
            <a:off x="5259327" y="3330590"/>
            <a:ext cx="15591" cy="21476"/>
          </a:xfrm>
          <a:custGeom>
            <a:avLst/>
            <a:gdLst/>
            <a:ahLst/>
            <a:cxnLst>
              <a:cxn ang="0">
                <a:pos x="8" y="0"/>
              </a:cxn>
              <a:cxn ang="0">
                <a:pos x="7" y="0"/>
              </a:cxn>
              <a:cxn ang="0">
                <a:pos x="6" y="2"/>
              </a:cxn>
              <a:cxn ang="0">
                <a:pos x="4" y="5"/>
              </a:cxn>
              <a:cxn ang="0">
                <a:pos x="3" y="8"/>
              </a:cxn>
              <a:cxn ang="0">
                <a:pos x="3" y="10"/>
              </a:cxn>
              <a:cxn ang="0">
                <a:pos x="0" y="11"/>
              </a:cxn>
              <a:cxn ang="0">
                <a:pos x="6" y="10"/>
              </a:cxn>
              <a:cxn ang="0">
                <a:pos x="8" y="7"/>
              </a:cxn>
              <a:cxn ang="0">
                <a:pos x="8" y="5"/>
              </a:cxn>
              <a:cxn ang="0">
                <a:pos x="8" y="0"/>
              </a:cxn>
            </a:cxnLst>
            <a:rect l="0" t="0" r="r" b="b"/>
            <a:pathLst>
              <a:path w="8" h="11">
                <a:moveTo>
                  <a:pt x="8" y="0"/>
                </a:moveTo>
                <a:lnTo>
                  <a:pt x="7" y="0"/>
                </a:lnTo>
                <a:lnTo>
                  <a:pt x="6" y="2"/>
                </a:lnTo>
                <a:lnTo>
                  <a:pt x="4" y="5"/>
                </a:lnTo>
                <a:lnTo>
                  <a:pt x="3" y="8"/>
                </a:lnTo>
                <a:lnTo>
                  <a:pt x="3" y="10"/>
                </a:lnTo>
                <a:lnTo>
                  <a:pt x="0" y="11"/>
                </a:lnTo>
                <a:lnTo>
                  <a:pt x="6" y="10"/>
                </a:lnTo>
                <a:lnTo>
                  <a:pt x="8" y="7"/>
                </a:lnTo>
                <a:lnTo>
                  <a:pt x="8" y="5"/>
                </a:lnTo>
                <a:lnTo>
                  <a:pt x="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76" name="Freeform 575"/>
          <p:cNvSpPr>
            <a:spLocks/>
          </p:cNvSpPr>
          <p:nvPr/>
        </p:nvSpPr>
        <p:spPr bwMode="auto">
          <a:xfrm>
            <a:off x="5278815" y="3313410"/>
            <a:ext cx="9745" cy="12885"/>
          </a:xfrm>
          <a:custGeom>
            <a:avLst/>
            <a:gdLst/>
            <a:ahLst/>
            <a:cxnLst>
              <a:cxn ang="0">
                <a:pos x="5" y="1"/>
              </a:cxn>
              <a:cxn ang="0">
                <a:pos x="4" y="0"/>
              </a:cxn>
              <a:cxn ang="0">
                <a:pos x="4" y="1"/>
              </a:cxn>
              <a:cxn ang="0">
                <a:pos x="1" y="3"/>
              </a:cxn>
              <a:cxn ang="0">
                <a:pos x="0" y="5"/>
              </a:cxn>
              <a:cxn ang="0">
                <a:pos x="0" y="6"/>
              </a:cxn>
              <a:cxn ang="0">
                <a:pos x="2" y="6"/>
              </a:cxn>
              <a:cxn ang="0">
                <a:pos x="4" y="5"/>
              </a:cxn>
              <a:cxn ang="0">
                <a:pos x="4" y="3"/>
              </a:cxn>
              <a:cxn ang="0">
                <a:pos x="5" y="1"/>
              </a:cxn>
            </a:cxnLst>
            <a:rect l="0" t="0" r="r" b="b"/>
            <a:pathLst>
              <a:path w="5" h="6">
                <a:moveTo>
                  <a:pt x="5" y="1"/>
                </a:moveTo>
                <a:lnTo>
                  <a:pt x="4" y="0"/>
                </a:lnTo>
                <a:lnTo>
                  <a:pt x="4" y="1"/>
                </a:lnTo>
                <a:lnTo>
                  <a:pt x="1" y="3"/>
                </a:lnTo>
                <a:lnTo>
                  <a:pt x="0" y="5"/>
                </a:lnTo>
                <a:lnTo>
                  <a:pt x="0" y="6"/>
                </a:lnTo>
                <a:lnTo>
                  <a:pt x="2" y="6"/>
                </a:lnTo>
                <a:lnTo>
                  <a:pt x="4" y="5"/>
                </a:lnTo>
                <a:lnTo>
                  <a:pt x="4" y="3"/>
                </a:lnTo>
                <a:lnTo>
                  <a:pt x="5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77" name="Freeform 576"/>
          <p:cNvSpPr>
            <a:spLocks/>
          </p:cNvSpPr>
          <p:nvPr/>
        </p:nvSpPr>
        <p:spPr bwMode="auto">
          <a:xfrm>
            <a:off x="7788888" y="2458661"/>
            <a:ext cx="1761729" cy="1168299"/>
          </a:xfrm>
          <a:custGeom>
            <a:avLst/>
            <a:gdLst/>
            <a:ahLst/>
            <a:cxnLst>
              <a:cxn ang="0">
                <a:pos x="601" y="552"/>
              </a:cxn>
              <a:cxn ang="0">
                <a:pos x="579" y="562"/>
              </a:cxn>
              <a:cxn ang="0">
                <a:pos x="541" y="576"/>
              </a:cxn>
              <a:cxn ang="0">
                <a:pos x="518" y="568"/>
              </a:cxn>
              <a:cxn ang="0">
                <a:pos x="468" y="543"/>
              </a:cxn>
              <a:cxn ang="0">
                <a:pos x="431" y="551"/>
              </a:cxn>
              <a:cxn ang="0">
                <a:pos x="397" y="557"/>
              </a:cxn>
              <a:cxn ang="0">
                <a:pos x="363" y="515"/>
              </a:cxn>
              <a:cxn ang="0">
                <a:pos x="362" y="447"/>
              </a:cxn>
              <a:cxn ang="0">
                <a:pos x="321" y="430"/>
              </a:cxn>
              <a:cxn ang="0">
                <a:pos x="269" y="453"/>
              </a:cxn>
              <a:cxn ang="0">
                <a:pos x="229" y="464"/>
              </a:cxn>
              <a:cxn ang="0">
                <a:pos x="205" y="456"/>
              </a:cxn>
              <a:cxn ang="0">
                <a:pos x="180" y="449"/>
              </a:cxn>
              <a:cxn ang="0">
                <a:pos x="160" y="433"/>
              </a:cxn>
              <a:cxn ang="0">
                <a:pos x="139" y="420"/>
              </a:cxn>
              <a:cxn ang="0">
                <a:pos x="105" y="408"/>
              </a:cxn>
              <a:cxn ang="0">
                <a:pos x="81" y="398"/>
              </a:cxn>
              <a:cxn ang="0">
                <a:pos x="74" y="370"/>
              </a:cxn>
              <a:cxn ang="0">
                <a:pos x="91" y="367"/>
              </a:cxn>
              <a:cxn ang="0">
                <a:pos x="88" y="345"/>
              </a:cxn>
              <a:cxn ang="0">
                <a:pos x="97" y="320"/>
              </a:cxn>
              <a:cxn ang="0">
                <a:pos x="75" y="314"/>
              </a:cxn>
              <a:cxn ang="0">
                <a:pos x="43" y="312"/>
              </a:cxn>
              <a:cxn ang="0">
                <a:pos x="27" y="296"/>
              </a:cxn>
              <a:cxn ang="0">
                <a:pos x="18" y="266"/>
              </a:cxn>
              <a:cxn ang="0">
                <a:pos x="31" y="232"/>
              </a:cxn>
              <a:cxn ang="0">
                <a:pos x="100" y="193"/>
              </a:cxn>
              <a:cxn ang="0">
                <a:pos x="132" y="144"/>
              </a:cxn>
              <a:cxn ang="0">
                <a:pos x="180" y="98"/>
              </a:cxn>
              <a:cxn ang="0">
                <a:pos x="240" y="97"/>
              </a:cxn>
              <a:cxn ang="0">
                <a:pos x="288" y="149"/>
              </a:cxn>
              <a:cxn ang="0">
                <a:pos x="358" y="190"/>
              </a:cxn>
              <a:cxn ang="0">
                <a:pos x="478" y="205"/>
              </a:cxn>
              <a:cxn ang="0">
                <a:pos x="577" y="172"/>
              </a:cxn>
              <a:cxn ang="0">
                <a:pos x="633" y="136"/>
              </a:cxn>
              <a:cxn ang="0">
                <a:pos x="672" y="95"/>
              </a:cxn>
              <a:cxn ang="0">
                <a:pos x="644" y="61"/>
              </a:cxn>
              <a:cxn ang="0">
                <a:pos x="709" y="26"/>
              </a:cxn>
              <a:cxn ang="0">
                <a:pos x="762" y="3"/>
              </a:cxn>
              <a:cxn ang="0">
                <a:pos x="801" y="37"/>
              </a:cxn>
              <a:cxn ang="0">
                <a:pos x="859" y="83"/>
              </a:cxn>
              <a:cxn ang="0">
                <a:pos x="922" y="98"/>
              </a:cxn>
              <a:cxn ang="0">
                <a:pos x="868" y="179"/>
              </a:cxn>
              <a:cxn ang="0">
                <a:pos x="802" y="212"/>
              </a:cxn>
              <a:cxn ang="0">
                <a:pos x="730" y="255"/>
              </a:cxn>
              <a:cxn ang="0">
                <a:pos x="733" y="230"/>
              </a:cxn>
              <a:cxn ang="0">
                <a:pos x="684" y="254"/>
              </a:cxn>
              <a:cxn ang="0">
                <a:pos x="682" y="282"/>
              </a:cxn>
              <a:cxn ang="0">
                <a:pos x="734" y="285"/>
              </a:cxn>
              <a:cxn ang="0">
                <a:pos x="712" y="303"/>
              </a:cxn>
              <a:cxn ang="0">
                <a:pos x="702" y="340"/>
              </a:cxn>
              <a:cxn ang="0">
                <a:pos x="708" y="380"/>
              </a:cxn>
              <a:cxn ang="0">
                <a:pos x="716" y="406"/>
              </a:cxn>
              <a:cxn ang="0">
                <a:pos x="728" y="420"/>
              </a:cxn>
              <a:cxn ang="0">
                <a:pos x="712" y="453"/>
              </a:cxn>
              <a:cxn ang="0">
                <a:pos x="694" y="482"/>
              </a:cxn>
              <a:cxn ang="0">
                <a:pos x="678" y="510"/>
              </a:cxn>
              <a:cxn ang="0">
                <a:pos x="652" y="530"/>
              </a:cxn>
              <a:cxn ang="0">
                <a:pos x="623" y="548"/>
              </a:cxn>
            </a:cxnLst>
            <a:rect l="0" t="0" r="r" b="b"/>
            <a:pathLst>
              <a:path w="922" h="588">
                <a:moveTo>
                  <a:pt x="617" y="549"/>
                </a:moveTo>
                <a:lnTo>
                  <a:pt x="616" y="551"/>
                </a:lnTo>
                <a:lnTo>
                  <a:pt x="616" y="549"/>
                </a:lnTo>
                <a:lnTo>
                  <a:pt x="615" y="548"/>
                </a:lnTo>
                <a:lnTo>
                  <a:pt x="612" y="548"/>
                </a:lnTo>
                <a:lnTo>
                  <a:pt x="612" y="549"/>
                </a:lnTo>
                <a:lnTo>
                  <a:pt x="613" y="551"/>
                </a:lnTo>
                <a:lnTo>
                  <a:pt x="612" y="552"/>
                </a:lnTo>
                <a:lnTo>
                  <a:pt x="608" y="552"/>
                </a:lnTo>
                <a:lnTo>
                  <a:pt x="608" y="551"/>
                </a:lnTo>
                <a:lnTo>
                  <a:pt x="607" y="549"/>
                </a:lnTo>
                <a:lnTo>
                  <a:pt x="604" y="546"/>
                </a:lnTo>
                <a:lnTo>
                  <a:pt x="603" y="546"/>
                </a:lnTo>
                <a:lnTo>
                  <a:pt x="601" y="543"/>
                </a:lnTo>
                <a:lnTo>
                  <a:pt x="601" y="548"/>
                </a:lnTo>
                <a:lnTo>
                  <a:pt x="601" y="551"/>
                </a:lnTo>
                <a:lnTo>
                  <a:pt x="601" y="552"/>
                </a:lnTo>
                <a:lnTo>
                  <a:pt x="601" y="554"/>
                </a:lnTo>
                <a:lnTo>
                  <a:pt x="600" y="554"/>
                </a:lnTo>
                <a:lnTo>
                  <a:pt x="599" y="554"/>
                </a:lnTo>
                <a:lnTo>
                  <a:pt x="597" y="551"/>
                </a:lnTo>
                <a:lnTo>
                  <a:pt x="595" y="549"/>
                </a:lnTo>
                <a:lnTo>
                  <a:pt x="595" y="548"/>
                </a:lnTo>
                <a:lnTo>
                  <a:pt x="592" y="552"/>
                </a:lnTo>
                <a:lnTo>
                  <a:pt x="592" y="555"/>
                </a:lnTo>
                <a:lnTo>
                  <a:pt x="593" y="557"/>
                </a:lnTo>
                <a:lnTo>
                  <a:pt x="593" y="559"/>
                </a:lnTo>
                <a:lnTo>
                  <a:pt x="592" y="560"/>
                </a:lnTo>
                <a:lnTo>
                  <a:pt x="591" y="559"/>
                </a:lnTo>
                <a:lnTo>
                  <a:pt x="587" y="562"/>
                </a:lnTo>
                <a:lnTo>
                  <a:pt x="584" y="562"/>
                </a:lnTo>
                <a:lnTo>
                  <a:pt x="581" y="563"/>
                </a:lnTo>
                <a:lnTo>
                  <a:pt x="579" y="563"/>
                </a:lnTo>
                <a:lnTo>
                  <a:pt x="579" y="562"/>
                </a:lnTo>
                <a:lnTo>
                  <a:pt x="576" y="563"/>
                </a:lnTo>
                <a:lnTo>
                  <a:pt x="573" y="565"/>
                </a:lnTo>
                <a:lnTo>
                  <a:pt x="569" y="566"/>
                </a:lnTo>
                <a:lnTo>
                  <a:pt x="567" y="566"/>
                </a:lnTo>
                <a:lnTo>
                  <a:pt x="564" y="566"/>
                </a:lnTo>
                <a:lnTo>
                  <a:pt x="563" y="568"/>
                </a:lnTo>
                <a:lnTo>
                  <a:pt x="560" y="570"/>
                </a:lnTo>
                <a:lnTo>
                  <a:pt x="556" y="571"/>
                </a:lnTo>
                <a:lnTo>
                  <a:pt x="553" y="570"/>
                </a:lnTo>
                <a:lnTo>
                  <a:pt x="551" y="577"/>
                </a:lnTo>
                <a:lnTo>
                  <a:pt x="553" y="581"/>
                </a:lnTo>
                <a:lnTo>
                  <a:pt x="553" y="584"/>
                </a:lnTo>
                <a:lnTo>
                  <a:pt x="553" y="587"/>
                </a:lnTo>
                <a:lnTo>
                  <a:pt x="549" y="588"/>
                </a:lnTo>
                <a:lnTo>
                  <a:pt x="547" y="587"/>
                </a:lnTo>
                <a:lnTo>
                  <a:pt x="543" y="577"/>
                </a:lnTo>
                <a:lnTo>
                  <a:pt x="541" y="576"/>
                </a:lnTo>
                <a:lnTo>
                  <a:pt x="541" y="574"/>
                </a:lnTo>
                <a:lnTo>
                  <a:pt x="544" y="568"/>
                </a:lnTo>
                <a:lnTo>
                  <a:pt x="543" y="566"/>
                </a:lnTo>
                <a:lnTo>
                  <a:pt x="541" y="566"/>
                </a:lnTo>
                <a:lnTo>
                  <a:pt x="539" y="568"/>
                </a:lnTo>
                <a:lnTo>
                  <a:pt x="536" y="570"/>
                </a:lnTo>
                <a:lnTo>
                  <a:pt x="535" y="568"/>
                </a:lnTo>
                <a:lnTo>
                  <a:pt x="533" y="566"/>
                </a:lnTo>
                <a:lnTo>
                  <a:pt x="528" y="565"/>
                </a:lnTo>
                <a:lnTo>
                  <a:pt x="527" y="563"/>
                </a:lnTo>
                <a:lnTo>
                  <a:pt x="526" y="563"/>
                </a:lnTo>
                <a:lnTo>
                  <a:pt x="524" y="566"/>
                </a:lnTo>
                <a:lnTo>
                  <a:pt x="522" y="566"/>
                </a:lnTo>
                <a:lnTo>
                  <a:pt x="522" y="568"/>
                </a:lnTo>
                <a:lnTo>
                  <a:pt x="522" y="565"/>
                </a:lnTo>
                <a:lnTo>
                  <a:pt x="519" y="566"/>
                </a:lnTo>
                <a:lnTo>
                  <a:pt x="518" y="568"/>
                </a:lnTo>
                <a:lnTo>
                  <a:pt x="515" y="566"/>
                </a:lnTo>
                <a:lnTo>
                  <a:pt x="511" y="566"/>
                </a:lnTo>
                <a:lnTo>
                  <a:pt x="507" y="566"/>
                </a:lnTo>
                <a:lnTo>
                  <a:pt x="506" y="565"/>
                </a:lnTo>
                <a:lnTo>
                  <a:pt x="500" y="560"/>
                </a:lnTo>
                <a:lnTo>
                  <a:pt x="498" y="557"/>
                </a:lnTo>
                <a:lnTo>
                  <a:pt x="496" y="552"/>
                </a:lnTo>
                <a:lnTo>
                  <a:pt x="498" y="548"/>
                </a:lnTo>
                <a:lnTo>
                  <a:pt x="496" y="544"/>
                </a:lnTo>
                <a:lnTo>
                  <a:pt x="491" y="544"/>
                </a:lnTo>
                <a:lnTo>
                  <a:pt x="487" y="543"/>
                </a:lnTo>
                <a:lnTo>
                  <a:pt x="483" y="541"/>
                </a:lnTo>
                <a:lnTo>
                  <a:pt x="480" y="538"/>
                </a:lnTo>
                <a:lnTo>
                  <a:pt x="476" y="537"/>
                </a:lnTo>
                <a:lnTo>
                  <a:pt x="474" y="537"/>
                </a:lnTo>
                <a:lnTo>
                  <a:pt x="471" y="541"/>
                </a:lnTo>
                <a:lnTo>
                  <a:pt x="468" y="543"/>
                </a:lnTo>
                <a:lnTo>
                  <a:pt x="464" y="544"/>
                </a:lnTo>
                <a:lnTo>
                  <a:pt x="463" y="546"/>
                </a:lnTo>
                <a:lnTo>
                  <a:pt x="460" y="544"/>
                </a:lnTo>
                <a:lnTo>
                  <a:pt x="458" y="548"/>
                </a:lnTo>
                <a:lnTo>
                  <a:pt x="455" y="549"/>
                </a:lnTo>
                <a:lnTo>
                  <a:pt x="455" y="546"/>
                </a:lnTo>
                <a:lnTo>
                  <a:pt x="451" y="548"/>
                </a:lnTo>
                <a:lnTo>
                  <a:pt x="450" y="546"/>
                </a:lnTo>
                <a:lnTo>
                  <a:pt x="447" y="546"/>
                </a:lnTo>
                <a:lnTo>
                  <a:pt x="443" y="549"/>
                </a:lnTo>
                <a:lnTo>
                  <a:pt x="442" y="549"/>
                </a:lnTo>
                <a:lnTo>
                  <a:pt x="439" y="548"/>
                </a:lnTo>
                <a:lnTo>
                  <a:pt x="436" y="546"/>
                </a:lnTo>
                <a:lnTo>
                  <a:pt x="435" y="546"/>
                </a:lnTo>
                <a:lnTo>
                  <a:pt x="434" y="546"/>
                </a:lnTo>
                <a:lnTo>
                  <a:pt x="434" y="548"/>
                </a:lnTo>
                <a:lnTo>
                  <a:pt x="431" y="551"/>
                </a:lnTo>
                <a:lnTo>
                  <a:pt x="430" y="551"/>
                </a:lnTo>
                <a:lnTo>
                  <a:pt x="430" y="549"/>
                </a:lnTo>
                <a:lnTo>
                  <a:pt x="424" y="549"/>
                </a:lnTo>
                <a:lnTo>
                  <a:pt x="422" y="552"/>
                </a:lnTo>
                <a:lnTo>
                  <a:pt x="422" y="555"/>
                </a:lnTo>
                <a:lnTo>
                  <a:pt x="422" y="560"/>
                </a:lnTo>
                <a:lnTo>
                  <a:pt x="424" y="565"/>
                </a:lnTo>
                <a:lnTo>
                  <a:pt x="423" y="570"/>
                </a:lnTo>
                <a:lnTo>
                  <a:pt x="422" y="571"/>
                </a:lnTo>
                <a:lnTo>
                  <a:pt x="416" y="573"/>
                </a:lnTo>
                <a:lnTo>
                  <a:pt x="415" y="565"/>
                </a:lnTo>
                <a:lnTo>
                  <a:pt x="415" y="562"/>
                </a:lnTo>
                <a:lnTo>
                  <a:pt x="411" y="562"/>
                </a:lnTo>
                <a:lnTo>
                  <a:pt x="407" y="565"/>
                </a:lnTo>
                <a:lnTo>
                  <a:pt x="402" y="566"/>
                </a:lnTo>
                <a:lnTo>
                  <a:pt x="397" y="560"/>
                </a:lnTo>
                <a:lnTo>
                  <a:pt x="397" y="557"/>
                </a:lnTo>
                <a:lnTo>
                  <a:pt x="391" y="555"/>
                </a:lnTo>
                <a:lnTo>
                  <a:pt x="387" y="554"/>
                </a:lnTo>
                <a:lnTo>
                  <a:pt x="389" y="549"/>
                </a:lnTo>
                <a:lnTo>
                  <a:pt x="390" y="541"/>
                </a:lnTo>
                <a:lnTo>
                  <a:pt x="386" y="538"/>
                </a:lnTo>
                <a:lnTo>
                  <a:pt x="382" y="535"/>
                </a:lnTo>
                <a:lnTo>
                  <a:pt x="382" y="529"/>
                </a:lnTo>
                <a:lnTo>
                  <a:pt x="381" y="526"/>
                </a:lnTo>
                <a:lnTo>
                  <a:pt x="381" y="521"/>
                </a:lnTo>
                <a:lnTo>
                  <a:pt x="375" y="522"/>
                </a:lnTo>
                <a:lnTo>
                  <a:pt x="370" y="522"/>
                </a:lnTo>
                <a:lnTo>
                  <a:pt x="367" y="524"/>
                </a:lnTo>
                <a:lnTo>
                  <a:pt x="363" y="529"/>
                </a:lnTo>
                <a:lnTo>
                  <a:pt x="362" y="527"/>
                </a:lnTo>
                <a:lnTo>
                  <a:pt x="365" y="521"/>
                </a:lnTo>
                <a:lnTo>
                  <a:pt x="365" y="519"/>
                </a:lnTo>
                <a:lnTo>
                  <a:pt x="363" y="515"/>
                </a:lnTo>
                <a:lnTo>
                  <a:pt x="366" y="510"/>
                </a:lnTo>
                <a:lnTo>
                  <a:pt x="366" y="505"/>
                </a:lnTo>
                <a:lnTo>
                  <a:pt x="370" y="500"/>
                </a:lnTo>
                <a:lnTo>
                  <a:pt x="370" y="499"/>
                </a:lnTo>
                <a:lnTo>
                  <a:pt x="373" y="497"/>
                </a:lnTo>
                <a:lnTo>
                  <a:pt x="375" y="494"/>
                </a:lnTo>
                <a:lnTo>
                  <a:pt x="378" y="486"/>
                </a:lnTo>
                <a:lnTo>
                  <a:pt x="378" y="483"/>
                </a:lnTo>
                <a:lnTo>
                  <a:pt x="378" y="475"/>
                </a:lnTo>
                <a:lnTo>
                  <a:pt x="378" y="469"/>
                </a:lnTo>
                <a:lnTo>
                  <a:pt x="377" y="460"/>
                </a:lnTo>
                <a:lnTo>
                  <a:pt x="371" y="460"/>
                </a:lnTo>
                <a:lnTo>
                  <a:pt x="370" y="458"/>
                </a:lnTo>
                <a:lnTo>
                  <a:pt x="370" y="452"/>
                </a:lnTo>
                <a:lnTo>
                  <a:pt x="366" y="449"/>
                </a:lnTo>
                <a:lnTo>
                  <a:pt x="363" y="447"/>
                </a:lnTo>
                <a:lnTo>
                  <a:pt x="362" y="447"/>
                </a:lnTo>
                <a:lnTo>
                  <a:pt x="361" y="449"/>
                </a:lnTo>
                <a:lnTo>
                  <a:pt x="358" y="449"/>
                </a:lnTo>
                <a:lnTo>
                  <a:pt x="357" y="446"/>
                </a:lnTo>
                <a:lnTo>
                  <a:pt x="354" y="444"/>
                </a:lnTo>
                <a:lnTo>
                  <a:pt x="350" y="444"/>
                </a:lnTo>
                <a:lnTo>
                  <a:pt x="347" y="444"/>
                </a:lnTo>
                <a:lnTo>
                  <a:pt x="343" y="444"/>
                </a:lnTo>
                <a:lnTo>
                  <a:pt x="343" y="439"/>
                </a:lnTo>
                <a:lnTo>
                  <a:pt x="343" y="435"/>
                </a:lnTo>
                <a:lnTo>
                  <a:pt x="341" y="435"/>
                </a:lnTo>
                <a:lnTo>
                  <a:pt x="339" y="431"/>
                </a:lnTo>
                <a:lnTo>
                  <a:pt x="341" y="428"/>
                </a:lnTo>
                <a:lnTo>
                  <a:pt x="337" y="425"/>
                </a:lnTo>
                <a:lnTo>
                  <a:pt x="334" y="427"/>
                </a:lnTo>
                <a:lnTo>
                  <a:pt x="330" y="430"/>
                </a:lnTo>
                <a:lnTo>
                  <a:pt x="326" y="430"/>
                </a:lnTo>
                <a:lnTo>
                  <a:pt x="321" y="430"/>
                </a:lnTo>
                <a:lnTo>
                  <a:pt x="318" y="430"/>
                </a:lnTo>
                <a:lnTo>
                  <a:pt x="317" y="428"/>
                </a:lnTo>
                <a:lnTo>
                  <a:pt x="315" y="428"/>
                </a:lnTo>
                <a:lnTo>
                  <a:pt x="313" y="430"/>
                </a:lnTo>
                <a:lnTo>
                  <a:pt x="310" y="431"/>
                </a:lnTo>
                <a:lnTo>
                  <a:pt x="309" y="435"/>
                </a:lnTo>
                <a:lnTo>
                  <a:pt x="303" y="439"/>
                </a:lnTo>
                <a:lnTo>
                  <a:pt x="300" y="441"/>
                </a:lnTo>
                <a:lnTo>
                  <a:pt x="296" y="446"/>
                </a:lnTo>
                <a:lnTo>
                  <a:pt x="293" y="447"/>
                </a:lnTo>
                <a:lnTo>
                  <a:pt x="289" y="450"/>
                </a:lnTo>
                <a:lnTo>
                  <a:pt x="285" y="452"/>
                </a:lnTo>
                <a:lnTo>
                  <a:pt x="277" y="453"/>
                </a:lnTo>
                <a:lnTo>
                  <a:pt x="273" y="455"/>
                </a:lnTo>
                <a:lnTo>
                  <a:pt x="273" y="456"/>
                </a:lnTo>
                <a:lnTo>
                  <a:pt x="273" y="455"/>
                </a:lnTo>
                <a:lnTo>
                  <a:pt x="269" y="453"/>
                </a:lnTo>
                <a:lnTo>
                  <a:pt x="269" y="452"/>
                </a:lnTo>
                <a:lnTo>
                  <a:pt x="268" y="452"/>
                </a:lnTo>
                <a:lnTo>
                  <a:pt x="264" y="453"/>
                </a:lnTo>
                <a:lnTo>
                  <a:pt x="262" y="453"/>
                </a:lnTo>
                <a:lnTo>
                  <a:pt x="260" y="452"/>
                </a:lnTo>
                <a:lnTo>
                  <a:pt x="254" y="450"/>
                </a:lnTo>
                <a:lnTo>
                  <a:pt x="253" y="450"/>
                </a:lnTo>
                <a:lnTo>
                  <a:pt x="253" y="449"/>
                </a:lnTo>
                <a:lnTo>
                  <a:pt x="252" y="447"/>
                </a:lnTo>
                <a:lnTo>
                  <a:pt x="250" y="447"/>
                </a:lnTo>
                <a:lnTo>
                  <a:pt x="246" y="447"/>
                </a:lnTo>
                <a:lnTo>
                  <a:pt x="242" y="449"/>
                </a:lnTo>
                <a:lnTo>
                  <a:pt x="240" y="452"/>
                </a:lnTo>
                <a:lnTo>
                  <a:pt x="237" y="456"/>
                </a:lnTo>
                <a:lnTo>
                  <a:pt x="232" y="463"/>
                </a:lnTo>
                <a:lnTo>
                  <a:pt x="230" y="464"/>
                </a:lnTo>
                <a:lnTo>
                  <a:pt x="229" y="464"/>
                </a:lnTo>
                <a:lnTo>
                  <a:pt x="229" y="463"/>
                </a:lnTo>
                <a:lnTo>
                  <a:pt x="228" y="463"/>
                </a:lnTo>
                <a:lnTo>
                  <a:pt x="228" y="460"/>
                </a:lnTo>
                <a:lnTo>
                  <a:pt x="229" y="456"/>
                </a:lnTo>
                <a:lnTo>
                  <a:pt x="229" y="455"/>
                </a:lnTo>
                <a:lnTo>
                  <a:pt x="228" y="452"/>
                </a:lnTo>
                <a:lnTo>
                  <a:pt x="226" y="450"/>
                </a:lnTo>
                <a:lnTo>
                  <a:pt x="225" y="450"/>
                </a:lnTo>
                <a:lnTo>
                  <a:pt x="222" y="452"/>
                </a:lnTo>
                <a:lnTo>
                  <a:pt x="221" y="452"/>
                </a:lnTo>
                <a:lnTo>
                  <a:pt x="218" y="453"/>
                </a:lnTo>
                <a:lnTo>
                  <a:pt x="217" y="453"/>
                </a:lnTo>
                <a:lnTo>
                  <a:pt x="214" y="453"/>
                </a:lnTo>
                <a:lnTo>
                  <a:pt x="213" y="456"/>
                </a:lnTo>
                <a:lnTo>
                  <a:pt x="209" y="455"/>
                </a:lnTo>
                <a:lnTo>
                  <a:pt x="206" y="456"/>
                </a:lnTo>
                <a:lnTo>
                  <a:pt x="205" y="456"/>
                </a:lnTo>
                <a:lnTo>
                  <a:pt x="204" y="455"/>
                </a:lnTo>
                <a:lnTo>
                  <a:pt x="201" y="453"/>
                </a:lnTo>
                <a:lnTo>
                  <a:pt x="198" y="452"/>
                </a:lnTo>
                <a:lnTo>
                  <a:pt x="197" y="452"/>
                </a:lnTo>
                <a:lnTo>
                  <a:pt x="196" y="452"/>
                </a:lnTo>
                <a:lnTo>
                  <a:pt x="194" y="453"/>
                </a:lnTo>
                <a:lnTo>
                  <a:pt x="193" y="453"/>
                </a:lnTo>
                <a:lnTo>
                  <a:pt x="192" y="453"/>
                </a:lnTo>
                <a:lnTo>
                  <a:pt x="190" y="453"/>
                </a:lnTo>
                <a:lnTo>
                  <a:pt x="189" y="453"/>
                </a:lnTo>
                <a:lnTo>
                  <a:pt x="188" y="453"/>
                </a:lnTo>
                <a:lnTo>
                  <a:pt x="187" y="453"/>
                </a:lnTo>
                <a:lnTo>
                  <a:pt x="185" y="453"/>
                </a:lnTo>
                <a:lnTo>
                  <a:pt x="184" y="452"/>
                </a:lnTo>
                <a:lnTo>
                  <a:pt x="184" y="450"/>
                </a:lnTo>
                <a:lnTo>
                  <a:pt x="183" y="449"/>
                </a:lnTo>
                <a:lnTo>
                  <a:pt x="180" y="449"/>
                </a:lnTo>
                <a:lnTo>
                  <a:pt x="179" y="449"/>
                </a:lnTo>
                <a:lnTo>
                  <a:pt x="175" y="446"/>
                </a:lnTo>
                <a:lnTo>
                  <a:pt x="173" y="444"/>
                </a:lnTo>
                <a:lnTo>
                  <a:pt x="175" y="441"/>
                </a:lnTo>
                <a:lnTo>
                  <a:pt x="173" y="441"/>
                </a:lnTo>
                <a:lnTo>
                  <a:pt x="172" y="441"/>
                </a:lnTo>
                <a:lnTo>
                  <a:pt x="171" y="441"/>
                </a:lnTo>
                <a:lnTo>
                  <a:pt x="168" y="441"/>
                </a:lnTo>
                <a:lnTo>
                  <a:pt x="167" y="441"/>
                </a:lnTo>
                <a:lnTo>
                  <a:pt x="165" y="441"/>
                </a:lnTo>
                <a:lnTo>
                  <a:pt x="164" y="439"/>
                </a:lnTo>
                <a:lnTo>
                  <a:pt x="163" y="439"/>
                </a:lnTo>
                <a:lnTo>
                  <a:pt x="161" y="439"/>
                </a:lnTo>
                <a:lnTo>
                  <a:pt x="161" y="438"/>
                </a:lnTo>
                <a:lnTo>
                  <a:pt x="160" y="438"/>
                </a:lnTo>
                <a:lnTo>
                  <a:pt x="159" y="438"/>
                </a:lnTo>
                <a:lnTo>
                  <a:pt x="160" y="433"/>
                </a:lnTo>
                <a:lnTo>
                  <a:pt x="160" y="431"/>
                </a:lnTo>
                <a:lnTo>
                  <a:pt x="160" y="430"/>
                </a:lnTo>
                <a:lnTo>
                  <a:pt x="159" y="428"/>
                </a:lnTo>
                <a:lnTo>
                  <a:pt x="156" y="430"/>
                </a:lnTo>
                <a:lnTo>
                  <a:pt x="156" y="428"/>
                </a:lnTo>
                <a:lnTo>
                  <a:pt x="155" y="430"/>
                </a:lnTo>
                <a:lnTo>
                  <a:pt x="155" y="431"/>
                </a:lnTo>
                <a:lnTo>
                  <a:pt x="153" y="431"/>
                </a:lnTo>
                <a:lnTo>
                  <a:pt x="152" y="431"/>
                </a:lnTo>
                <a:lnTo>
                  <a:pt x="152" y="433"/>
                </a:lnTo>
                <a:lnTo>
                  <a:pt x="151" y="433"/>
                </a:lnTo>
                <a:lnTo>
                  <a:pt x="149" y="433"/>
                </a:lnTo>
                <a:lnTo>
                  <a:pt x="148" y="431"/>
                </a:lnTo>
                <a:lnTo>
                  <a:pt x="147" y="427"/>
                </a:lnTo>
                <a:lnTo>
                  <a:pt x="145" y="424"/>
                </a:lnTo>
                <a:lnTo>
                  <a:pt x="143" y="422"/>
                </a:lnTo>
                <a:lnTo>
                  <a:pt x="139" y="420"/>
                </a:lnTo>
                <a:lnTo>
                  <a:pt x="136" y="417"/>
                </a:lnTo>
                <a:lnTo>
                  <a:pt x="135" y="416"/>
                </a:lnTo>
                <a:lnTo>
                  <a:pt x="133" y="414"/>
                </a:lnTo>
                <a:lnTo>
                  <a:pt x="128" y="413"/>
                </a:lnTo>
                <a:lnTo>
                  <a:pt x="123" y="413"/>
                </a:lnTo>
                <a:lnTo>
                  <a:pt x="121" y="411"/>
                </a:lnTo>
                <a:lnTo>
                  <a:pt x="117" y="411"/>
                </a:lnTo>
                <a:lnTo>
                  <a:pt x="117" y="413"/>
                </a:lnTo>
                <a:lnTo>
                  <a:pt x="116" y="414"/>
                </a:lnTo>
                <a:lnTo>
                  <a:pt x="116" y="416"/>
                </a:lnTo>
                <a:lnTo>
                  <a:pt x="113" y="414"/>
                </a:lnTo>
                <a:lnTo>
                  <a:pt x="113" y="413"/>
                </a:lnTo>
                <a:lnTo>
                  <a:pt x="112" y="413"/>
                </a:lnTo>
                <a:lnTo>
                  <a:pt x="111" y="411"/>
                </a:lnTo>
                <a:lnTo>
                  <a:pt x="107" y="411"/>
                </a:lnTo>
                <a:lnTo>
                  <a:pt x="105" y="409"/>
                </a:lnTo>
                <a:lnTo>
                  <a:pt x="105" y="408"/>
                </a:lnTo>
                <a:lnTo>
                  <a:pt x="104" y="408"/>
                </a:lnTo>
                <a:lnTo>
                  <a:pt x="100" y="405"/>
                </a:lnTo>
                <a:lnTo>
                  <a:pt x="99" y="405"/>
                </a:lnTo>
                <a:lnTo>
                  <a:pt x="97" y="405"/>
                </a:lnTo>
                <a:lnTo>
                  <a:pt x="96" y="403"/>
                </a:lnTo>
                <a:lnTo>
                  <a:pt x="96" y="402"/>
                </a:lnTo>
                <a:lnTo>
                  <a:pt x="95" y="400"/>
                </a:lnTo>
                <a:lnTo>
                  <a:pt x="93" y="400"/>
                </a:lnTo>
                <a:lnTo>
                  <a:pt x="92" y="400"/>
                </a:lnTo>
                <a:lnTo>
                  <a:pt x="91" y="400"/>
                </a:lnTo>
                <a:lnTo>
                  <a:pt x="89" y="400"/>
                </a:lnTo>
                <a:lnTo>
                  <a:pt x="89" y="398"/>
                </a:lnTo>
                <a:lnTo>
                  <a:pt x="88" y="398"/>
                </a:lnTo>
                <a:lnTo>
                  <a:pt x="87" y="398"/>
                </a:lnTo>
                <a:lnTo>
                  <a:pt x="85" y="398"/>
                </a:lnTo>
                <a:lnTo>
                  <a:pt x="84" y="398"/>
                </a:lnTo>
                <a:lnTo>
                  <a:pt x="81" y="398"/>
                </a:lnTo>
                <a:lnTo>
                  <a:pt x="80" y="398"/>
                </a:lnTo>
                <a:lnTo>
                  <a:pt x="81" y="395"/>
                </a:lnTo>
                <a:lnTo>
                  <a:pt x="79" y="395"/>
                </a:lnTo>
                <a:lnTo>
                  <a:pt x="79" y="394"/>
                </a:lnTo>
                <a:lnTo>
                  <a:pt x="79" y="392"/>
                </a:lnTo>
                <a:lnTo>
                  <a:pt x="77" y="391"/>
                </a:lnTo>
                <a:lnTo>
                  <a:pt x="77" y="389"/>
                </a:lnTo>
                <a:lnTo>
                  <a:pt x="77" y="387"/>
                </a:lnTo>
                <a:lnTo>
                  <a:pt x="77" y="386"/>
                </a:lnTo>
                <a:lnTo>
                  <a:pt x="77" y="384"/>
                </a:lnTo>
                <a:lnTo>
                  <a:pt x="77" y="383"/>
                </a:lnTo>
                <a:lnTo>
                  <a:pt x="77" y="381"/>
                </a:lnTo>
                <a:lnTo>
                  <a:pt x="76" y="378"/>
                </a:lnTo>
                <a:lnTo>
                  <a:pt x="74" y="376"/>
                </a:lnTo>
                <a:lnTo>
                  <a:pt x="74" y="373"/>
                </a:lnTo>
                <a:lnTo>
                  <a:pt x="74" y="372"/>
                </a:lnTo>
                <a:lnTo>
                  <a:pt x="74" y="370"/>
                </a:lnTo>
                <a:lnTo>
                  <a:pt x="76" y="370"/>
                </a:lnTo>
                <a:lnTo>
                  <a:pt x="77" y="369"/>
                </a:lnTo>
                <a:lnTo>
                  <a:pt x="77" y="370"/>
                </a:lnTo>
                <a:lnTo>
                  <a:pt x="77" y="372"/>
                </a:lnTo>
                <a:lnTo>
                  <a:pt x="79" y="373"/>
                </a:lnTo>
                <a:lnTo>
                  <a:pt x="81" y="375"/>
                </a:lnTo>
                <a:lnTo>
                  <a:pt x="81" y="373"/>
                </a:lnTo>
                <a:lnTo>
                  <a:pt x="83" y="373"/>
                </a:lnTo>
                <a:lnTo>
                  <a:pt x="84" y="373"/>
                </a:lnTo>
                <a:lnTo>
                  <a:pt x="84" y="372"/>
                </a:lnTo>
                <a:lnTo>
                  <a:pt x="85" y="372"/>
                </a:lnTo>
                <a:lnTo>
                  <a:pt x="85" y="370"/>
                </a:lnTo>
                <a:lnTo>
                  <a:pt x="87" y="370"/>
                </a:lnTo>
                <a:lnTo>
                  <a:pt x="87" y="372"/>
                </a:lnTo>
                <a:lnTo>
                  <a:pt x="88" y="372"/>
                </a:lnTo>
                <a:lnTo>
                  <a:pt x="91" y="369"/>
                </a:lnTo>
                <a:lnTo>
                  <a:pt x="91" y="367"/>
                </a:lnTo>
                <a:lnTo>
                  <a:pt x="89" y="365"/>
                </a:lnTo>
                <a:lnTo>
                  <a:pt x="88" y="364"/>
                </a:lnTo>
                <a:lnTo>
                  <a:pt x="87" y="362"/>
                </a:lnTo>
                <a:lnTo>
                  <a:pt x="88" y="362"/>
                </a:lnTo>
                <a:lnTo>
                  <a:pt x="88" y="361"/>
                </a:lnTo>
                <a:lnTo>
                  <a:pt x="84" y="359"/>
                </a:lnTo>
                <a:lnTo>
                  <a:pt x="83" y="359"/>
                </a:lnTo>
                <a:lnTo>
                  <a:pt x="80" y="356"/>
                </a:lnTo>
                <a:lnTo>
                  <a:pt x="80" y="353"/>
                </a:lnTo>
                <a:lnTo>
                  <a:pt x="81" y="353"/>
                </a:lnTo>
                <a:lnTo>
                  <a:pt x="81" y="350"/>
                </a:lnTo>
                <a:lnTo>
                  <a:pt x="80" y="347"/>
                </a:lnTo>
                <a:lnTo>
                  <a:pt x="80" y="345"/>
                </a:lnTo>
                <a:lnTo>
                  <a:pt x="83" y="345"/>
                </a:lnTo>
                <a:lnTo>
                  <a:pt x="84" y="345"/>
                </a:lnTo>
                <a:lnTo>
                  <a:pt x="87" y="345"/>
                </a:lnTo>
                <a:lnTo>
                  <a:pt x="88" y="345"/>
                </a:lnTo>
                <a:lnTo>
                  <a:pt x="89" y="343"/>
                </a:lnTo>
                <a:lnTo>
                  <a:pt x="91" y="340"/>
                </a:lnTo>
                <a:lnTo>
                  <a:pt x="91" y="337"/>
                </a:lnTo>
                <a:lnTo>
                  <a:pt x="93" y="337"/>
                </a:lnTo>
                <a:lnTo>
                  <a:pt x="93" y="336"/>
                </a:lnTo>
                <a:lnTo>
                  <a:pt x="95" y="336"/>
                </a:lnTo>
                <a:lnTo>
                  <a:pt x="95" y="334"/>
                </a:lnTo>
                <a:lnTo>
                  <a:pt x="96" y="332"/>
                </a:lnTo>
                <a:lnTo>
                  <a:pt x="97" y="332"/>
                </a:lnTo>
                <a:lnTo>
                  <a:pt x="97" y="331"/>
                </a:lnTo>
                <a:lnTo>
                  <a:pt x="99" y="329"/>
                </a:lnTo>
                <a:lnTo>
                  <a:pt x="100" y="323"/>
                </a:lnTo>
                <a:lnTo>
                  <a:pt x="100" y="321"/>
                </a:lnTo>
                <a:lnTo>
                  <a:pt x="103" y="320"/>
                </a:lnTo>
                <a:lnTo>
                  <a:pt x="101" y="318"/>
                </a:lnTo>
                <a:lnTo>
                  <a:pt x="100" y="318"/>
                </a:lnTo>
                <a:lnTo>
                  <a:pt x="97" y="320"/>
                </a:lnTo>
                <a:lnTo>
                  <a:pt x="96" y="318"/>
                </a:lnTo>
                <a:lnTo>
                  <a:pt x="96" y="315"/>
                </a:lnTo>
                <a:lnTo>
                  <a:pt x="95" y="317"/>
                </a:lnTo>
                <a:lnTo>
                  <a:pt x="93" y="317"/>
                </a:lnTo>
                <a:lnTo>
                  <a:pt x="93" y="315"/>
                </a:lnTo>
                <a:lnTo>
                  <a:pt x="92" y="315"/>
                </a:lnTo>
                <a:lnTo>
                  <a:pt x="91" y="312"/>
                </a:lnTo>
                <a:lnTo>
                  <a:pt x="89" y="312"/>
                </a:lnTo>
                <a:lnTo>
                  <a:pt x="88" y="312"/>
                </a:lnTo>
                <a:lnTo>
                  <a:pt x="87" y="310"/>
                </a:lnTo>
                <a:lnTo>
                  <a:pt x="87" y="309"/>
                </a:lnTo>
                <a:lnTo>
                  <a:pt x="85" y="309"/>
                </a:lnTo>
                <a:lnTo>
                  <a:pt x="84" y="310"/>
                </a:lnTo>
                <a:lnTo>
                  <a:pt x="83" y="310"/>
                </a:lnTo>
                <a:lnTo>
                  <a:pt x="81" y="310"/>
                </a:lnTo>
                <a:lnTo>
                  <a:pt x="77" y="312"/>
                </a:lnTo>
                <a:lnTo>
                  <a:pt x="75" y="314"/>
                </a:lnTo>
                <a:lnTo>
                  <a:pt x="72" y="315"/>
                </a:lnTo>
                <a:lnTo>
                  <a:pt x="70" y="317"/>
                </a:lnTo>
                <a:lnTo>
                  <a:pt x="68" y="318"/>
                </a:lnTo>
                <a:lnTo>
                  <a:pt x="67" y="318"/>
                </a:lnTo>
                <a:lnTo>
                  <a:pt x="66" y="318"/>
                </a:lnTo>
                <a:lnTo>
                  <a:pt x="64" y="318"/>
                </a:lnTo>
                <a:lnTo>
                  <a:pt x="63" y="320"/>
                </a:lnTo>
                <a:lnTo>
                  <a:pt x="62" y="318"/>
                </a:lnTo>
                <a:lnTo>
                  <a:pt x="59" y="318"/>
                </a:lnTo>
                <a:lnTo>
                  <a:pt x="56" y="318"/>
                </a:lnTo>
                <a:lnTo>
                  <a:pt x="55" y="318"/>
                </a:lnTo>
                <a:lnTo>
                  <a:pt x="52" y="317"/>
                </a:lnTo>
                <a:lnTo>
                  <a:pt x="48" y="315"/>
                </a:lnTo>
                <a:lnTo>
                  <a:pt x="46" y="314"/>
                </a:lnTo>
                <a:lnTo>
                  <a:pt x="46" y="312"/>
                </a:lnTo>
                <a:lnTo>
                  <a:pt x="44" y="310"/>
                </a:lnTo>
                <a:lnTo>
                  <a:pt x="43" y="312"/>
                </a:lnTo>
                <a:lnTo>
                  <a:pt x="42" y="312"/>
                </a:lnTo>
                <a:lnTo>
                  <a:pt x="40" y="312"/>
                </a:lnTo>
                <a:lnTo>
                  <a:pt x="39" y="312"/>
                </a:lnTo>
                <a:lnTo>
                  <a:pt x="38" y="309"/>
                </a:lnTo>
                <a:lnTo>
                  <a:pt x="35" y="309"/>
                </a:lnTo>
                <a:lnTo>
                  <a:pt x="35" y="307"/>
                </a:lnTo>
                <a:lnTo>
                  <a:pt x="36" y="307"/>
                </a:lnTo>
                <a:lnTo>
                  <a:pt x="36" y="306"/>
                </a:lnTo>
                <a:lnTo>
                  <a:pt x="36" y="304"/>
                </a:lnTo>
                <a:lnTo>
                  <a:pt x="36" y="303"/>
                </a:lnTo>
                <a:lnTo>
                  <a:pt x="36" y="301"/>
                </a:lnTo>
                <a:lnTo>
                  <a:pt x="35" y="299"/>
                </a:lnTo>
                <a:lnTo>
                  <a:pt x="34" y="298"/>
                </a:lnTo>
                <a:lnTo>
                  <a:pt x="31" y="295"/>
                </a:lnTo>
                <a:lnTo>
                  <a:pt x="30" y="296"/>
                </a:lnTo>
                <a:lnTo>
                  <a:pt x="28" y="296"/>
                </a:lnTo>
                <a:lnTo>
                  <a:pt x="27" y="296"/>
                </a:lnTo>
                <a:lnTo>
                  <a:pt x="27" y="293"/>
                </a:lnTo>
                <a:lnTo>
                  <a:pt x="24" y="293"/>
                </a:lnTo>
                <a:lnTo>
                  <a:pt x="23" y="292"/>
                </a:lnTo>
                <a:lnTo>
                  <a:pt x="19" y="293"/>
                </a:lnTo>
                <a:lnTo>
                  <a:pt x="16" y="292"/>
                </a:lnTo>
                <a:lnTo>
                  <a:pt x="15" y="290"/>
                </a:lnTo>
                <a:lnTo>
                  <a:pt x="14" y="290"/>
                </a:lnTo>
                <a:lnTo>
                  <a:pt x="14" y="288"/>
                </a:lnTo>
                <a:lnTo>
                  <a:pt x="15" y="287"/>
                </a:lnTo>
                <a:lnTo>
                  <a:pt x="16" y="287"/>
                </a:lnTo>
                <a:lnTo>
                  <a:pt x="18" y="287"/>
                </a:lnTo>
                <a:lnTo>
                  <a:pt x="19" y="287"/>
                </a:lnTo>
                <a:lnTo>
                  <a:pt x="18" y="287"/>
                </a:lnTo>
                <a:lnTo>
                  <a:pt x="20" y="287"/>
                </a:lnTo>
                <a:lnTo>
                  <a:pt x="20" y="277"/>
                </a:lnTo>
                <a:lnTo>
                  <a:pt x="18" y="271"/>
                </a:lnTo>
                <a:lnTo>
                  <a:pt x="18" y="266"/>
                </a:lnTo>
                <a:lnTo>
                  <a:pt x="16" y="263"/>
                </a:lnTo>
                <a:lnTo>
                  <a:pt x="11" y="263"/>
                </a:lnTo>
                <a:lnTo>
                  <a:pt x="6" y="265"/>
                </a:lnTo>
                <a:lnTo>
                  <a:pt x="3" y="263"/>
                </a:lnTo>
                <a:lnTo>
                  <a:pt x="2" y="259"/>
                </a:lnTo>
                <a:lnTo>
                  <a:pt x="0" y="254"/>
                </a:lnTo>
                <a:lnTo>
                  <a:pt x="4" y="246"/>
                </a:lnTo>
                <a:lnTo>
                  <a:pt x="3" y="243"/>
                </a:lnTo>
                <a:lnTo>
                  <a:pt x="6" y="238"/>
                </a:lnTo>
                <a:lnTo>
                  <a:pt x="15" y="235"/>
                </a:lnTo>
                <a:lnTo>
                  <a:pt x="16" y="234"/>
                </a:lnTo>
                <a:lnTo>
                  <a:pt x="18" y="234"/>
                </a:lnTo>
                <a:lnTo>
                  <a:pt x="20" y="229"/>
                </a:lnTo>
                <a:lnTo>
                  <a:pt x="23" y="230"/>
                </a:lnTo>
                <a:lnTo>
                  <a:pt x="27" y="229"/>
                </a:lnTo>
                <a:lnTo>
                  <a:pt x="30" y="229"/>
                </a:lnTo>
                <a:lnTo>
                  <a:pt x="31" y="232"/>
                </a:lnTo>
                <a:lnTo>
                  <a:pt x="34" y="232"/>
                </a:lnTo>
                <a:lnTo>
                  <a:pt x="39" y="232"/>
                </a:lnTo>
                <a:lnTo>
                  <a:pt x="42" y="232"/>
                </a:lnTo>
                <a:lnTo>
                  <a:pt x="46" y="229"/>
                </a:lnTo>
                <a:lnTo>
                  <a:pt x="47" y="226"/>
                </a:lnTo>
                <a:lnTo>
                  <a:pt x="50" y="223"/>
                </a:lnTo>
                <a:lnTo>
                  <a:pt x="54" y="221"/>
                </a:lnTo>
                <a:lnTo>
                  <a:pt x="59" y="221"/>
                </a:lnTo>
                <a:lnTo>
                  <a:pt x="67" y="219"/>
                </a:lnTo>
                <a:lnTo>
                  <a:pt x="70" y="218"/>
                </a:lnTo>
                <a:lnTo>
                  <a:pt x="72" y="215"/>
                </a:lnTo>
                <a:lnTo>
                  <a:pt x="76" y="212"/>
                </a:lnTo>
                <a:lnTo>
                  <a:pt x="85" y="207"/>
                </a:lnTo>
                <a:lnTo>
                  <a:pt x="96" y="204"/>
                </a:lnTo>
                <a:lnTo>
                  <a:pt x="99" y="202"/>
                </a:lnTo>
                <a:lnTo>
                  <a:pt x="100" y="199"/>
                </a:lnTo>
                <a:lnTo>
                  <a:pt x="100" y="193"/>
                </a:lnTo>
                <a:lnTo>
                  <a:pt x="101" y="190"/>
                </a:lnTo>
                <a:lnTo>
                  <a:pt x="104" y="188"/>
                </a:lnTo>
                <a:lnTo>
                  <a:pt x="103" y="185"/>
                </a:lnTo>
                <a:lnTo>
                  <a:pt x="107" y="182"/>
                </a:lnTo>
                <a:lnTo>
                  <a:pt x="107" y="179"/>
                </a:lnTo>
                <a:lnTo>
                  <a:pt x="104" y="172"/>
                </a:lnTo>
                <a:lnTo>
                  <a:pt x="103" y="169"/>
                </a:lnTo>
                <a:lnTo>
                  <a:pt x="101" y="166"/>
                </a:lnTo>
                <a:lnTo>
                  <a:pt x="100" y="157"/>
                </a:lnTo>
                <a:lnTo>
                  <a:pt x="97" y="153"/>
                </a:lnTo>
                <a:lnTo>
                  <a:pt x="96" y="152"/>
                </a:lnTo>
                <a:lnTo>
                  <a:pt x="99" y="150"/>
                </a:lnTo>
                <a:lnTo>
                  <a:pt x="104" y="149"/>
                </a:lnTo>
                <a:lnTo>
                  <a:pt x="109" y="147"/>
                </a:lnTo>
                <a:lnTo>
                  <a:pt x="115" y="146"/>
                </a:lnTo>
                <a:lnTo>
                  <a:pt x="131" y="146"/>
                </a:lnTo>
                <a:lnTo>
                  <a:pt x="132" y="144"/>
                </a:lnTo>
                <a:lnTo>
                  <a:pt x="131" y="141"/>
                </a:lnTo>
                <a:lnTo>
                  <a:pt x="129" y="136"/>
                </a:lnTo>
                <a:lnTo>
                  <a:pt x="131" y="133"/>
                </a:lnTo>
                <a:lnTo>
                  <a:pt x="132" y="127"/>
                </a:lnTo>
                <a:lnTo>
                  <a:pt x="136" y="120"/>
                </a:lnTo>
                <a:lnTo>
                  <a:pt x="139" y="116"/>
                </a:lnTo>
                <a:lnTo>
                  <a:pt x="141" y="111"/>
                </a:lnTo>
                <a:lnTo>
                  <a:pt x="148" y="111"/>
                </a:lnTo>
                <a:lnTo>
                  <a:pt x="151" y="113"/>
                </a:lnTo>
                <a:lnTo>
                  <a:pt x="155" y="114"/>
                </a:lnTo>
                <a:lnTo>
                  <a:pt x="165" y="113"/>
                </a:lnTo>
                <a:lnTo>
                  <a:pt x="168" y="114"/>
                </a:lnTo>
                <a:lnTo>
                  <a:pt x="169" y="116"/>
                </a:lnTo>
                <a:lnTo>
                  <a:pt x="173" y="114"/>
                </a:lnTo>
                <a:lnTo>
                  <a:pt x="180" y="113"/>
                </a:lnTo>
                <a:lnTo>
                  <a:pt x="181" y="103"/>
                </a:lnTo>
                <a:lnTo>
                  <a:pt x="180" y="98"/>
                </a:lnTo>
                <a:lnTo>
                  <a:pt x="181" y="94"/>
                </a:lnTo>
                <a:lnTo>
                  <a:pt x="185" y="89"/>
                </a:lnTo>
                <a:lnTo>
                  <a:pt x="189" y="89"/>
                </a:lnTo>
                <a:lnTo>
                  <a:pt x="194" y="87"/>
                </a:lnTo>
                <a:lnTo>
                  <a:pt x="198" y="84"/>
                </a:lnTo>
                <a:lnTo>
                  <a:pt x="201" y="80"/>
                </a:lnTo>
                <a:lnTo>
                  <a:pt x="208" y="81"/>
                </a:lnTo>
                <a:lnTo>
                  <a:pt x="213" y="78"/>
                </a:lnTo>
                <a:lnTo>
                  <a:pt x="214" y="78"/>
                </a:lnTo>
                <a:lnTo>
                  <a:pt x="214" y="80"/>
                </a:lnTo>
                <a:lnTo>
                  <a:pt x="216" y="81"/>
                </a:lnTo>
                <a:lnTo>
                  <a:pt x="218" y="87"/>
                </a:lnTo>
                <a:lnTo>
                  <a:pt x="226" y="92"/>
                </a:lnTo>
                <a:lnTo>
                  <a:pt x="229" y="97"/>
                </a:lnTo>
                <a:lnTo>
                  <a:pt x="233" y="98"/>
                </a:lnTo>
                <a:lnTo>
                  <a:pt x="236" y="97"/>
                </a:lnTo>
                <a:lnTo>
                  <a:pt x="240" y="97"/>
                </a:lnTo>
                <a:lnTo>
                  <a:pt x="244" y="98"/>
                </a:lnTo>
                <a:lnTo>
                  <a:pt x="248" y="100"/>
                </a:lnTo>
                <a:lnTo>
                  <a:pt x="250" y="103"/>
                </a:lnTo>
                <a:lnTo>
                  <a:pt x="253" y="108"/>
                </a:lnTo>
                <a:lnTo>
                  <a:pt x="256" y="113"/>
                </a:lnTo>
                <a:lnTo>
                  <a:pt x="258" y="122"/>
                </a:lnTo>
                <a:lnTo>
                  <a:pt x="260" y="128"/>
                </a:lnTo>
                <a:lnTo>
                  <a:pt x="260" y="131"/>
                </a:lnTo>
                <a:lnTo>
                  <a:pt x="260" y="136"/>
                </a:lnTo>
                <a:lnTo>
                  <a:pt x="257" y="141"/>
                </a:lnTo>
                <a:lnTo>
                  <a:pt x="257" y="144"/>
                </a:lnTo>
                <a:lnTo>
                  <a:pt x="260" y="146"/>
                </a:lnTo>
                <a:lnTo>
                  <a:pt x="264" y="146"/>
                </a:lnTo>
                <a:lnTo>
                  <a:pt x="272" y="147"/>
                </a:lnTo>
                <a:lnTo>
                  <a:pt x="281" y="150"/>
                </a:lnTo>
                <a:lnTo>
                  <a:pt x="284" y="150"/>
                </a:lnTo>
                <a:lnTo>
                  <a:pt x="288" y="149"/>
                </a:lnTo>
                <a:lnTo>
                  <a:pt x="292" y="149"/>
                </a:lnTo>
                <a:lnTo>
                  <a:pt x="294" y="150"/>
                </a:lnTo>
                <a:lnTo>
                  <a:pt x="302" y="152"/>
                </a:lnTo>
                <a:lnTo>
                  <a:pt x="306" y="155"/>
                </a:lnTo>
                <a:lnTo>
                  <a:pt x="311" y="157"/>
                </a:lnTo>
                <a:lnTo>
                  <a:pt x="319" y="158"/>
                </a:lnTo>
                <a:lnTo>
                  <a:pt x="323" y="161"/>
                </a:lnTo>
                <a:lnTo>
                  <a:pt x="326" y="161"/>
                </a:lnTo>
                <a:lnTo>
                  <a:pt x="330" y="164"/>
                </a:lnTo>
                <a:lnTo>
                  <a:pt x="333" y="169"/>
                </a:lnTo>
                <a:lnTo>
                  <a:pt x="335" y="174"/>
                </a:lnTo>
                <a:lnTo>
                  <a:pt x="338" y="179"/>
                </a:lnTo>
                <a:lnTo>
                  <a:pt x="341" y="182"/>
                </a:lnTo>
                <a:lnTo>
                  <a:pt x="345" y="185"/>
                </a:lnTo>
                <a:lnTo>
                  <a:pt x="349" y="188"/>
                </a:lnTo>
                <a:lnTo>
                  <a:pt x="353" y="190"/>
                </a:lnTo>
                <a:lnTo>
                  <a:pt x="358" y="190"/>
                </a:lnTo>
                <a:lnTo>
                  <a:pt x="399" y="188"/>
                </a:lnTo>
                <a:lnTo>
                  <a:pt x="405" y="186"/>
                </a:lnTo>
                <a:lnTo>
                  <a:pt x="409" y="188"/>
                </a:lnTo>
                <a:lnTo>
                  <a:pt x="418" y="190"/>
                </a:lnTo>
                <a:lnTo>
                  <a:pt x="420" y="191"/>
                </a:lnTo>
                <a:lnTo>
                  <a:pt x="423" y="194"/>
                </a:lnTo>
                <a:lnTo>
                  <a:pt x="427" y="197"/>
                </a:lnTo>
                <a:lnTo>
                  <a:pt x="434" y="199"/>
                </a:lnTo>
                <a:lnTo>
                  <a:pt x="443" y="202"/>
                </a:lnTo>
                <a:lnTo>
                  <a:pt x="448" y="204"/>
                </a:lnTo>
                <a:lnTo>
                  <a:pt x="454" y="205"/>
                </a:lnTo>
                <a:lnTo>
                  <a:pt x="462" y="207"/>
                </a:lnTo>
                <a:lnTo>
                  <a:pt x="463" y="207"/>
                </a:lnTo>
                <a:lnTo>
                  <a:pt x="467" y="208"/>
                </a:lnTo>
                <a:lnTo>
                  <a:pt x="470" y="210"/>
                </a:lnTo>
                <a:lnTo>
                  <a:pt x="472" y="210"/>
                </a:lnTo>
                <a:lnTo>
                  <a:pt x="478" y="205"/>
                </a:lnTo>
                <a:lnTo>
                  <a:pt x="486" y="204"/>
                </a:lnTo>
                <a:lnTo>
                  <a:pt x="490" y="202"/>
                </a:lnTo>
                <a:lnTo>
                  <a:pt x="492" y="202"/>
                </a:lnTo>
                <a:lnTo>
                  <a:pt x="495" y="199"/>
                </a:lnTo>
                <a:lnTo>
                  <a:pt x="498" y="199"/>
                </a:lnTo>
                <a:lnTo>
                  <a:pt x="508" y="197"/>
                </a:lnTo>
                <a:lnTo>
                  <a:pt x="512" y="194"/>
                </a:lnTo>
                <a:lnTo>
                  <a:pt x="520" y="196"/>
                </a:lnTo>
                <a:lnTo>
                  <a:pt x="524" y="194"/>
                </a:lnTo>
                <a:lnTo>
                  <a:pt x="532" y="196"/>
                </a:lnTo>
                <a:lnTo>
                  <a:pt x="533" y="196"/>
                </a:lnTo>
                <a:lnTo>
                  <a:pt x="541" y="194"/>
                </a:lnTo>
                <a:lnTo>
                  <a:pt x="549" y="193"/>
                </a:lnTo>
                <a:lnTo>
                  <a:pt x="553" y="190"/>
                </a:lnTo>
                <a:lnTo>
                  <a:pt x="559" y="186"/>
                </a:lnTo>
                <a:lnTo>
                  <a:pt x="561" y="183"/>
                </a:lnTo>
                <a:lnTo>
                  <a:pt x="577" y="172"/>
                </a:lnTo>
                <a:lnTo>
                  <a:pt x="576" y="169"/>
                </a:lnTo>
                <a:lnTo>
                  <a:pt x="571" y="161"/>
                </a:lnTo>
                <a:lnTo>
                  <a:pt x="571" y="158"/>
                </a:lnTo>
                <a:lnTo>
                  <a:pt x="575" y="153"/>
                </a:lnTo>
                <a:lnTo>
                  <a:pt x="577" y="150"/>
                </a:lnTo>
                <a:lnTo>
                  <a:pt x="583" y="149"/>
                </a:lnTo>
                <a:lnTo>
                  <a:pt x="588" y="149"/>
                </a:lnTo>
                <a:lnTo>
                  <a:pt x="591" y="152"/>
                </a:lnTo>
                <a:lnTo>
                  <a:pt x="596" y="153"/>
                </a:lnTo>
                <a:lnTo>
                  <a:pt x="601" y="153"/>
                </a:lnTo>
                <a:lnTo>
                  <a:pt x="609" y="149"/>
                </a:lnTo>
                <a:lnTo>
                  <a:pt x="615" y="144"/>
                </a:lnTo>
                <a:lnTo>
                  <a:pt x="620" y="139"/>
                </a:lnTo>
                <a:lnTo>
                  <a:pt x="623" y="139"/>
                </a:lnTo>
                <a:lnTo>
                  <a:pt x="627" y="139"/>
                </a:lnTo>
                <a:lnTo>
                  <a:pt x="628" y="139"/>
                </a:lnTo>
                <a:lnTo>
                  <a:pt x="633" y="136"/>
                </a:lnTo>
                <a:lnTo>
                  <a:pt x="646" y="124"/>
                </a:lnTo>
                <a:lnTo>
                  <a:pt x="650" y="120"/>
                </a:lnTo>
                <a:lnTo>
                  <a:pt x="657" y="120"/>
                </a:lnTo>
                <a:lnTo>
                  <a:pt x="664" y="120"/>
                </a:lnTo>
                <a:lnTo>
                  <a:pt x="670" y="119"/>
                </a:lnTo>
                <a:lnTo>
                  <a:pt x="677" y="119"/>
                </a:lnTo>
                <a:lnTo>
                  <a:pt x="682" y="119"/>
                </a:lnTo>
                <a:lnTo>
                  <a:pt x="688" y="120"/>
                </a:lnTo>
                <a:lnTo>
                  <a:pt x="690" y="119"/>
                </a:lnTo>
                <a:lnTo>
                  <a:pt x="690" y="116"/>
                </a:lnTo>
                <a:lnTo>
                  <a:pt x="686" y="114"/>
                </a:lnTo>
                <a:lnTo>
                  <a:pt x="686" y="113"/>
                </a:lnTo>
                <a:lnTo>
                  <a:pt x="686" y="109"/>
                </a:lnTo>
                <a:lnTo>
                  <a:pt x="685" y="106"/>
                </a:lnTo>
                <a:lnTo>
                  <a:pt x="677" y="100"/>
                </a:lnTo>
                <a:lnTo>
                  <a:pt x="673" y="97"/>
                </a:lnTo>
                <a:lnTo>
                  <a:pt x="672" y="95"/>
                </a:lnTo>
                <a:lnTo>
                  <a:pt x="664" y="98"/>
                </a:lnTo>
                <a:lnTo>
                  <a:pt x="658" y="102"/>
                </a:lnTo>
                <a:lnTo>
                  <a:pt x="652" y="103"/>
                </a:lnTo>
                <a:lnTo>
                  <a:pt x="645" y="103"/>
                </a:lnTo>
                <a:lnTo>
                  <a:pt x="635" y="102"/>
                </a:lnTo>
                <a:lnTo>
                  <a:pt x="632" y="98"/>
                </a:lnTo>
                <a:lnTo>
                  <a:pt x="631" y="94"/>
                </a:lnTo>
                <a:lnTo>
                  <a:pt x="631" y="89"/>
                </a:lnTo>
                <a:lnTo>
                  <a:pt x="633" y="86"/>
                </a:lnTo>
                <a:lnTo>
                  <a:pt x="633" y="81"/>
                </a:lnTo>
                <a:lnTo>
                  <a:pt x="633" y="78"/>
                </a:lnTo>
                <a:lnTo>
                  <a:pt x="633" y="75"/>
                </a:lnTo>
                <a:lnTo>
                  <a:pt x="633" y="73"/>
                </a:lnTo>
                <a:lnTo>
                  <a:pt x="637" y="70"/>
                </a:lnTo>
                <a:lnTo>
                  <a:pt x="641" y="64"/>
                </a:lnTo>
                <a:lnTo>
                  <a:pt x="644" y="62"/>
                </a:lnTo>
                <a:lnTo>
                  <a:pt x="644" y="61"/>
                </a:lnTo>
                <a:lnTo>
                  <a:pt x="646" y="61"/>
                </a:lnTo>
                <a:lnTo>
                  <a:pt x="650" y="64"/>
                </a:lnTo>
                <a:lnTo>
                  <a:pt x="658" y="65"/>
                </a:lnTo>
                <a:lnTo>
                  <a:pt x="666" y="69"/>
                </a:lnTo>
                <a:lnTo>
                  <a:pt x="669" y="67"/>
                </a:lnTo>
                <a:lnTo>
                  <a:pt x="673" y="65"/>
                </a:lnTo>
                <a:lnTo>
                  <a:pt x="686" y="59"/>
                </a:lnTo>
                <a:lnTo>
                  <a:pt x="688" y="58"/>
                </a:lnTo>
                <a:lnTo>
                  <a:pt x="686" y="54"/>
                </a:lnTo>
                <a:lnTo>
                  <a:pt x="688" y="51"/>
                </a:lnTo>
                <a:lnTo>
                  <a:pt x="690" y="50"/>
                </a:lnTo>
                <a:lnTo>
                  <a:pt x="692" y="47"/>
                </a:lnTo>
                <a:lnTo>
                  <a:pt x="694" y="40"/>
                </a:lnTo>
                <a:lnTo>
                  <a:pt x="696" y="37"/>
                </a:lnTo>
                <a:lnTo>
                  <a:pt x="698" y="33"/>
                </a:lnTo>
                <a:lnTo>
                  <a:pt x="702" y="31"/>
                </a:lnTo>
                <a:lnTo>
                  <a:pt x="709" y="26"/>
                </a:lnTo>
                <a:lnTo>
                  <a:pt x="709" y="25"/>
                </a:lnTo>
                <a:lnTo>
                  <a:pt x="708" y="23"/>
                </a:lnTo>
                <a:lnTo>
                  <a:pt x="709" y="17"/>
                </a:lnTo>
                <a:lnTo>
                  <a:pt x="706" y="17"/>
                </a:lnTo>
                <a:lnTo>
                  <a:pt x="704" y="17"/>
                </a:lnTo>
                <a:lnTo>
                  <a:pt x="698" y="17"/>
                </a:lnTo>
                <a:lnTo>
                  <a:pt x="698" y="14"/>
                </a:lnTo>
                <a:lnTo>
                  <a:pt x="705" y="9"/>
                </a:lnTo>
                <a:lnTo>
                  <a:pt x="708" y="7"/>
                </a:lnTo>
                <a:lnTo>
                  <a:pt x="712" y="4"/>
                </a:lnTo>
                <a:lnTo>
                  <a:pt x="721" y="3"/>
                </a:lnTo>
                <a:lnTo>
                  <a:pt x="733" y="0"/>
                </a:lnTo>
                <a:lnTo>
                  <a:pt x="740" y="1"/>
                </a:lnTo>
                <a:lnTo>
                  <a:pt x="749" y="0"/>
                </a:lnTo>
                <a:lnTo>
                  <a:pt x="753" y="0"/>
                </a:lnTo>
                <a:lnTo>
                  <a:pt x="758" y="1"/>
                </a:lnTo>
                <a:lnTo>
                  <a:pt x="762" y="3"/>
                </a:lnTo>
                <a:lnTo>
                  <a:pt x="765" y="6"/>
                </a:lnTo>
                <a:lnTo>
                  <a:pt x="770" y="6"/>
                </a:lnTo>
                <a:lnTo>
                  <a:pt x="775" y="6"/>
                </a:lnTo>
                <a:lnTo>
                  <a:pt x="779" y="7"/>
                </a:lnTo>
                <a:lnTo>
                  <a:pt x="783" y="7"/>
                </a:lnTo>
                <a:lnTo>
                  <a:pt x="785" y="11"/>
                </a:lnTo>
                <a:lnTo>
                  <a:pt x="789" y="14"/>
                </a:lnTo>
                <a:lnTo>
                  <a:pt x="789" y="17"/>
                </a:lnTo>
                <a:lnTo>
                  <a:pt x="791" y="18"/>
                </a:lnTo>
                <a:lnTo>
                  <a:pt x="794" y="20"/>
                </a:lnTo>
                <a:lnTo>
                  <a:pt x="794" y="22"/>
                </a:lnTo>
                <a:lnTo>
                  <a:pt x="794" y="20"/>
                </a:lnTo>
                <a:lnTo>
                  <a:pt x="795" y="23"/>
                </a:lnTo>
                <a:lnTo>
                  <a:pt x="797" y="26"/>
                </a:lnTo>
                <a:lnTo>
                  <a:pt x="797" y="29"/>
                </a:lnTo>
                <a:lnTo>
                  <a:pt x="799" y="33"/>
                </a:lnTo>
                <a:lnTo>
                  <a:pt x="801" y="37"/>
                </a:lnTo>
                <a:lnTo>
                  <a:pt x="806" y="45"/>
                </a:lnTo>
                <a:lnTo>
                  <a:pt x="809" y="53"/>
                </a:lnTo>
                <a:lnTo>
                  <a:pt x="810" y="58"/>
                </a:lnTo>
                <a:lnTo>
                  <a:pt x="811" y="58"/>
                </a:lnTo>
                <a:lnTo>
                  <a:pt x="811" y="62"/>
                </a:lnTo>
                <a:lnTo>
                  <a:pt x="811" y="67"/>
                </a:lnTo>
                <a:lnTo>
                  <a:pt x="815" y="69"/>
                </a:lnTo>
                <a:lnTo>
                  <a:pt x="821" y="70"/>
                </a:lnTo>
                <a:lnTo>
                  <a:pt x="827" y="69"/>
                </a:lnTo>
                <a:lnTo>
                  <a:pt x="831" y="70"/>
                </a:lnTo>
                <a:lnTo>
                  <a:pt x="837" y="70"/>
                </a:lnTo>
                <a:lnTo>
                  <a:pt x="842" y="72"/>
                </a:lnTo>
                <a:lnTo>
                  <a:pt x="850" y="78"/>
                </a:lnTo>
                <a:lnTo>
                  <a:pt x="854" y="80"/>
                </a:lnTo>
                <a:lnTo>
                  <a:pt x="858" y="80"/>
                </a:lnTo>
                <a:lnTo>
                  <a:pt x="859" y="81"/>
                </a:lnTo>
                <a:lnTo>
                  <a:pt x="859" y="83"/>
                </a:lnTo>
                <a:lnTo>
                  <a:pt x="859" y="86"/>
                </a:lnTo>
                <a:lnTo>
                  <a:pt x="862" y="87"/>
                </a:lnTo>
                <a:lnTo>
                  <a:pt x="861" y="91"/>
                </a:lnTo>
                <a:lnTo>
                  <a:pt x="862" y="95"/>
                </a:lnTo>
                <a:lnTo>
                  <a:pt x="865" y="98"/>
                </a:lnTo>
                <a:lnTo>
                  <a:pt x="866" y="102"/>
                </a:lnTo>
                <a:lnTo>
                  <a:pt x="871" y="102"/>
                </a:lnTo>
                <a:lnTo>
                  <a:pt x="876" y="102"/>
                </a:lnTo>
                <a:lnTo>
                  <a:pt x="880" y="102"/>
                </a:lnTo>
                <a:lnTo>
                  <a:pt x="890" y="98"/>
                </a:lnTo>
                <a:lnTo>
                  <a:pt x="899" y="94"/>
                </a:lnTo>
                <a:lnTo>
                  <a:pt x="904" y="94"/>
                </a:lnTo>
                <a:lnTo>
                  <a:pt x="914" y="89"/>
                </a:lnTo>
                <a:lnTo>
                  <a:pt x="922" y="87"/>
                </a:lnTo>
                <a:lnTo>
                  <a:pt x="920" y="91"/>
                </a:lnTo>
                <a:lnTo>
                  <a:pt x="920" y="95"/>
                </a:lnTo>
                <a:lnTo>
                  <a:pt x="922" y="98"/>
                </a:lnTo>
                <a:lnTo>
                  <a:pt x="920" y="103"/>
                </a:lnTo>
                <a:lnTo>
                  <a:pt x="918" y="105"/>
                </a:lnTo>
                <a:lnTo>
                  <a:pt x="914" y="108"/>
                </a:lnTo>
                <a:lnTo>
                  <a:pt x="912" y="113"/>
                </a:lnTo>
                <a:lnTo>
                  <a:pt x="908" y="120"/>
                </a:lnTo>
                <a:lnTo>
                  <a:pt x="907" y="130"/>
                </a:lnTo>
                <a:lnTo>
                  <a:pt x="902" y="138"/>
                </a:lnTo>
                <a:lnTo>
                  <a:pt x="898" y="142"/>
                </a:lnTo>
                <a:lnTo>
                  <a:pt x="896" y="147"/>
                </a:lnTo>
                <a:lnTo>
                  <a:pt x="894" y="149"/>
                </a:lnTo>
                <a:lnTo>
                  <a:pt x="891" y="149"/>
                </a:lnTo>
                <a:lnTo>
                  <a:pt x="878" y="146"/>
                </a:lnTo>
                <a:lnTo>
                  <a:pt x="874" y="147"/>
                </a:lnTo>
                <a:lnTo>
                  <a:pt x="865" y="155"/>
                </a:lnTo>
                <a:lnTo>
                  <a:pt x="867" y="158"/>
                </a:lnTo>
                <a:lnTo>
                  <a:pt x="868" y="164"/>
                </a:lnTo>
                <a:lnTo>
                  <a:pt x="868" y="179"/>
                </a:lnTo>
                <a:lnTo>
                  <a:pt x="865" y="185"/>
                </a:lnTo>
                <a:lnTo>
                  <a:pt x="858" y="188"/>
                </a:lnTo>
                <a:lnTo>
                  <a:pt x="858" y="193"/>
                </a:lnTo>
                <a:lnTo>
                  <a:pt x="857" y="193"/>
                </a:lnTo>
                <a:lnTo>
                  <a:pt x="854" y="190"/>
                </a:lnTo>
                <a:lnTo>
                  <a:pt x="851" y="186"/>
                </a:lnTo>
                <a:lnTo>
                  <a:pt x="849" y="188"/>
                </a:lnTo>
                <a:lnTo>
                  <a:pt x="846" y="193"/>
                </a:lnTo>
                <a:lnTo>
                  <a:pt x="843" y="197"/>
                </a:lnTo>
                <a:lnTo>
                  <a:pt x="835" y="202"/>
                </a:lnTo>
                <a:lnTo>
                  <a:pt x="829" y="204"/>
                </a:lnTo>
                <a:lnTo>
                  <a:pt x="823" y="204"/>
                </a:lnTo>
                <a:lnTo>
                  <a:pt x="822" y="205"/>
                </a:lnTo>
                <a:lnTo>
                  <a:pt x="823" y="213"/>
                </a:lnTo>
                <a:lnTo>
                  <a:pt x="811" y="215"/>
                </a:lnTo>
                <a:lnTo>
                  <a:pt x="807" y="213"/>
                </a:lnTo>
                <a:lnTo>
                  <a:pt x="802" y="212"/>
                </a:lnTo>
                <a:lnTo>
                  <a:pt x="799" y="213"/>
                </a:lnTo>
                <a:lnTo>
                  <a:pt x="793" y="221"/>
                </a:lnTo>
                <a:lnTo>
                  <a:pt x="787" y="224"/>
                </a:lnTo>
                <a:lnTo>
                  <a:pt x="777" y="229"/>
                </a:lnTo>
                <a:lnTo>
                  <a:pt x="773" y="230"/>
                </a:lnTo>
                <a:lnTo>
                  <a:pt x="765" y="240"/>
                </a:lnTo>
                <a:lnTo>
                  <a:pt x="765" y="241"/>
                </a:lnTo>
                <a:lnTo>
                  <a:pt x="762" y="241"/>
                </a:lnTo>
                <a:lnTo>
                  <a:pt x="761" y="243"/>
                </a:lnTo>
                <a:lnTo>
                  <a:pt x="757" y="243"/>
                </a:lnTo>
                <a:lnTo>
                  <a:pt x="752" y="245"/>
                </a:lnTo>
                <a:lnTo>
                  <a:pt x="750" y="243"/>
                </a:lnTo>
                <a:lnTo>
                  <a:pt x="749" y="245"/>
                </a:lnTo>
                <a:lnTo>
                  <a:pt x="745" y="246"/>
                </a:lnTo>
                <a:lnTo>
                  <a:pt x="734" y="249"/>
                </a:lnTo>
                <a:lnTo>
                  <a:pt x="733" y="252"/>
                </a:lnTo>
                <a:lnTo>
                  <a:pt x="730" y="255"/>
                </a:lnTo>
                <a:lnTo>
                  <a:pt x="728" y="257"/>
                </a:lnTo>
                <a:lnTo>
                  <a:pt x="725" y="257"/>
                </a:lnTo>
                <a:lnTo>
                  <a:pt x="724" y="259"/>
                </a:lnTo>
                <a:lnTo>
                  <a:pt x="718" y="262"/>
                </a:lnTo>
                <a:lnTo>
                  <a:pt x="717" y="260"/>
                </a:lnTo>
                <a:lnTo>
                  <a:pt x="720" y="257"/>
                </a:lnTo>
                <a:lnTo>
                  <a:pt x="724" y="255"/>
                </a:lnTo>
                <a:lnTo>
                  <a:pt x="724" y="254"/>
                </a:lnTo>
                <a:lnTo>
                  <a:pt x="725" y="251"/>
                </a:lnTo>
                <a:lnTo>
                  <a:pt x="724" y="249"/>
                </a:lnTo>
                <a:lnTo>
                  <a:pt x="721" y="248"/>
                </a:lnTo>
                <a:lnTo>
                  <a:pt x="718" y="248"/>
                </a:lnTo>
                <a:lnTo>
                  <a:pt x="721" y="246"/>
                </a:lnTo>
                <a:lnTo>
                  <a:pt x="722" y="243"/>
                </a:lnTo>
                <a:lnTo>
                  <a:pt x="725" y="241"/>
                </a:lnTo>
                <a:lnTo>
                  <a:pt x="732" y="234"/>
                </a:lnTo>
                <a:lnTo>
                  <a:pt x="733" y="230"/>
                </a:lnTo>
                <a:lnTo>
                  <a:pt x="733" y="229"/>
                </a:lnTo>
                <a:lnTo>
                  <a:pt x="729" y="226"/>
                </a:lnTo>
                <a:lnTo>
                  <a:pt x="728" y="223"/>
                </a:lnTo>
                <a:lnTo>
                  <a:pt x="726" y="221"/>
                </a:lnTo>
                <a:lnTo>
                  <a:pt x="725" y="223"/>
                </a:lnTo>
                <a:lnTo>
                  <a:pt x="718" y="223"/>
                </a:lnTo>
                <a:lnTo>
                  <a:pt x="717" y="224"/>
                </a:lnTo>
                <a:lnTo>
                  <a:pt x="712" y="227"/>
                </a:lnTo>
                <a:lnTo>
                  <a:pt x="709" y="232"/>
                </a:lnTo>
                <a:lnTo>
                  <a:pt x="706" y="235"/>
                </a:lnTo>
                <a:lnTo>
                  <a:pt x="698" y="238"/>
                </a:lnTo>
                <a:lnTo>
                  <a:pt x="694" y="241"/>
                </a:lnTo>
                <a:lnTo>
                  <a:pt x="692" y="243"/>
                </a:lnTo>
                <a:lnTo>
                  <a:pt x="689" y="246"/>
                </a:lnTo>
                <a:lnTo>
                  <a:pt x="689" y="249"/>
                </a:lnTo>
                <a:lnTo>
                  <a:pt x="686" y="252"/>
                </a:lnTo>
                <a:lnTo>
                  <a:pt x="684" y="254"/>
                </a:lnTo>
                <a:lnTo>
                  <a:pt x="680" y="254"/>
                </a:lnTo>
                <a:lnTo>
                  <a:pt x="677" y="255"/>
                </a:lnTo>
                <a:lnTo>
                  <a:pt x="674" y="255"/>
                </a:lnTo>
                <a:lnTo>
                  <a:pt x="672" y="254"/>
                </a:lnTo>
                <a:lnTo>
                  <a:pt x="669" y="254"/>
                </a:lnTo>
                <a:lnTo>
                  <a:pt x="666" y="255"/>
                </a:lnTo>
                <a:lnTo>
                  <a:pt x="664" y="262"/>
                </a:lnTo>
                <a:lnTo>
                  <a:pt x="664" y="265"/>
                </a:lnTo>
                <a:lnTo>
                  <a:pt x="668" y="271"/>
                </a:lnTo>
                <a:lnTo>
                  <a:pt x="669" y="273"/>
                </a:lnTo>
                <a:lnTo>
                  <a:pt x="672" y="274"/>
                </a:lnTo>
                <a:lnTo>
                  <a:pt x="674" y="274"/>
                </a:lnTo>
                <a:lnTo>
                  <a:pt x="676" y="276"/>
                </a:lnTo>
                <a:lnTo>
                  <a:pt x="677" y="276"/>
                </a:lnTo>
                <a:lnTo>
                  <a:pt x="678" y="279"/>
                </a:lnTo>
                <a:lnTo>
                  <a:pt x="681" y="281"/>
                </a:lnTo>
                <a:lnTo>
                  <a:pt x="682" y="282"/>
                </a:lnTo>
                <a:lnTo>
                  <a:pt x="682" y="285"/>
                </a:lnTo>
                <a:lnTo>
                  <a:pt x="685" y="288"/>
                </a:lnTo>
                <a:lnTo>
                  <a:pt x="692" y="290"/>
                </a:lnTo>
                <a:lnTo>
                  <a:pt x="696" y="290"/>
                </a:lnTo>
                <a:lnTo>
                  <a:pt x="698" y="285"/>
                </a:lnTo>
                <a:lnTo>
                  <a:pt x="702" y="284"/>
                </a:lnTo>
                <a:lnTo>
                  <a:pt x="704" y="281"/>
                </a:lnTo>
                <a:lnTo>
                  <a:pt x="710" y="279"/>
                </a:lnTo>
                <a:lnTo>
                  <a:pt x="712" y="277"/>
                </a:lnTo>
                <a:lnTo>
                  <a:pt x="716" y="281"/>
                </a:lnTo>
                <a:lnTo>
                  <a:pt x="718" y="282"/>
                </a:lnTo>
                <a:lnTo>
                  <a:pt x="721" y="282"/>
                </a:lnTo>
                <a:lnTo>
                  <a:pt x="722" y="285"/>
                </a:lnTo>
                <a:lnTo>
                  <a:pt x="725" y="285"/>
                </a:lnTo>
                <a:lnTo>
                  <a:pt x="728" y="285"/>
                </a:lnTo>
                <a:lnTo>
                  <a:pt x="730" y="284"/>
                </a:lnTo>
                <a:lnTo>
                  <a:pt x="734" y="285"/>
                </a:lnTo>
                <a:lnTo>
                  <a:pt x="737" y="285"/>
                </a:lnTo>
                <a:lnTo>
                  <a:pt x="738" y="285"/>
                </a:lnTo>
                <a:lnTo>
                  <a:pt x="738" y="290"/>
                </a:lnTo>
                <a:lnTo>
                  <a:pt x="737" y="292"/>
                </a:lnTo>
                <a:lnTo>
                  <a:pt x="737" y="293"/>
                </a:lnTo>
                <a:lnTo>
                  <a:pt x="734" y="296"/>
                </a:lnTo>
                <a:lnTo>
                  <a:pt x="733" y="295"/>
                </a:lnTo>
                <a:lnTo>
                  <a:pt x="732" y="293"/>
                </a:lnTo>
                <a:lnTo>
                  <a:pt x="730" y="293"/>
                </a:lnTo>
                <a:lnTo>
                  <a:pt x="729" y="293"/>
                </a:lnTo>
                <a:lnTo>
                  <a:pt x="726" y="295"/>
                </a:lnTo>
                <a:lnTo>
                  <a:pt x="725" y="296"/>
                </a:lnTo>
                <a:lnTo>
                  <a:pt x="718" y="298"/>
                </a:lnTo>
                <a:lnTo>
                  <a:pt x="716" y="299"/>
                </a:lnTo>
                <a:lnTo>
                  <a:pt x="712" y="299"/>
                </a:lnTo>
                <a:lnTo>
                  <a:pt x="713" y="303"/>
                </a:lnTo>
                <a:lnTo>
                  <a:pt x="712" y="303"/>
                </a:lnTo>
                <a:lnTo>
                  <a:pt x="710" y="304"/>
                </a:lnTo>
                <a:lnTo>
                  <a:pt x="709" y="309"/>
                </a:lnTo>
                <a:lnTo>
                  <a:pt x="706" y="309"/>
                </a:lnTo>
                <a:lnTo>
                  <a:pt x="705" y="306"/>
                </a:lnTo>
                <a:lnTo>
                  <a:pt x="702" y="306"/>
                </a:lnTo>
                <a:lnTo>
                  <a:pt x="700" y="309"/>
                </a:lnTo>
                <a:lnTo>
                  <a:pt x="702" y="310"/>
                </a:lnTo>
                <a:lnTo>
                  <a:pt x="701" y="314"/>
                </a:lnTo>
                <a:lnTo>
                  <a:pt x="700" y="315"/>
                </a:lnTo>
                <a:lnTo>
                  <a:pt x="694" y="318"/>
                </a:lnTo>
                <a:lnTo>
                  <a:pt x="693" y="321"/>
                </a:lnTo>
                <a:lnTo>
                  <a:pt x="689" y="326"/>
                </a:lnTo>
                <a:lnTo>
                  <a:pt x="688" y="331"/>
                </a:lnTo>
                <a:lnTo>
                  <a:pt x="688" y="332"/>
                </a:lnTo>
                <a:lnTo>
                  <a:pt x="690" y="334"/>
                </a:lnTo>
                <a:lnTo>
                  <a:pt x="693" y="336"/>
                </a:lnTo>
                <a:lnTo>
                  <a:pt x="702" y="340"/>
                </a:lnTo>
                <a:lnTo>
                  <a:pt x="704" y="342"/>
                </a:lnTo>
                <a:lnTo>
                  <a:pt x="705" y="347"/>
                </a:lnTo>
                <a:lnTo>
                  <a:pt x="708" y="350"/>
                </a:lnTo>
                <a:lnTo>
                  <a:pt x="710" y="361"/>
                </a:lnTo>
                <a:lnTo>
                  <a:pt x="712" y="364"/>
                </a:lnTo>
                <a:lnTo>
                  <a:pt x="713" y="369"/>
                </a:lnTo>
                <a:lnTo>
                  <a:pt x="716" y="373"/>
                </a:lnTo>
                <a:lnTo>
                  <a:pt x="720" y="375"/>
                </a:lnTo>
                <a:lnTo>
                  <a:pt x="720" y="376"/>
                </a:lnTo>
                <a:lnTo>
                  <a:pt x="725" y="381"/>
                </a:lnTo>
                <a:lnTo>
                  <a:pt x="728" y="386"/>
                </a:lnTo>
                <a:lnTo>
                  <a:pt x="728" y="387"/>
                </a:lnTo>
                <a:lnTo>
                  <a:pt x="722" y="384"/>
                </a:lnTo>
                <a:lnTo>
                  <a:pt x="718" y="384"/>
                </a:lnTo>
                <a:lnTo>
                  <a:pt x="716" y="384"/>
                </a:lnTo>
                <a:lnTo>
                  <a:pt x="712" y="381"/>
                </a:lnTo>
                <a:lnTo>
                  <a:pt x="708" y="380"/>
                </a:lnTo>
                <a:lnTo>
                  <a:pt x="701" y="381"/>
                </a:lnTo>
                <a:lnTo>
                  <a:pt x="701" y="383"/>
                </a:lnTo>
                <a:lnTo>
                  <a:pt x="708" y="381"/>
                </a:lnTo>
                <a:lnTo>
                  <a:pt x="709" y="383"/>
                </a:lnTo>
                <a:lnTo>
                  <a:pt x="710" y="384"/>
                </a:lnTo>
                <a:lnTo>
                  <a:pt x="713" y="386"/>
                </a:lnTo>
                <a:lnTo>
                  <a:pt x="717" y="387"/>
                </a:lnTo>
                <a:lnTo>
                  <a:pt x="720" y="391"/>
                </a:lnTo>
                <a:lnTo>
                  <a:pt x="722" y="392"/>
                </a:lnTo>
                <a:lnTo>
                  <a:pt x="724" y="394"/>
                </a:lnTo>
                <a:lnTo>
                  <a:pt x="726" y="397"/>
                </a:lnTo>
                <a:lnTo>
                  <a:pt x="728" y="400"/>
                </a:lnTo>
                <a:lnTo>
                  <a:pt x="728" y="402"/>
                </a:lnTo>
                <a:lnTo>
                  <a:pt x="724" y="402"/>
                </a:lnTo>
                <a:lnTo>
                  <a:pt x="721" y="405"/>
                </a:lnTo>
                <a:lnTo>
                  <a:pt x="718" y="405"/>
                </a:lnTo>
                <a:lnTo>
                  <a:pt x="716" y="406"/>
                </a:lnTo>
                <a:lnTo>
                  <a:pt x="714" y="408"/>
                </a:lnTo>
                <a:lnTo>
                  <a:pt x="712" y="409"/>
                </a:lnTo>
                <a:lnTo>
                  <a:pt x="708" y="409"/>
                </a:lnTo>
                <a:lnTo>
                  <a:pt x="704" y="411"/>
                </a:lnTo>
                <a:lnTo>
                  <a:pt x="701" y="413"/>
                </a:lnTo>
                <a:lnTo>
                  <a:pt x="705" y="413"/>
                </a:lnTo>
                <a:lnTo>
                  <a:pt x="708" y="413"/>
                </a:lnTo>
                <a:lnTo>
                  <a:pt x="710" y="414"/>
                </a:lnTo>
                <a:lnTo>
                  <a:pt x="717" y="413"/>
                </a:lnTo>
                <a:lnTo>
                  <a:pt x="718" y="413"/>
                </a:lnTo>
                <a:lnTo>
                  <a:pt x="721" y="414"/>
                </a:lnTo>
                <a:lnTo>
                  <a:pt x="722" y="417"/>
                </a:lnTo>
                <a:lnTo>
                  <a:pt x="724" y="417"/>
                </a:lnTo>
                <a:lnTo>
                  <a:pt x="726" y="419"/>
                </a:lnTo>
                <a:lnTo>
                  <a:pt x="728" y="419"/>
                </a:lnTo>
                <a:lnTo>
                  <a:pt x="729" y="419"/>
                </a:lnTo>
                <a:lnTo>
                  <a:pt x="728" y="420"/>
                </a:lnTo>
                <a:lnTo>
                  <a:pt x="724" y="424"/>
                </a:lnTo>
                <a:lnTo>
                  <a:pt x="721" y="425"/>
                </a:lnTo>
                <a:lnTo>
                  <a:pt x="722" y="425"/>
                </a:lnTo>
                <a:lnTo>
                  <a:pt x="726" y="424"/>
                </a:lnTo>
                <a:lnTo>
                  <a:pt x="726" y="428"/>
                </a:lnTo>
                <a:lnTo>
                  <a:pt x="726" y="430"/>
                </a:lnTo>
                <a:lnTo>
                  <a:pt x="724" y="430"/>
                </a:lnTo>
                <a:lnTo>
                  <a:pt x="721" y="431"/>
                </a:lnTo>
                <a:lnTo>
                  <a:pt x="722" y="435"/>
                </a:lnTo>
                <a:lnTo>
                  <a:pt x="722" y="439"/>
                </a:lnTo>
                <a:lnTo>
                  <a:pt x="721" y="441"/>
                </a:lnTo>
                <a:lnTo>
                  <a:pt x="721" y="446"/>
                </a:lnTo>
                <a:lnTo>
                  <a:pt x="718" y="449"/>
                </a:lnTo>
                <a:lnTo>
                  <a:pt x="717" y="447"/>
                </a:lnTo>
                <a:lnTo>
                  <a:pt x="714" y="447"/>
                </a:lnTo>
                <a:lnTo>
                  <a:pt x="713" y="452"/>
                </a:lnTo>
                <a:lnTo>
                  <a:pt x="712" y="453"/>
                </a:lnTo>
                <a:lnTo>
                  <a:pt x="710" y="455"/>
                </a:lnTo>
                <a:lnTo>
                  <a:pt x="709" y="456"/>
                </a:lnTo>
                <a:lnTo>
                  <a:pt x="708" y="458"/>
                </a:lnTo>
                <a:lnTo>
                  <a:pt x="706" y="461"/>
                </a:lnTo>
                <a:lnTo>
                  <a:pt x="706" y="463"/>
                </a:lnTo>
                <a:lnTo>
                  <a:pt x="705" y="466"/>
                </a:lnTo>
                <a:lnTo>
                  <a:pt x="704" y="467"/>
                </a:lnTo>
                <a:lnTo>
                  <a:pt x="702" y="469"/>
                </a:lnTo>
                <a:lnTo>
                  <a:pt x="700" y="472"/>
                </a:lnTo>
                <a:lnTo>
                  <a:pt x="700" y="475"/>
                </a:lnTo>
                <a:lnTo>
                  <a:pt x="697" y="478"/>
                </a:lnTo>
                <a:lnTo>
                  <a:pt x="697" y="477"/>
                </a:lnTo>
                <a:lnTo>
                  <a:pt x="697" y="474"/>
                </a:lnTo>
                <a:lnTo>
                  <a:pt x="694" y="474"/>
                </a:lnTo>
                <a:lnTo>
                  <a:pt x="692" y="475"/>
                </a:lnTo>
                <a:lnTo>
                  <a:pt x="694" y="480"/>
                </a:lnTo>
                <a:lnTo>
                  <a:pt x="694" y="482"/>
                </a:lnTo>
                <a:lnTo>
                  <a:pt x="693" y="486"/>
                </a:lnTo>
                <a:lnTo>
                  <a:pt x="693" y="488"/>
                </a:lnTo>
                <a:lnTo>
                  <a:pt x="693" y="489"/>
                </a:lnTo>
                <a:lnTo>
                  <a:pt x="692" y="491"/>
                </a:lnTo>
                <a:lnTo>
                  <a:pt x="692" y="493"/>
                </a:lnTo>
                <a:lnTo>
                  <a:pt x="690" y="493"/>
                </a:lnTo>
                <a:lnTo>
                  <a:pt x="690" y="494"/>
                </a:lnTo>
                <a:lnTo>
                  <a:pt x="690" y="497"/>
                </a:lnTo>
                <a:lnTo>
                  <a:pt x="689" y="497"/>
                </a:lnTo>
                <a:lnTo>
                  <a:pt x="688" y="497"/>
                </a:lnTo>
                <a:lnTo>
                  <a:pt x="686" y="499"/>
                </a:lnTo>
                <a:lnTo>
                  <a:pt x="686" y="500"/>
                </a:lnTo>
                <a:lnTo>
                  <a:pt x="685" y="502"/>
                </a:lnTo>
                <a:lnTo>
                  <a:pt x="682" y="502"/>
                </a:lnTo>
                <a:lnTo>
                  <a:pt x="681" y="507"/>
                </a:lnTo>
                <a:lnTo>
                  <a:pt x="680" y="508"/>
                </a:lnTo>
                <a:lnTo>
                  <a:pt x="678" y="510"/>
                </a:lnTo>
                <a:lnTo>
                  <a:pt x="677" y="513"/>
                </a:lnTo>
                <a:lnTo>
                  <a:pt x="673" y="513"/>
                </a:lnTo>
                <a:lnTo>
                  <a:pt x="670" y="513"/>
                </a:lnTo>
                <a:lnTo>
                  <a:pt x="668" y="515"/>
                </a:lnTo>
                <a:lnTo>
                  <a:pt x="669" y="515"/>
                </a:lnTo>
                <a:lnTo>
                  <a:pt x="669" y="516"/>
                </a:lnTo>
                <a:lnTo>
                  <a:pt x="669" y="519"/>
                </a:lnTo>
                <a:lnTo>
                  <a:pt x="665" y="524"/>
                </a:lnTo>
                <a:lnTo>
                  <a:pt x="664" y="524"/>
                </a:lnTo>
                <a:lnTo>
                  <a:pt x="662" y="527"/>
                </a:lnTo>
                <a:lnTo>
                  <a:pt x="662" y="526"/>
                </a:lnTo>
                <a:lnTo>
                  <a:pt x="660" y="526"/>
                </a:lnTo>
                <a:lnTo>
                  <a:pt x="660" y="529"/>
                </a:lnTo>
                <a:lnTo>
                  <a:pt x="658" y="529"/>
                </a:lnTo>
                <a:lnTo>
                  <a:pt x="656" y="530"/>
                </a:lnTo>
                <a:lnTo>
                  <a:pt x="654" y="530"/>
                </a:lnTo>
                <a:lnTo>
                  <a:pt x="652" y="530"/>
                </a:lnTo>
                <a:lnTo>
                  <a:pt x="650" y="533"/>
                </a:lnTo>
                <a:lnTo>
                  <a:pt x="649" y="535"/>
                </a:lnTo>
                <a:lnTo>
                  <a:pt x="648" y="537"/>
                </a:lnTo>
                <a:lnTo>
                  <a:pt x="646" y="540"/>
                </a:lnTo>
                <a:lnTo>
                  <a:pt x="644" y="541"/>
                </a:lnTo>
                <a:lnTo>
                  <a:pt x="640" y="543"/>
                </a:lnTo>
                <a:lnTo>
                  <a:pt x="637" y="544"/>
                </a:lnTo>
                <a:lnTo>
                  <a:pt x="635" y="544"/>
                </a:lnTo>
                <a:lnTo>
                  <a:pt x="633" y="543"/>
                </a:lnTo>
                <a:lnTo>
                  <a:pt x="632" y="544"/>
                </a:lnTo>
                <a:lnTo>
                  <a:pt x="632" y="546"/>
                </a:lnTo>
                <a:lnTo>
                  <a:pt x="629" y="546"/>
                </a:lnTo>
                <a:lnTo>
                  <a:pt x="628" y="546"/>
                </a:lnTo>
                <a:lnTo>
                  <a:pt x="628" y="544"/>
                </a:lnTo>
                <a:lnTo>
                  <a:pt x="627" y="543"/>
                </a:lnTo>
                <a:lnTo>
                  <a:pt x="624" y="544"/>
                </a:lnTo>
                <a:lnTo>
                  <a:pt x="623" y="548"/>
                </a:lnTo>
                <a:lnTo>
                  <a:pt x="620" y="548"/>
                </a:lnTo>
                <a:lnTo>
                  <a:pt x="620" y="546"/>
                </a:lnTo>
                <a:lnTo>
                  <a:pt x="620" y="544"/>
                </a:lnTo>
                <a:lnTo>
                  <a:pt x="617" y="546"/>
                </a:lnTo>
                <a:lnTo>
                  <a:pt x="617" y="549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78" name="Freeform 577"/>
          <p:cNvSpPr>
            <a:spLocks/>
          </p:cNvSpPr>
          <p:nvPr/>
        </p:nvSpPr>
        <p:spPr bwMode="auto">
          <a:xfrm>
            <a:off x="8266349" y="3304819"/>
            <a:ext cx="701573" cy="322141"/>
          </a:xfrm>
          <a:custGeom>
            <a:avLst/>
            <a:gdLst/>
            <a:ahLst/>
            <a:cxnLst>
              <a:cxn ang="0">
                <a:pos x="365" y="123"/>
              </a:cxn>
              <a:cxn ang="0">
                <a:pos x="362" y="127"/>
              </a:cxn>
              <a:cxn ang="0">
                <a:pos x="354" y="121"/>
              </a:cxn>
              <a:cxn ang="0">
                <a:pos x="351" y="126"/>
              </a:cxn>
              <a:cxn ang="0">
                <a:pos x="349" y="129"/>
              </a:cxn>
              <a:cxn ang="0">
                <a:pos x="342" y="127"/>
              </a:cxn>
              <a:cxn ang="0">
                <a:pos x="342" y="135"/>
              </a:cxn>
              <a:cxn ang="0">
                <a:pos x="331" y="138"/>
              </a:cxn>
              <a:cxn ang="0">
                <a:pos x="323" y="140"/>
              </a:cxn>
              <a:cxn ang="0">
                <a:pos x="313" y="143"/>
              </a:cxn>
              <a:cxn ang="0">
                <a:pos x="301" y="152"/>
              </a:cxn>
              <a:cxn ang="0">
                <a:pos x="299" y="163"/>
              </a:cxn>
              <a:cxn ang="0">
                <a:pos x="291" y="149"/>
              </a:cxn>
              <a:cxn ang="0">
                <a:pos x="289" y="143"/>
              </a:cxn>
              <a:cxn ang="0">
                <a:pos x="278" y="140"/>
              </a:cxn>
              <a:cxn ang="0">
                <a:pos x="272" y="141"/>
              </a:cxn>
              <a:cxn ang="0">
                <a:pos x="268" y="143"/>
              </a:cxn>
              <a:cxn ang="0">
                <a:pos x="256" y="140"/>
              </a:cxn>
              <a:cxn ang="0">
                <a:pos x="248" y="123"/>
              </a:cxn>
              <a:cxn ang="0">
                <a:pos x="233" y="116"/>
              </a:cxn>
              <a:cxn ang="0">
                <a:pos x="221" y="116"/>
              </a:cxn>
              <a:cxn ang="0">
                <a:pos x="210" y="119"/>
              </a:cxn>
              <a:cxn ang="0">
                <a:pos x="201" y="123"/>
              </a:cxn>
              <a:cxn ang="0">
                <a:pos x="192" y="124"/>
              </a:cxn>
              <a:cxn ang="0">
                <a:pos x="184" y="121"/>
              </a:cxn>
              <a:cxn ang="0">
                <a:pos x="180" y="124"/>
              </a:cxn>
              <a:cxn ang="0">
                <a:pos x="172" y="135"/>
              </a:cxn>
              <a:cxn ang="0">
                <a:pos x="166" y="148"/>
              </a:cxn>
              <a:cxn ang="0">
                <a:pos x="157" y="140"/>
              </a:cxn>
              <a:cxn ang="0">
                <a:pos x="141" y="130"/>
              </a:cxn>
              <a:cxn ang="0">
                <a:pos x="136" y="113"/>
              </a:cxn>
              <a:cxn ang="0">
                <a:pos x="131" y="96"/>
              </a:cxn>
              <a:cxn ang="0">
                <a:pos x="113" y="104"/>
              </a:cxn>
              <a:cxn ang="0">
                <a:pos x="113" y="90"/>
              </a:cxn>
              <a:cxn ang="0">
                <a:pos x="120" y="74"/>
              </a:cxn>
              <a:cxn ang="0">
                <a:pos x="128" y="58"/>
              </a:cxn>
              <a:cxn ang="0">
                <a:pos x="121" y="35"/>
              </a:cxn>
              <a:cxn ang="0">
                <a:pos x="113" y="22"/>
              </a:cxn>
              <a:cxn ang="0">
                <a:pos x="107" y="21"/>
              </a:cxn>
              <a:cxn ang="0">
                <a:pos x="93" y="19"/>
              </a:cxn>
              <a:cxn ang="0">
                <a:pos x="89" y="6"/>
              </a:cxn>
              <a:cxn ang="0">
                <a:pos x="80" y="5"/>
              </a:cxn>
              <a:cxn ang="0">
                <a:pos x="67" y="3"/>
              </a:cxn>
              <a:cxn ang="0">
                <a:pos x="59" y="10"/>
              </a:cxn>
              <a:cxn ang="0">
                <a:pos x="43" y="22"/>
              </a:cxn>
              <a:cxn ang="0">
                <a:pos x="23" y="30"/>
              </a:cxn>
              <a:cxn ang="0">
                <a:pos x="19" y="27"/>
              </a:cxn>
              <a:cxn ang="0">
                <a:pos x="10" y="27"/>
              </a:cxn>
              <a:cxn ang="0">
                <a:pos x="2" y="22"/>
              </a:cxn>
            </a:cxnLst>
            <a:rect l="0" t="0" r="r" b="b"/>
            <a:pathLst>
              <a:path w="367" h="163">
                <a:moveTo>
                  <a:pt x="367" y="124"/>
                </a:moveTo>
                <a:lnTo>
                  <a:pt x="366" y="126"/>
                </a:lnTo>
                <a:lnTo>
                  <a:pt x="366" y="124"/>
                </a:lnTo>
                <a:lnTo>
                  <a:pt x="365" y="123"/>
                </a:lnTo>
                <a:lnTo>
                  <a:pt x="362" y="123"/>
                </a:lnTo>
                <a:lnTo>
                  <a:pt x="362" y="124"/>
                </a:lnTo>
                <a:lnTo>
                  <a:pt x="363" y="126"/>
                </a:lnTo>
                <a:lnTo>
                  <a:pt x="362" y="127"/>
                </a:lnTo>
                <a:lnTo>
                  <a:pt x="358" y="127"/>
                </a:lnTo>
                <a:lnTo>
                  <a:pt x="358" y="126"/>
                </a:lnTo>
                <a:lnTo>
                  <a:pt x="357" y="124"/>
                </a:lnTo>
                <a:lnTo>
                  <a:pt x="354" y="121"/>
                </a:lnTo>
                <a:lnTo>
                  <a:pt x="353" y="121"/>
                </a:lnTo>
                <a:lnTo>
                  <a:pt x="351" y="118"/>
                </a:lnTo>
                <a:lnTo>
                  <a:pt x="351" y="123"/>
                </a:lnTo>
                <a:lnTo>
                  <a:pt x="351" y="126"/>
                </a:lnTo>
                <a:lnTo>
                  <a:pt x="351" y="127"/>
                </a:lnTo>
                <a:lnTo>
                  <a:pt x="351" y="129"/>
                </a:lnTo>
                <a:lnTo>
                  <a:pt x="350" y="129"/>
                </a:lnTo>
                <a:lnTo>
                  <a:pt x="349" y="129"/>
                </a:lnTo>
                <a:lnTo>
                  <a:pt x="347" y="126"/>
                </a:lnTo>
                <a:lnTo>
                  <a:pt x="345" y="124"/>
                </a:lnTo>
                <a:lnTo>
                  <a:pt x="345" y="123"/>
                </a:lnTo>
                <a:lnTo>
                  <a:pt x="342" y="127"/>
                </a:lnTo>
                <a:lnTo>
                  <a:pt x="342" y="130"/>
                </a:lnTo>
                <a:lnTo>
                  <a:pt x="343" y="132"/>
                </a:lnTo>
                <a:lnTo>
                  <a:pt x="343" y="134"/>
                </a:lnTo>
                <a:lnTo>
                  <a:pt x="342" y="135"/>
                </a:lnTo>
                <a:lnTo>
                  <a:pt x="341" y="134"/>
                </a:lnTo>
                <a:lnTo>
                  <a:pt x="337" y="137"/>
                </a:lnTo>
                <a:lnTo>
                  <a:pt x="334" y="137"/>
                </a:lnTo>
                <a:lnTo>
                  <a:pt x="331" y="138"/>
                </a:lnTo>
                <a:lnTo>
                  <a:pt x="329" y="138"/>
                </a:lnTo>
                <a:lnTo>
                  <a:pt x="329" y="137"/>
                </a:lnTo>
                <a:lnTo>
                  <a:pt x="326" y="138"/>
                </a:lnTo>
                <a:lnTo>
                  <a:pt x="323" y="140"/>
                </a:lnTo>
                <a:lnTo>
                  <a:pt x="319" y="141"/>
                </a:lnTo>
                <a:lnTo>
                  <a:pt x="317" y="141"/>
                </a:lnTo>
                <a:lnTo>
                  <a:pt x="314" y="141"/>
                </a:lnTo>
                <a:lnTo>
                  <a:pt x="313" y="143"/>
                </a:lnTo>
                <a:lnTo>
                  <a:pt x="310" y="145"/>
                </a:lnTo>
                <a:lnTo>
                  <a:pt x="306" y="146"/>
                </a:lnTo>
                <a:lnTo>
                  <a:pt x="303" y="145"/>
                </a:lnTo>
                <a:lnTo>
                  <a:pt x="301" y="152"/>
                </a:lnTo>
                <a:lnTo>
                  <a:pt x="303" y="156"/>
                </a:lnTo>
                <a:lnTo>
                  <a:pt x="303" y="159"/>
                </a:lnTo>
                <a:lnTo>
                  <a:pt x="303" y="162"/>
                </a:lnTo>
                <a:lnTo>
                  <a:pt x="299" y="163"/>
                </a:lnTo>
                <a:lnTo>
                  <a:pt x="297" y="162"/>
                </a:lnTo>
                <a:lnTo>
                  <a:pt x="293" y="152"/>
                </a:lnTo>
                <a:lnTo>
                  <a:pt x="291" y="151"/>
                </a:lnTo>
                <a:lnTo>
                  <a:pt x="291" y="149"/>
                </a:lnTo>
                <a:lnTo>
                  <a:pt x="294" y="143"/>
                </a:lnTo>
                <a:lnTo>
                  <a:pt x="293" y="141"/>
                </a:lnTo>
                <a:lnTo>
                  <a:pt x="291" y="141"/>
                </a:lnTo>
                <a:lnTo>
                  <a:pt x="289" y="143"/>
                </a:lnTo>
                <a:lnTo>
                  <a:pt x="286" y="145"/>
                </a:lnTo>
                <a:lnTo>
                  <a:pt x="285" y="143"/>
                </a:lnTo>
                <a:lnTo>
                  <a:pt x="283" y="141"/>
                </a:lnTo>
                <a:lnTo>
                  <a:pt x="278" y="140"/>
                </a:lnTo>
                <a:lnTo>
                  <a:pt x="277" y="138"/>
                </a:lnTo>
                <a:lnTo>
                  <a:pt x="276" y="138"/>
                </a:lnTo>
                <a:lnTo>
                  <a:pt x="274" y="141"/>
                </a:lnTo>
                <a:lnTo>
                  <a:pt x="272" y="141"/>
                </a:lnTo>
                <a:lnTo>
                  <a:pt x="272" y="143"/>
                </a:lnTo>
                <a:lnTo>
                  <a:pt x="272" y="140"/>
                </a:lnTo>
                <a:lnTo>
                  <a:pt x="269" y="141"/>
                </a:lnTo>
                <a:lnTo>
                  <a:pt x="268" y="143"/>
                </a:lnTo>
                <a:lnTo>
                  <a:pt x="265" y="141"/>
                </a:lnTo>
                <a:lnTo>
                  <a:pt x="261" y="141"/>
                </a:lnTo>
                <a:lnTo>
                  <a:pt x="257" y="141"/>
                </a:lnTo>
                <a:lnTo>
                  <a:pt x="256" y="140"/>
                </a:lnTo>
                <a:lnTo>
                  <a:pt x="250" y="135"/>
                </a:lnTo>
                <a:lnTo>
                  <a:pt x="248" y="132"/>
                </a:lnTo>
                <a:lnTo>
                  <a:pt x="246" y="127"/>
                </a:lnTo>
                <a:lnTo>
                  <a:pt x="248" y="123"/>
                </a:lnTo>
                <a:lnTo>
                  <a:pt x="246" y="119"/>
                </a:lnTo>
                <a:lnTo>
                  <a:pt x="241" y="119"/>
                </a:lnTo>
                <a:lnTo>
                  <a:pt x="237" y="118"/>
                </a:lnTo>
                <a:lnTo>
                  <a:pt x="233" y="116"/>
                </a:lnTo>
                <a:lnTo>
                  <a:pt x="230" y="113"/>
                </a:lnTo>
                <a:lnTo>
                  <a:pt x="226" y="112"/>
                </a:lnTo>
                <a:lnTo>
                  <a:pt x="224" y="112"/>
                </a:lnTo>
                <a:lnTo>
                  <a:pt x="221" y="116"/>
                </a:lnTo>
                <a:lnTo>
                  <a:pt x="218" y="118"/>
                </a:lnTo>
                <a:lnTo>
                  <a:pt x="214" y="119"/>
                </a:lnTo>
                <a:lnTo>
                  <a:pt x="213" y="121"/>
                </a:lnTo>
                <a:lnTo>
                  <a:pt x="210" y="119"/>
                </a:lnTo>
                <a:lnTo>
                  <a:pt x="208" y="123"/>
                </a:lnTo>
                <a:lnTo>
                  <a:pt x="205" y="124"/>
                </a:lnTo>
                <a:lnTo>
                  <a:pt x="205" y="121"/>
                </a:lnTo>
                <a:lnTo>
                  <a:pt x="201" y="123"/>
                </a:lnTo>
                <a:lnTo>
                  <a:pt x="200" y="121"/>
                </a:lnTo>
                <a:lnTo>
                  <a:pt x="197" y="121"/>
                </a:lnTo>
                <a:lnTo>
                  <a:pt x="193" y="124"/>
                </a:lnTo>
                <a:lnTo>
                  <a:pt x="192" y="124"/>
                </a:lnTo>
                <a:lnTo>
                  <a:pt x="189" y="123"/>
                </a:lnTo>
                <a:lnTo>
                  <a:pt x="186" y="121"/>
                </a:lnTo>
                <a:lnTo>
                  <a:pt x="185" y="121"/>
                </a:lnTo>
                <a:lnTo>
                  <a:pt x="184" y="121"/>
                </a:lnTo>
                <a:lnTo>
                  <a:pt x="184" y="123"/>
                </a:lnTo>
                <a:lnTo>
                  <a:pt x="181" y="126"/>
                </a:lnTo>
                <a:lnTo>
                  <a:pt x="180" y="126"/>
                </a:lnTo>
                <a:lnTo>
                  <a:pt x="180" y="124"/>
                </a:lnTo>
                <a:lnTo>
                  <a:pt x="174" y="124"/>
                </a:lnTo>
                <a:lnTo>
                  <a:pt x="172" y="127"/>
                </a:lnTo>
                <a:lnTo>
                  <a:pt x="172" y="130"/>
                </a:lnTo>
                <a:lnTo>
                  <a:pt x="172" y="135"/>
                </a:lnTo>
                <a:lnTo>
                  <a:pt x="174" y="140"/>
                </a:lnTo>
                <a:lnTo>
                  <a:pt x="173" y="145"/>
                </a:lnTo>
                <a:lnTo>
                  <a:pt x="172" y="146"/>
                </a:lnTo>
                <a:lnTo>
                  <a:pt x="166" y="148"/>
                </a:lnTo>
                <a:lnTo>
                  <a:pt x="165" y="140"/>
                </a:lnTo>
                <a:lnTo>
                  <a:pt x="165" y="137"/>
                </a:lnTo>
                <a:lnTo>
                  <a:pt x="161" y="137"/>
                </a:lnTo>
                <a:lnTo>
                  <a:pt x="157" y="140"/>
                </a:lnTo>
                <a:lnTo>
                  <a:pt x="152" y="141"/>
                </a:lnTo>
                <a:lnTo>
                  <a:pt x="147" y="135"/>
                </a:lnTo>
                <a:lnTo>
                  <a:pt x="147" y="132"/>
                </a:lnTo>
                <a:lnTo>
                  <a:pt x="141" y="130"/>
                </a:lnTo>
                <a:lnTo>
                  <a:pt x="137" y="129"/>
                </a:lnTo>
                <a:lnTo>
                  <a:pt x="139" y="124"/>
                </a:lnTo>
                <a:lnTo>
                  <a:pt x="140" y="116"/>
                </a:lnTo>
                <a:lnTo>
                  <a:pt x="136" y="113"/>
                </a:lnTo>
                <a:lnTo>
                  <a:pt x="132" y="110"/>
                </a:lnTo>
                <a:lnTo>
                  <a:pt x="132" y="104"/>
                </a:lnTo>
                <a:lnTo>
                  <a:pt x="131" y="101"/>
                </a:lnTo>
                <a:lnTo>
                  <a:pt x="131" y="96"/>
                </a:lnTo>
                <a:lnTo>
                  <a:pt x="125" y="97"/>
                </a:lnTo>
                <a:lnTo>
                  <a:pt x="120" y="97"/>
                </a:lnTo>
                <a:lnTo>
                  <a:pt x="117" y="99"/>
                </a:lnTo>
                <a:lnTo>
                  <a:pt x="113" y="104"/>
                </a:lnTo>
                <a:lnTo>
                  <a:pt x="112" y="102"/>
                </a:lnTo>
                <a:lnTo>
                  <a:pt x="115" y="96"/>
                </a:lnTo>
                <a:lnTo>
                  <a:pt x="115" y="94"/>
                </a:lnTo>
                <a:lnTo>
                  <a:pt x="113" y="90"/>
                </a:lnTo>
                <a:lnTo>
                  <a:pt x="116" y="85"/>
                </a:lnTo>
                <a:lnTo>
                  <a:pt x="116" y="80"/>
                </a:lnTo>
                <a:lnTo>
                  <a:pt x="120" y="75"/>
                </a:lnTo>
                <a:lnTo>
                  <a:pt x="120" y="74"/>
                </a:lnTo>
                <a:lnTo>
                  <a:pt x="123" y="72"/>
                </a:lnTo>
                <a:lnTo>
                  <a:pt x="125" y="69"/>
                </a:lnTo>
                <a:lnTo>
                  <a:pt x="128" y="61"/>
                </a:lnTo>
                <a:lnTo>
                  <a:pt x="128" y="58"/>
                </a:lnTo>
                <a:lnTo>
                  <a:pt x="128" y="50"/>
                </a:lnTo>
                <a:lnTo>
                  <a:pt x="128" y="44"/>
                </a:lnTo>
                <a:lnTo>
                  <a:pt x="127" y="35"/>
                </a:lnTo>
                <a:lnTo>
                  <a:pt x="121" y="35"/>
                </a:lnTo>
                <a:lnTo>
                  <a:pt x="120" y="33"/>
                </a:lnTo>
                <a:lnTo>
                  <a:pt x="120" y="27"/>
                </a:lnTo>
                <a:lnTo>
                  <a:pt x="116" y="24"/>
                </a:lnTo>
                <a:lnTo>
                  <a:pt x="113" y="22"/>
                </a:lnTo>
                <a:lnTo>
                  <a:pt x="112" y="22"/>
                </a:lnTo>
                <a:lnTo>
                  <a:pt x="111" y="24"/>
                </a:lnTo>
                <a:lnTo>
                  <a:pt x="108" y="24"/>
                </a:lnTo>
                <a:lnTo>
                  <a:pt x="107" y="21"/>
                </a:lnTo>
                <a:lnTo>
                  <a:pt x="104" y="19"/>
                </a:lnTo>
                <a:lnTo>
                  <a:pt x="100" y="19"/>
                </a:lnTo>
                <a:lnTo>
                  <a:pt x="97" y="19"/>
                </a:lnTo>
                <a:lnTo>
                  <a:pt x="93" y="19"/>
                </a:lnTo>
                <a:lnTo>
                  <a:pt x="93" y="14"/>
                </a:lnTo>
                <a:lnTo>
                  <a:pt x="93" y="10"/>
                </a:lnTo>
                <a:lnTo>
                  <a:pt x="91" y="10"/>
                </a:lnTo>
                <a:lnTo>
                  <a:pt x="89" y="6"/>
                </a:lnTo>
                <a:lnTo>
                  <a:pt x="91" y="3"/>
                </a:lnTo>
                <a:lnTo>
                  <a:pt x="87" y="0"/>
                </a:lnTo>
                <a:lnTo>
                  <a:pt x="84" y="2"/>
                </a:lnTo>
                <a:lnTo>
                  <a:pt x="80" y="5"/>
                </a:lnTo>
                <a:lnTo>
                  <a:pt x="76" y="5"/>
                </a:lnTo>
                <a:lnTo>
                  <a:pt x="71" y="5"/>
                </a:lnTo>
                <a:lnTo>
                  <a:pt x="68" y="5"/>
                </a:lnTo>
                <a:lnTo>
                  <a:pt x="67" y="3"/>
                </a:lnTo>
                <a:lnTo>
                  <a:pt x="65" y="3"/>
                </a:lnTo>
                <a:lnTo>
                  <a:pt x="63" y="5"/>
                </a:lnTo>
                <a:lnTo>
                  <a:pt x="60" y="6"/>
                </a:lnTo>
                <a:lnTo>
                  <a:pt x="59" y="10"/>
                </a:lnTo>
                <a:lnTo>
                  <a:pt x="53" y="14"/>
                </a:lnTo>
                <a:lnTo>
                  <a:pt x="50" y="16"/>
                </a:lnTo>
                <a:lnTo>
                  <a:pt x="46" y="21"/>
                </a:lnTo>
                <a:lnTo>
                  <a:pt x="43" y="22"/>
                </a:lnTo>
                <a:lnTo>
                  <a:pt x="39" y="25"/>
                </a:lnTo>
                <a:lnTo>
                  <a:pt x="35" y="27"/>
                </a:lnTo>
                <a:lnTo>
                  <a:pt x="27" y="28"/>
                </a:lnTo>
                <a:lnTo>
                  <a:pt x="23" y="30"/>
                </a:lnTo>
                <a:lnTo>
                  <a:pt x="23" y="31"/>
                </a:lnTo>
                <a:lnTo>
                  <a:pt x="23" y="30"/>
                </a:lnTo>
                <a:lnTo>
                  <a:pt x="19" y="28"/>
                </a:lnTo>
                <a:lnTo>
                  <a:pt x="19" y="27"/>
                </a:lnTo>
                <a:lnTo>
                  <a:pt x="18" y="27"/>
                </a:lnTo>
                <a:lnTo>
                  <a:pt x="14" y="28"/>
                </a:lnTo>
                <a:lnTo>
                  <a:pt x="12" y="28"/>
                </a:lnTo>
                <a:lnTo>
                  <a:pt x="10" y="27"/>
                </a:lnTo>
                <a:lnTo>
                  <a:pt x="4" y="25"/>
                </a:lnTo>
                <a:lnTo>
                  <a:pt x="3" y="25"/>
                </a:lnTo>
                <a:lnTo>
                  <a:pt x="3" y="24"/>
                </a:lnTo>
                <a:lnTo>
                  <a:pt x="2" y="22"/>
                </a:lnTo>
                <a:lnTo>
                  <a:pt x="0" y="2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79" name="Freeform 578"/>
          <p:cNvSpPr>
            <a:spLocks/>
          </p:cNvSpPr>
          <p:nvPr/>
        </p:nvSpPr>
        <p:spPr bwMode="auto">
          <a:xfrm>
            <a:off x="7923358" y="3072876"/>
            <a:ext cx="342992" cy="307108"/>
          </a:xfrm>
          <a:custGeom>
            <a:avLst/>
            <a:gdLst/>
            <a:ahLst/>
            <a:cxnLst>
              <a:cxn ang="0">
                <a:pos x="170" y="143"/>
              </a:cxn>
              <a:cxn ang="0">
                <a:pos x="159" y="155"/>
              </a:cxn>
              <a:cxn ang="0">
                <a:pos x="159" y="147"/>
              </a:cxn>
              <a:cxn ang="0">
                <a:pos x="155" y="141"/>
              </a:cxn>
              <a:cxn ang="0">
                <a:pos x="147" y="144"/>
              </a:cxn>
              <a:cxn ang="0">
                <a:pos x="136" y="147"/>
              </a:cxn>
              <a:cxn ang="0">
                <a:pos x="128" y="143"/>
              </a:cxn>
              <a:cxn ang="0">
                <a:pos x="123" y="144"/>
              </a:cxn>
              <a:cxn ang="0">
                <a:pos x="118" y="144"/>
              </a:cxn>
              <a:cxn ang="0">
                <a:pos x="114" y="141"/>
              </a:cxn>
              <a:cxn ang="0">
                <a:pos x="105" y="137"/>
              </a:cxn>
              <a:cxn ang="0">
                <a:pos x="102" y="132"/>
              </a:cxn>
              <a:cxn ang="0">
                <a:pos x="95" y="132"/>
              </a:cxn>
              <a:cxn ang="0">
                <a:pos x="91" y="129"/>
              </a:cxn>
              <a:cxn ang="0">
                <a:pos x="90" y="122"/>
              </a:cxn>
              <a:cxn ang="0">
                <a:pos x="86" y="119"/>
              </a:cxn>
              <a:cxn ang="0">
                <a:pos x="82" y="122"/>
              </a:cxn>
              <a:cxn ang="0">
                <a:pos x="78" y="122"/>
              </a:cxn>
              <a:cxn ang="0">
                <a:pos x="69" y="111"/>
              </a:cxn>
              <a:cxn ang="0">
                <a:pos x="58" y="104"/>
              </a:cxn>
              <a:cxn ang="0">
                <a:pos x="47" y="104"/>
              </a:cxn>
              <a:cxn ang="0">
                <a:pos x="43" y="104"/>
              </a:cxn>
              <a:cxn ang="0">
                <a:pos x="35" y="100"/>
              </a:cxn>
              <a:cxn ang="0">
                <a:pos x="29" y="96"/>
              </a:cxn>
              <a:cxn ang="0">
                <a:pos x="25" y="91"/>
              </a:cxn>
              <a:cxn ang="0">
                <a:pos x="19" y="91"/>
              </a:cxn>
              <a:cxn ang="0">
                <a:pos x="15" y="89"/>
              </a:cxn>
              <a:cxn ang="0">
                <a:pos x="11" y="86"/>
              </a:cxn>
              <a:cxn ang="0">
                <a:pos x="7" y="82"/>
              </a:cxn>
              <a:cxn ang="0">
                <a:pos x="7" y="75"/>
              </a:cxn>
              <a:cxn ang="0">
                <a:pos x="4" y="67"/>
              </a:cxn>
              <a:cxn ang="0">
                <a:pos x="6" y="61"/>
              </a:cxn>
              <a:cxn ang="0">
                <a:pos x="9" y="64"/>
              </a:cxn>
              <a:cxn ang="0">
                <a:pos x="14" y="64"/>
              </a:cxn>
              <a:cxn ang="0">
                <a:pos x="17" y="61"/>
              </a:cxn>
              <a:cxn ang="0">
                <a:pos x="21" y="58"/>
              </a:cxn>
              <a:cxn ang="0">
                <a:pos x="18" y="53"/>
              </a:cxn>
              <a:cxn ang="0">
                <a:pos x="10" y="47"/>
              </a:cxn>
              <a:cxn ang="0">
                <a:pos x="10" y="38"/>
              </a:cxn>
              <a:cxn ang="0">
                <a:pos x="17" y="36"/>
              </a:cxn>
              <a:cxn ang="0">
                <a:pos x="21" y="28"/>
              </a:cxn>
              <a:cxn ang="0">
                <a:pos x="25" y="25"/>
              </a:cxn>
              <a:cxn ang="0">
                <a:pos x="29" y="20"/>
              </a:cxn>
              <a:cxn ang="0">
                <a:pos x="31" y="9"/>
              </a:cxn>
              <a:cxn ang="0">
                <a:pos x="26" y="6"/>
              </a:cxn>
              <a:cxn ang="0">
                <a:pos x="22" y="6"/>
              </a:cxn>
              <a:cxn ang="0">
                <a:pos x="17" y="1"/>
              </a:cxn>
              <a:cxn ang="0">
                <a:pos x="13" y="1"/>
              </a:cxn>
              <a:cxn ang="0">
                <a:pos x="2" y="6"/>
              </a:cxn>
            </a:cxnLst>
            <a:rect l="0" t="0" r="r" b="b"/>
            <a:pathLst>
              <a:path w="180" h="155">
                <a:moveTo>
                  <a:pt x="180" y="138"/>
                </a:moveTo>
                <a:lnTo>
                  <a:pt x="176" y="138"/>
                </a:lnTo>
                <a:lnTo>
                  <a:pt x="172" y="140"/>
                </a:lnTo>
                <a:lnTo>
                  <a:pt x="170" y="143"/>
                </a:lnTo>
                <a:lnTo>
                  <a:pt x="167" y="147"/>
                </a:lnTo>
                <a:lnTo>
                  <a:pt x="162" y="154"/>
                </a:lnTo>
                <a:lnTo>
                  <a:pt x="160" y="155"/>
                </a:lnTo>
                <a:lnTo>
                  <a:pt x="159" y="155"/>
                </a:lnTo>
                <a:lnTo>
                  <a:pt x="159" y="154"/>
                </a:lnTo>
                <a:lnTo>
                  <a:pt x="158" y="154"/>
                </a:lnTo>
                <a:lnTo>
                  <a:pt x="158" y="151"/>
                </a:lnTo>
                <a:lnTo>
                  <a:pt x="159" y="147"/>
                </a:lnTo>
                <a:lnTo>
                  <a:pt x="159" y="146"/>
                </a:lnTo>
                <a:lnTo>
                  <a:pt x="158" y="143"/>
                </a:lnTo>
                <a:lnTo>
                  <a:pt x="156" y="141"/>
                </a:lnTo>
                <a:lnTo>
                  <a:pt x="155" y="141"/>
                </a:lnTo>
                <a:lnTo>
                  <a:pt x="152" y="143"/>
                </a:lnTo>
                <a:lnTo>
                  <a:pt x="151" y="143"/>
                </a:lnTo>
                <a:lnTo>
                  <a:pt x="148" y="144"/>
                </a:lnTo>
                <a:lnTo>
                  <a:pt x="147" y="144"/>
                </a:lnTo>
                <a:lnTo>
                  <a:pt x="144" y="144"/>
                </a:lnTo>
                <a:lnTo>
                  <a:pt x="143" y="147"/>
                </a:lnTo>
                <a:lnTo>
                  <a:pt x="139" y="146"/>
                </a:lnTo>
                <a:lnTo>
                  <a:pt x="136" y="147"/>
                </a:lnTo>
                <a:lnTo>
                  <a:pt x="135" y="147"/>
                </a:lnTo>
                <a:lnTo>
                  <a:pt x="134" y="146"/>
                </a:lnTo>
                <a:lnTo>
                  <a:pt x="131" y="144"/>
                </a:lnTo>
                <a:lnTo>
                  <a:pt x="128" y="143"/>
                </a:lnTo>
                <a:lnTo>
                  <a:pt x="127" y="143"/>
                </a:lnTo>
                <a:lnTo>
                  <a:pt x="126" y="143"/>
                </a:lnTo>
                <a:lnTo>
                  <a:pt x="124" y="144"/>
                </a:lnTo>
                <a:lnTo>
                  <a:pt x="123" y="144"/>
                </a:lnTo>
                <a:lnTo>
                  <a:pt x="122" y="144"/>
                </a:lnTo>
                <a:lnTo>
                  <a:pt x="120" y="144"/>
                </a:lnTo>
                <a:lnTo>
                  <a:pt x="119" y="144"/>
                </a:lnTo>
                <a:lnTo>
                  <a:pt x="118" y="144"/>
                </a:lnTo>
                <a:lnTo>
                  <a:pt x="117" y="144"/>
                </a:lnTo>
                <a:lnTo>
                  <a:pt x="115" y="144"/>
                </a:lnTo>
                <a:lnTo>
                  <a:pt x="114" y="143"/>
                </a:lnTo>
                <a:lnTo>
                  <a:pt x="114" y="141"/>
                </a:lnTo>
                <a:lnTo>
                  <a:pt x="113" y="140"/>
                </a:lnTo>
                <a:lnTo>
                  <a:pt x="110" y="140"/>
                </a:lnTo>
                <a:lnTo>
                  <a:pt x="109" y="140"/>
                </a:lnTo>
                <a:lnTo>
                  <a:pt x="105" y="137"/>
                </a:lnTo>
                <a:lnTo>
                  <a:pt x="103" y="135"/>
                </a:lnTo>
                <a:lnTo>
                  <a:pt x="105" y="132"/>
                </a:lnTo>
                <a:lnTo>
                  <a:pt x="103" y="132"/>
                </a:lnTo>
                <a:lnTo>
                  <a:pt x="102" y="132"/>
                </a:lnTo>
                <a:lnTo>
                  <a:pt x="101" y="132"/>
                </a:lnTo>
                <a:lnTo>
                  <a:pt x="98" y="132"/>
                </a:lnTo>
                <a:lnTo>
                  <a:pt x="97" y="132"/>
                </a:lnTo>
                <a:lnTo>
                  <a:pt x="95" y="132"/>
                </a:lnTo>
                <a:lnTo>
                  <a:pt x="94" y="130"/>
                </a:lnTo>
                <a:lnTo>
                  <a:pt x="93" y="130"/>
                </a:lnTo>
                <a:lnTo>
                  <a:pt x="91" y="130"/>
                </a:lnTo>
                <a:lnTo>
                  <a:pt x="91" y="129"/>
                </a:lnTo>
                <a:lnTo>
                  <a:pt x="90" y="129"/>
                </a:lnTo>
                <a:lnTo>
                  <a:pt x="89" y="129"/>
                </a:lnTo>
                <a:lnTo>
                  <a:pt x="90" y="124"/>
                </a:lnTo>
                <a:lnTo>
                  <a:pt x="90" y="122"/>
                </a:lnTo>
                <a:lnTo>
                  <a:pt x="90" y="121"/>
                </a:lnTo>
                <a:lnTo>
                  <a:pt x="89" y="119"/>
                </a:lnTo>
                <a:lnTo>
                  <a:pt x="86" y="121"/>
                </a:lnTo>
                <a:lnTo>
                  <a:pt x="86" y="119"/>
                </a:lnTo>
                <a:lnTo>
                  <a:pt x="85" y="121"/>
                </a:lnTo>
                <a:lnTo>
                  <a:pt x="85" y="122"/>
                </a:lnTo>
                <a:lnTo>
                  <a:pt x="83" y="122"/>
                </a:lnTo>
                <a:lnTo>
                  <a:pt x="82" y="122"/>
                </a:lnTo>
                <a:lnTo>
                  <a:pt x="82" y="124"/>
                </a:lnTo>
                <a:lnTo>
                  <a:pt x="81" y="124"/>
                </a:lnTo>
                <a:lnTo>
                  <a:pt x="79" y="124"/>
                </a:lnTo>
                <a:lnTo>
                  <a:pt x="78" y="122"/>
                </a:lnTo>
                <a:lnTo>
                  <a:pt x="77" y="118"/>
                </a:lnTo>
                <a:lnTo>
                  <a:pt x="75" y="115"/>
                </a:lnTo>
                <a:lnTo>
                  <a:pt x="73" y="113"/>
                </a:lnTo>
                <a:lnTo>
                  <a:pt x="69" y="111"/>
                </a:lnTo>
                <a:lnTo>
                  <a:pt x="66" y="108"/>
                </a:lnTo>
                <a:lnTo>
                  <a:pt x="65" y="107"/>
                </a:lnTo>
                <a:lnTo>
                  <a:pt x="63" y="105"/>
                </a:lnTo>
                <a:lnTo>
                  <a:pt x="58" y="104"/>
                </a:lnTo>
                <a:lnTo>
                  <a:pt x="53" y="104"/>
                </a:lnTo>
                <a:lnTo>
                  <a:pt x="51" y="102"/>
                </a:lnTo>
                <a:lnTo>
                  <a:pt x="47" y="102"/>
                </a:lnTo>
                <a:lnTo>
                  <a:pt x="47" y="104"/>
                </a:lnTo>
                <a:lnTo>
                  <a:pt x="46" y="105"/>
                </a:lnTo>
                <a:lnTo>
                  <a:pt x="46" y="107"/>
                </a:lnTo>
                <a:lnTo>
                  <a:pt x="43" y="105"/>
                </a:lnTo>
                <a:lnTo>
                  <a:pt x="43" y="104"/>
                </a:lnTo>
                <a:lnTo>
                  <a:pt x="42" y="104"/>
                </a:lnTo>
                <a:lnTo>
                  <a:pt x="41" y="102"/>
                </a:lnTo>
                <a:lnTo>
                  <a:pt x="37" y="102"/>
                </a:lnTo>
                <a:lnTo>
                  <a:pt x="35" y="100"/>
                </a:lnTo>
                <a:lnTo>
                  <a:pt x="35" y="99"/>
                </a:lnTo>
                <a:lnTo>
                  <a:pt x="34" y="99"/>
                </a:lnTo>
                <a:lnTo>
                  <a:pt x="30" y="96"/>
                </a:lnTo>
                <a:lnTo>
                  <a:pt x="29" y="96"/>
                </a:lnTo>
                <a:lnTo>
                  <a:pt x="27" y="96"/>
                </a:lnTo>
                <a:lnTo>
                  <a:pt x="26" y="94"/>
                </a:lnTo>
                <a:lnTo>
                  <a:pt x="26" y="93"/>
                </a:lnTo>
                <a:lnTo>
                  <a:pt x="25" y="91"/>
                </a:lnTo>
                <a:lnTo>
                  <a:pt x="23" y="91"/>
                </a:lnTo>
                <a:lnTo>
                  <a:pt x="22" y="91"/>
                </a:lnTo>
                <a:lnTo>
                  <a:pt x="21" y="91"/>
                </a:lnTo>
                <a:lnTo>
                  <a:pt x="19" y="91"/>
                </a:lnTo>
                <a:lnTo>
                  <a:pt x="19" y="89"/>
                </a:lnTo>
                <a:lnTo>
                  <a:pt x="18" y="89"/>
                </a:lnTo>
                <a:lnTo>
                  <a:pt x="17" y="89"/>
                </a:lnTo>
                <a:lnTo>
                  <a:pt x="15" y="89"/>
                </a:lnTo>
                <a:lnTo>
                  <a:pt x="14" y="89"/>
                </a:lnTo>
                <a:lnTo>
                  <a:pt x="11" y="89"/>
                </a:lnTo>
                <a:lnTo>
                  <a:pt x="10" y="89"/>
                </a:lnTo>
                <a:lnTo>
                  <a:pt x="11" y="86"/>
                </a:lnTo>
                <a:lnTo>
                  <a:pt x="9" y="86"/>
                </a:lnTo>
                <a:lnTo>
                  <a:pt x="9" y="85"/>
                </a:lnTo>
                <a:lnTo>
                  <a:pt x="9" y="83"/>
                </a:lnTo>
                <a:lnTo>
                  <a:pt x="7" y="82"/>
                </a:lnTo>
                <a:lnTo>
                  <a:pt x="7" y="80"/>
                </a:lnTo>
                <a:lnTo>
                  <a:pt x="7" y="78"/>
                </a:lnTo>
                <a:lnTo>
                  <a:pt x="7" y="77"/>
                </a:lnTo>
                <a:lnTo>
                  <a:pt x="7" y="75"/>
                </a:lnTo>
                <a:lnTo>
                  <a:pt x="7" y="74"/>
                </a:lnTo>
                <a:lnTo>
                  <a:pt x="7" y="72"/>
                </a:lnTo>
                <a:lnTo>
                  <a:pt x="6" y="69"/>
                </a:lnTo>
                <a:lnTo>
                  <a:pt x="4" y="67"/>
                </a:lnTo>
                <a:lnTo>
                  <a:pt x="4" y="64"/>
                </a:lnTo>
                <a:lnTo>
                  <a:pt x="4" y="63"/>
                </a:lnTo>
                <a:lnTo>
                  <a:pt x="4" y="61"/>
                </a:lnTo>
                <a:lnTo>
                  <a:pt x="6" y="61"/>
                </a:lnTo>
                <a:lnTo>
                  <a:pt x="7" y="60"/>
                </a:lnTo>
                <a:lnTo>
                  <a:pt x="7" y="61"/>
                </a:lnTo>
                <a:lnTo>
                  <a:pt x="7" y="63"/>
                </a:lnTo>
                <a:lnTo>
                  <a:pt x="9" y="64"/>
                </a:lnTo>
                <a:lnTo>
                  <a:pt x="11" y="66"/>
                </a:lnTo>
                <a:lnTo>
                  <a:pt x="11" y="64"/>
                </a:lnTo>
                <a:lnTo>
                  <a:pt x="13" y="64"/>
                </a:lnTo>
                <a:lnTo>
                  <a:pt x="14" y="64"/>
                </a:lnTo>
                <a:lnTo>
                  <a:pt x="14" y="63"/>
                </a:lnTo>
                <a:lnTo>
                  <a:pt x="15" y="63"/>
                </a:lnTo>
                <a:lnTo>
                  <a:pt x="15" y="61"/>
                </a:lnTo>
                <a:lnTo>
                  <a:pt x="17" y="61"/>
                </a:lnTo>
                <a:lnTo>
                  <a:pt x="17" y="63"/>
                </a:lnTo>
                <a:lnTo>
                  <a:pt x="18" y="63"/>
                </a:lnTo>
                <a:lnTo>
                  <a:pt x="21" y="60"/>
                </a:lnTo>
                <a:lnTo>
                  <a:pt x="21" y="58"/>
                </a:lnTo>
                <a:lnTo>
                  <a:pt x="19" y="56"/>
                </a:lnTo>
                <a:lnTo>
                  <a:pt x="18" y="55"/>
                </a:lnTo>
                <a:lnTo>
                  <a:pt x="17" y="53"/>
                </a:lnTo>
                <a:lnTo>
                  <a:pt x="18" y="53"/>
                </a:lnTo>
                <a:lnTo>
                  <a:pt x="18" y="52"/>
                </a:lnTo>
                <a:lnTo>
                  <a:pt x="14" y="50"/>
                </a:lnTo>
                <a:lnTo>
                  <a:pt x="13" y="50"/>
                </a:lnTo>
                <a:lnTo>
                  <a:pt x="10" y="47"/>
                </a:lnTo>
                <a:lnTo>
                  <a:pt x="10" y="44"/>
                </a:lnTo>
                <a:lnTo>
                  <a:pt x="11" y="44"/>
                </a:lnTo>
                <a:lnTo>
                  <a:pt x="11" y="41"/>
                </a:lnTo>
                <a:lnTo>
                  <a:pt x="10" y="38"/>
                </a:lnTo>
                <a:lnTo>
                  <a:pt x="10" y="36"/>
                </a:lnTo>
                <a:lnTo>
                  <a:pt x="13" y="36"/>
                </a:lnTo>
                <a:lnTo>
                  <a:pt x="14" y="36"/>
                </a:lnTo>
                <a:lnTo>
                  <a:pt x="17" y="36"/>
                </a:lnTo>
                <a:lnTo>
                  <a:pt x="18" y="36"/>
                </a:lnTo>
                <a:lnTo>
                  <a:pt x="19" y="34"/>
                </a:lnTo>
                <a:lnTo>
                  <a:pt x="21" y="31"/>
                </a:lnTo>
                <a:lnTo>
                  <a:pt x="21" y="28"/>
                </a:lnTo>
                <a:lnTo>
                  <a:pt x="23" y="28"/>
                </a:lnTo>
                <a:lnTo>
                  <a:pt x="23" y="27"/>
                </a:lnTo>
                <a:lnTo>
                  <a:pt x="25" y="27"/>
                </a:lnTo>
                <a:lnTo>
                  <a:pt x="25" y="25"/>
                </a:lnTo>
                <a:lnTo>
                  <a:pt x="26" y="23"/>
                </a:lnTo>
                <a:lnTo>
                  <a:pt x="27" y="23"/>
                </a:lnTo>
                <a:lnTo>
                  <a:pt x="27" y="22"/>
                </a:lnTo>
                <a:lnTo>
                  <a:pt x="29" y="20"/>
                </a:lnTo>
                <a:lnTo>
                  <a:pt x="30" y="14"/>
                </a:lnTo>
                <a:lnTo>
                  <a:pt x="30" y="12"/>
                </a:lnTo>
                <a:lnTo>
                  <a:pt x="33" y="11"/>
                </a:lnTo>
                <a:lnTo>
                  <a:pt x="31" y="9"/>
                </a:lnTo>
                <a:lnTo>
                  <a:pt x="30" y="9"/>
                </a:lnTo>
                <a:lnTo>
                  <a:pt x="27" y="11"/>
                </a:lnTo>
                <a:lnTo>
                  <a:pt x="26" y="9"/>
                </a:lnTo>
                <a:lnTo>
                  <a:pt x="26" y="6"/>
                </a:lnTo>
                <a:lnTo>
                  <a:pt x="25" y="8"/>
                </a:lnTo>
                <a:lnTo>
                  <a:pt x="23" y="8"/>
                </a:lnTo>
                <a:lnTo>
                  <a:pt x="23" y="6"/>
                </a:lnTo>
                <a:lnTo>
                  <a:pt x="22" y="6"/>
                </a:lnTo>
                <a:lnTo>
                  <a:pt x="21" y="3"/>
                </a:lnTo>
                <a:lnTo>
                  <a:pt x="19" y="3"/>
                </a:lnTo>
                <a:lnTo>
                  <a:pt x="18" y="3"/>
                </a:lnTo>
                <a:lnTo>
                  <a:pt x="17" y="1"/>
                </a:lnTo>
                <a:lnTo>
                  <a:pt x="17" y="0"/>
                </a:lnTo>
                <a:lnTo>
                  <a:pt x="15" y="0"/>
                </a:lnTo>
                <a:lnTo>
                  <a:pt x="14" y="1"/>
                </a:lnTo>
                <a:lnTo>
                  <a:pt x="13" y="1"/>
                </a:lnTo>
                <a:lnTo>
                  <a:pt x="11" y="1"/>
                </a:lnTo>
                <a:lnTo>
                  <a:pt x="7" y="3"/>
                </a:lnTo>
                <a:lnTo>
                  <a:pt x="5" y="5"/>
                </a:lnTo>
                <a:lnTo>
                  <a:pt x="2" y="6"/>
                </a:lnTo>
                <a:lnTo>
                  <a:pt x="0" y="8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80" name="Freeform 579"/>
          <p:cNvSpPr>
            <a:spLocks/>
          </p:cNvSpPr>
          <p:nvPr/>
        </p:nvSpPr>
        <p:spPr bwMode="auto">
          <a:xfrm>
            <a:off x="7788890" y="2615435"/>
            <a:ext cx="1019231" cy="481064"/>
          </a:xfrm>
          <a:custGeom>
            <a:avLst/>
            <a:gdLst/>
            <a:ahLst/>
            <a:cxnLst>
              <a:cxn ang="0">
                <a:pos x="66" y="240"/>
              </a:cxn>
              <a:cxn ang="0">
                <a:pos x="59" y="240"/>
              </a:cxn>
              <a:cxn ang="0">
                <a:pos x="48" y="237"/>
              </a:cxn>
              <a:cxn ang="0">
                <a:pos x="43" y="234"/>
              </a:cxn>
              <a:cxn ang="0">
                <a:pos x="38" y="231"/>
              </a:cxn>
              <a:cxn ang="0">
                <a:pos x="36" y="228"/>
              </a:cxn>
              <a:cxn ang="0">
                <a:pos x="35" y="221"/>
              </a:cxn>
              <a:cxn ang="0">
                <a:pos x="28" y="218"/>
              </a:cxn>
              <a:cxn ang="0">
                <a:pos x="23" y="214"/>
              </a:cxn>
              <a:cxn ang="0">
                <a:pos x="14" y="212"/>
              </a:cxn>
              <a:cxn ang="0">
                <a:pos x="18" y="209"/>
              </a:cxn>
              <a:cxn ang="0">
                <a:pos x="20" y="199"/>
              </a:cxn>
              <a:cxn ang="0">
                <a:pos x="11" y="185"/>
              </a:cxn>
              <a:cxn ang="0">
                <a:pos x="0" y="176"/>
              </a:cxn>
              <a:cxn ang="0">
                <a:pos x="15" y="157"/>
              </a:cxn>
              <a:cxn ang="0">
                <a:pos x="23" y="152"/>
              </a:cxn>
              <a:cxn ang="0">
                <a:pos x="34" y="154"/>
              </a:cxn>
              <a:cxn ang="0">
                <a:pos x="47" y="148"/>
              </a:cxn>
              <a:cxn ang="0">
                <a:pos x="67" y="141"/>
              </a:cxn>
              <a:cxn ang="0">
                <a:pos x="85" y="129"/>
              </a:cxn>
              <a:cxn ang="0">
                <a:pos x="100" y="115"/>
              </a:cxn>
              <a:cxn ang="0">
                <a:pos x="107" y="104"/>
              </a:cxn>
              <a:cxn ang="0">
                <a:pos x="101" y="88"/>
              </a:cxn>
              <a:cxn ang="0">
                <a:pos x="99" y="72"/>
              </a:cxn>
              <a:cxn ang="0">
                <a:pos x="131" y="68"/>
              </a:cxn>
              <a:cxn ang="0">
                <a:pos x="131" y="55"/>
              </a:cxn>
              <a:cxn ang="0">
                <a:pos x="141" y="33"/>
              </a:cxn>
              <a:cxn ang="0">
                <a:pos x="165" y="35"/>
              </a:cxn>
              <a:cxn ang="0">
                <a:pos x="180" y="35"/>
              </a:cxn>
              <a:cxn ang="0">
                <a:pos x="185" y="11"/>
              </a:cxn>
              <a:cxn ang="0">
                <a:pos x="201" y="2"/>
              </a:cxn>
              <a:cxn ang="0">
                <a:pos x="214" y="2"/>
              </a:cxn>
              <a:cxn ang="0">
                <a:pos x="229" y="19"/>
              </a:cxn>
              <a:cxn ang="0">
                <a:pos x="244" y="20"/>
              </a:cxn>
              <a:cxn ang="0">
                <a:pos x="256" y="35"/>
              </a:cxn>
              <a:cxn ang="0">
                <a:pos x="260" y="58"/>
              </a:cxn>
              <a:cxn ang="0">
                <a:pos x="264" y="68"/>
              </a:cxn>
              <a:cxn ang="0">
                <a:pos x="288" y="71"/>
              </a:cxn>
              <a:cxn ang="0">
                <a:pos x="306" y="77"/>
              </a:cxn>
              <a:cxn ang="0">
                <a:pos x="326" y="83"/>
              </a:cxn>
              <a:cxn ang="0">
                <a:pos x="338" y="101"/>
              </a:cxn>
              <a:cxn ang="0">
                <a:pos x="353" y="112"/>
              </a:cxn>
              <a:cxn ang="0">
                <a:pos x="409" y="110"/>
              </a:cxn>
              <a:cxn ang="0">
                <a:pos x="427" y="119"/>
              </a:cxn>
              <a:cxn ang="0">
                <a:pos x="454" y="127"/>
              </a:cxn>
              <a:cxn ang="0">
                <a:pos x="470" y="132"/>
              </a:cxn>
              <a:cxn ang="0">
                <a:pos x="490" y="124"/>
              </a:cxn>
              <a:cxn ang="0">
                <a:pos x="508" y="119"/>
              </a:cxn>
              <a:cxn ang="0">
                <a:pos x="532" y="118"/>
              </a:cxn>
            </a:cxnLst>
            <a:rect l="0" t="0" r="r" b="b"/>
            <a:pathLst>
              <a:path w="533" h="242">
                <a:moveTo>
                  <a:pt x="70" y="239"/>
                </a:moveTo>
                <a:lnTo>
                  <a:pt x="68" y="240"/>
                </a:lnTo>
                <a:lnTo>
                  <a:pt x="67" y="240"/>
                </a:lnTo>
                <a:lnTo>
                  <a:pt x="66" y="240"/>
                </a:lnTo>
                <a:lnTo>
                  <a:pt x="64" y="240"/>
                </a:lnTo>
                <a:lnTo>
                  <a:pt x="63" y="242"/>
                </a:lnTo>
                <a:lnTo>
                  <a:pt x="62" y="240"/>
                </a:lnTo>
                <a:lnTo>
                  <a:pt x="59" y="240"/>
                </a:lnTo>
                <a:lnTo>
                  <a:pt x="56" y="240"/>
                </a:lnTo>
                <a:lnTo>
                  <a:pt x="55" y="240"/>
                </a:lnTo>
                <a:lnTo>
                  <a:pt x="52" y="239"/>
                </a:lnTo>
                <a:lnTo>
                  <a:pt x="48" y="237"/>
                </a:lnTo>
                <a:lnTo>
                  <a:pt x="46" y="236"/>
                </a:lnTo>
                <a:lnTo>
                  <a:pt x="46" y="234"/>
                </a:lnTo>
                <a:lnTo>
                  <a:pt x="44" y="232"/>
                </a:lnTo>
                <a:lnTo>
                  <a:pt x="43" y="234"/>
                </a:lnTo>
                <a:lnTo>
                  <a:pt x="42" y="234"/>
                </a:lnTo>
                <a:lnTo>
                  <a:pt x="40" y="234"/>
                </a:lnTo>
                <a:lnTo>
                  <a:pt x="39" y="234"/>
                </a:lnTo>
                <a:lnTo>
                  <a:pt x="38" y="231"/>
                </a:lnTo>
                <a:lnTo>
                  <a:pt x="35" y="231"/>
                </a:lnTo>
                <a:lnTo>
                  <a:pt x="35" y="229"/>
                </a:lnTo>
                <a:lnTo>
                  <a:pt x="36" y="229"/>
                </a:lnTo>
                <a:lnTo>
                  <a:pt x="36" y="228"/>
                </a:lnTo>
                <a:lnTo>
                  <a:pt x="36" y="226"/>
                </a:lnTo>
                <a:lnTo>
                  <a:pt x="36" y="225"/>
                </a:lnTo>
                <a:lnTo>
                  <a:pt x="36" y="223"/>
                </a:lnTo>
                <a:lnTo>
                  <a:pt x="35" y="221"/>
                </a:lnTo>
                <a:lnTo>
                  <a:pt x="34" y="220"/>
                </a:lnTo>
                <a:lnTo>
                  <a:pt x="31" y="217"/>
                </a:lnTo>
                <a:lnTo>
                  <a:pt x="30" y="218"/>
                </a:lnTo>
                <a:lnTo>
                  <a:pt x="28" y="218"/>
                </a:lnTo>
                <a:lnTo>
                  <a:pt x="27" y="218"/>
                </a:lnTo>
                <a:lnTo>
                  <a:pt x="27" y="215"/>
                </a:lnTo>
                <a:lnTo>
                  <a:pt x="24" y="215"/>
                </a:lnTo>
                <a:lnTo>
                  <a:pt x="23" y="214"/>
                </a:lnTo>
                <a:lnTo>
                  <a:pt x="19" y="215"/>
                </a:lnTo>
                <a:lnTo>
                  <a:pt x="16" y="214"/>
                </a:lnTo>
                <a:lnTo>
                  <a:pt x="15" y="212"/>
                </a:lnTo>
                <a:lnTo>
                  <a:pt x="14" y="212"/>
                </a:lnTo>
                <a:lnTo>
                  <a:pt x="14" y="210"/>
                </a:lnTo>
                <a:lnTo>
                  <a:pt x="15" y="209"/>
                </a:lnTo>
                <a:lnTo>
                  <a:pt x="16" y="209"/>
                </a:lnTo>
                <a:lnTo>
                  <a:pt x="18" y="209"/>
                </a:lnTo>
                <a:lnTo>
                  <a:pt x="19" y="209"/>
                </a:lnTo>
                <a:lnTo>
                  <a:pt x="18" y="209"/>
                </a:lnTo>
                <a:lnTo>
                  <a:pt x="20" y="209"/>
                </a:lnTo>
                <a:lnTo>
                  <a:pt x="20" y="199"/>
                </a:lnTo>
                <a:lnTo>
                  <a:pt x="18" y="193"/>
                </a:lnTo>
                <a:lnTo>
                  <a:pt x="18" y="188"/>
                </a:lnTo>
                <a:lnTo>
                  <a:pt x="16" y="185"/>
                </a:lnTo>
                <a:lnTo>
                  <a:pt x="11" y="185"/>
                </a:lnTo>
                <a:lnTo>
                  <a:pt x="6" y="187"/>
                </a:lnTo>
                <a:lnTo>
                  <a:pt x="3" y="185"/>
                </a:lnTo>
                <a:lnTo>
                  <a:pt x="2" y="181"/>
                </a:lnTo>
                <a:lnTo>
                  <a:pt x="0" y="176"/>
                </a:lnTo>
                <a:lnTo>
                  <a:pt x="4" y="168"/>
                </a:lnTo>
                <a:lnTo>
                  <a:pt x="3" y="165"/>
                </a:lnTo>
                <a:lnTo>
                  <a:pt x="6" y="160"/>
                </a:lnTo>
                <a:lnTo>
                  <a:pt x="15" y="157"/>
                </a:lnTo>
                <a:lnTo>
                  <a:pt x="16" y="156"/>
                </a:lnTo>
                <a:lnTo>
                  <a:pt x="18" y="156"/>
                </a:lnTo>
                <a:lnTo>
                  <a:pt x="20" y="151"/>
                </a:lnTo>
                <a:lnTo>
                  <a:pt x="23" y="152"/>
                </a:lnTo>
                <a:lnTo>
                  <a:pt x="27" y="151"/>
                </a:lnTo>
                <a:lnTo>
                  <a:pt x="30" y="151"/>
                </a:lnTo>
                <a:lnTo>
                  <a:pt x="31" y="154"/>
                </a:lnTo>
                <a:lnTo>
                  <a:pt x="34" y="154"/>
                </a:lnTo>
                <a:lnTo>
                  <a:pt x="39" y="154"/>
                </a:lnTo>
                <a:lnTo>
                  <a:pt x="42" y="154"/>
                </a:lnTo>
                <a:lnTo>
                  <a:pt x="46" y="151"/>
                </a:lnTo>
                <a:lnTo>
                  <a:pt x="47" y="148"/>
                </a:lnTo>
                <a:lnTo>
                  <a:pt x="50" y="145"/>
                </a:lnTo>
                <a:lnTo>
                  <a:pt x="54" y="143"/>
                </a:lnTo>
                <a:lnTo>
                  <a:pt x="59" y="143"/>
                </a:lnTo>
                <a:lnTo>
                  <a:pt x="67" y="141"/>
                </a:lnTo>
                <a:lnTo>
                  <a:pt x="70" y="140"/>
                </a:lnTo>
                <a:lnTo>
                  <a:pt x="72" y="137"/>
                </a:lnTo>
                <a:lnTo>
                  <a:pt x="76" y="134"/>
                </a:lnTo>
                <a:lnTo>
                  <a:pt x="85" y="129"/>
                </a:lnTo>
                <a:lnTo>
                  <a:pt x="96" y="126"/>
                </a:lnTo>
                <a:lnTo>
                  <a:pt x="99" y="124"/>
                </a:lnTo>
                <a:lnTo>
                  <a:pt x="100" y="121"/>
                </a:lnTo>
                <a:lnTo>
                  <a:pt x="100" y="115"/>
                </a:lnTo>
                <a:lnTo>
                  <a:pt x="101" y="112"/>
                </a:lnTo>
                <a:lnTo>
                  <a:pt x="104" y="110"/>
                </a:lnTo>
                <a:lnTo>
                  <a:pt x="103" y="107"/>
                </a:lnTo>
                <a:lnTo>
                  <a:pt x="107" y="104"/>
                </a:lnTo>
                <a:lnTo>
                  <a:pt x="107" y="101"/>
                </a:lnTo>
                <a:lnTo>
                  <a:pt x="104" y="94"/>
                </a:lnTo>
                <a:lnTo>
                  <a:pt x="103" y="91"/>
                </a:lnTo>
                <a:lnTo>
                  <a:pt x="101" y="88"/>
                </a:lnTo>
                <a:lnTo>
                  <a:pt x="100" y="79"/>
                </a:lnTo>
                <a:lnTo>
                  <a:pt x="97" y="75"/>
                </a:lnTo>
                <a:lnTo>
                  <a:pt x="96" y="74"/>
                </a:lnTo>
                <a:lnTo>
                  <a:pt x="99" y="72"/>
                </a:lnTo>
                <a:lnTo>
                  <a:pt x="104" y="71"/>
                </a:lnTo>
                <a:lnTo>
                  <a:pt x="109" y="69"/>
                </a:lnTo>
                <a:lnTo>
                  <a:pt x="115" y="68"/>
                </a:lnTo>
                <a:lnTo>
                  <a:pt x="131" y="68"/>
                </a:lnTo>
                <a:lnTo>
                  <a:pt x="132" y="66"/>
                </a:lnTo>
                <a:lnTo>
                  <a:pt x="131" y="63"/>
                </a:lnTo>
                <a:lnTo>
                  <a:pt x="129" y="58"/>
                </a:lnTo>
                <a:lnTo>
                  <a:pt x="131" y="55"/>
                </a:lnTo>
                <a:lnTo>
                  <a:pt x="132" y="49"/>
                </a:lnTo>
                <a:lnTo>
                  <a:pt x="136" y="42"/>
                </a:lnTo>
                <a:lnTo>
                  <a:pt x="139" y="38"/>
                </a:lnTo>
                <a:lnTo>
                  <a:pt x="141" y="33"/>
                </a:lnTo>
                <a:lnTo>
                  <a:pt x="148" y="33"/>
                </a:lnTo>
                <a:lnTo>
                  <a:pt x="151" y="35"/>
                </a:lnTo>
                <a:lnTo>
                  <a:pt x="155" y="36"/>
                </a:lnTo>
                <a:lnTo>
                  <a:pt x="165" y="35"/>
                </a:lnTo>
                <a:lnTo>
                  <a:pt x="168" y="36"/>
                </a:lnTo>
                <a:lnTo>
                  <a:pt x="169" y="38"/>
                </a:lnTo>
                <a:lnTo>
                  <a:pt x="173" y="36"/>
                </a:lnTo>
                <a:lnTo>
                  <a:pt x="180" y="35"/>
                </a:lnTo>
                <a:lnTo>
                  <a:pt x="181" y="25"/>
                </a:lnTo>
                <a:lnTo>
                  <a:pt x="180" y="20"/>
                </a:lnTo>
                <a:lnTo>
                  <a:pt x="181" y="16"/>
                </a:lnTo>
                <a:lnTo>
                  <a:pt x="185" y="11"/>
                </a:lnTo>
                <a:lnTo>
                  <a:pt x="189" y="11"/>
                </a:lnTo>
                <a:lnTo>
                  <a:pt x="194" y="9"/>
                </a:lnTo>
                <a:lnTo>
                  <a:pt x="198" y="6"/>
                </a:lnTo>
                <a:lnTo>
                  <a:pt x="201" y="2"/>
                </a:lnTo>
                <a:lnTo>
                  <a:pt x="208" y="3"/>
                </a:lnTo>
                <a:lnTo>
                  <a:pt x="213" y="0"/>
                </a:lnTo>
                <a:lnTo>
                  <a:pt x="214" y="0"/>
                </a:lnTo>
                <a:lnTo>
                  <a:pt x="214" y="2"/>
                </a:lnTo>
                <a:lnTo>
                  <a:pt x="216" y="3"/>
                </a:lnTo>
                <a:lnTo>
                  <a:pt x="218" y="9"/>
                </a:lnTo>
                <a:lnTo>
                  <a:pt x="226" y="14"/>
                </a:lnTo>
                <a:lnTo>
                  <a:pt x="229" y="19"/>
                </a:lnTo>
                <a:lnTo>
                  <a:pt x="233" y="20"/>
                </a:lnTo>
                <a:lnTo>
                  <a:pt x="236" y="19"/>
                </a:lnTo>
                <a:lnTo>
                  <a:pt x="240" y="19"/>
                </a:lnTo>
                <a:lnTo>
                  <a:pt x="244" y="20"/>
                </a:lnTo>
                <a:lnTo>
                  <a:pt x="248" y="22"/>
                </a:lnTo>
                <a:lnTo>
                  <a:pt x="250" y="25"/>
                </a:lnTo>
                <a:lnTo>
                  <a:pt x="253" y="30"/>
                </a:lnTo>
                <a:lnTo>
                  <a:pt x="256" y="35"/>
                </a:lnTo>
                <a:lnTo>
                  <a:pt x="258" y="44"/>
                </a:lnTo>
                <a:lnTo>
                  <a:pt x="260" y="50"/>
                </a:lnTo>
                <a:lnTo>
                  <a:pt x="260" y="53"/>
                </a:lnTo>
                <a:lnTo>
                  <a:pt x="260" y="58"/>
                </a:lnTo>
                <a:lnTo>
                  <a:pt x="257" y="63"/>
                </a:lnTo>
                <a:lnTo>
                  <a:pt x="257" y="66"/>
                </a:lnTo>
                <a:lnTo>
                  <a:pt x="260" y="68"/>
                </a:lnTo>
                <a:lnTo>
                  <a:pt x="264" y="68"/>
                </a:lnTo>
                <a:lnTo>
                  <a:pt x="272" y="69"/>
                </a:lnTo>
                <a:lnTo>
                  <a:pt x="281" y="72"/>
                </a:lnTo>
                <a:lnTo>
                  <a:pt x="284" y="72"/>
                </a:lnTo>
                <a:lnTo>
                  <a:pt x="288" y="71"/>
                </a:lnTo>
                <a:lnTo>
                  <a:pt x="292" y="71"/>
                </a:lnTo>
                <a:lnTo>
                  <a:pt x="294" y="72"/>
                </a:lnTo>
                <a:lnTo>
                  <a:pt x="302" y="74"/>
                </a:lnTo>
                <a:lnTo>
                  <a:pt x="306" y="77"/>
                </a:lnTo>
                <a:lnTo>
                  <a:pt x="311" y="79"/>
                </a:lnTo>
                <a:lnTo>
                  <a:pt x="319" y="80"/>
                </a:lnTo>
                <a:lnTo>
                  <a:pt x="323" y="83"/>
                </a:lnTo>
                <a:lnTo>
                  <a:pt x="326" y="83"/>
                </a:lnTo>
                <a:lnTo>
                  <a:pt x="330" y="86"/>
                </a:lnTo>
                <a:lnTo>
                  <a:pt x="333" y="91"/>
                </a:lnTo>
                <a:lnTo>
                  <a:pt x="335" y="96"/>
                </a:lnTo>
                <a:lnTo>
                  <a:pt x="338" y="101"/>
                </a:lnTo>
                <a:lnTo>
                  <a:pt x="341" y="104"/>
                </a:lnTo>
                <a:lnTo>
                  <a:pt x="345" y="107"/>
                </a:lnTo>
                <a:lnTo>
                  <a:pt x="349" y="110"/>
                </a:lnTo>
                <a:lnTo>
                  <a:pt x="353" y="112"/>
                </a:lnTo>
                <a:lnTo>
                  <a:pt x="358" y="112"/>
                </a:lnTo>
                <a:lnTo>
                  <a:pt x="399" y="110"/>
                </a:lnTo>
                <a:lnTo>
                  <a:pt x="405" y="108"/>
                </a:lnTo>
                <a:lnTo>
                  <a:pt x="409" y="110"/>
                </a:lnTo>
                <a:lnTo>
                  <a:pt x="418" y="112"/>
                </a:lnTo>
                <a:lnTo>
                  <a:pt x="420" y="113"/>
                </a:lnTo>
                <a:lnTo>
                  <a:pt x="423" y="116"/>
                </a:lnTo>
                <a:lnTo>
                  <a:pt x="427" y="119"/>
                </a:lnTo>
                <a:lnTo>
                  <a:pt x="434" y="121"/>
                </a:lnTo>
                <a:lnTo>
                  <a:pt x="443" y="124"/>
                </a:lnTo>
                <a:lnTo>
                  <a:pt x="448" y="126"/>
                </a:lnTo>
                <a:lnTo>
                  <a:pt x="454" y="127"/>
                </a:lnTo>
                <a:lnTo>
                  <a:pt x="462" y="129"/>
                </a:lnTo>
                <a:lnTo>
                  <a:pt x="463" y="129"/>
                </a:lnTo>
                <a:lnTo>
                  <a:pt x="467" y="130"/>
                </a:lnTo>
                <a:lnTo>
                  <a:pt x="470" y="132"/>
                </a:lnTo>
                <a:lnTo>
                  <a:pt x="472" y="132"/>
                </a:lnTo>
                <a:lnTo>
                  <a:pt x="478" y="127"/>
                </a:lnTo>
                <a:lnTo>
                  <a:pt x="486" y="126"/>
                </a:lnTo>
                <a:lnTo>
                  <a:pt x="490" y="124"/>
                </a:lnTo>
                <a:lnTo>
                  <a:pt x="492" y="124"/>
                </a:lnTo>
                <a:lnTo>
                  <a:pt x="495" y="121"/>
                </a:lnTo>
                <a:lnTo>
                  <a:pt x="498" y="121"/>
                </a:lnTo>
                <a:lnTo>
                  <a:pt x="508" y="119"/>
                </a:lnTo>
                <a:lnTo>
                  <a:pt x="512" y="116"/>
                </a:lnTo>
                <a:lnTo>
                  <a:pt x="520" y="118"/>
                </a:lnTo>
                <a:lnTo>
                  <a:pt x="524" y="116"/>
                </a:lnTo>
                <a:lnTo>
                  <a:pt x="532" y="118"/>
                </a:lnTo>
                <a:lnTo>
                  <a:pt x="533" y="118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81" name="Freeform 580"/>
          <p:cNvSpPr>
            <a:spLocks/>
          </p:cNvSpPr>
          <p:nvPr/>
        </p:nvSpPr>
        <p:spPr bwMode="auto">
          <a:xfrm>
            <a:off x="8808119" y="2458661"/>
            <a:ext cx="742498" cy="517573"/>
          </a:xfrm>
          <a:custGeom>
            <a:avLst/>
            <a:gdLst/>
            <a:ahLst/>
            <a:cxnLst>
              <a:cxn ang="0">
                <a:pos x="20" y="190"/>
              </a:cxn>
              <a:cxn ang="0">
                <a:pos x="43" y="169"/>
              </a:cxn>
              <a:cxn ang="0">
                <a:pos x="44" y="150"/>
              </a:cxn>
              <a:cxn ang="0">
                <a:pos x="63" y="153"/>
              </a:cxn>
              <a:cxn ang="0">
                <a:pos x="87" y="139"/>
              </a:cxn>
              <a:cxn ang="0">
                <a:pos x="100" y="136"/>
              </a:cxn>
              <a:cxn ang="0">
                <a:pos x="131" y="120"/>
              </a:cxn>
              <a:cxn ang="0">
                <a:pos x="155" y="120"/>
              </a:cxn>
              <a:cxn ang="0">
                <a:pos x="153" y="113"/>
              </a:cxn>
              <a:cxn ang="0">
                <a:pos x="140" y="97"/>
              </a:cxn>
              <a:cxn ang="0">
                <a:pos x="119" y="103"/>
              </a:cxn>
              <a:cxn ang="0">
                <a:pos x="98" y="94"/>
              </a:cxn>
              <a:cxn ang="0">
                <a:pos x="100" y="78"/>
              </a:cxn>
              <a:cxn ang="0">
                <a:pos x="108" y="64"/>
              </a:cxn>
              <a:cxn ang="0">
                <a:pos x="117" y="64"/>
              </a:cxn>
              <a:cxn ang="0">
                <a:pos x="140" y="65"/>
              </a:cxn>
              <a:cxn ang="0">
                <a:pos x="155" y="51"/>
              </a:cxn>
              <a:cxn ang="0">
                <a:pos x="163" y="37"/>
              </a:cxn>
              <a:cxn ang="0">
                <a:pos x="176" y="25"/>
              </a:cxn>
              <a:cxn ang="0">
                <a:pos x="171" y="17"/>
              </a:cxn>
              <a:cxn ang="0">
                <a:pos x="175" y="7"/>
              </a:cxn>
              <a:cxn ang="0">
                <a:pos x="207" y="1"/>
              </a:cxn>
              <a:cxn ang="0">
                <a:pos x="229" y="3"/>
              </a:cxn>
              <a:cxn ang="0">
                <a:pos x="246" y="7"/>
              </a:cxn>
              <a:cxn ang="0">
                <a:pos x="256" y="17"/>
              </a:cxn>
              <a:cxn ang="0">
                <a:pos x="261" y="20"/>
              </a:cxn>
              <a:cxn ang="0">
                <a:pos x="266" y="33"/>
              </a:cxn>
              <a:cxn ang="0">
                <a:pos x="277" y="58"/>
              </a:cxn>
              <a:cxn ang="0">
                <a:pos x="282" y="69"/>
              </a:cxn>
              <a:cxn ang="0">
                <a:pos x="304" y="70"/>
              </a:cxn>
              <a:cxn ang="0">
                <a:pos x="325" y="80"/>
              </a:cxn>
              <a:cxn ang="0">
                <a:pos x="329" y="87"/>
              </a:cxn>
              <a:cxn ang="0">
                <a:pos x="333" y="102"/>
              </a:cxn>
              <a:cxn ang="0">
                <a:pos x="357" y="98"/>
              </a:cxn>
              <a:cxn ang="0">
                <a:pos x="389" y="87"/>
              </a:cxn>
              <a:cxn ang="0">
                <a:pos x="387" y="103"/>
              </a:cxn>
              <a:cxn ang="0">
                <a:pos x="375" y="120"/>
              </a:cxn>
              <a:cxn ang="0">
                <a:pos x="363" y="147"/>
              </a:cxn>
              <a:cxn ang="0">
                <a:pos x="341" y="147"/>
              </a:cxn>
              <a:cxn ang="0">
                <a:pos x="335" y="179"/>
              </a:cxn>
              <a:cxn ang="0">
                <a:pos x="324" y="193"/>
              </a:cxn>
              <a:cxn ang="0">
                <a:pos x="313" y="193"/>
              </a:cxn>
              <a:cxn ang="0">
                <a:pos x="290" y="204"/>
              </a:cxn>
              <a:cxn ang="0">
                <a:pos x="274" y="213"/>
              </a:cxn>
              <a:cxn ang="0">
                <a:pos x="254" y="224"/>
              </a:cxn>
              <a:cxn ang="0">
                <a:pos x="232" y="241"/>
              </a:cxn>
              <a:cxn ang="0">
                <a:pos x="219" y="245"/>
              </a:cxn>
              <a:cxn ang="0">
                <a:pos x="201" y="249"/>
              </a:cxn>
              <a:cxn ang="0">
                <a:pos x="192" y="257"/>
              </a:cxn>
            </a:cxnLst>
            <a:rect l="0" t="0" r="r" b="b"/>
            <a:pathLst>
              <a:path w="389" h="259">
                <a:moveTo>
                  <a:pt x="0" y="196"/>
                </a:moveTo>
                <a:lnTo>
                  <a:pt x="8" y="194"/>
                </a:lnTo>
                <a:lnTo>
                  <a:pt x="16" y="193"/>
                </a:lnTo>
                <a:lnTo>
                  <a:pt x="20" y="190"/>
                </a:lnTo>
                <a:lnTo>
                  <a:pt x="26" y="186"/>
                </a:lnTo>
                <a:lnTo>
                  <a:pt x="28" y="183"/>
                </a:lnTo>
                <a:lnTo>
                  <a:pt x="44" y="172"/>
                </a:lnTo>
                <a:lnTo>
                  <a:pt x="43" y="169"/>
                </a:lnTo>
                <a:lnTo>
                  <a:pt x="38" y="161"/>
                </a:lnTo>
                <a:lnTo>
                  <a:pt x="38" y="158"/>
                </a:lnTo>
                <a:lnTo>
                  <a:pt x="42" y="153"/>
                </a:lnTo>
                <a:lnTo>
                  <a:pt x="44" y="150"/>
                </a:lnTo>
                <a:lnTo>
                  <a:pt x="50" y="149"/>
                </a:lnTo>
                <a:lnTo>
                  <a:pt x="55" y="149"/>
                </a:lnTo>
                <a:lnTo>
                  <a:pt x="58" y="152"/>
                </a:lnTo>
                <a:lnTo>
                  <a:pt x="63" y="153"/>
                </a:lnTo>
                <a:lnTo>
                  <a:pt x="68" y="153"/>
                </a:lnTo>
                <a:lnTo>
                  <a:pt x="76" y="149"/>
                </a:lnTo>
                <a:lnTo>
                  <a:pt x="82" y="144"/>
                </a:lnTo>
                <a:lnTo>
                  <a:pt x="87" y="139"/>
                </a:lnTo>
                <a:lnTo>
                  <a:pt x="90" y="139"/>
                </a:lnTo>
                <a:lnTo>
                  <a:pt x="94" y="139"/>
                </a:lnTo>
                <a:lnTo>
                  <a:pt x="95" y="139"/>
                </a:lnTo>
                <a:lnTo>
                  <a:pt x="100" y="136"/>
                </a:lnTo>
                <a:lnTo>
                  <a:pt x="113" y="124"/>
                </a:lnTo>
                <a:lnTo>
                  <a:pt x="117" y="120"/>
                </a:lnTo>
                <a:lnTo>
                  <a:pt x="124" y="120"/>
                </a:lnTo>
                <a:lnTo>
                  <a:pt x="131" y="120"/>
                </a:lnTo>
                <a:lnTo>
                  <a:pt x="137" y="119"/>
                </a:lnTo>
                <a:lnTo>
                  <a:pt x="144" y="119"/>
                </a:lnTo>
                <a:lnTo>
                  <a:pt x="149" y="119"/>
                </a:lnTo>
                <a:lnTo>
                  <a:pt x="155" y="120"/>
                </a:lnTo>
                <a:lnTo>
                  <a:pt x="157" y="119"/>
                </a:lnTo>
                <a:lnTo>
                  <a:pt x="157" y="116"/>
                </a:lnTo>
                <a:lnTo>
                  <a:pt x="153" y="114"/>
                </a:lnTo>
                <a:lnTo>
                  <a:pt x="153" y="113"/>
                </a:lnTo>
                <a:lnTo>
                  <a:pt x="153" y="109"/>
                </a:lnTo>
                <a:lnTo>
                  <a:pt x="152" y="106"/>
                </a:lnTo>
                <a:lnTo>
                  <a:pt x="144" y="100"/>
                </a:lnTo>
                <a:lnTo>
                  <a:pt x="140" y="97"/>
                </a:lnTo>
                <a:lnTo>
                  <a:pt x="139" y="95"/>
                </a:lnTo>
                <a:lnTo>
                  <a:pt x="131" y="98"/>
                </a:lnTo>
                <a:lnTo>
                  <a:pt x="125" y="102"/>
                </a:lnTo>
                <a:lnTo>
                  <a:pt x="119" y="103"/>
                </a:lnTo>
                <a:lnTo>
                  <a:pt x="112" y="103"/>
                </a:lnTo>
                <a:lnTo>
                  <a:pt x="102" y="102"/>
                </a:lnTo>
                <a:lnTo>
                  <a:pt x="99" y="98"/>
                </a:lnTo>
                <a:lnTo>
                  <a:pt x="98" y="94"/>
                </a:lnTo>
                <a:lnTo>
                  <a:pt x="98" y="89"/>
                </a:lnTo>
                <a:lnTo>
                  <a:pt x="100" y="86"/>
                </a:lnTo>
                <a:lnTo>
                  <a:pt x="100" y="81"/>
                </a:lnTo>
                <a:lnTo>
                  <a:pt x="100" y="78"/>
                </a:lnTo>
                <a:lnTo>
                  <a:pt x="100" y="75"/>
                </a:lnTo>
                <a:lnTo>
                  <a:pt x="100" y="73"/>
                </a:lnTo>
                <a:lnTo>
                  <a:pt x="104" y="70"/>
                </a:lnTo>
                <a:lnTo>
                  <a:pt x="108" y="64"/>
                </a:lnTo>
                <a:lnTo>
                  <a:pt x="111" y="62"/>
                </a:lnTo>
                <a:lnTo>
                  <a:pt x="111" y="61"/>
                </a:lnTo>
                <a:lnTo>
                  <a:pt x="113" y="61"/>
                </a:lnTo>
                <a:lnTo>
                  <a:pt x="117" y="64"/>
                </a:lnTo>
                <a:lnTo>
                  <a:pt x="125" y="65"/>
                </a:lnTo>
                <a:lnTo>
                  <a:pt x="133" y="69"/>
                </a:lnTo>
                <a:lnTo>
                  <a:pt x="136" y="67"/>
                </a:lnTo>
                <a:lnTo>
                  <a:pt x="140" y="65"/>
                </a:lnTo>
                <a:lnTo>
                  <a:pt x="153" y="59"/>
                </a:lnTo>
                <a:lnTo>
                  <a:pt x="155" y="58"/>
                </a:lnTo>
                <a:lnTo>
                  <a:pt x="153" y="54"/>
                </a:lnTo>
                <a:lnTo>
                  <a:pt x="155" y="51"/>
                </a:lnTo>
                <a:lnTo>
                  <a:pt x="157" y="50"/>
                </a:lnTo>
                <a:lnTo>
                  <a:pt x="159" y="47"/>
                </a:lnTo>
                <a:lnTo>
                  <a:pt x="161" y="40"/>
                </a:lnTo>
                <a:lnTo>
                  <a:pt x="163" y="37"/>
                </a:lnTo>
                <a:lnTo>
                  <a:pt x="165" y="33"/>
                </a:lnTo>
                <a:lnTo>
                  <a:pt x="169" y="31"/>
                </a:lnTo>
                <a:lnTo>
                  <a:pt x="176" y="26"/>
                </a:lnTo>
                <a:lnTo>
                  <a:pt x="176" y="25"/>
                </a:lnTo>
                <a:lnTo>
                  <a:pt x="175" y="23"/>
                </a:lnTo>
                <a:lnTo>
                  <a:pt x="176" y="17"/>
                </a:lnTo>
                <a:lnTo>
                  <a:pt x="173" y="17"/>
                </a:lnTo>
                <a:lnTo>
                  <a:pt x="171" y="17"/>
                </a:lnTo>
                <a:lnTo>
                  <a:pt x="165" y="17"/>
                </a:lnTo>
                <a:lnTo>
                  <a:pt x="165" y="14"/>
                </a:lnTo>
                <a:lnTo>
                  <a:pt x="172" y="9"/>
                </a:lnTo>
                <a:lnTo>
                  <a:pt x="175" y="7"/>
                </a:lnTo>
                <a:lnTo>
                  <a:pt x="179" y="4"/>
                </a:lnTo>
                <a:lnTo>
                  <a:pt x="188" y="3"/>
                </a:lnTo>
                <a:lnTo>
                  <a:pt x="200" y="0"/>
                </a:lnTo>
                <a:lnTo>
                  <a:pt x="207" y="1"/>
                </a:lnTo>
                <a:lnTo>
                  <a:pt x="216" y="0"/>
                </a:lnTo>
                <a:lnTo>
                  <a:pt x="220" y="0"/>
                </a:lnTo>
                <a:lnTo>
                  <a:pt x="225" y="1"/>
                </a:lnTo>
                <a:lnTo>
                  <a:pt x="229" y="3"/>
                </a:lnTo>
                <a:lnTo>
                  <a:pt x="232" y="6"/>
                </a:lnTo>
                <a:lnTo>
                  <a:pt x="237" y="6"/>
                </a:lnTo>
                <a:lnTo>
                  <a:pt x="242" y="6"/>
                </a:lnTo>
                <a:lnTo>
                  <a:pt x="246" y="7"/>
                </a:lnTo>
                <a:lnTo>
                  <a:pt x="250" y="7"/>
                </a:lnTo>
                <a:lnTo>
                  <a:pt x="252" y="11"/>
                </a:lnTo>
                <a:lnTo>
                  <a:pt x="256" y="14"/>
                </a:lnTo>
                <a:lnTo>
                  <a:pt x="256" y="17"/>
                </a:lnTo>
                <a:lnTo>
                  <a:pt x="258" y="18"/>
                </a:lnTo>
                <a:lnTo>
                  <a:pt x="261" y="20"/>
                </a:lnTo>
                <a:lnTo>
                  <a:pt x="261" y="22"/>
                </a:lnTo>
                <a:lnTo>
                  <a:pt x="261" y="20"/>
                </a:lnTo>
                <a:lnTo>
                  <a:pt x="262" y="23"/>
                </a:lnTo>
                <a:lnTo>
                  <a:pt x="264" y="26"/>
                </a:lnTo>
                <a:lnTo>
                  <a:pt x="264" y="29"/>
                </a:lnTo>
                <a:lnTo>
                  <a:pt x="266" y="33"/>
                </a:lnTo>
                <a:lnTo>
                  <a:pt x="268" y="37"/>
                </a:lnTo>
                <a:lnTo>
                  <a:pt x="273" y="45"/>
                </a:lnTo>
                <a:lnTo>
                  <a:pt x="276" y="53"/>
                </a:lnTo>
                <a:lnTo>
                  <a:pt x="277" y="58"/>
                </a:lnTo>
                <a:lnTo>
                  <a:pt x="278" y="58"/>
                </a:lnTo>
                <a:lnTo>
                  <a:pt x="278" y="62"/>
                </a:lnTo>
                <a:lnTo>
                  <a:pt x="278" y="67"/>
                </a:lnTo>
                <a:lnTo>
                  <a:pt x="282" y="69"/>
                </a:lnTo>
                <a:lnTo>
                  <a:pt x="288" y="70"/>
                </a:lnTo>
                <a:lnTo>
                  <a:pt x="294" y="69"/>
                </a:lnTo>
                <a:lnTo>
                  <a:pt x="298" y="70"/>
                </a:lnTo>
                <a:lnTo>
                  <a:pt x="304" y="70"/>
                </a:lnTo>
                <a:lnTo>
                  <a:pt x="309" y="72"/>
                </a:lnTo>
                <a:lnTo>
                  <a:pt x="317" y="78"/>
                </a:lnTo>
                <a:lnTo>
                  <a:pt x="321" y="80"/>
                </a:lnTo>
                <a:lnTo>
                  <a:pt x="325" y="80"/>
                </a:lnTo>
                <a:lnTo>
                  <a:pt x="326" y="81"/>
                </a:lnTo>
                <a:lnTo>
                  <a:pt x="326" y="83"/>
                </a:lnTo>
                <a:lnTo>
                  <a:pt x="326" y="86"/>
                </a:lnTo>
                <a:lnTo>
                  <a:pt x="329" y="87"/>
                </a:lnTo>
                <a:lnTo>
                  <a:pt x="328" y="91"/>
                </a:lnTo>
                <a:lnTo>
                  <a:pt x="329" y="95"/>
                </a:lnTo>
                <a:lnTo>
                  <a:pt x="332" y="98"/>
                </a:lnTo>
                <a:lnTo>
                  <a:pt x="333" y="102"/>
                </a:lnTo>
                <a:lnTo>
                  <a:pt x="338" y="102"/>
                </a:lnTo>
                <a:lnTo>
                  <a:pt x="343" y="102"/>
                </a:lnTo>
                <a:lnTo>
                  <a:pt x="347" y="102"/>
                </a:lnTo>
                <a:lnTo>
                  <a:pt x="357" y="98"/>
                </a:lnTo>
                <a:lnTo>
                  <a:pt x="366" y="94"/>
                </a:lnTo>
                <a:lnTo>
                  <a:pt x="371" y="94"/>
                </a:lnTo>
                <a:lnTo>
                  <a:pt x="381" y="89"/>
                </a:lnTo>
                <a:lnTo>
                  <a:pt x="389" y="87"/>
                </a:lnTo>
                <a:lnTo>
                  <a:pt x="387" y="91"/>
                </a:lnTo>
                <a:lnTo>
                  <a:pt x="387" y="95"/>
                </a:lnTo>
                <a:lnTo>
                  <a:pt x="389" y="98"/>
                </a:lnTo>
                <a:lnTo>
                  <a:pt x="387" y="103"/>
                </a:lnTo>
                <a:lnTo>
                  <a:pt x="385" y="105"/>
                </a:lnTo>
                <a:lnTo>
                  <a:pt x="381" y="108"/>
                </a:lnTo>
                <a:lnTo>
                  <a:pt x="379" y="113"/>
                </a:lnTo>
                <a:lnTo>
                  <a:pt x="375" y="120"/>
                </a:lnTo>
                <a:lnTo>
                  <a:pt x="374" y="130"/>
                </a:lnTo>
                <a:lnTo>
                  <a:pt x="369" y="138"/>
                </a:lnTo>
                <a:lnTo>
                  <a:pt x="365" y="142"/>
                </a:lnTo>
                <a:lnTo>
                  <a:pt x="363" y="147"/>
                </a:lnTo>
                <a:lnTo>
                  <a:pt x="361" y="149"/>
                </a:lnTo>
                <a:lnTo>
                  <a:pt x="358" y="149"/>
                </a:lnTo>
                <a:lnTo>
                  <a:pt x="345" y="146"/>
                </a:lnTo>
                <a:lnTo>
                  <a:pt x="341" y="147"/>
                </a:lnTo>
                <a:lnTo>
                  <a:pt x="332" y="155"/>
                </a:lnTo>
                <a:lnTo>
                  <a:pt x="334" y="158"/>
                </a:lnTo>
                <a:lnTo>
                  <a:pt x="335" y="164"/>
                </a:lnTo>
                <a:lnTo>
                  <a:pt x="335" y="179"/>
                </a:lnTo>
                <a:lnTo>
                  <a:pt x="332" y="185"/>
                </a:lnTo>
                <a:lnTo>
                  <a:pt x="325" y="188"/>
                </a:lnTo>
                <a:lnTo>
                  <a:pt x="325" y="193"/>
                </a:lnTo>
                <a:lnTo>
                  <a:pt x="324" y="193"/>
                </a:lnTo>
                <a:lnTo>
                  <a:pt x="321" y="190"/>
                </a:lnTo>
                <a:lnTo>
                  <a:pt x="318" y="186"/>
                </a:lnTo>
                <a:lnTo>
                  <a:pt x="316" y="188"/>
                </a:lnTo>
                <a:lnTo>
                  <a:pt x="313" y="193"/>
                </a:lnTo>
                <a:lnTo>
                  <a:pt x="310" y="197"/>
                </a:lnTo>
                <a:lnTo>
                  <a:pt x="302" y="202"/>
                </a:lnTo>
                <a:lnTo>
                  <a:pt x="296" y="204"/>
                </a:lnTo>
                <a:lnTo>
                  <a:pt x="290" y="204"/>
                </a:lnTo>
                <a:lnTo>
                  <a:pt x="289" y="205"/>
                </a:lnTo>
                <a:lnTo>
                  <a:pt x="290" y="213"/>
                </a:lnTo>
                <a:lnTo>
                  <a:pt x="278" y="215"/>
                </a:lnTo>
                <a:lnTo>
                  <a:pt x="274" y="213"/>
                </a:lnTo>
                <a:lnTo>
                  <a:pt x="269" y="212"/>
                </a:lnTo>
                <a:lnTo>
                  <a:pt x="266" y="213"/>
                </a:lnTo>
                <a:lnTo>
                  <a:pt x="260" y="221"/>
                </a:lnTo>
                <a:lnTo>
                  <a:pt x="254" y="224"/>
                </a:lnTo>
                <a:lnTo>
                  <a:pt x="244" y="229"/>
                </a:lnTo>
                <a:lnTo>
                  <a:pt x="240" y="230"/>
                </a:lnTo>
                <a:lnTo>
                  <a:pt x="232" y="240"/>
                </a:lnTo>
                <a:lnTo>
                  <a:pt x="232" y="241"/>
                </a:lnTo>
                <a:lnTo>
                  <a:pt x="229" y="241"/>
                </a:lnTo>
                <a:lnTo>
                  <a:pt x="228" y="243"/>
                </a:lnTo>
                <a:lnTo>
                  <a:pt x="224" y="243"/>
                </a:lnTo>
                <a:lnTo>
                  <a:pt x="219" y="245"/>
                </a:lnTo>
                <a:lnTo>
                  <a:pt x="217" y="243"/>
                </a:lnTo>
                <a:lnTo>
                  <a:pt x="216" y="245"/>
                </a:lnTo>
                <a:lnTo>
                  <a:pt x="212" y="246"/>
                </a:lnTo>
                <a:lnTo>
                  <a:pt x="201" y="249"/>
                </a:lnTo>
                <a:lnTo>
                  <a:pt x="200" y="252"/>
                </a:lnTo>
                <a:lnTo>
                  <a:pt x="197" y="255"/>
                </a:lnTo>
                <a:lnTo>
                  <a:pt x="195" y="257"/>
                </a:lnTo>
                <a:lnTo>
                  <a:pt x="192" y="257"/>
                </a:lnTo>
                <a:lnTo>
                  <a:pt x="191" y="259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82" name="Freeform 582"/>
          <p:cNvSpPr>
            <a:spLocks/>
          </p:cNvSpPr>
          <p:nvPr/>
        </p:nvSpPr>
        <p:spPr bwMode="auto">
          <a:xfrm>
            <a:off x="8967922" y="3450856"/>
            <a:ext cx="132519" cy="98790"/>
          </a:xfrm>
          <a:custGeom>
            <a:avLst/>
            <a:gdLst/>
            <a:ahLst/>
            <a:cxnLst>
              <a:cxn ang="0">
                <a:pos x="69" y="0"/>
              </a:cxn>
              <a:cxn ang="0">
                <a:pos x="68" y="2"/>
              </a:cxn>
              <a:cxn ang="0">
                <a:pos x="65" y="2"/>
              </a:cxn>
              <a:cxn ang="0">
                <a:pos x="64" y="7"/>
              </a:cxn>
              <a:cxn ang="0">
                <a:pos x="63" y="8"/>
              </a:cxn>
              <a:cxn ang="0">
                <a:pos x="61" y="10"/>
              </a:cxn>
              <a:cxn ang="0">
                <a:pos x="60" y="13"/>
              </a:cxn>
              <a:cxn ang="0">
                <a:pos x="56" y="13"/>
              </a:cxn>
              <a:cxn ang="0">
                <a:pos x="53" y="13"/>
              </a:cxn>
              <a:cxn ang="0">
                <a:pos x="51" y="15"/>
              </a:cxn>
              <a:cxn ang="0">
                <a:pos x="52" y="15"/>
              </a:cxn>
              <a:cxn ang="0">
                <a:pos x="52" y="16"/>
              </a:cxn>
              <a:cxn ang="0">
                <a:pos x="52" y="19"/>
              </a:cxn>
              <a:cxn ang="0">
                <a:pos x="48" y="24"/>
              </a:cxn>
              <a:cxn ang="0">
                <a:pos x="47" y="24"/>
              </a:cxn>
              <a:cxn ang="0">
                <a:pos x="45" y="27"/>
              </a:cxn>
              <a:cxn ang="0">
                <a:pos x="45" y="26"/>
              </a:cxn>
              <a:cxn ang="0">
                <a:pos x="43" y="26"/>
              </a:cxn>
              <a:cxn ang="0">
                <a:pos x="43" y="29"/>
              </a:cxn>
              <a:cxn ang="0">
                <a:pos x="41" y="29"/>
              </a:cxn>
              <a:cxn ang="0">
                <a:pos x="39" y="30"/>
              </a:cxn>
              <a:cxn ang="0">
                <a:pos x="37" y="30"/>
              </a:cxn>
              <a:cxn ang="0">
                <a:pos x="35" y="30"/>
              </a:cxn>
              <a:cxn ang="0">
                <a:pos x="33" y="33"/>
              </a:cxn>
              <a:cxn ang="0">
                <a:pos x="32" y="35"/>
              </a:cxn>
              <a:cxn ang="0">
                <a:pos x="31" y="37"/>
              </a:cxn>
              <a:cxn ang="0">
                <a:pos x="29" y="40"/>
              </a:cxn>
              <a:cxn ang="0">
                <a:pos x="27" y="41"/>
              </a:cxn>
              <a:cxn ang="0">
                <a:pos x="23" y="43"/>
              </a:cxn>
              <a:cxn ang="0">
                <a:pos x="20" y="44"/>
              </a:cxn>
              <a:cxn ang="0">
                <a:pos x="18" y="44"/>
              </a:cxn>
              <a:cxn ang="0">
                <a:pos x="16" y="43"/>
              </a:cxn>
              <a:cxn ang="0">
                <a:pos x="15" y="44"/>
              </a:cxn>
              <a:cxn ang="0">
                <a:pos x="15" y="46"/>
              </a:cxn>
              <a:cxn ang="0">
                <a:pos x="12" y="46"/>
              </a:cxn>
              <a:cxn ang="0">
                <a:pos x="11" y="46"/>
              </a:cxn>
              <a:cxn ang="0">
                <a:pos x="11" y="44"/>
              </a:cxn>
              <a:cxn ang="0">
                <a:pos x="10" y="43"/>
              </a:cxn>
              <a:cxn ang="0">
                <a:pos x="7" y="44"/>
              </a:cxn>
              <a:cxn ang="0">
                <a:pos x="6" y="48"/>
              </a:cxn>
              <a:cxn ang="0">
                <a:pos x="3" y="48"/>
              </a:cxn>
              <a:cxn ang="0">
                <a:pos x="3" y="46"/>
              </a:cxn>
              <a:cxn ang="0">
                <a:pos x="3" y="44"/>
              </a:cxn>
              <a:cxn ang="0">
                <a:pos x="0" y="46"/>
              </a:cxn>
              <a:cxn ang="0">
                <a:pos x="0" y="49"/>
              </a:cxn>
            </a:cxnLst>
            <a:rect l="0" t="0" r="r" b="b"/>
            <a:pathLst>
              <a:path w="69" h="49">
                <a:moveTo>
                  <a:pt x="69" y="0"/>
                </a:moveTo>
                <a:lnTo>
                  <a:pt x="68" y="2"/>
                </a:lnTo>
                <a:lnTo>
                  <a:pt x="65" y="2"/>
                </a:lnTo>
                <a:lnTo>
                  <a:pt x="64" y="7"/>
                </a:lnTo>
                <a:lnTo>
                  <a:pt x="63" y="8"/>
                </a:lnTo>
                <a:lnTo>
                  <a:pt x="61" y="10"/>
                </a:lnTo>
                <a:lnTo>
                  <a:pt x="60" y="13"/>
                </a:lnTo>
                <a:lnTo>
                  <a:pt x="56" y="13"/>
                </a:lnTo>
                <a:lnTo>
                  <a:pt x="53" y="13"/>
                </a:lnTo>
                <a:lnTo>
                  <a:pt x="51" y="15"/>
                </a:lnTo>
                <a:lnTo>
                  <a:pt x="52" y="15"/>
                </a:lnTo>
                <a:lnTo>
                  <a:pt x="52" y="16"/>
                </a:lnTo>
                <a:lnTo>
                  <a:pt x="52" y="19"/>
                </a:lnTo>
                <a:lnTo>
                  <a:pt x="48" y="24"/>
                </a:lnTo>
                <a:lnTo>
                  <a:pt x="47" y="24"/>
                </a:lnTo>
                <a:lnTo>
                  <a:pt x="45" y="27"/>
                </a:lnTo>
                <a:lnTo>
                  <a:pt x="45" y="26"/>
                </a:lnTo>
                <a:lnTo>
                  <a:pt x="43" y="26"/>
                </a:lnTo>
                <a:lnTo>
                  <a:pt x="43" y="29"/>
                </a:lnTo>
                <a:lnTo>
                  <a:pt x="41" y="29"/>
                </a:lnTo>
                <a:lnTo>
                  <a:pt x="39" y="30"/>
                </a:lnTo>
                <a:lnTo>
                  <a:pt x="37" y="30"/>
                </a:lnTo>
                <a:lnTo>
                  <a:pt x="35" y="30"/>
                </a:lnTo>
                <a:lnTo>
                  <a:pt x="33" y="33"/>
                </a:lnTo>
                <a:lnTo>
                  <a:pt x="32" y="35"/>
                </a:lnTo>
                <a:lnTo>
                  <a:pt x="31" y="37"/>
                </a:lnTo>
                <a:lnTo>
                  <a:pt x="29" y="40"/>
                </a:lnTo>
                <a:lnTo>
                  <a:pt x="27" y="41"/>
                </a:lnTo>
                <a:lnTo>
                  <a:pt x="23" y="43"/>
                </a:lnTo>
                <a:lnTo>
                  <a:pt x="20" y="44"/>
                </a:lnTo>
                <a:lnTo>
                  <a:pt x="18" y="44"/>
                </a:lnTo>
                <a:lnTo>
                  <a:pt x="16" y="43"/>
                </a:lnTo>
                <a:lnTo>
                  <a:pt x="15" y="44"/>
                </a:lnTo>
                <a:lnTo>
                  <a:pt x="15" y="46"/>
                </a:lnTo>
                <a:lnTo>
                  <a:pt x="12" y="46"/>
                </a:lnTo>
                <a:lnTo>
                  <a:pt x="11" y="46"/>
                </a:lnTo>
                <a:lnTo>
                  <a:pt x="11" y="44"/>
                </a:lnTo>
                <a:lnTo>
                  <a:pt x="10" y="43"/>
                </a:lnTo>
                <a:lnTo>
                  <a:pt x="7" y="44"/>
                </a:lnTo>
                <a:lnTo>
                  <a:pt x="6" y="48"/>
                </a:lnTo>
                <a:lnTo>
                  <a:pt x="3" y="48"/>
                </a:lnTo>
                <a:lnTo>
                  <a:pt x="3" y="46"/>
                </a:lnTo>
                <a:lnTo>
                  <a:pt x="3" y="44"/>
                </a:lnTo>
                <a:lnTo>
                  <a:pt x="0" y="46"/>
                </a:lnTo>
                <a:lnTo>
                  <a:pt x="0" y="49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83" name="Freeform 583"/>
          <p:cNvSpPr>
            <a:spLocks/>
          </p:cNvSpPr>
          <p:nvPr/>
        </p:nvSpPr>
        <p:spPr bwMode="auto">
          <a:xfrm>
            <a:off x="6650781" y="4183189"/>
            <a:ext cx="226062" cy="322141"/>
          </a:xfrm>
          <a:custGeom>
            <a:avLst/>
            <a:gdLst/>
            <a:ahLst/>
            <a:cxnLst>
              <a:cxn ang="0">
                <a:pos x="107" y="66"/>
              </a:cxn>
              <a:cxn ang="0">
                <a:pos x="107" y="31"/>
              </a:cxn>
              <a:cxn ang="0">
                <a:pos x="113" y="23"/>
              </a:cxn>
              <a:cxn ang="0">
                <a:pos x="119" y="12"/>
              </a:cxn>
              <a:cxn ang="0">
                <a:pos x="112" y="12"/>
              </a:cxn>
              <a:cxn ang="0">
                <a:pos x="99" y="8"/>
              </a:cxn>
              <a:cxn ang="0">
                <a:pos x="88" y="16"/>
              </a:cxn>
              <a:cxn ang="0">
                <a:pos x="76" y="19"/>
              </a:cxn>
              <a:cxn ang="0">
                <a:pos x="66" y="17"/>
              </a:cxn>
              <a:cxn ang="0">
                <a:pos x="56" y="11"/>
              </a:cxn>
              <a:cxn ang="0">
                <a:pos x="42" y="1"/>
              </a:cxn>
              <a:cxn ang="0">
                <a:pos x="32" y="1"/>
              </a:cxn>
              <a:cxn ang="0">
                <a:pos x="23" y="0"/>
              </a:cxn>
              <a:cxn ang="0">
                <a:pos x="11" y="0"/>
              </a:cxn>
              <a:cxn ang="0">
                <a:pos x="4" y="1"/>
              </a:cxn>
              <a:cxn ang="0">
                <a:pos x="2" y="9"/>
              </a:cxn>
              <a:cxn ang="0">
                <a:pos x="6" y="14"/>
              </a:cxn>
              <a:cxn ang="0">
                <a:pos x="8" y="23"/>
              </a:cxn>
              <a:cxn ang="0">
                <a:pos x="10" y="28"/>
              </a:cxn>
              <a:cxn ang="0">
                <a:pos x="14" y="30"/>
              </a:cxn>
              <a:cxn ang="0">
                <a:pos x="16" y="34"/>
              </a:cxn>
              <a:cxn ang="0">
                <a:pos x="16" y="44"/>
              </a:cxn>
              <a:cxn ang="0">
                <a:pos x="15" y="55"/>
              </a:cxn>
              <a:cxn ang="0">
                <a:pos x="11" y="63"/>
              </a:cxn>
              <a:cxn ang="0">
                <a:pos x="3" y="75"/>
              </a:cxn>
              <a:cxn ang="0">
                <a:pos x="2" y="82"/>
              </a:cxn>
              <a:cxn ang="0">
                <a:pos x="4" y="88"/>
              </a:cxn>
              <a:cxn ang="0">
                <a:pos x="7" y="86"/>
              </a:cxn>
              <a:cxn ang="0">
                <a:pos x="14" y="86"/>
              </a:cxn>
              <a:cxn ang="0">
                <a:pos x="10" y="89"/>
              </a:cxn>
              <a:cxn ang="0">
                <a:pos x="4" y="91"/>
              </a:cxn>
              <a:cxn ang="0">
                <a:pos x="4" y="99"/>
              </a:cxn>
              <a:cxn ang="0">
                <a:pos x="58" y="137"/>
              </a:cxn>
              <a:cxn ang="0">
                <a:pos x="59" y="146"/>
              </a:cxn>
              <a:cxn ang="0">
                <a:pos x="82" y="163"/>
              </a:cxn>
              <a:cxn ang="0">
                <a:pos x="86" y="162"/>
              </a:cxn>
              <a:cxn ang="0">
                <a:pos x="88" y="155"/>
              </a:cxn>
              <a:cxn ang="0">
                <a:pos x="92" y="146"/>
              </a:cxn>
              <a:cxn ang="0">
                <a:pos x="96" y="133"/>
              </a:cxn>
              <a:cxn ang="0">
                <a:pos x="99" y="127"/>
              </a:cxn>
              <a:cxn ang="0">
                <a:pos x="104" y="124"/>
              </a:cxn>
              <a:cxn ang="0">
                <a:pos x="106" y="121"/>
              </a:cxn>
              <a:cxn ang="0">
                <a:pos x="109" y="116"/>
              </a:cxn>
              <a:cxn ang="0">
                <a:pos x="115" y="113"/>
              </a:cxn>
              <a:cxn ang="0">
                <a:pos x="115" y="110"/>
              </a:cxn>
              <a:cxn ang="0">
                <a:pos x="107" y="97"/>
              </a:cxn>
            </a:cxnLst>
            <a:rect l="0" t="0" r="r" b="b"/>
            <a:pathLst>
              <a:path w="120" h="163">
                <a:moveTo>
                  <a:pt x="107" y="83"/>
                </a:moveTo>
                <a:lnTo>
                  <a:pt x="107" y="66"/>
                </a:lnTo>
                <a:lnTo>
                  <a:pt x="107" y="49"/>
                </a:lnTo>
                <a:lnTo>
                  <a:pt x="107" y="31"/>
                </a:lnTo>
                <a:lnTo>
                  <a:pt x="108" y="31"/>
                </a:lnTo>
                <a:lnTo>
                  <a:pt x="113" y="23"/>
                </a:lnTo>
                <a:lnTo>
                  <a:pt x="120" y="12"/>
                </a:lnTo>
                <a:lnTo>
                  <a:pt x="119" y="12"/>
                </a:lnTo>
                <a:lnTo>
                  <a:pt x="116" y="11"/>
                </a:lnTo>
                <a:lnTo>
                  <a:pt x="112" y="12"/>
                </a:lnTo>
                <a:lnTo>
                  <a:pt x="104" y="6"/>
                </a:lnTo>
                <a:lnTo>
                  <a:pt x="99" y="8"/>
                </a:lnTo>
                <a:lnTo>
                  <a:pt x="94" y="9"/>
                </a:lnTo>
                <a:lnTo>
                  <a:pt x="88" y="16"/>
                </a:lnTo>
                <a:lnTo>
                  <a:pt x="82" y="19"/>
                </a:lnTo>
                <a:lnTo>
                  <a:pt x="76" y="19"/>
                </a:lnTo>
                <a:lnTo>
                  <a:pt x="70" y="17"/>
                </a:lnTo>
                <a:lnTo>
                  <a:pt x="66" y="17"/>
                </a:lnTo>
                <a:lnTo>
                  <a:pt x="59" y="14"/>
                </a:lnTo>
                <a:lnTo>
                  <a:pt x="56" y="11"/>
                </a:lnTo>
                <a:lnTo>
                  <a:pt x="46" y="3"/>
                </a:lnTo>
                <a:lnTo>
                  <a:pt x="42" y="1"/>
                </a:lnTo>
                <a:lnTo>
                  <a:pt x="38" y="0"/>
                </a:lnTo>
                <a:lnTo>
                  <a:pt x="32" y="1"/>
                </a:lnTo>
                <a:lnTo>
                  <a:pt x="30" y="0"/>
                </a:lnTo>
                <a:lnTo>
                  <a:pt x="23" y="0"/>
                </a:lnTo>
                <a:lnTo>
                  <a:pt x="19" y="0"/>
                </a:lnTo>
                <a:lnTo>
                  <a:pt x="11" y="0"/>
                </a:lnTo>
                <a:lnTo>
                  <a:pt x="8" y="0"/>
                </a:lnTo>
                <a:lnTo>
                  <a:pt x="4" y="1"/>
                </a:lnTo>
                <a:lnTo>
                  <a:pt x="0" y="9"/>
                </a:lnTo>
                <a:lnTo>
                  <a:pt x="2" y="9"/>
                </a:lnTo>
                <a:lnTo>
                  <a:pt x="6" y="11"/>
                </a:lnTo>
                <a:lnTo>
                  <a:pt x="6" y="14"/>
                </a:lnTo>
                <a:lnTo>
                  <a:pt x="7" y="16"/>
                </a:lnTo>
                <a:lnTo>
                  <a:pt x="8" y="23"/>
                </a:lnTo>
                <a:lnTo>
                  <a:pt x="10" y="27"/>
                </a:lnTo>
                <a:lnTo>
                  <a:pt x="10" y="28"/>
                </a:lnTo>
                <a:lnTo>
                  <a:pt x="12" y="28"/>
                </a:lnTo>
                <a:lnTo>
                  <a:pt x="14" y="30"/>
                </a:lnTo>
                <a:lnTo>
                  <a:pt x="15" y="33"/>
                </a:lnTo>
                <a:lnTo>
                  <a:pt x="16" y="34"/>
                </a:lnTo>
                <a:lnTo>
                  <a:pt x="16" y="41"/>
                </a:lnTo>
                <a:lnTo>
                  <a:pt x="16" y="44"/>
                </a:lnTo>
                <a:lnTo>
                  <a:pt x="16" y="50"/>
                </a:lnTo>
                <a:lnTo>
                  <a:pt x="15" y="55"/>
                </a:lnTo>
                <a:lnTo>
                  <a:pt x="14" y="58"/>
                </a:lnTo>
                <a:lnTo>
                  <a:pt x="11" y="63"/>
                </a:lnTo>
                <a:lnTo>
                  <a:pt x="8" y="67"/>
                </a:lnTo>
                <a:lnTo>
                  <a:pt x="3" y="75"/>
                </a:lnTo>
                <a:lnTo>
                  <a:pt x="2" y="77"/>
                </a:lnTo>
                <a:lnTo>
                  <a:pt x="2" y="82"/>
                </a:lnTo>
                <a:lnTo>
                  <a:pt x="3" y="85"/>
                </a:lnTo>
                <a:lnTo>
                  <a:pt x="4" y="88"/>
                </a:lnTo>
                <a:lnTo>
                  <a:pt x="6" y="88"/>
                </a:lnTo>
                <a:lnTo>
                  <a:pt x="7" y="86"/>
                </a:lnTo>
                <a:lnTo>
                  <a:pt x="11" y="86"/>
                </a:lnTo>
                <a:lnTo>
                  <a:pt x="14" y="86"/>
                </a:lnTo>
                <a:lnTo>
                  <a:pt x="14" y="88"/>
                </a:lnTo>
                <a:lnTo>
                  <a:pt x="10" y="89"/>
                </a:lnTo>
                <a:lnTo>
                  <a:pt x="8" y="91"/>
                </a:lnTo>
                <a:lnTo>
                  <a:pt x="4" y="91"/>
                </a:lnTo>
                <a:lnTo>
                  <a:pt x="3" y="96"/>
                </a:lnTo>
                <a:lnTo>
                  <a:pt x="4" y="99"/>
                </a:lnTo>
                <a:lnTo>
                  <a:pt x="58" y="135"/>
                </a:lnTo>
                <a:lnTo>
                  <a:pt x="58" y="137"/>
                </a:lnTo>
                <a:lnTo>
                  <a:pt x="59" y="140"/>
                </a:lnTo>
                <a:lnTo>
                  <a:pt x="59" y="146"/>
                </a:lnTo>
                <a:lnTo>
                  <a:pt x="60" y="149"/>
                </a:lnTo>
                <a:lnTo>
                  <a:pt x="82" y="163"/>
                </a:lnTo>
                <a:lnTo>
                  <a:pt x="84" y="162"/>
                </a:lnTo>
                <a:lnTo>
                  <a:pt x="86" y="162"/>
                </a:lnTo>
                <a:lnTo>
                  <a:pt x="87" y="159"/>
                </a:lnTo>
                <a:lnTo>
                  <a:pt x="88" y="155"/>
                </a:lnTo>
                <a:lnTo>
                  <a:pt x="90" y="151"/>
                </a:lnTo>
                <a:lnTo>
                  <a:pt x="92" y="146"/>
                </a:lnTo>
                <a:lnTo>
                  <a:pt x="95" y="140"/>
                </a:lnTo>
                <a:lnTo>
                  <a:pt x="96" y="133"/>
                </a:lnTo>
                <a:lnTo>
                  <a:pt x="98" y="130"/>
                </a:lnTo>
                <a:lnTo>
                  <a:pt x="99" y="127"/>
                </a:lnTo>
                <a:lnTo>
                  <a:pt x="100" y="127"/>
                </a:lnTo>
                <a:lnTo>
                  <a:pt x="104" y="124"/>
                </a:lnTo>
                <a:lnTo>
                  <a:pt x="106" y="122"/>
                </a:lnTo>
                <a:lnTo>
                  <a:pt x="106" y="121"/>
                </a:lnTo>
                <a:lnTo>
                  <a:pt x="107" y="118"/>
                </a:lnTo>
                <a:lnTo>
                  <a:pt x="109" y="116"/>
                </a:lnTo>
                <a:lnTo>
                  <a:pt x="111" y="116"/>
                </a:lnTo>
                <a:lnTo>
                  <a:pt x="115" y="113"/>
                </a:lnTo>
                <a:lnTo>
                  <a:pt x="115" y="111"/>
                </a:lnTo>
                <a:lnTo>
                  <a:pt x="115" y="110"/>
                </a:lnTo>
                <a:lnTo>
                  <a:pt x="108" y="100"/>
                </a:lnTo>
                <a:lnTo>
                  <a:pt x="107" y="97"/>
                </a:lnTo>
                <a:lnTo>
                  <a:pt x="107" y="8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84" name="Freeform 584"/>
          <p:cNvSpPr>
            <a:spLocks/>
          </p:cNvSpPr>
          <p:nvPr/>
        </p:nvSpPr>
        <p:spPr bwMode="auto">
          <a:xfrm>
            <a:off x="6650781" y="4183189"/>
            <a:ext cx="226062" cy="322141"/>
          </a:xfrm>
          <a:custGeom>
            <a:avLst/>
            <a:gdLst/>
            <a:ahLst/>
            <a:cxnLst>
              <a:cxn ang="0">
                <a:pos x="107" y="66"/>
              </a:cxn>
              <a:cxn ang="0">
                <a:pos x="107" y="31"/>
              </a:cxn>
              <a:cxn ang="0">
                <a:pos x="113" y="23"/>
              </a:cxn>
              <a:cxn ang="0">
                <a:pos x="119" y="12"/>
              </a:cxn>
              <a:cxn ang="0">
                <a:pos x="112" y="12"/>
              </a:cxn>
              <a:cxn ang="0">
                <a:pos x="99" y="8"/>
              </a:cxn>
              <a:cxn ang="0">
                <a:pos x="88" y="16"/>
              </a:cxn>
              <a:cxn ang="0">
                <a:pos x="76" y="19"/>
              </a:cxn>
              <a:cxn ang="0">
                <a:pos x="66" y="17"/>
              </a:cxn>
              <a:cxn ang="0">
                <a:pos x="56" y="11"/>
              </a:cxn>
              <a:cxn ang="0">
                <a:pos x="42" y="1"/>
              </a:cxn>
              <a:cxn ang="0">
                <a:pos x="32" y="1"/>
              </a:cxn>
              <a:cxn ang="0">
                <a:pos x="23" y="0"/>
              </a:cxn>
              <a:cxn ang="0">
                <a:pos x="11" y="0"/>
              </a:cxn>
              <a:cxn ang="0">
                <a:pos x="4" y="1"/>
              </a:cxn>
              <a:cxn ang="0">
                <a:pos x="2" y="9"/>
              </a:cxn>
              <a:cxn ang="0">
                <a:pos x="6" y="14"/>
              </a:cxn>
              <a:cxn ang="0">
                <a:pos x="8" y="23"/>
              </a:cxn>
              <a:cxn ang="0">
                <a:pos x="10" y="28"/>
              </a:cxn>
              <a:cxn ang="0">
                <a:pos x="14" y="30"/>
              </a:cxn>
              <a:cxn ang="0">
                <a:pos x="16" y="34"/>
              </a:cxn>
              <a:cxn ang="0">
                <a:pos x="16" y="44"/>
              </a:cxn>
              <a:cxn ang="0">
                <a:pos x="15" y="55"/>
              </a:cxn>
              <a:cxn ang="0">
                <a:pos x="11" y="63"/>
              </a:cxn>
              <a:cxn ang="0">
                <a:pos x="3" y="75"/>
              </a:cxn>
              <a:cxn ang="0">
                <a:pos x="2" y="82"/>
              </a:cxn>
              <a:cxn ang="0">
                <a:pos x="4" y="88"/>
              </a:cxn>
              <a:cxn ang="0">
                <a:pos x="7" y="86"/>
              </a:cxn>
              <a:cxn ang="0">
                <a:pos x="14" y="86"/>
              </a:cxn>
              <a:cxn ang="0">
                <a:pos x="10" y="89"/>
              </a:cxn>
              <a:cxn ang="0">
                <a:pos x="4" y="91"/>
              </a:cxn>
              <a:cxn ang="0">
                <a:pos x="4" y="99"/>
              </a:cxn>
              <a:cxn ang="0">
                <a:pos x="58" y="137"/>
              </a:cxn>
              <a:cxn ang="0">
                <a:pos x="59" y="146"/>
              </a:cxn>
              <a:cxn ang="0">
                <a:pos x="82" y="163"/>
              </a:cxn>
              <a:cxn ang="0">
                <a:pos x="86" y="162"/>
              </a:cxn>
              <a:cxn ang="0">
                <a:pos x="88" y="155"/>
              </a:cxn>
              <a:cxn ang="0">
                <a:pos x="92" y="146"/>
              </a:cxn>
              <a:cxn ang="0">
                <a:pos x="96" y="133"/>
              </a:cxn>
              <a:cxn ang="0">
                <a:pos x="99" y="127"/>
              </a:cxn>
              <a:cxn ang="0">
                <a:pos x="104" y="124"/>
              </a:cxn>
              <a:cxn ang="0">
                <a:pos x="106" y="121"/>
              </a:cxn>
              <a:cxn ang="0">
                <a:pos x="109" y="116"/>
              </a:cxn>
              <a:cxn ang="0">
                <a:pos x="115" y="113"/>
              </a:cxn>
              <a:cxn ang="0">
                <a:pos x="115" y="110"/>
              </a:cxn>
              <a:cxn ang="0">
                <a:pos x="107" y="97"/>
              </a:cxn>
            </a:cxnLst>
            <a:rect l="0" t="0" r="r" b="b"/>
            <a:pathLst>
              <a:path w="120" h="163">
                <a:moveTo>
                  <a:pt x="107" y="83"/>
                </a:moveTo>
                <a:lnTo>
                  <a:pt x="107" y="66"/>
                </a:lnTo>
                <a:lnTo>
                  <a:pt x="107" y="49"/>
                </a:lnTo>
                <a:lnTo>
                  <a:pt x="107" y="31"/>
                </a:lnTo>
                <a:lnTo>
                  <a:pt x="108" y="31"/>
                </a:lnTo>
                <a:lnTo>
                  <a:pt x="113" y="23"/>
                </a:lnTo>
                <a:lnTo>
                  <a:pt x="120" y="12"/>
                </a:lnTo>
                <a:lnTo>
                  <a:pt x="119" y="12"/>
                </a:lnTo>
                <a:lnTo>
                  <a:pt x="116" y="11"/>
                </a:lnTo>
                <a:lnTo>
                  <a:pt x="112" y="12"/>
                </a:lnTo>
                <a:lnTo>
                  <a:pt x="104" y="6"/>
                </a:lnTo>
                <a:lnTo>
                  <a:pt x="99" y="8"/>
                </a:lnTo>
                <a:lnTo>
                  <a:pt x="94" y="9"/>
                </a:lnTo>
                <a:lnTo>
                  <a:pt x="88" y="16"/>
                </a:lnTo>
                <a:lnTo>
                  <a:pt x="82" y="19"/>
                </a:lnTo>
                <a:lnTo>
                  <a:pt x="76" y="19"/>
                </a:lnTo>
                <a:lnTo>
                  <a:pt x="70" y="17"/>
                </a:lnTo>
                <a:lnTo>
                  <a:pt x="66" y="17"/>
                </a:lnTo>
                <a:lnTo>
                  <a:pt x="59" y="14"/>
                </a:lnTo>
                <a:lnTo>
                  <a:pt x="56" y="11"/>
                </a:lnTo>
                <a:lnTo>
                  <a:pt x="46" y="3"/>
                </a:lnTo>
                <a:lnTo>
                  <a:pt x="42" y="1"/>
                </a:lnTo>
                <a:lnTo>
                  <a:pt x="38" y="0"/>
                </a:lnTo>
                <a:lnTo>
                  <a:pt x="32" y="1"/>
                </a:lnTo>
                <a:lnTo>
                  <a:pt x="30" y="0"/>
                </a:lnTo>
                <a:lnTo>
                  <a:pt x="23" y="0"/>
                </a:lnTo>
                <a:lnTo>
                  <a:pt x="19" y="0"/>
                </a:lnTo>
                <a:lnTo>
                  <a:pt x="11" y="0"/>
                </a:lnTo>
                <a:lnTo>
                  <a:pt x="8" y="0"/>
                </a:lnTo>
                <a:lnTo>
                  <a:pt x="4" y="1"/>
                </a:lnTo>
                <a:lnTo>
                  <a:pt x="0" y="9"/>
                </a:lnTo>
                <a:lnTo>
                  <a:pt x="2" y="9"/>
                </a:lnTo>
                <a:lnTo>
                  <a:pt x="6" y="11"/>
                </a:lnTo>
                <a:lnTo>
                  <a:pt x="6" y="14"/>
                </a:lnTo>
                <a:lnTo>
                  <a:pt x="7" y="16"/>
                </a:lnTo>
                <a:lnTo>
                  <a:pt x="8" y="23"/>
                </a:lnTo>
                <a:lnTo>
                  <a:pt x="10" y="27"/>
                </a:lnTo>
                <a:lnTo>
                  <a:pt x="10" y="28"/>
                </a:lnTo>
                <a:lnTo>
                  <a:pt x="12" y="28"/>
                </a:lnTo>
                <a:lnTo>
                  <a:pt x="14" y="30"/>
                </a:lnTo>
                <a:lnTo>
                  <a:pt x="15" y="33"/>
                </a:lnTo>
                <a:lnTo>
                  <a:pt x="16" y="34"/>
                </a:lnTo>
                <a:lnTo>
                  <a:pt x="16" y="41"/>
                </a:lnTo>
                <a:lnTo>
                  <a:pt x="16" y="44"/>
                </a:lnTo>
                <a:lnTo>
                  <a:pt x="16" y="50"/>
                </a:lnTo>
                <a:lnTo>
                  <a:pt x="15" y="55"/>
                </a:lnTo>
                <a:lnTo>
                  <a:pt x="14" y="58"/>
                </a:lnTo>
                <a:lnTo>
                  <a:pt x="11" y="63"/>
                </a:lnTo>
                <a:lnTo>
                  <a:pt x="8" y="67"/>
                </a:lnTo>
                <a:lnTo>
                  <a:pt x="3" y="75"/>
                </a:lnTo>
                <a:lnTo>
                  <a:pt x="2" y="77"/>
                </a:lnTo>
                <a:lnTo>
                  <a:pt x="2" y="82"/>
                </a:lnTo>
                <a:lnTo>
                  <a:pt x="3" y="85"/>
                </a:lnTo>
                <a:lnTo>
                  <a:pt x="4" y="88"/>
                </a:lnTo>
                <a:lnTo>
                  <a:pt x="6" y="88"/>
                </a:lnTo>
                <a:lnTo>
                  <a:pt x="7" y="86"/>
                </a:lnTo>
                <a:lnTo>
                  <a:pt x="11" y="86"/>
                </a:lnTo>
                <a:lnTo>
                  <a:pt x="14" y="86"/>
                </a:lnTo>
                <a:lnTo>
                  <a:pt x="14" y="88"/>
                </a:lnTo>
                <a:lnTo>
                  <a:pt x="10" y="89"/>
                </a:lnTo>
                <a:lnTo>
                  <a:pt x="8" y="91"/>
                </a:lnTo>
                <a:lnTo>
                  <a:pt x="4" y="91"/>
                </a:lnTo>
                <a:lnTo>
                  <a:pt x="3" y="96"/>
                </a:lnTo>
                <a:lnTo>
                  <a:pt x="4" y="99"/>
                </a:lnTo>
                <a:lnTo>
                  <a:pt x="58" y="135"/>
                </a:lnTo>
                <a:lnTo>
                  <a:pt x="58" y="137"/>
                </a:lnTo>
                <a:lnTo>
                  <a:pt x="59" y="140"/>
                </a:lnTo>
                <a:lnTo>
                  <a:pt x="59" y="146"/>
                </a:lnTo>
                <a:lnTo>
                  <a:pt x="60" y="149"/>
                </a:lnTo>
                <a:lnTo>
                  <a:pt x="82" y="163"/>
                </a:lnTo>
                <a:lnTo>
                  <a:pt x="84" y="162"/>
                </a:lnTo>
                <a:lnTo>
                  <a:pt x="86" y="162"/>
                </a:lnTo>
                <a:lnTo>
                  <a:pt x="87" y="159"/>
                </a:lnTo>
                <a:lnTo>
                  <a:pt x="88" y="155"/>
                </a:lnTo>
                <a:lnTo>
                  <a:pt x="90" y="151"/>
                </a:lnTo>
                <a:lnTo>
                  <a:pt x="92" y="146"/>
                </a:lnTo>
                <a:lnTo>
                  <a:pt x="95" y="140"/>
                </a:lnTo>
                <a:lnTo>
                  <a:pt x="96" y="133"/>
                </a:lnTo>
                <a:lnTo>
                  <a:pt x="98" y="130"/>
                </a:lnTo>
                <a:lnTo>
                  <a:pt x="99" y="127"/>
                </a:lnTo>
                <a:lnTo>
                  <a:pt x="100" y="127"/>
                </a:lnTo>
                <a:lnTo>
                  <a:pt x="104" y="124"/>
                </a:lnTo>
                <a:lnTo>
                  <a:pt x="106" y="122"/>
                </a:lnTo>
                <a:lnTo>
                  <a:pt x="106" y="121"/>
                </a:lnTo>
                <a:lnTo>
                  <a:pt x="107" y="118"/>
                </a:lnTo>
                <a:lnTo>
                  <a:pt x="109" y="116"/>
                </a:lnTo>
                <a:lnTo>
                  <a:pt x="111" y="116"/>
                </a:lnTo>
                <a:lnTo>
                  <a:pt x="115" y="113"/>
                </a:lnTo>
                <a:lnTo>
                  <a:pt x="115" y="111"/>
                </a:lnTo>
                <a:lnTo>
                  <a:pt x="115" y="110"/>
                </a:lnTo>
                <a:lnTo>
                  <a:pt x="108" y="100"/>
                </a:lnTo>
                <a:lnTo>
                  <a:pt x="107" y="97"/>
                </a:lnTo>
                <a:lnTo>
                  <a:pt x="107" y="8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FFC000"/>
              </a:solidFill>
            </a:endParaRPr>
          </a:p>
        </p:txBody>
      </p:sp>
      <p:sp>
        <p:nvSpPr>
          <p:cNvPr id="685" name="Freeform 585"/>
          <p:cNvSpPr>
            <a:spLocks/>
          </p:cNvSpPr>
          <p:nvPr/>
        </p:nvSpPr>
        <p:spPr bwMode="auto">
          <a:xfrm>
            <a:off x="7286095" y="2735702"/>
            <a:ext cx="493051" cy="294222"/>
          </a:xfrm>
          <a:custGeom>
            <a:avLst/>
            <a:gdLst/>
            <a:ahLst/>
            <a:cxnLst>
              <a:cxn ang="0">
                <a:pos x="0" y="61"/>
              </a:cxn>
              <a:cxn ang="0">
                <a:pos x="14" y="72"/>
              </a:cxn>
              <a:cxn ang="0">
                <a:pos x="16" y="64"/>
              </a:cxn>
              <a:cxn ang="0">
                <a:pos x="25" y="61"/>
              </a:cxn>
              <a:cxn ang="0">
                <a:pos x="30" y="55"/>
              </a:cxn>
              <a:cxn ang="0">
                <a:pos x="34" y="55"/>
              </a:cxn>
              <a:cxn ang="0">
                <a:pos x="38" y="52"/>
              </a:cxn>
              <a:cxn ang="0">
                <a:pos x="49" y="58"/>
              </a:cxn>
              <a:cxn ang="0">
                <a:pos x="60" y="61"/>
              </a:cxn>
              <a:cxn ang="0">
                <a:pos x="62" y="67"/>
              </a:cxn>
              <a:cxn ang="0">
                <a:pos x="60" y="74"/>
              </a:cxn>
              <a:cxn ang="0">
                <a:pos x="73" y="78"/>
              </a:cxn>
              <a:cxn ang="0">
                <a:pos x="84" y="75"/>
              </a:cxn>
              <a:cxn ang="0">
                <a:pos x="90" y="83"/>
              </a:cxn>
              <a:cxn ang="0">
                <a:pos x="96" y="91"/>
              </a:cxn>
              <a:cxn ang="0">
                <a:pos x="100" y="102"/>
              </a:cxn>
              <a:cxn ang="0">
                <a:pos x="125" y="117"/>
              </a:cxn>
              <a:cxn ang="0">
                <a:pos x="142" y="130"/>
              </a:cxn>
              <a:cxn ang="0">
                <a:pos x="154" y="132"/>
              </a:cxn>
              <a:cxn ang="0">
                <a:pos x="159" y="138"/>
              </a:cxn>
              <a:cxn ang="0">
                <a:pos x="158" y="147"/>
              </a:cxn>
              <a:cxn ang="0">
                <a:pos x="173" y="147"/>
              </a:cxn>
              <a:cxn ang="0">
                <a:pos x="177" y="144"/>
              </a:cxn>
              <a:cxn ang="0">
                <a:pos x="183" y="135"/>
              </a:cxn>
              <a:cxn ang="0">
                <a:pos x="183" y="128"/>
              </a:cxn>
              <a:cxn ang="0">
                <a:pos x="182" y="119"/>
              </a:cxn>
              <a:cxn ang="0">
                <a:pos x="175" y="116"/>
              </a:cxn>
              <a:cxn ang="0">
                <a:pos x="173" y="110"/>
              </a:cxn>
              <a:cxn ang="0">
                <a:pos x="178" y="105"/>
              </a:cxn>
              <a:cxn ang="0">
                <a:pos x="187" y="107"/>
              </a:cxn>
              <a:cxn ang="0">
                <a:pos x="198" y="97"/>
              </a:cxn>
              <a:cxn ang="0">
                <a:pos x="199" y="91"/>
              </a:cxn>
              <a:cxn ang="0">
                <a:pos x="205" y="88"/>
              </a:cxn>
              <a:cxn ang="0">
                <a:pos x="215" y="81"/>
              </a:cxn>
              <a:cxn ang="0">
                <a:pos x="221" y="85"/>
              </a:cxn>
              <a:cxn ang="0">
                <a:pos x="217" y="89"/>
              </a:cxn>
              <a:cxn ang="0">
                <a:pos x="223" y="94"/>
              </a:cxn>
              <a:cxn ang="0">
                <a:pos x="234" y="96"/>
              </a:cxn>
              <a:cxn ang="0">
                <a:pos x="243" y="91"/>
              </a:cxn>
              <a:cxn ang="0">
                <a:pos x="251" y="89"/>
              </a:cxn>
              <a:cxn ang="0">
                <a:pos x="255" y="83"/>
              </a:cxn>
              <a:cxn ang="0">
                <a:pos x="243" y="80"/>
              </a:cxn>
              <a:cxn ang="0">
                <a:pos x="236" y="74"/>
              </a:cxn>
              <a:cxn ang="0">
                <a:pos x="231" y="80"/>
              </a:cxn>
              <a:cxn ang="0">
                <a:pos x="218" y="75"/>
              </a:cxn>
              <a:cxn ang="0">
                <a:pos x="218" y="69"/>
              </a:cxn>
              <a:cxn ang="0">
                <a:pos x="227" y="59"/>
              </a:cxn>
              <a:cxn ang="0">
                <a:pos x="218" y="63"/>
              </a:cxn>
              <a:cxn ang="0">
                <a:pos x="206" y="70"/>
              </a:cxn>
              <a:cxn ang="0">
                <a:pos x="197" y="75"/>
              </a:cxn>
              <a:cxn ang="0">
                <a:pos x="191" y="81"/>
              </a:cxn>
              <a:cxn ang="0">
                <a:pos x="178" y="77"/>
              </a:cxn>
              <a:cxn ang="0">
                <a:pos x="151" y="63"/>
              </a:cxn>
              <a:cxn ang="0">
                <a:pos x="149" y="48"/>
              </a:cxn>
              <a:cxn ang="0">
                <a:pos x="135" y="34"/>
              </a:cxn>
              <a:cxn ang="0">
                <a:pos x="90" y="37"/>
              </a:cxn>
              <a:cxn ang="0">
                <a:pos x="57" y="9"/>
              </a:cxn>
              <a:cxn ang="0">
                <a:pos x="0" y="11"/>
              </a:cxn>
            </a:cxnLst>
            <a:rect l="0" t="0" r="r" b="b"/>
            <a:pathLst>
              <a:path w="258" h="149">
                <a:moveTo>
                  <a:pt x="0" y="11"/>
                </a:moveTo>
                <a:lnTo>
                  <a:pt x="0" y="28"/>
                </a:lnTo>
                <a:lnTo>
                  <a:pt x="0" y="45"/>
                </a:lnTo>
                <a:lnTo>
                  <a:pt x="0" y="61"/>
                </a:lnTo>
                <a:lnTo>
                  <a:pt x="0" y="75"/>
                </a:lnTo>
                <a:lnTo>
                  <a:pt x="14" y="77"/>
                </a:lnTo>
                <a:lnTo>
                  <a:pt x="16" y="77"/>
                </a:lnTo>
                <a:lnTo>
                  <a:pt x="14" y="72"/>
                </a:lnTo>
                <a:lnTo>
                  <a:pt x="14" y="70"/>
                </a:lnTo>
                <a:lnTo>
                  <a:pt x="13" y="67"/>
                </a:lnTo>
                <a:lnTo>
                  <a:pt x="14" y="66"/>
                </a:lnTo>
                <a:lnTo>
                  <a:pt x="16" y="64"/>
                </a:lnTo>
                <a:lnTo>
                  <a:pt x="17" y="63"/>
                </a:lnTo>
                <a:lnTo>
                  <a:pt x="18" y="61"/>
                </a:lnTo>
                <a:lnTo>
                  <a:pt x="21" y="61"/>
                </a:lnTo>
                <a:lnTo>
                  <a:pt x="25" y="61"/>
                </a:lnTo>
                <a:lnTo>
                  <a:pt x="28" y="59"/>
                </a:lnTo>
                <a:lnTo>
                  <a:pt x="29" y="58"/>
                </a:lnTo>
                <a:lnTo>
                  <a:pt x="29" y="56"/>
                </a:lnTo>
                <a:lnTo>
                  <a:pt x="30" y="55"/>
                </a:lnTo>
                <a:lnTo>
                  <a:pt x="34" y="58"/>
                </a:lnTo>
                <a:lnTo>
                  <a:pt x="36" y="58"/>
                </a:lnTo>
                <a:lnTo>
                  <a:pt x="36" y="56"/>
                </a:lnTo>
                <a:lnTo>
                  <a:pt x="34" y="55"/>
                </a:lnTo>
                <a:lnTo>
                  <a:pt x="32" y="53"/>
                </a:lnTo>
                <a:lnTo>
                  <a:pt x="34" y="52"/>
                </a:lnTo>
                <a:lnTo>
                  <a:pt x="37" y="52"/>
                </a:lnTo>
                <a:lnTo>
                  <a:pt x="38" y="52"/>
                </a:lnTo>
                <a:lnTo>
                  <a:pt x="38" y="50"/>
                </a:lnTo>
                <a:lnTo>
                  <a:pt x="44" y="55"/>
                </a:lnTo>
                <a:lnTo>
                  <a:pt x="48" y="56"/>
                </a:lnTo>
                <a:lnTo>
                  <a:pt x="49" y="58"/>
                </a:lnTo>
                <a:lnTo>
                  <a:pt x="52" y="59"/>
                </a:lnTo>
                <a:lnTo>
                  <a:pt x="54" y="58"/>
                </a:lnTo>
                <a:lnTo>
                  <a:pt x="58" y="59"/>
                </a:lnTo>
                <a:lnTo>
                  <a:pt x="60" y="61"/>
                </a:lnTo>
                <a:lnTo>
                  <a:pt x="60" y="63"/>
                </a:lnTo>
                <a:lnTo>
                  <a:pt x="60" y="64"/>
                </a:lnTo>
                <a:lnTo>
                  <a:pt x="61" y="66"/>
                </a:lnTo>
                <a:lnTo>
                  <a:pt x="62" y="67"/>
                </a:lnTo>
                <a:lnTo>
                  <a:pt x="61" y="67"/>
                </a:lnTo>
                <a:lnTo>
                  <a:pt x="61" y="70"/>
                </a:lnTo>
                <a:lnTo>
                  <a:pt x="61" y="72"/>
                </a:lnTo>
                <a:lnTo>
                  <a:pt x="60" y="74"/>
                </a:lnTo>
                <a:lnTo>
                  <a:pt x="61" y="75"/>
                </a:lnTo>
                <a:lnTo>
                  <a:pt x="65" y="77"/>
                </a:lnTo>
                <a:lnTo>
                  <a:pt x="70" y="78"/>
                </a:lnTo>
                <a:lnTo>
                  <a:pt x="73" y="78"/>
                </a:lnTo>
                <a:lnTo>
                  <a:pt x="80" y="78"/>
                </a:lnTo>
                <a:lnTo>
                  <a:pt x="81" y="78"/>
                </a:lnTo>
                <a:lnTo>
                  <a:pt x="81" y="77"/>
                </a:lnTo>
                <a:lnTo>
                  <a:pt x="84" y="75"/>
                </a:lnTo>
                <a:lnTo>
                  <a:pt x="85" y="77"/>
                </a:lnTo>
                <a:lnTo>
                  <a:pt x="89" y="80"/>
                </a:lnTo>
                <a:lnTo>
                  <a:pt x="90" y="80"/>
                </a:lnTo>
                <a:lnTo>
                  <a:pt x="90" y="83"/>
                </a:lnTo>
                <a:lnTo>
                  <a:pt x="90" y="86"/>
                </a:lnTo>
                <a:lnTo>
                  <a:pt x="92" y="88"/>
                </a:lnTo>
                <a:lnTo>
                  <a:pt x="94" y="89"/>
                </a:lnTo>
                <a:lnTo>
                  <a:pt x="96" y="91"/>
                </a:lnTo>
                <a:lnTo>
                  <a:pt x="97" y="94"/>
                </a:lnTo>
                <a:lnTo>
                  <a:pt x="97" y="97"/>
                </a:lnTo>
                <a:lnTo>
                  <a:pt x="98" y="100"/>
                </a:lnTo>
                <a:lnTo>
                  <a:pt x="100" y="102"/>
                </a:lnTo>
                <a:lnTo>
                  <a:pt x="113" y="110"/>
                </a:lnTo>
                <a:lnTo>
                  <a:pt x="118" y="116"/>
                </a:lnTo>
                <a:lnTo>
                  <a:pt x="121" y="117"/>
                </a:lnTo>
                <a:lnTo>
                  <a:pt x="125" y="117"/>
                </a:lnTo>
                <a:lnTo>
                  <a:pt x="129" y="119"/>
                </a:lnTo>
                <a:lnTo>
                  <a:pt x="134" y="124"/>
                </a:lnTo>
                <a:lnTo>
                  <a:pt x="141" y="128"/>
                </a:lnTo>
                <a:lnTo>
                  <a:pt x="142" y="130"/>
                </a:lnTo>
                <a:lnTo>
                  <a:pt x="145" y="130"/>
                </a:lnTo>
                <a:lnTo>
                  <a:pt x="146" y="130"/>
                </a:lnTo>
                <a:lnTo>
                  <a:pt x="149" y="130"/>
                </a:lnTo>
                <a:lnTo>
                  <a:pt x="154" y="132"/>
                </a:lnTo>
                <a:lnTo>
                  <a:pt x="155" y="133"/>
                </a:lnTo>
                <a:lnTo>
                  <a:pt x="158" y="135"/>
                </a:lnTo>
                <a:lnTo>
                  <a:pt x="159" y="136"/>
                </a:lnTo>
                <a:lnTo>
                  <a:pt x="159" y="138"/>
                </a:lnTo>
                <a:lnTo>
                  <a:pt x="158" y="139"/>
                </a:lnTo>
                <a:lnTo>
                  <a:pt x="158" y="144"/>
                </a:lnTo>
                <a:lnTo>
                  <a:pt x="158" y="146"/>
                </a:lnTo>
                <a:lnTo>
                  <a:pt x="158" y="147"/>
                </a:lnTo>
                <a:lnTo>
                  <a:pt x="166" y="146"/>
                </a:lnTo>
                <a:lnTo>
                  <a:pt x="167" y="147"/>
                </a:lnTo>
                <a:lnTo>
                  <a:pt x="170" y="149"/>
                </a:lnTo>
                <a:lnTo>
                  <a:pt x="173" y="147"/>
                </a:lnTo>
                <a:lnTo>
                  <a:pt x="175" y="149"/>
                </a:lnTo>
                <a:lnTo>
                  <a:pt x="177" y="147"/>
                </a:lnTo>
                <a:lnTo>
                  <a:pt x="177" y="146"/>
                </a:lnTo>
                <a:lnTo>
                  <a:pt x="177" y="144"/>
                </a:lnTo>
                <a:lnTo>
                  <a:pt x="178" y="141"/>
                </a:lnTo>
                <a:lnTo>
                  <a:pt x="181" y="138"/>
                </a:lnTo>
                <a:lnTo>
                  <a:pt x="182" y="136"/>
                </a:lnTo>
                <a:lnTo>
                  <a:pt x="183" y="135"/>
                </a:lnTo>
                <a:lnTo>
                  <a:pt x="185" y="133"/>
                </a:lnTo>
                <a:lnTo>
                  <a:pt x="186" y="132"/>
                </a:lnTo>
                <a:lnTo>
                  <a:pt x="185" y="130"/>
                </a:lnTo>
                <a:lnTo>
                  <a:pt x="183" y="128"/>
                </a:lnTo>
                <a:lnTo>
                  <a:pt x="182" y="127"/>
                </a:lnTo>
                <a:lnTo>
                  <a:pt x="181" y="124"/>
                </a:lnTo>
                <a:lnTo>
                  <a:pt x="182" y="121"/>
                </a:lnTo>
                <a:lnTo>
                  <a:pt x="182" y="119"/>
                </a:lnTo>
                <a:lnTo>
                  <a:pt x="182" y="117"/>
                </a:lnTo>
                <a:lnTo>
                  <a:pt x="179" y="116"/>
                </a:lnTo>
                <a:lnTo>
                  <a:pt x="177" y="116"/>
                </a:lnTo>
                <a:lnTo>
                  <a:pt x="175" y="116"/>
                </a:lnTo>
                <a:lnTo>
                  <a:pt x="174" y="114"/>
                </a:lnTo>
                <a:lnTo>
                  <a:pt x="173" y="113"/>
                </a:lnTo>
                <a:lnTo>
                  <a:pt x="170" y="111"/>
                </a:lnTo>
                <a:lnTo>
                  <a:pt x="173" y="110"/>
                </a:lnTo>
                <a:lnTo>
                  <a:pt x="173" y="108"/>
                </a:lnTo>
                <a:lnTo>
                  <a:pt x="173" y="107"/>
                </a:lnTo>
                <a:lnTo>
                  <a:pt x="175" y="107"/>
                </a:lnTo>
                <a:lnTo>
                  <a:pt x="178" y="105"/>
                </a:lnTo>
                <a:lnTo>
                  <a:pt x="179" y="107"/>
                </a:lnTo>
                <a:lnTo>
                  <a:pt x="182" y="107"/>
                </a:lnTo>
                <a:lnTo>
                  <a:pt x="186" y="107"/>
                </a:lnTo>
                <a:lnTo>
                  <a:pt x="187" y="107"/>
                </a:lnTo>
                <a:lnTo>
                  <a:pt x="191" y="100"/>
                </a:lnTo>
                <a:lnTo>
                  <a:pt x="191" y="99"/>
                </a:lnTo>
                <a:lnTo>
                  <a:pt x="193" y="97"/>
                </a:lnTo>
                <a:lnTo>
                  <a:pt x="198" y="97"/>
                </a:lnTo>
                <a:lnTo>
                  <a:pt x="199" y="96"/>
                </a:lnTo>
                <a:lnTo>
                  <a:pt x="199" y="94"/>
                </a:lnTo>
                <a:lnTo>
                  <a:pt x="199" y="92"/>
                </a:lnTo>
                <a:lnTo>
                  <a:pt x="199" y="91"/>
                </a:lnTo>
                <a:lnTo>
                  <a:pt x="201" y="89"/>
                </a:lnTo>
                <a:lnTo>
                  <a:pt x="201" y="88"/>
                </a:lnTo>
                <a:lnTo>
                  <a:pt x="202" y="86"/>
                </a:lnTo>
                <a:lnTo>
                  <a:pt x="205" y="88"/>
                </a:lnTo>
                <a:lnTo>
                  <a:pt x="206" y="88"/>
                </a:lnTo>
                <a:lnTo>
                  <a:pt x="210" y="85"/>
                </a:lnTo>
                <a:lnTo>
                  <a:pt x="214" y="83"/>
                </a:lnTo>
                <a:lnTo>
                  <a:pt x="215" y="81"/>
                </a:lnTo>
                <a:lnTo>
                  <a:pt x="217" y="80"/>
                </a:lnTo>
                <a:lnTo>
                  <a:pt x="219" y="80"/>
                </a:lnTo>
                <a:lnTo>
                  <a:pt x="219" y="83"/>
                </a:lnTo>
                <a:lnTo>
                  <a:pt x="221" y="85"/>
                </a:lnTo>
                <a:lnTo>
                  <a:pt x="222" y="86"/>
                </a:lnTo>
                <a:lnTo>
                  <a:pt x="221" y="88"/>
                </a:lnTo>
                <a:lnTo>
                  <a:pt x="218" y="89"/>
                </a:lnTo>
                <a:lnTo>
                  <a:pt x="217" y="89"/>
                </a:lnTo>
                <a:lnTo>
                  <a:pt x="218" y="94"/>
                </a:lnTo>
                <a:lnTo>
                  <a:pt x="219" y="96"/>
                </a:lnTo>
                <a:lnTo>
                  <a:pt x="221" y="96"/>
                </a:lnTo>
                <a:lnTo>
                  <a:pt x="223" y="94"/>
                </a:lnTo>
                <a:lnTo>
                  <a:pt x="225" y="94"/>
                </a:lnTo>
                <a:lnTo>
                  <a:pt x="227" y="94"/>
                </a:lnTo>
                <a:lnTo>
                  <a:pt x="230" y="94"/>
                </a:lnTo>
                <a:lnTo>
                  <a:pt x="234" y="96"/>
                </a:lnTo>
                <a:lnTo>
                  <a:pt x="238" y="96"/>
                </a:lnTo>
                <a:lnTo>
                  <a:pt x="240" y="94"/>
                </a:lnTo>
                <a:lnTo>
                  <a:pt x="240" y="92"/>
                </a:lnTo>
                <a:lnTo>
                  <a:pt x="243" y="91"/>
                </a:lnTo>
                <a:lnTo>
                  <a:pt x="244" y="91"/>
                </a:lnTo>
                <a:lnTo>
                  <a:pt x="247" y="89"/>
                </a:lnTo>
                <a:lnTo>
                  <a:pt x="248" y="91"/>
                </a:lnTo>
                <a:lnTo>
                  <a:pt x="251" y="89"/>
                </a:lnTo>
                <a:lnTo>
                  <a:pt x="251" y="88"/>
                </a:lnTo>
                <a:lnTo>
                  <a:pt x="256" y="86"/>
                </a:lnTo>
                <a:lnTo>
                  <a:pt x="258" y="85"/>
                </a:lnTo>
                <a:lnTo>
                  <a:pt x="255" y="83"/>
                </a:lnTo>
                <a:lnTo>
                  <a:pt x="252" y="85"/>
                </a:lnTo>
                <a:lnTo>
                  <a:pt x="248" y="83"/>
                </a:lnTo>
                <a:lnTo>
                  <a:pt x="246" y="80"/>
                </a:lnTo>
                <a:lnTo>
                  <a:pt x="243" y="80"/>
                </a:lnTo>
                <a:lnTo>
                  <a:pt x="242" y="80"/>
                </a:lnTo>
                <a:lnTo>
                  <a:pt x="238" y="77"/>
                </a:lnTo>
                <a:lnTo>
                  <a:pt x="238" y="75"/>
                </a:lnTo>
                <a:lnTo>
                  <a:pt x="236" y="74"/>
                </a:lnTo>
                <a:lnTo>
                  <a:pt x="235" y="72"/>
                </a:lnTo>
                <a:lnTo>
                  <a:pt x="232" y="77"/>
                </a:lnTo>
                <a:lnTo>
                  <a:pt x="231" y="77"/>
                </a:lnTo>
                <a:lnTo>
                  <a:pt x="231" y="80"/>
                </a:lnTo>
                <a:lnTo>
                  <a:pt x="228" y="80"/>
                </a:lnTo>
                <a:lnTo>
                  <a:pt x="222" y="77"/>
                </a:lnTo>
                <a:lnTo>
                  <a:pt x="219" y="74"/>
                </a:lnTo>
                <a:lnTo>
                  <a:pt x="218" y="75"/>
                </a:lnTo>
                <a:lnTo>
                  <a:pt x="217" y="74"/>
                </a:lnTo>
                <a:lnTo>
                  <a:pt x="214" y="72"/>
                </a:lnTo>
                <a:lnTo>
                  <a:pt x="214" y="70"/>
                </a:lnTo>
                <a:lnTo>
                  <a:pt x="218" y="69"/>
                </a:lnTo>
                <a:lnTo>
                  <a:pt x="222" y="66"/>
                </a:lnTo>
                <a:lnTo>
                  <a:pt x="225" y="63"/>
                </a:lnTo>
                <a:lnTo>
                  <a:pt x="228" y="61"/>
                </a:lnTo>
                <a:lnTo>
                  <a:pt x="227" y="59"/>
                </a:lnTo>
                <a:lnTo>
                  <a:pt x="223" y="58"/>
                </a:lnTo>
                <a:lnTo>
                  <a:pt x="222" y="59"/>
                </a:lnTo>
                <a:lnTo>
                  <a:pt x="219" y="63"/>
                </a:lnTo>
                <a:lnTo>
                  <a:pt x="218" y="63"/>
                </a:lnTo>
                <a:lnTo>
                  <a:pt x="215" y="63"/>
                </a:lnTo>
                <a:lnTo>
                  <a:pt x="214" y="66"/>
                </a:lnTo>
                <a:lnTo>
                  <a:pt x="213" y="67"/>
                </a:lnTo>
                <a:lnTo>
                  <a:pt x="206" y="70"/>
                </a:lnTo>
                <a:lnTo>
                  <a:pt x="202" y="72"/>
                </a:lnTo>
                <a:lnTo>
                  <a:pt x="201" y="74"/>
                </a:lnTo>
                <a:lnTo>
                  <a:pt x="198" y="74"/>
                </a:lnTo>
                <a:lnTo>
                  <a:pt x="197" y="75"/>
                </a:lnTo>
                <a:lnTo>
                  <a:pt x="195" y="77"/>
                </a:lnTo>
                <a:lnTo>
                  <a:pt x="195" y="78"/>
                </a:lnTo>
                <a:lnTo>
                  <a:pt x="193" y="80"/>
                </a:lnTo>
                <a:lnTo>
                  <a:pt x="191" y="81"/>
                </a:lnTo>
                <a:lnTo>
                  <a:pt x="189" y="80"/>
                </a:lnTo>
                <a:lnTo>
                  <a:pt x="185" y="78"/>
                </a:lnTo>
                <a:lnTo>
                  <a:pt x="182" y="78"/>
                </a:lnTo>
                <a:lnTo>
                  <a:pt x="178" y="77"/>
                </a:lnTo>
                <a:lnTo>
                  <a:pt x="163" y="78"/>
                </a:lnTo>
                <a:lnTo>
                  <a:pt x="161" y="67"/>
                </a:lnTo>
                <a:lnTo>
                  <a:pt x="151" y="66"/>
                </a:lnTo>
                <a:lnTo>
                  <a:pt x="151" y="63"/>
                </a:lnTo>
                <a:lnTo>
                  <a:pt x="151" y="58"/>
                </a:lnTo>
                <a:lnTo>
                  <a:pt x="153" y="58"/>
                </a:lnTo>
                <a:lnTo>
                  <a:pt x="153" y="47"/>
                </a:lnTo>
                <a:lnTo>
                  <a:pt x="149" y="48"/>
                </a:lnTo>
                <a:lnTo>
                  <a:pt x="145" y="41"/>
                </a:lnTo>
                <a:lnTo>
                  <a:pt x="141" y="37"/>
                </a:lnTo>
                <a:lnTo>
                  <a:pt x="139" y="36"/>
                </a:lnTo>
                <a:lnTo>
                  <a:pt x="135" y="34"/>
                </a:lnTo>
                <a:lnTo>
                  <a:pt x="134" y="33"/>
                </a:lnTo>
                <a:lnTo>
                  <a:pt x="130" y="34"/>
                </a:lnTo>
                <a:lnTo>
                  <a:pt x="110" y="34"/>
                </a:lnTo>
                <a:lnTo>
                  <a:pt x="90" y="37"/>
                </a:lnTo>
                <a:lnTo>
                  <a:pt x="82" y="31"/>
                </a:lnTo>
                <a:lnTo>
                  <a:pt x="70" y="19"/>
                </a:lnTo>
                <a:lnTo>
                  <a:pt x="61" y="11"/>
                </a:lnTo>
                <a:lnTo>
                  <a:pt x="57" y="9"/>
                </a:lnTo>
                <a:lnTo>
                  <a:pt x="52" y="6"/>
                </a:lnTo>
                <a:lnTo>
                  <a:pt x="46" y="3"/>
                </a:lnTo>
                <a:lnTo>
                  <a:pt x="38" y="0"/>
                </a:lnTo>
                <a:lnTo>
                  <a:pt x="0" y="11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86" name="Freeform 586"/>
          <p:cNvSpPr>
            <a:spLocks/>
          </p:cNvSpPr>
          <p:nvPr/>
        </p:nvSpPr>
        <p:spPr bwMode="auto">
          <a:xfrm>
            <a:off x="7286095" y="2757178"/>
            <a:ext cx="493051" cy="272747"/>
          </a:xfrm>
          <a:custGeom>
            <a:avLst/>
            <a:gdLst/>
            <a:ahLst/>
            <a:cxnLst>
              <a:cxn ang="0">
                <a:pos x="0" y="50"/>
              </a:cxn>
              <a:cxn ang="0">
                <a:pos x="14" y="61"/>
              </a:cxn>
              <a:cxn ang="0">
                <a:pos x="16" y="53"/>
              </a:cxn>
              <a:cxn ang="0">
                <a:pos x="25" y="50"/>
              </a:cxn>
              <a:cxn ang="0">
                <a:pos x="30" y="44"/>
              </a:cxn>
              <a:cxn ang="0">
                <a:pos x="34" y="44"/>
              </a:cxn>
              <a:cxn ang="0">
                <a:pos x="38" y="41"/>
              </a:cxn>
              <a:cxn ang="0">
                <a:pos x="49" y="47"/>
              </a:cxn>
              <a:cxn ang="0">
                <a:pos x="60" y="50"/>
              </a:cxn>
              <a:cxn ang="0">
                <a:pos x="62" y="56"/>
              </a:cxn>
              <a:cxn ang="0">
                <a:pos x="60" y="63"/>
              </a:cxn>
              <a:cxn ang="0">
                <a:pos x="73" y="67"/>
              </a:cxn>
              <a:cxn ang="0">
                <a:pos x="84" y="64"/>
              </a:cxn>
              <a:cxn ang="0">
                <a:pos x="90" y="72"/>
              </a:cxn>
              <a:cxn ang="0">
                <a:pos x="96" y="80"/>
              </a:cxn>
              <a:cxn ang="0">
                <a:pos x="100" y="91"/>
              </a:cxn>
              <a:cxn ang="0">
                <a:pos x="125" y="106"/>
              </a:cxn>
              <a:cxn ang="0">
                <a:pos x="142" y="119"/>
              </a:cxn>
              <a:cxn ang="0">
                <a:pos x="154" y="121"/>
              </a:cxn>
              <a:cxn ang="0">
                <a:pos x="159" y="127"/>
              </a:cxn>
              <a:cxn ang="0">
                <a:pos x="158" y="136"/>
              </a:cxn>
              <a:cxn ang="0">
                <a:pos x="173" y="136"/>
              </a:cxn>
              <a:cxn ang="0">
                <a:pos x="177" y="133"/>
              </a:cxn>
              <a:cxn ang="0">
                <a:pos x="183" y="124"/>
              </a:cxn>
              <a:cxn ang="0">
                <a:pos x="183" y="117"/>
              </a:cxn>
              <a:cxn ang="0">
                <a:pos x="182" y="108"/>
              </a:cxn>
              <a:cxn ang="0">
                <a:pos x="175" y="105"/>
              </a:cxn>
              <a:cxn ang="0">
                <a:pos x="173" y="99"/>
              </a:cxn>
              <a:cxn ang="0">
                <a:pos x="178" y="94"/>
              </a:cxn>
              <a:cxn ang="0">
                <a:pos x="187" y="96"/>
              </a:cxn>
              <a:cxn ang="0">
                <a:pos x="198" y="86"/>
              </a:cxn>
              <a:cxn ang="0">
                <a:pos x="199" y="80"/>
              </a:cxn>
              <a:cxn ang="0">
                <a:pos x="205" y="77"/>
              </a:cxn>
              <a:cxn ang="0">
                <a:pos x="215" y="70"/>
              </a:cxn>
              <a:cxn ang="0">
                <a:pos x="221" y="74"/>
              </a:cxn>
              <a:cxn ang="0">
                <a:pos x="217" y="78"/>
              </a:cxn>
              <a:cxn ang="0">
                <a:pos x="223" y="83"/>
              </a:cxn>
              <a:cxn ang="0">
                <a:pos x="234" y="85"/>
              </a:cxn>
              <a:cxn ang="0">
                <a:pos x="243" y="80"/>
              </a:cxn>
              <a:cxn ang="0">
                <a:pos x="251" y="78"/>
              </a:cxn>
              <a:cxn ang="0">
                <a:pos x="255" y="72"/>
              </a:cxn>
              <a:cxn ang="0">
                <a:pos x="243" y="69"/>
              </a:cxn>
              <a:cxn ang="0">
                <a:pos x="236" y="63"/>
              </a:cxn>
              <a:cxn ang="0">
                <a:pos x="231" y="69"/>
              </a:cxn>
              <a:cxn ang="0">
                <a:pos x="218" y="64"/>
              </a:cxn>
              <a:cxn ang="0">
                <a:pos x="218" y="58"/>
              </a:cxn>
              <a:cxn ang="0">
                <a:pos x="227" y="48"/>
              </a:cxn>
              <a:cxn ang="0">
                <a:pos x="218" y="52"/>
              </a:cxn>
              <a:cxn ang="0">
                <a:pos x="206" y="59"/>
              </a:cxn>
            </a:cxnLst>
            <a:rect l="0" t="0" r="r" b="b"/>
            <a:pathLst>
              <a:path w="258" h="138">
                <a:moveTo>
                  <a:pt x="0" y="0"/>
                </a:moveTo>
                <a:lnTo>
                  <a:pt x="0" y="17"/>
                </a:lnTo>
                <a:lnTo>
                  <a:pt x="0" y="34"/>
                </a:lnTo>
                <a:lnTo>
                  <a:pt x="0" y="50"/>
                </a:lnTo>
                <a:lnTo>
                  <a:pt x="0" y="64"/>
                </a:lnTo>
                <a:lnTo>
                  <a:pt x="14" y="66"/>
                </a:lnTo>
                <a:lnTo>
                  <a:pt x="16" y="66"/>
                </a:lnTo>
                <a:lnTo>
                  <a:pt x="14" y="61"/>
                </a:lnTo>
                <a:lnTo>
                  <a:pt x="14" y="59"/>
                </a:lnTo>
                <a:lnTo>
                  <a:pt x="13" y="56"/>
                </a:lnTo>
                <a:lnTo>
                  <a:pt x="14" y="55"/>
                </a:lnTo>
                <a:lnTo>
                  <a:pt x="16" y="53"/>
                </a:lnTo>
                <a:lnTo>
                  <a:pt x="17" y="52"/>
                </a:lnTo>
                <a:lnTo>
                  <a:pt x="18" y="50"/>
                </a:lnTo>
                <a:lnTo>
                  <a:pt x="21" y="50"/>
                </a:lnTo>
                <a:lnTo>
                  <a:pt x="25" y="50"/>
                </a:lnTo>
                <a:lnTo>
                  <a:pt x="28" y="48"/>
                </a:lnTo>
                <a:lnTo>
                  <a:pt x="29" y="47"/>
                </a:lnTo>
                <a:lnTo>
                  <a:pt x="29" y="45"/>
                </a:lnTo>
                <a:lnTo>
                  <a:pt x="30" y="44"/>
                </a:lnTo>
                <a:lnTo>
                  <a:pt x="34" y="47"/>
                </a:lnTo>
                <a:lnTo>
                  <a:pt x="36" y="47"/>
                </a:lnTo>
                <a:lnTo>
                  <a:pt x="36" y="45"/>
                </a:lnTo>
                <a:lnTo>
                  <a:pt x="34" y="44"/>
                </a:lnTo>
                <a:lnTo>
                  <a:pt x="32" y="42"/>
                </a:lnTo>
                <a:lnTo>
                  <a:pt x="34" y="41"/>
                </a:lnTo>
                <a:lnTo>
                  <a:pt x="37" y="41"/>
                </a:lnTo>
                <a:lnTo>
                  <a:pt x="38" y="41"/>
                </a:lnTo>
                <a:lnTo>
                  <a:pt x="38" y="39"/>
                </a:lnTo>
                <a:lnTo>
                  <a:pt x="44" y="44"/>
                </a:lnTo>
                <a:lnTo>
                  <a:pt x="48" y="45"/>
                </a:lnTo>
                <a:lnTo>
                  <a:pt x="49" y="47"/>
                </a:lnTo>
                <a:lnTo>
                  <a:pt x="52" y="48"/>
                </a:lnTo>
                <a:lnTo>
                  <a:pt x="54" y="47"/>
                </a:lnTo>
                <a:lnTo>
                  <a:pt x="58" y="48"/>
                </a:lnTo>
                <a:lnTo>
                  <a:pt x="60" y="50"/>
                </a:lnTo>
                <a:lnTo>
                  <a:pt x="60" y="52"/>
                </a:lnTo>
                <a:lnTo>
                  <a:pt x="60" y="53"/>
                </a:lnTo>
                <a:lnTo>
                  <a:pt x="61" y="55"/>
                </a:lnTo>
                <a:lnTo>
                  <a:pt x="62" y="56"/>
                </a:lnTo>
                <a:lnTo>
                  <a:pt x="61" y="56"/>
                </a:lnTo>
                <a:lnTo>
                  <a:pt x="61" y="59"/>
                </a:lnTo>
                <a:lnTo>
                  <a:pt x="61" y="61"/>
                </a:lnTo>
                <a:lnTo>
                  <a:pt x="60" y="63"/>
                </a:lnTo>
                <a:lnTo>
                  <a:pt x="61" y="64"/>
                </a:lnTo>
                <a:lnTo>
                  <a:pt x="65" y="66"/>
                </a:lnTo>
                <a:lnTo>
                  <a:pt x="70" y="67"/>
                </a:lnTo>
                <a:lnTo>
                  <a:pt x="73" y="67"/>
                </a:lnTo>
                <a:lnTo>
                  <a:pt x="80" y="67"/>
                </a:lnTo>
                <a:lnTo>
                  <a:pt x="81" y="67"/>
                </a:lnTo>
                <a:lnTo>
                  <a:pt x="81" y="66"/>
                </a:lnTo>
                <a:lnTo>
                  <a:pt x="84" y="64"/>
                </a:lnTo>
                <a:lnTo>
                  <a:pt x="85" y="66"/>
                </a:lnTo>
                <a:lnTo>
                  <a:pt x="89" y="69"/>
                </a:lnTo>
                <a:lnTo>
                  <a:pt x="90" y="69"/>
                </a:lnTo>
                <a:lnTo>
                  <a:pt x="90" y="72"/>
                </a:lnTo>
                <a:lnTo>
                  <a:pt x="90" y="75"/>
                </a:lnTo>
                <a:lnTo>
                  <a:pt x="92" y="77"/>
                </a:lnTo>
                <a:lnTo>
                  <a:pt x="94" y="78"/>
                </a:lnTo>
                <a:lnTo>
                  <a:pt x="96" y="80"/>
                </a:lnTo>
                <a:lnTo>
                  <a:pt x="97" y="83"/>
                </a:lnTo>
                <a:lnTo>
                  <a:pt x="97" y="86"/>
                </a:lnTo>
                <a:lnTo>
                  <a:pt x="98" y="89"/>
                </a:lnTo>
                <a:lnTo>
                  <a:pt x="100" y="91"/>
                </a:lnTo>
                <a:lnTo>
                  <a:pt x="113" y="99"/>
                </a:lnTo>
                <a:lnTo>
                  <a:pt x="118" y="105"/>
                </a:lnTo>
                <a:lnTo>
                  <a:pt x="121" y="106"/>
                </a:lnTo>
                <a:lnTo>
                  <a:pt x="125" y="106"/>
                </a:lnTo>
                <a:lnTo>
                  <a:pt x="129" y="108"/>
                </a:lnTo>
                <a:lnTo>
                  <a:pt x="134" y="113"/>
                </a:lnTo>
                <a:lnTo>
                  <a:pt x="141" y="117"/>
                </a:lnTo>
                <a:lnTo>
                  <a:pt x="142" y="119"/>
                </a:lnTo>
                <a:lnTo>
                  <a:pt x="145" y="119"/>
                </a:lnTo>
                <a:lnTo>
                  <a:pt x="146" y="119"/>
                </a:lnTo>
                <a:lnTo>
                  <a:pt x="149" y="119"/>
                </a:lnTo>
                <a:lnTo>
                  <a:pt x="154" y="121"/>
                </a:lnTo>
                <a:lnTo>
                  <a:pt x="155" y="122"/>
                </a:lnTo>
                <a:lnTo>
                  <a:pt x="158" y="124"/>
                </a:lnTo>
                <a:lnTo>
                  <a:pt x="159" y="125"/>
                </a:lnTo>
                <a:lnTo>
                  <a:pt x="159" y="127"/>
                </a:lnTo>
                <a:lnTo>
                  <a:pt x="158" y="128"/>
                </a:lnTo>
                <a:lnTo>
                  <a:pt x="158" y="133"/>
                </a:lnTo>
                <a:lnTo>
                  <a:pt x="158" y="135"/>
                </a:lnTo>
                <a:lnTo>
                  <a:pt x="158" y="136"/>
                </a:lnTo>
                <a:lnTo>
                  <a:pt x="166" y="135"/>
                </a:lnTo>
                <a:lnTo>
                  <a:pt x="167" y="136"/>
                </a:lnTo>
                <a:lnTo>
                  <a:pt x="170" y="138"/>
                </a:lnTo>
                <a:lnTo>
                  <a:pt x="173" y="136"/>
                </a:lnTo>
                <a:lnTo>
                  <a:pt x="175" y="138"/>
                </a:lnTo>
                <a:lnTo>
                  <a:pt x="177" y="136"/>
                </a:lnTo>
                <a:lnTo>
                  <a:pt x="177" y="135"/>
                </a:lnTo>
                <a:lnTo>
                  <a:pt x="177" y="133"/>
                </a:lnTo>
                <a:lnTo>
                  <a:pt x="178" y="130"/>
                </a:lnTo>
                <a:lnTo>
                  <a:pt x="181" y="127"/>
                </a:lnTo>
                <a:lnTo>
                  <a:pt x="182" y="125"/>
                </a:lnTo>
                <a:lnTo>
                  <a:pt x="183" y="124"/>
                </a:lnTo>
                <a:lnTo>
                  <a:pt x="185" y="122"/>
                </a:lnTo>
                <a:lnTo>
                  <a:pt x="186" y="121"/>
                </a:lnTo>
                <a:lnTo>
                  <a:pt x="185" y="119"/>
                </a:lnTo>
                <a:lnTo>
                  <a:pt x="183" y="117"/>
                </a:lnTo>
                <a:lnTo>
                  <a:pt x="182" y="116"/>
                </a:lnTo>
                <a:lnTo>
                  <a:pt x="181" y="113"/>
                </a:lnTo>
                <a:lnTo>
                  <a:pt x="182" y="110"/>
                </a:lnTo>
                <a:lnTo>
                  <a:pt x="182" y="108"/>
                </a:lnTo>
                <a:lnTo>
                  <a:pt x="182" y="106"/>
                </a:lnTo>
                <a:lnTo>
                  <a:pt x="179" y="105"/>
                </a:lnTo>
                <a:lnTo>
                  <a:pt x="177" y="105"/>
                </a:lnTo>
                <a:lnTo>
                  <a:pt x="175" y="105"/>
                </a:lnTo>
                <a:lnTo>
                  <a:pt x="174" y="103"/>
                </a:lnTo>
                <a:lnTo>
                  <a:pt x="173" y="102"/>
                </a:lnTo>
                <a:lnTo>
                  <a:pt x="170" y="100"/>
                </a:lnTo>
                <a:lnTo>
                  <a:pt x="173" y="99"/>
                </a:lnTo>
                <a:lnTo>
                  <a:pt x="173" y="97"/>
                </a:lnTo>
                <a:lnTo>
                  <a:pt x="173" y="96"/>
                </a:lnTo>
                <a:lnTo>
                  <a:pt x="175" y="96"/>
                </a:lnTo>
                <a:lnTo>
                  <a:pt x="178" y="94"/>
                </a:lnTo>
                <a:lnTo>
                  <a:pt x="179" y="96"/>
                </a:lnTo>
                <a:lnTo>
                  <a:pt x="182" y="96"/>
                </a:lnTo>
                <a:lnTo>
                  <a:pt x="186" y="96"/>
                </a:lnTo>
                <a:lnTo>
                  <a:pt x="187" y="96"/>
                </a:lnTo>
                <a:lnTo>
                  <a:pt x="191" y="89"/>
                </a:lnTo>
                <a:lnTo>
                  <a:pt x="191" y="88"/>
                </a:lnTo>
                <a:lnTo>
                  <a:pt x="193" y="86"/>
                </a:lnTo>
                <a:lnTo>
                  <a:pt x="198" y="86"/>
                </a:lnTo>
                <a:lnTo>
                  <a:pt x="199" y="85"/>
                </a:lnTo>
                <a:lnTo>
                  <a:pt x="199" y="83"/>
                </a:lnTo>
                <a:lnTo>
                  <a:pt x="199" y="81"/>
                </a:lnTo>
                <a:lnTo>
                  <a:pt x="199" y="80"/>
                </a:lnTo>
                <a:lnTo>
                  <a:pt x="201" y="78"/>
                </a:lnTo>
                <a:lnTo>
                  <a:pt x="201" y="77"/>
                </a:lnTo>
                <a:lnTo>
                  <a:pt x="202" y="75"/>
                </a:lnTo>
                <a:lnTo>
                  <a:pt x="205" y="77"/>
                </a:lnTo>
                <a:lnTo>
                  <a:pt x="206" y="77"/>
                </a:lnTo>
                <a:lnTo>
                  <a:pt x="210" y="74"/>
                </a:lnTo>
                <a:lnTo>
                  <a:pt x="214" y="72"/>
                </a:lnTo>
                <a:lnTo>
                  <a:pt x="215" y="70"/>
                </a:lnTo>
                <a:lnTo>
                  <a:pt x="217" y="69"/>
                </a:lnTo>
                <a:lnTo>
                  <a:pt x="219" y="69"/>
                </a:lnTo>
                <a:lnTo>
                  <a:pt x="219" y="72"/>
                </a:lnTo>
                <a:lnTo>
                  <a:pt x="221" y="74"/>
                </a:lnTo>
                <a:lnTo>
                  <a:pt x="222" y="75"/>
                </a:lnTo>
                <a:lnTo>
                  <a:pt x="221" y="77"/>
                </a:lnTo>
                <a:lnTo>
                  <a:pt x="218" y="78"/>
                </a:lnTo>
                <a:lnTo>
                  <a:pt x="217" y="78"/>
                </a:lnTo>
                <a:lnTo>
                  <a:pt x="218" y="83"/>
                </a:lnTo>
                <a:lnTo>
                  <a:pt x="219" y="85"/>
                </a:lnTo>
                <a:lnTo>
                  <a:pt x="221" y="85"/>
                </a:lnTo>
                <a:lnTo>
                  <a:pt x="223" y="83"/>
                </a:lnTo>
                <a:lnTo>
                  <a:pt x="225" y="83"/>
                </a:lnTo>
                <a:lnTo>
                  <a:pt x="227" y="83"/>
                </a:lnTo>
                <a:lnTo>
                  <a:pt x="230" y="83"/>
                </a:lnTo>
                <a:lnTo>
                  <a:pt x="234" y="85"/>
                </a:lnTo>
                <a:lnTo>
                  <a:pt x="238" y="85"/>
                </a:lnTo>
                <a:lnTo>
                  <a:pt x="240" y="83"/>
                </a:lnTo>
                <a:lnTo>
                  <a:pt x="240" y="81"/>
                </a:lnTo>
                <a:lnTo>
                  <a:pt x="243" y="80"/>
                </a:lnTo>
                <a:lnTo>
                  <a:pt x="244" y="80"/>
                </a:lnTo>
                <a:lnTo>
                  <a:pt x="247" y="78"/>
                </a:lnTo>
                <a:lnTo>
                  <a:pt x="248" y="80"/>
                </a:lnTo>
                <a:lnTo>
                  <a:pt x="251" y="78"/>
                </a:lnTo>
                <a:lnTo>
                  <a:pt x="251" y="77"/>
                </a:lnTo>
                <a:lnTo>
                  <a:pt x="256" y="75"/>
                </a:lnTo>
                <a:lnTo>
                  <a:pt x="258" y="74"/>
                </a:lnTo>
                <a:lnTo>
                  <a:pt x="255" y="72"/>
                </a:lnTo>
                <a:lnTo>
                  <a:pt x="252" y="74"/>
                </a:lnTo>
                <a:lnTo>
                  <a:pt x="248" y="72"/>
                </a:lnTo>
                <a:lnTo>
                  <a:pt x="246" y="69"/>
                </a:lnTo>
                <a:lnTo>
                  <a:pt x="243" y="69"/>
                </a:lnTo>
                <a:lnTo>
                  <a:pt x="242" y="69"/>
                </a:lnTo>
                <a:lnTo>
                  <a:pt x="238" y="66"/>
                </a:lnTo>
                <a:lnTo>
                  <a:pt x="238" y="64"/>
                </a:lnTo>
                <a:lnTo>
                  <a:pt x="236" y="63"/>
                </a:lnTo>
                <a:lnTo>
                  <a:pt x="235" y="61"/>
                </a:lnTo>
                <a:lnTo>
                  <a:pt x="232" y="66"/>
                </a:lnTo>
                <a:lnTo>
                  <a:pt x="231" y="66"/>
                </a:lnTo>
                <a:lnTo>
                  <a:pt x="231" y="69"/>
                </a:lnTo>
                <a:lnTo>
                  <a:pt x="228" y="69"/>
                </a:lnTo>
                <a:lnTo>
                  <a:pt x="222" y="66"/>
                </a:lnTo>
                <a:lnTo>
                  <a:pt x="219" y="63"/>
                </a:lnTo>
                <a:lnTo>
                  <a:pt x="218" y="64"/>
                </a:lnTo>
                <a:lnTo>
                  <a:pt x="217" y="63"/>
                </a:lnTo>
                <a:lnTo>
                  <a:pt x="214" y="61"/>
                </a:lnTo>
                <a:lnTo>
                  <a:pt x="214" y="59"/>
                </a:lnTo>
                <a:lnTo>
                  <a:pt x="218" y="58"/>
                </a:lnTo>
                <a:lnTo>
                  <a:pt x="222" y="55"/>
                </a:lnTo>
                <a:lnTo>
                  <a:pt x="225" y="52"/>
                </a:lnTo>
                <a:lnTo>
                  <a:pt x="228" y="50"/>
                </a:lnTo>
                <a:lnTo>
                  <a:pt x="227" y="48"/>
                </a:lnTo>
                <a:lnTo>
                  <a:pt x="223" y="47"/>
                </a:lnTo>
                <a:lnTo>
                  <a:pt x="222" y="48"/>
                </a:lnTo>
                <a:lnTo>
                  <a:pt x="219" y="52"/>
                </a:lnTo>
                <a:lnTo>
                  <a:pt x="218" y="52"/>
                </a:lnTo>
                <a:lnTo>
                  <a:pt x="215" y="52"/>
                </a:lnTo>
                <a:lnTo>
                  <a:pt x="214" y="55"/>
                </a:lnTo>
                <a:lnTo>
                  <a:pt x="213" y="56"/>
                </a:lnTo>
                <a:lnTo>
                  <a:pt x="206" y="59"/>
                </a:lnTo>
                <a:lnTo>
                  <a:pt x="202" y="61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87" name="Freeform 587"/>
          <p:cNvSpPr>
            <a:spLocks/>
          </p:cNvSpPr>
          <p:nvPr/>
        </p:nvSpPr>
        <p:spPr bwMode="auto">
          <a:xfrm>
            <a:off x="7286095" y="2735702"/>
            <a:ext cx="385865" cy="158923"/>
          </a:xfrm>
          <a:custGeom>
            <a:avLst/>
            <a:gdLst/>
            <a:ahLst/>
            <a:cxnLst>
              <a:cxn ang="0">
                <a:pos x="202" y="72"/>
              </a:cxn>
              <a:cxn ang="0">
                <a:pos x="201" y="74"/>
              </a:cxn>
              <a:cxn ang="0">
                <a:pos x="198" y="74"/>
              </a:cxn>
              <a:cxn ang="0">
                <a:pos x="197" y="75"/>
              </a:cxn>
              <a:cxn ang="0">
                <a:pos x="195" y="77"/>
              </a:cxn>
              <a:cxn ang="0">
                <a:pos x="195" y="78"/>
              </a:cxn>
              <a:cxn ang="0">
                <a:pos x="193" y="80"/>
              </a:cxn>
              <a:cxn ang="0">
                <a:pos x="191" y="81"/>
              </a:cxn>
              <a:cxn ang="0">
                <a:pos x="189" y="80"/>
              </a:cxn>
              <a:cxn ang="0">
                <a:pos x="185" y="78"/>
              </a:cxn>
              <a:cxn ang="0">
                <a:pos x="182" y="78"/>
              </a:cxn>
              <a:cxn ang="0">
                <a:pos x="178" y="77"/>
              </a:cxn>
              <a:cxn ang="0">
                <a:pos x="163" y="78"/>
              </a:cxn>
              <a:cxn ang="0">
                <a:pos x="161" y="67"/>
              </a:cxn>
              <a:cxn ang="0">
                <a:pos x="151" y="66"/>
              </a:cxn>
              <a:cxn ang="0">
                <a:pos x="151" y="63"/>
              </a:cxn>
              <a:cxn ang="0">
                <a:pos x="151" y="58"/>
              </a:cxn>
              <a:cxn ang="0">
                <a:pos x="153" y="58"/>
              </a:cxn>
              <a:cxn ang="0">
                <a:pos x="153" y="47"/>
              </a:cxn>
              <a:cxn ang="0">
                <a:pos x="149" y="48"/>
              </a:cxn>
              <a:cxn ang="0">
                <a:pos x="145" y="41"/>
              </a:cxn>
              <a:cxn ang="0">
                <a:pos x="141" y="37"/>
              </a:cxn>
              <a:cxn ang="0">
                <a:pos x="139" y="36"/>
              </a:cxn>
              <a:cxn ang="0">
                <a:pos x="135" y="34"/>
              </a:cxn>
              <a:cxn ang="0">
                <a:pos x="134" y="33"/>
              </a:cxn>
              <a:cxn ang="0">
                <a:pos x="130" y="34"/>
              </a:cxn>
              <a:cxn ang="0">
                <a:pos x="110" y="34"/>
              </a:cxn>
              <a:cxn ang="0">
                <a:pos x="90" y="37"/>
              </a:cxn>
              <a:cxn ang="0">
                <a:pos x="82" y="31"/>
              </a:cxn>
              <a:cxn ang="0">
                <a:pos x="70" y="19"/>
              </a:cxn>
              <a:cxn ang="0">
                <a:pos x="61" y="11"/>
              </a:cxn>
              <a:cxn ang="0">
                <a:pos x="57" y="9"/>
              </a:cxn>
              <a:cxn ang="0">
                <a:pos x="52" y="6"/>
              </a:cxn>
              <a:cxn ang="0">
                <a:pos x="46" y="3"/>
              </a:cxn>
              <a:cxn ang="0">
                <a:pos x="38" y="0"/>
              </a:cxn>
              <a:cxn ang="0">
                <a:pos x="0" y="11"/>
              </a:cxn>
            </a:cxnLst>
            <a:rect l="0" t="0" r="r" b="b"/>
            <a:pathLst>
              <a:path w="202" h="81">
                <a:moveTo>
                  <a:pt x="202" y="72"/>
                </a:moveTo>
                <a:lnTo>
                  <a:pt x="201" y="74"/>
                </a:lnTo>
                <a:lnTo>
                  <a:pt x="198" y="74"/>
                </a:lnTo>
                <a:lnTo>
                  <a:pt x="197" y="75"/>
                </a:lnTo>
                <a:lnTo>
                  <a:pt x="195" y="77"/>
                </a:lnTo>
                <a:lnTo>
                  <a:pt x="195" y="78"/>
                </a:lnTo>
                <a:lnTo>
                  <a:pt x="193" y="80"/>
                </a:lnTo>
                <a:lnTo>
                  <a:pt x="191" y="81"/>
                </a:lnTo>
                <a:lnTo>
                  <a:pt x="189" y="80"/>
                </a:lnTo>
                <a:lnTo>
                  <a:pt x="185" y="78"/>
                </a:lnTo>
                <a:lnTo>
                  <a:pt x="182" y="78"/>
                </a:lnTo>
                <a:lnTo>
                  <a:pt x="178" y="77"/>
                </a:lnTo>
                <a:lnTo>
                  <a:pt x="163" y="78"/>
                </a:lnTo>
                <a:lnTo>
                  <a:pt x="161" y="67"/>
                </a:lnTo>
                <a:lnTo>
                  <a:pt x="151" y="66"/>
                </a:lnTo>
                <a:lnTo>
                  <a:pt x="151" y="63"/>
                </a:lnTo>
                <a:lnTo>
                  <a:pt x="151" y="58"/>
                </a:lnTo>
                <a:lnTo>
                  <a:pt x="153" y="58"/>
                </a:lnTo>
                <a:lnTo>
                  <a:pt x="153" y="47"/>
                </a:lnTo>
                <a:lnTo>
                  <a:pt x="149" y="48"/>
                </a:lnTo>
                <a:lnTo>
                  <a:pt x="145" y="41"/>
                </a:lnTo>
                <a:lnTo>
                  <a:pt x="141" y="37"/>
                </a:lnTo>
                <a:lnTo>
                  <a:pt x="139" y="36"/>
                </a:lnTo>
                <a:lnTo>
                  <a:pt x="135" y="34"/>
                </a:lnTo>
                <a:lnTo>
                  <a:pt x="134" y="33"/>
                </a:lnTo>
                <a:lnTo>
                  <a:pt x="130" y="34"/>
                </a:lnTo>
                <a:lnTo>
                  <a:pt x="110" y="34"/>
                </a:lnTo>
                <a:lnTo>
                  <a:pt x="90" y="37"/>
                </a:lnTo>
                <a:lnTo>
                  <a:pt x="82" y="31"/>
                </a:lnTo>
                <a:lnTo>
                  <a:pt x="70" y="19"/>
                </a:lnTo>
                <a:lnTo>
                  <a:pt x="61" y="11"/>
                </a:lnTo>
                <a:lnTo>
                  <a:pt x="57" y="9"/>
                </a:lnTo>
                <a:lnTo>
                  <a:pt x="52" y="6"/>
                </a:lnTo>
                <a:lnTo>
                  <a:pt x="46" y="3"/>
                </a:lnTo>
                <a:lnTo>
                  <a:pt x="38" y="0"/>
                </a:lnTo>
                <a:lnTo>
                  <a:pt x="0" y="11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88" name="Freeform 588"/>
          <p:cNvSpPr>
            <a:spLocks/>
          </p:cNvSpPr>
          <p:nvPr/>
        </p:nvSpPr>
        <p:spPr bwMode="auto">
          <a:xfrm>
            <a:off x="3630118" y="2127929"/>
            <a:ext cx="17540" cy="85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0"/>
              </a:cxn>
              <a:cxn ang="0">
                <a:pos x="4" y="0"/>
              </a:cxn>
              <a:cxn ang="0">
                <a:pos x="6" y="2"/>
              </a:cxn>
              <a:cxn ang="0">
                <a:pos x="9" y="3"/>
              </a:cxn>
              <a:cxn ang="0">
                <a:pos x="6" y="3"/>
              </a:cxn>
              <a:cxn ang="0">
                <a:pos x="4" y="3"/>
              </a:cxn>
              <a:cxn ang="0">
                <a:pos x="1" y="2"/>
              </a:cxn>
              <a:cxn ang="0">
                <a:pos x="0" y="0"/>
              </a:cxn>
            </a:cxnLst>
            <a:rect l="0" t="0" r="r" b="b"/>
            <a:pathLst>
              <a:path w="9" h="3">
                <a:moveTo>
                  <a:pt x="0" y="0"/>
                </a:moveTo>
                <a:lnTo>
                  <a:pt x="1" y="0"/>
                </a:lnTo>
                <a:lnTo>
                  <a:pt x="4" y="0"/>
                </a:lnTo>
                <a:lnTo>
                  <a:pt x="6" y="2"/>
                </a:lnTo>
                <a:lnTo>
                  <a:pt x="9" y="3"/>
                </a:lnTo>
                <a:lnTo>
                  <a:pt x="6" y="3"/>
                </a:lnTo>
                <a:lnTo>
                  <a:pt x="4" y="3"/>
                </a:lnTo>
                <a:lnTo>
                  <a:pt x="1" y="2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89" name="Freeform 589"/>
          <p:cNvSpPr>
            <a:spLocks/>
          </p:cNvSpPr>
          <p:nvPr/>
        </p:nvSpPr>
        <p:spPr bwMode="auto">
          <a:xfrm>
            <a:off x="3630118" y="2127929"/>
            <a:ext cx="17540" cy="85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0"/>
              </a:cxn>
              <a:cxn ang="0">
                <a:pos x="4" y="0"/>
              </a:cxn>
              <a:cxn ang="0">
                <a:pos x="6" y="2"/>
              </a:cxn>
              <a:cxn ang="0">
                <a:pos x="9" y="3"/>
              </a:cxn>
              <a:cxn ang="0">
                <a:pos x="6" y="3"/>
              </a:cxn>
              <a:cxn ang="0">
                <a:pos x="4" y="3"/>
              </a:cxn>
              <a:cxn ang="0">
                <a:pos x="1" y="2"/>
              </a:cxn>
              <a:cxn ang="0">
                <a:pos x="0" y="0"/>
              </a:cxn>
            </a:cxnLst>
            <a:rect l="0" t="0" r="r" b="b"/>
            <a:pathLst>
              <a:path w="9" h="3">
                <a:moveTo>
                  <a:pt x="0" y="0"/>
                </a:moveTo>
                <a:lnTo>
                  <a:pt x="1" y="0"/>
                </a:lnTo>
                <a:lnTo>
                  <a:pt x="4" y="0"/>
                </a:lnTo>
                <a:lnTo>
                  <a:pt x="6" y="2"/>
                </a:lnTo>
                <a:lnTo>
                  <a:pt x="9" y="3"/>
                </a:lnTo>
                <a:lnTo>
                  <a:pt x="6" y="3"/>
                </a:lnTo>
                <a:lnTo>
                  <a:pt x="4" y="3"/>
                </a:lnTo>
                <a:lnTo>
                  <a:pt x="1" y="2"/>
                </a:lnTo>
                <a:lnTo>
                  <a:pt x="0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90" name="Freeform 590"/>
          <p:cNvSpPr>
            <a:spLocks/>
          </p:cNvSpPr>
          <p:nvPr/>
        </p:nvSpPr>
        <p:spPr bwMode="auto">
          <a:xfrm>
            <a:off x="6315584" y="2785096"/>
            <a:ext cx="181240" cy="103085"/>
          </a:xfrm>
          <a:custGeom>
            <a:avLst/>
            <a:gdLst/>
            <a:ahLst/>
            <a:cxnLst>
              <a:cxn ang="0">
                <a:pos x="8" y="49"/>
              </a:cxn>
              <a:cxn ang="0">
                <a:pos x="8" y="46"/>
              </a:cxn>
              <a:cxn ang="0">
                <a:pos x="7" y="38"/>
              </a:cxn>
              <a:cxn ang="0">
                <a:pos x="0" y="33"/>
              </a:cxn>
              <a:cxn ang="0">
                <a:pos x="0" y="27"/>
              </a:cxn>
              <a:cxn ang="0">
                <a:pos x="4" y="22"/>
              </a:cxn>
              <a:cxn ang="0">
                <a:pos x="7" y="19"/>
              </a:cxn>
              <a:cxn ang="0">
                <a:pos x="3" y="15"/>
              </a:cxn>
              <a:cxn ang="0">
                <a:pos x="0" y="11"/>
              </a:cxn>
              <a:cxn ang="0">
                <a:pos x="0" y="7"/>
              </a:cxn>
              <a:cxn ang="0">
                <a:pos x="0" y="2"/>
              </a:cxn>
              <a:cxn ang="0">
                <a:pos x="6" y="0"/>
              </a:cxn>
              <a:cxn ang="0">
                <a:pos x="8" y="0"/>
              </a:cxn>
              <a:cxn ang="0">
                <a:pos x="7" y="4"/>
              </a:cxn>
              <a:cxn ang="0">
                <a:pos x="10" y="7"/>
              </a:cxn>
              <a:cxn ang="0">
                <a:pos x="14" y="7"/>
              </a:cxn>
              <a:cxn ang="0">
                <a:pos x="23" y="7"/>
              </a:cxn>
              <a:cxn ang="0">
                <a:pos x="35" y="7"/>
              </a:cxn>
              <a:cxn ang="0">
                <a:pos x="47" y="8"/>
              </a:cxn>
              <a:cxn ang="0">
                <a:pos x="51" y="8"/>
              </a:cxn>
              <a:cxn ang="0">
                <a:pos x="56" y="5"/>
              </a:cxn>
              <a:cxn ang="0">
                <a:pos x="63" y="2"/>
              </a:cxn>
              <a:cxn ang="0">
                <a:pos x="69" y="0"/>
              </a:cxn>
              <a:cxn ang="0">
                <a:pos x="75" y="0"/>
              </a:cxn>
              <a:cxn ang="0">
                <a:pos x="76" y="2"/>
              </a:cxn>
              <a:cxn ang="0">
                <a:pos x="84" y="4"/>
              </a:cxn>
              <a:cxn ang="0">
                <a:pos x="89" y="7"/>
              </a:cxn>
              <a:cxn ang="0">
                <a:pos x="95" y="7"/>
              </a:cxn>
              <a:cxn ang="0">
                <a:pos x="95" y="10"/>
              </a:cxn>
              <a:cxn ang="0">
                <a:pos x="92" y="13"/>
              </a:cxn>
              <a:cxn ang="0">
                <a:pos x="88" y="15"/>
              </a:cxn>
              <a:cxn ang="0">
                <a:pos x="84" y="18"/>
              </a:cxn>
              <a:cxn ang="0">
                <a:pos x="84" y="26"/>
              </a:cxn>
              <a:cxn ang="0">
                <a:pos x="81" y="26"/>
              </a:cxn>
              <a:cxn ang="0">
                <a:pos x="81" y="27"/>
              </a:cxn>
              <a:cxn ang="0">
                <a:pos x="77" y="29"/>
              </a:cxn>
              <a:cxn ang="0">
                <a:pos x="79" y="30"/>
              </a:cxn>
              <a:cxn ang="0">
                <a:pos x="80" y="30"/>
              </a:cxn>
              <a:cxn ang="0">
                <a:pos x="81" y="32"/>
              </a:cxn>
              <a:cxn ang="0">
                <a:pos x="83" y="35"/>
              </a:cxn>
              <a:cxn ang="0">
                <a:pos x="85" y="38"/>
              </a:cxn>
              <a:cxn ang="0">
                <a:pos x="85" y="40"/>
              </a:cxn>
              <a:cxn ang="0">
                <a:pos x="83" y="40"/>
              </a:cxn>
              <a:cxn ang="0">
                <a:pos x="77" y="40"/>
              </a:cxn>
              <a:cxn ang="0">
                <a:pos x="72" y="38"/>
              </a:cxn>
              <a:cxn ang="0">
                <a:pos x="67" y="40"/>
              </a:cxn>
              <a:cxn ang="0">
                <a:pos x="63" y="40"/>
              </a:cxn>
              <a:cxn ang="0">
                <a:pos x="60" y="43"/>
              </a:cxn>
              <a:cxn ang="0">
                <a:pos x="57" y="43"/>
              </a:cxn>
              <a:cxn ang="0">
                <a:pos x="56" y="48"/>
              </a:cxn>
              <a:cxn ang="0">
                <a:pos x="52" y="51"/>
              </a:cxn>
              <a:cxn ang="0">
                <a:pos x="47" y="51"/>
              </a:cxn>
              <a:cxn ang="0">
                <a:pos x="38" y="48"/>
              </a:cxn>
              <a:cxn ang="0">
                <a:pos x="35" y="46"/>
              </a:cxn>
              <a:cxn ang="0">
                <a:pos x="31" y="46"/>
              </a:cxn>
              <a:cxn ang="0">
                <a:pos x="23" y="49"/>
              </a:cxn>
              <a:cxn ang="0">
                <a:pos x="16" y="49"/>
              </a:cxn>
              <a:cxn ang="0">
                <a:pos x="12" y="49"/>
              </a:cxn>
              <a:cxn ang="0">
                <a:pos x="8" y="49"/>
              </a:cxn>
            </a:cxnLst>
            <a:rect l="0" t="0" r="r" b="b"/>
            <a:pathLst>
              <a:path w="95" h="51">
                <a:moveTo>
                  <a:pt x="8" y="49"/>
                </a:moveTo>
                <a:lnTo>
                  <a:pt x="8" y="46"/>
                </a:lnTo>
                <a:lnTo>
                  <a:pt x="7" y="38"/>
                </a:lnTo>
                <a:lnTo>
                  <a:pt x="0" y="33"/>
                </a:lnTo>
                <a:lnTo>
                  <a:pt x="0" y="27"/>
                </a:lnTo>
                <a:lnTo>
                  <a:pt x="4" y="22"/>
                </a:lnTo>
                <a:lnTo>
                  <a:pt x="7" y="19"/>
                </a:lnTo>
                <a:lnTo>
                  <a:pt x="3" y="15"/>
                </a:lnTo>
                <a:lnTo>
                  <a:pt x="0" y="11"/>
                </a:lnTo>
                <a:lnTo>
                  <a:pt x="0" y="7"/>
                </a:lnTo>
                <a:lnTo>
                  <a:pt x="0" y="2"/>
                </a:lnTo>
                <a:lnTo>
                  <a:pt x="6" y="0"/>
                </a:lnTo>
                <a:lnTo>
                  <a:pt x="8" y="0"/>
                </a:lnTo>
                <a:lnTo>
                  <a:pt x="7" y="4"/>
                </a:lnTo>
                <a:lnTo>
                  <a:pt x="10" y="7"/>
                </a:lnTo>
                <a:lnTo>
                  <a:pt x="14" y="7"/>
                </a:lnTo>
                <a:lnTo>
                  <a:pt x="23" y="7"/>
                </a:lnTo>
                <a:lnTo>
                  <a:pt x="35" y="7"/>
                </a:lnTo>
                <a:lnTo>
                  <a:pt x="47" y="8"/>
                </a:lnTo>
                <a:lnTo>
                  <a:pt x="51" y="8"/>
                </a:lnTo>
                <a:lnTo>
                  <a:pt x="56" y="5"/>
                </a:lnTo>
                <a:lnTo>
                  <a:pt x="63" y="2"/>
                </a:lnTo>
                <a:lnTo>
                  <a:pt x="69" y="0"/>
                </a:lnTo>
                <a:lnTo>
                  <a:pt x="75" y="0"/>
                </a:lnTo>
                <a:lnTo>
                  <a:pt x="76" y="2"/>
                </a:lnTo>
                <a:lnTo>
                  <a:pt x="84" y="4"/>
                </a:lnTo>
                <a:lnTo>
                  <a:pt x="89" y="7"/>
                </a:lnTo>
                <a:lnTo>
                  <a:pt x="95" y="7"/>
                </a:lnTo>
                <a:lnTo>
                  <a:pt x="95" y="10"/>
                </a:lnTo>
                <a:lnTo>
                  <a:pt x="92" y="13"/>
                </a:lnTo>
                <a:lnTo>
                  <a:pt x="88" y="15"/>
                </a:lnTo>
                <a:lnTo>
                  <a:pt x="84" y="18"/>
                </a:lnTo>
                <a:lnTo>
                  <a:pt x="84" y="26"/>
                </a:lnTo>
                <a:lnTo>
                  <a:pt x="81" y="26"/>
                </a:lnTo>
                <a:lnTo>
                  <a:pt x="81" y="27"/>
                </a:lnTo>
                <a:lnTo>
                  <a:pt x="77" y="29"/>
                </a:lnTo>
                <a:lnTo>
                  <a:pt x="79" y="30"/>
                </a:lnTo>
                <a:lnTo>
                  <a:pt x="80" y="30"/>
                </a:lnTo>
                <a:lnTo>
                  <a:pt x="81" y="32"/>
                </a:lnTo>
                <a:lnTo>
                  <a:pt x="83" y="35"/>
                </a:lnTo>
                <a:lnTo>
                  <a:pt x="85" y="38"/>
                </a:lnTo>
                <a:lnTo>
                  <a:pt x="85" y="40"/>
                </a:lnTo>
                <a:lnTo>
                  <a:pt x="83" y="40"/>
                </a:lnTo>
                <a:lnTo>
                  <a:pt x="77" y="40"/>
                </a:lnTo>
                <a:lnTo>
                  <a:pt x="72" y="38"/>
                </a:lnTo>
                <a:lnTo>
                  <a:pt x="67" y="40"/>
                </a:lnTo>
                <a:lnTo>
                  <a:pt x="63" y="40"/>
                </a:lnTo>
                <a:lnTo>
                  <a:pt x="60" y="43"/>
                </a:lnTo>
                <a:lnTo>
                  <a:pt x="57" y="43"/>
                </a:lnTo>
                <a:lnTo>
                  <a:pt x="56" y="48"/>
                </a:lnTo>
                <a:lnTo>
                  <a:pt x="52" y="51"/>
                </a:lnTo>
                <a:lnTo>
                  <a:pt x="47" y="51"/>
                </a:lnTo>
                <a:lnTo>
                  <a:pt x="38" y="48"/>
                </a:lnTo>
                <a:lnTo>
                  <a:pt x="35" y="46"/>
                </a:lnTo>
                <a:lnTo>
                  <a:pt x="31" y="46"/>
                </a:lnTo>
                <a:lnTo>
                  <a:pt x="23" y="49"/>
                </a:lnTo>
                <a:lnTo>
                  <a:pt x="16" y="49"/>
                </a:lnTo>
                <a:lnTo>
                  <a:pt x="12" y="49"/>
                </a:lnTo>
                <a:lnTo>
                  <a:pt x="8" y="49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91" name="Freeform 591"/>
          <p:cNvSpPr>
            <a:spLocks/>
          </p:cNvSpPr>
          <p:nvPr/>
        </p:nvSpPr>
        <p:spPr bwMode="auto">
          <a:xfrm>
            <a:off x="6315584" y="2785096"/>
            <a:ext cx="181240" cy="103085"/>
          </a:xfrm>
          <a:custGeom>
            <a:avLst/>
            <a:gdLst/>
            <a:ahLst/>
            <a:cxnLst>
              <a:cxn ang="0">
                <a:pos x="8" y="49"/>
              </a:cxn>
              <a:cxn ang="0">
                <a:pos x="8" y="46"/>
              </a:cxn>
              <a:cxn ang="0">
                <a:pos x="7" y="38"/>
              </a:cxn>
              <a:cxn ang="0">
                <a:pos x="0" y="33"/>
              </a:cxn>
              <a:cxn ang="0">
                <a:pos x="0" y="27"/>
              </a:cxn>
              <a:cxn ang="0">
                <a:pos x="4" y="22"/>
              </a:cxn>
              <a:cxn ang="0">
                <a:pos x="7" y="19"/>
              </a:cxn>
              <a:cxn ang="0">
                <a:pos x="3" y="15"/>
              </a:cxn>
              <a:cxn ang="0">
                <a:pos x="0" y="11"/>
              </a:cxn>
              <a:cxn ang="0">
                <a:pos x="0" y="7"/>
              </a:cxn>
              <a:cxn ang="0">
                <a:pos x="0" y="2"/>
              </a:cxn>
              <a:cxn ang="0">
                <a:pos x="6" y="0"/>
              </a:cxn>
              <a:cxn ang="0">
                <a:pos x="8" y="0"/>
              </a:cxn>
              <a:cxn ang="0">
                <a:pos x="7" y="4"/>
              </a:cxn>
              <a:cxn ang="0">
                <a:pos x="10" y="7"/>
              </a:cxn>
              <a:cxn ang="0">
                <a:pos x="14" y="7"/>
              </a:cxn>
              <a:cxn ang="0">
                <a:pos x="23" y="7"/>
              </a:cxn>
              <a:cxn ang="0">
                <a:pos x="35" y="7"/>
              </a:cxn>
              <a:cxn ang="0">
                <a:pos x="47" y="8"/>
              </a:cxn>
              <a:cxn ang="0">
                <a:pos x="51" y="8"/>
              </a:cxn>
              <a:cxn ang="0">
                <a:pos x="56" y="5"/>
              </a:cxn>
              <a:cxn ang="0">
                <a:pos x="63" y="2"/>
              </a:cxn>
              <a:cxn ang="0">
                <a:pos x="69" y="0"/>
              </a:cxn>
              <a:cxn ang="0">
                <a:pos x="75" y="0"/>
              </a:cxn>
              <a:cxn ang="0">
                <a:pos x="76" y="2"/>
              </a:cxn>
              <a:cxn ang="0">
                <a:pos x="84" y="4"/>
              </a:cxn>
              <a:cxn ang="0">
                <a:pos x="89" y="7"/>
              </a:cxn>
              <a:cxn ang="0">
                <a:pos x="95" y="7"/>
              </a:cxn>
              <a:cxn ang="0">
                <a:pos x="95" y="10"/>
              </a:cxn>
              <a:cxn ang="0">
                <a:pos x="92" y="13"/>
              </a:cxn>
              <a:cxn ang="0">
                <a:pos x="88" y="15"/>
              </a:cxn>
              <a:cxn ang="0">
                <a:pos x="84" y="18"/>
              </a:cxn>
              <a:cxn ang="0">
                <a:pos x="84" y="26"/>
              </a:cxn>
              <a:cxn ang="0">
                <a:pos x="81" y="26"/>
              </a:cxn>
              <a:cxn ang="0">
                <a:pos x="81" y="27"/>
              </a:cxn>
              <a:cxn ang="0">
                <a:pos x="77" y="29"/>
              </a:cxn>
              <a:cxn ang="0">
                <a:pos x="79" y="30"/>
              </a:cxn>
              <a:cxn ang="0">
                <a:pos x="80" y="30"/>
              </a:cxn>
              <a:cxn ang="0">
                <a:pos x="81" y="32"/>
              </a:cxn>
              <a:cxn ang="0">
                <a:pos x="83" y="35"/>
              </a:cxn>
              <a:cxn ang="0">
                <a:pos x="85" y="38"/>
              </a:cxn>
              <a:cxn ang="0">
                <a:pos x="85" y="40"/>
              </a:cxn>
              <a:cxn ang="0">
                <a:pos x="83" y="40"/>
              </a:cxn>
              <a:cxn ang="0">
                <a:pos x="77" y="40"/>
              </a:cxn>
              <a:cxn ang="0">
                <a:pos x="72" y="38"/>
              </a:cxn>
              <a:cxn ang="0">
                <a:pos x="67" y="40"/>
              </a:cxn>
              <a:cxn ang="0">
                <a:pos x="63" y="40"/>
              </a:cxn>
              <a:cxn ang="0">
                <a:pos x="60" y="43"/>
              </a:cxn>
              <a:cxn ang="0">
                <a:pos x="57" y="43"/>
              </a:cxn>
              <a:cxn ang="0">
                <a:pos x="56" y="48"/>
              </a:cxn>
              <a:cxn ang="0">
                <a:pos x="52" y="51"/>
              </a:cxn>
              <a:cxn ang="0">
                <a:pos x="47" y="51"/>
              </a:cxn>
              <a:cxn ang="0">
                <a:pos x="38" y="48"/>
              </a:cxn>
              <a:cxn ang="0">
                <a:pos x="35" y="46"/>
              </a:cxn>
              <a:cxn ang="0">
                <a:pos x="31" y="46"/>
              </a:cxn>
              <a:cxn ang="0">
                <a:pos x="23" y="49"/>
              </a:cxn>
              <a:cxn ang="0">
                <a:pos x="16" y="49"/>
              </a:cxn>
              <a:cxn ang="0">
                <a:pos x="12" y="49"/>
              </a:cxn>
              <a:cxn ang="0">
                <a:pos x="8" y="49"/>
              </a:cxn>
            </a:cxnLst>
            <a:rect l="0" t="0" r="r" b="b"/>
            <a:pathLst>
              <a:path w="95" h="51">
                <a:moveTo>
                  <a:pt x="8" y="49"/>
                </a:moveTo>
                <a:lnTo>
                  <a:pt x="8" y="46"/>
                </a:lnTo>
                <a:lnTo>
                  <a:pt x="7" y="38"/>
                </a:lnTo>
                <a:lnTo>
                  <a:pt x="0" y="33"/>
                </a:lnTo>
                <a:lnTo>
                  <a:pt x="0" y="27"/>
                </a:lnTo>
                <a:lnTo>
                  <a:pt x="4" y="22"/>
                </a:lnTo>
                <a:lnTo>
                  <a:pt x="7" y="19"/>
                </a:lnTo>
                <a:lnTo>
                  <a:pt x="3" y="15"/>
                </a:lnTo>
                <a:lnTo>
                  <a:pt x="0" y="11"/>
                </a:lnTo>
                <a:lnTo>
                  <a:pt x="0" y="7"/>
                </a:lnTo>
                <a:lnTo>
                  <a:pt x="0" y="2"/>
                </a:lnTo>
                <a:lnTo>
                  <a:pt x="6" y="0"/>
                </a:lnTo>
                <a:lnTo>
                  <a:pt x="8" y="0"/>
                </a:lnTo>
                <a:lnTo>
                  <a:pt x="7" y="4"/>
                </a:lnTo>
                <a:lnTo>
                  <a:pt x="10" y="7"/>
                </a:lnTo>
                <a:lnTo>
                  <a:pt x="14" y="7"/>
                </a:lnTo>
                <a:lnTo>
                  <a:pt x="23" y="7"/>
                </a:lnTo>
                <a:lnTo>
                  <a:pt x="35" y="7"/>
                </a:lnTo>
                <a:lnTo>
                  <a:pt x="47" y="8"/>
                </a:lnTo>
                <a:lnTo>
                  <a:pt x="51" y="8"/>
                </a:lnTo>
                <a:lnTo>
                  <a:pt x="56" y="5"/>
                </a:lnTo>
                <a:lnTo>
                  <a:pt x="63" y="2"/>
                </a:lnTo>
                <a:lnTo>
                  <a:pt x="69" y="0"/>
                </a:lnTo>
                <a:lnTo>
                  <a:pt x="75" y="0"/>
                </a:lnTo>
                <a:lnTo>
                  <a:pt x="76" y="2"/>
                </a:lnTo>
                <a:lnTo>
                  <a:pt x="84" y="4"/>
                </a:lnTo>
                <a:lnTo>
                  <a:pt x="89" y="7"/>
                </a:lnTo>
                <a:lnTo>
                  <a:pt x="95" y="7"/>
                </a:lnTo>
                <a:lnTo>
                  <a:pt x="95" y="10"/>
                </a:lnTo>
                <a:lnTo>
                  <a:pt x="92" y="13"/>
                </a:lnTo>
                <a:lnTo>
                  <a:pt x="88" y="15"/>
                </a:lnTo>
                <a:lnTo>
                  <a:pt x="84" y="18"/>
                </a:lnTo>
                <a:lnTo>
                  <a:pt x="84" y="26"/>
                </a:lnTo>
                <a:lnTo>
                  <a:pt x="81" y="26"/>
                </a:lnTo>
                <a:lnTo>
                  <a:pt x="81" y="27"/>
                </a:lnTo>
                <a:lnTo>
                  <a:pt x="77" y="29"/>
                </a:lnTo>
                <a:lnTo>
                  <a:pt x="79" y="30"/>
                </a:lnTo>
                <a:lnTo>
                  <a:pt x="80" y="30"/>
                </a:lnTo>
                <a:lnTo>
                  <a:pt x="81" y="32"/>
                </a:lnTo>
                <a:lnTo>
                  <a:pt x="83" y="35"/>
                </a:lnTo>
                <a:lnTo>
                  <a:pt x="85" y="38"/>
                </a:lnTo>
                <a:lnTo>
                  <a:pt x="85" y="40"/>
                </a:lnTo>
                <a:lnTo>
                  <a:pt x="83" y="40"/>
                </a:lnTo>
                <a:lnTo>
                  <a:pt x="77" y="40"/>
                </a:lnTo>
                <a:lnTo>
                  <a:pt x="72" y="38"/>
                </a:lnTo>
                <a:lnTo>
                  <a:pt x="67" y="40"/>
                </a:lnTo>
                <a:lnTo>
                  <a:pt x="63" y="40"/>
                </a:lnTo>
                <a:lnTo>
                  <a:pt x="60" y="43"/>
                </a:lnTo>
                <a:lnTo>
                  <a:pt x="57" y="43"/>
                </a:lnTo>
                <a:lnTo>
                  <a:pt x="56" y="48"/>
                </a:lnTo>
                <a:lnTo>
                  <a:pt x="52" y="51"/>
                </a:lnTo>
                <a:lnTo>
                  <a:pt x="47" y="51"/>
                </a:lnTo>
                <a:lnTo>
                  <a:pt x="38" y="48"/>
                </a:lnTo>
                <a:lnTo>
                  <a:pt x="35" y="46"/>
                </a:lnTo>
                <a:lnTo>
                  <a:pt x="31" y="46"/>
                </a:lnTo>
                <a:lnTo>
                  <a:pt x="23" y="49"/>
                </a:lnTo>
                <a:lnTo>
                  <a:pt x="16" y="49"/>
                </a:lnTo>
                <a:lnTo>
                  <a:pt x="12" y="49"/>
                </a:lnTo>
                <a:lnTo>
                  <a:pt x="8" y="49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92" name="Freeform 592"/>
          <p:cNvSpPr>
            <a:spLocks/>
          </p:cNvSpPr>
          <p:nvPr/>
        </p:nvSpPr>
        <p:spPr bwMode="auto">
          <a:xfrm>
            <a:off x="6089522" y="2750735"/>
            <a:ext cx="5847" cy="8591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1" y="1"/>
              </a:cxn>
              <a:cxn ang="0">
                <a:pos x="4" y="3"/>
              </a:cxn>
              <a:cxn ang="0">
                <a:pos x="4" y="4"/>
              </a:cxn>
              <a:cxn ang="0">
                <a:pos x="2" y="3"/>
              </a:cxn>
              <a:cxn ang="0">
                <a:pos x="0" y="3"/>
              </a:cxn>
              <a:cxn ang="0">
                <a:pos x="0" y="0"/>
              </a:cxn>
              <a:cxn ang="0">
                <a:pos x="1" y="0"/>
              </a:cxn>
            </a:cxnLst>
            <a:rect l="0" t="0" r="r" b="b"/>
            <a:pathLst>
              <a:path w="4" h="4">
                <a:moveTo>
                  <a:pt x="1" y="0"/>
                </a:moveTo>
                <a:lnTo>
                  <a:pt x="1" y="1"/>
                </a:lnTo>
                <a:lnTo>
                  <a:pt x="4" y="3"/>
                </a:lnTo>
                <a:lnTo>
                  <a:pt x="4" y="4"/>
                </a:lnTo>
                <a:lnTo>
                  <a:pt x="2" y="3"/>
                </a:lnTo>
                <a:lnTo>
                  <a:pt x="0" y="3"/>
                </a:ln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93" name="Freeform 593"/>
          <p:cNvSpPr>
            <a:spLocks/>
          </p:cNvSpPr>
          <p:nvPr/>
        </p:nvSpPr>
        <p:spPr bwMode="auto">
          <a:xfrm>
            <a:off x="6089522" y="2750735"/>
            <a:ext cx="5847" cy="8591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1" y="1"/>
              </a:cxn>
              <a:cxn ang="0">
                <a:pos x="4" y="3"/>
              </a:cxn>
              <a:cxn ang="0">
                <a:pos x="4" y="4"/>
              </a:cxn>
              <a:cxn ang="0">
                <a:pos x="2" y="3"/>
              </a:cxn>
              <a:cxn ang="0">
                <a:pos x="0" y="3"/>
              </a:cxn>
              <a:cxn ang="0">
                <a:pos x="0" y="0"/>
              </a:cxn>
              <a:cxn ang="0">
                <a:pos x="1" y="0"/>
              </a:cxn>
            </a:cxnLst>
            <a:rect l="0" t="0" r="r" b="b"/>
            <a:pathLst>
              <a:path w="4" h="4">
                <a:moveTo>
                  <a:pt x="1" y="0"/>
                </a:moveTo>
                <a:lnTo>
                  <a:pt x="1" y="1"/>
                </a:lnTo>
                <a:lnTo>
                  <a:pt x="4" y="3"/>
                </a:lnTo>
                <a:lnTo>
                  <a:pt x="4" y="4"/>
                </a:lnTo>
                <a:lnTo>
                  <a:pt x="2" y="3"/>
                </a:lnTo>
                <a:lnTo>
                  <a:pt x="0" y="3"/>
                </a:lnTo>
                <a:lnTo>
                  <a:pt x="0" y="0"/>
                </a:lnTo>
                <a:lnTo>
                  <a:pt x="1" y="0"/>
                </a:lnTo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94" name="Freeform 594"/>
          <p:cNvSpPr>
            <a:spLocks/>
          </p:cNvSpPr>
          <p:nvPr/>
        </p:nvSpPr>
        <p:spPr bwMode="auto">
          <a:xfrm>
            <a:off x="6083676" y="2750735"/>
            <a:ext cx="5846" cy="17181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0" y="0"/>
              </a:cxn>
              <a:cxn ang="0">
                <a:pos x="1" y="1"/>
              </a:cxn>
              <a:cxn ang="0">
                <a:pos x="1" y="3"/>
              </a:cxn>
              <a:cxn ang="0">
                <a:pos x="1" y="4"/>
              </a:cxn>
              <a:cxn ang="0">
                <a:pos x="1" y="6"/>
              </a:cxn>
              <a:cxn ang="0">
                <a:pos x="3" y="9"/>
              </a:cxn>
              <a:cxn ang="0">
                <a:pos x="0" y="6"/>
              </a:cxn>
              <a:cxn ang="0">
                <a:pos x="0" y="4"/>
              </a:cxn>
              <a:cxn ang="0">
                <a:pos x="1" y="4"/>
              </a:cxn>
              <a:cxn ang="0">
                <a:pos x="1" y="3"/>
              </a:cxn>
              <a:cxn ang="0">
                <a:pos x="0" y="1"/>
              </a:cxn>
            </a:cxnLst>
            <a:rect l="0" t="0" r="r" b="b"/>
            <a:pathLst>
              <a:path w="3" h="9">
                <a:moveTo>
                  <a:pt x="0" y="1"/>
                </a:moveTo>
                <a:lnTo>
                  <a:pt x="0" y="0"/>
                </a:lnTo>
                <a:lnTo>
                  <a:pt x="1" y="1"/>
                </a:lnTo>
                <a:lnTo>
                  <a:pt x="1" y="3"/>
                </a:lnTo>
                <a:lnTo>
                  <a:pt x="1" y="4"/>
                </a:lnTo>
                <a:lnTo>
                  <a:pt x="1" y="6"/>
                </a:lnTo>
                <a:lnTo>
                  <a:pt x="3" y="9"/>
                </a:lnTo>
                <a:lnTo>
                  <a:pt x="0" y="6"/>
                </a:lnTo>
                <a:lnTo>
                  <a:pt x="0" y="4"/>
                </a:lnTo>
                <a:lnTo>
                  <a:pt x="1" y="4"/>
                </a:lnTo>
                <a:lnTo>
                  <a:pt x="1" y="3"/>
                </a:lnTo>
                <a:lnTo>
                  <a:pt x="0" y="1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95" name="Freeform 595"/>
          <p:cNvSpPr>
            <a:spLocks/>
          </p:cNvSpPr>
          <p:nvPr/>
        </p:nvSpPr>
        <p:spPr bwMode="auto">
          <a:xfrm>
            <a:off x="6083676" y="2750735"/>
            <a:ext cx="5846" cy="17181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0" y="0"/>
              </a:cxn>
              <a:cxn ang="0">
                <a:pos x="1" y="1"/>
              </a:cxn>
              <a:cxn ang="0">
                <a:pos x="1" y="3"/>
              </a:cxn>
              <a:cxn ang="0">
                <a:pos x="1" y="4"/>
              </a:cxn>
              <a:cxn ang="0">
                <a:pos x="1" y="6"/>
              </a:cxn>
              <a:cxn ang="0">
                <a:pos x="3" y="9"/>
              </a:cxn>
              <a:cxn ang="0">
                <a:pos x="0" y="6"/>
              </a:cxn>
              <a:cxn ang="0">
                <a:pos x="0" y="4"/>
              </a:cxn>
              <a:cxn ang="0">
                <a:pos x="1" y="4"/>
              </a:cxn>
              <a:cxn ang="0">
                <a:pos x="1" y="3"/>
              </a:cxn>
              <a:cxn ang="0">
                <a:pos x="0" y="1"/>
              </a:cxn>
            </a:cxnLst>
            <a:rect l="0" t="0" r="r" b="b"/>
            <a:pathLst>
              <a:path w="3" h="9">
                <a:moveTo>
                  <a:pt x="0" y="1"/>
                </a:moveTo>
                <a:lnTo>
                  <a:pt x="0" y="0"/>
                </a:lnTo>
                <a:lnTo>
                  <a:pt x="1" y="1"/>
                </a:lnTo>
                <a:lnTo>
                  <a:pt x="1" y="3"/>
                </a:lnTo>
                <a:lnTo>
                  <a:pt x="1" y="4"/>
                </a:lnTo>
                <a:lnTo>
                  <a:pt x="1" y="6"/>
                </a:lnTo>
                <a:lnTo>
                  <a:pt x="3" y="9"/>
                </a:lnTo>
                <a:lnTo>
                  <a:pt x="0" y="6"/>
                </a:lnTo>
                <a:lnTo>
                  <a:pt x="0" y="4"/>
                </a:lnTo>
                <a:lnTo>
                  <a:pt x="1" y="4"/>
                </a:lnTo>
                <a:lnTo>
                  <a:pt x="1" y="3"/>
                </a:lnTo>
                <a:lnTo>
                  <a:pt x="0" y="1"/>
                </a:lnTo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96" name="Freeform 596"/>
          <p:cNvSpPr>
            <a:spLocks/>
          </p:cNvSpPr>
          <p:nvPr/>
        </p:nvSpPr>
        <p:spPr bwMode="auto">
          <a:xfrm>
            <a:off x="6144090" y="2810868"/>
            <a:ext cx="13642" cy="644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0"/>
              </a:cxn>
              <a:cxn ang="0">
                <a:pos x="4" y="2"/>
              </a:cxn>
              <a:cxn ang="0">
                <a:pos x="7" y="2"/>
              </a:cxn>
              <a:cxn ang="0">
                <a:pos x="4" y="3"/>
              </a:cxn>
              <a:cxn ang="0">
                <a:pos x="1" y="2"/>
              </a:cxn>
              <a:cxn ang="0">
                <a:pos x="0" y="0"/>
              </a:cxn>
            </a:cxnLst>
            <a:rect l="0" t="0" r="r" b="b"/>
            <a:pathLst>
              <a:path w="7" h="3">
                <a:moveTo>
                  <a:pt x="0" y="0"/>
                </a:moveTo>
                <a:lnTo>
                  <a:pt x="1" y="0"/>
                </a:lnTo>
                <a:lnTo>
                  <a:pt x="4" y="2"/>
                </a:lnTo>
                <a:lnTo>
                  <a:pt x="7" y="2"/>
                </a:lnTo>
                <a:lnTo>
                  <a:pt x="4" y="3"/>
                </a:lnTo>
                <a:lnTo>
                  <a:pt x="1" y="2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97" name="Freeform 597"/>
          <p:cNvSpPr>
            <a:spLocks/>
          </p:cNvSpPr>
          <p:nvPr/>
        </p:nvSpPr>
        <p:spPr bwMode="auto">
          <a:xfrm>
            <a:off x="6144090" y="2810868"/>
            <a:ext cx="13642" cy="644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0"/>
              </a:cxn>
              <a:cxn ang="0">
                <a:pos x="4" y="2"/>
              </a:cxn>
              <a:cxn ang="0">
                <a:pos x="7" y="2"/>
              </a:cxn>
              <a:cxn ang="0">
                <a:pos x="4" y="3"/>
              </a:cxn>
              <a:cxn ang="0">
                <a:pos x="1" y="2"/>
              </a:cxn>
              <a:cxn ang="0">
                <a:pos x="0" y="0"/>
              </a:cxn>
            </a:cxnLst>
            <a:rect l="0" t="0" r="r" b="b"/>
            <a:pathLst>
              <a:path w="7" h="3">
                <a:moveTo>
                  <a:pt x="0" y="0"/>
                </a:moveTo>
                <a:lnTo>
                  <a:pt x="1" y="0"/>
                </a:lnTo>
                <a:lnTo>
                  <a:pt x="4" y="2"/>
                </a:lnTo>
                <a:lnTo>
                  <a:pt x="7" y="2"/>
                </a:lnTo>
                <a:lnTo>
                  <a:pt x="4" y="3"/>
                </a:lnTo>
                <a:lnTo>
                  <a:pt x="1" y="2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98" name="Freeform 598"/>
          <p:cNvSpPr>
            <a:spLocks/>
          </p:cNvSpPr>
          <p:nvPr/>
        </p:nvSpPr>
        <p:spPr bwMode="auto">
          <a:xfrm>
            <a:off x="6151885" y="2828050"/>
            <a:ext cx="13642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5" y="0"/>
              </a:cxn>
              <a:cxn ang="0">
                <a:pos x="7" y="0"/>
              </a:cxn>
              <a:cxn ang="0">
                <a:pos x="7" y="1"/>
              </a:cxn>
              <a:cxn ang="0">
                <a:pos x="0" y="1"/>
              </a:cxn>
              <a:cxn ang="0">
                <a:pos x="0" y="0"/>
              </a:cxn>
            </a:cxnLst>
            <a:rect l="0" t="0" r="r" b="b"/>
            <a:pathLst>
              <a:path w="7" h="1">
                <a:moveTo>
                  <a:pt x="0" y="0"/>
                </a:moveTo>
                <a:lnTo>
                  <a:pt x="5" y="0"/>
                </a:lnTo>
                <a:lnTo>
                  <a:pt x="7" y="0"/>
                </a:lnTo>
                <a:lnTo>
                  <a:pt x="7" y="1"/>
                </a:ln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699" name="Freeform 599"/>
          <p:cNvSpPr>
            <a:spLocks/>
          </p:cNvSpPr>
          <p:nvPr/>
        </p:nvSpPr>
        <p:spPr bwMode="auto">
          <a:xfrm>
            <a:off x="6151885" y="2828050"/>
            <a:ext cx="13642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5" y="0"/>
              </a:cxn>
              <a:cxn ang="0">
                <a:pos x="7" y="0"/>
              </a:cxn>
              <a:cxn ang="0">
                <a:pos x="7" y="1"/>
              </a:cxn>
              <a:cxn ang="0">
                <a:pos x="0" y="1"/>
              </a:cxn>
              <a:cxn ang="0">
                <a:pos x="0" y="0"/>
              </a:cxn>
            </a:cxnLst>
            <a:rect l="0" t="0" r="r" b="b"/>
            <a:pathLst>
              <a:path w="7" h="1">
                <a:moveTo>
                  <a:pt x="0" y="0"/>
                </a:moveTo>
                <a:lnTo>
                  <a:pt x="5" y="0"/>
                </a:lnTo>
                <a:lnTo>
                  <a:pt x="7" y="0"/>
                </a:lnTo>
                <a:lnTo>
                  <a:pt x="7" y="1"/>
                </a:lnTo>
                <a:lnTo>
                  <a:pt x="0" y="1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00" name="Freeform 600"/>
          <p:cNvSpPr>
            <a:spLocks/>
          </p:cNvSpPr>
          <p:nvPr/>
        </p:nvSpPr>
        <p:spPr bwMode="auto">
          <a:xfrm>
            <a:off x="6165527" y="2823755"/>
            <a:ext cx="38977" cy="21476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2" y="5"/>
              </a:cxn>
              <a:cxn ang="0">
                <a:pos x="8" y="5"/>
              </a:cxn>
              <a:cxn ang="0">
                <a:pos x="2" y="2"/>
              </a:cxn>
              <a:cxn ang="0">
                <a:pos x="0" y="2"/>
              </a:cxn>
              <a:cxn ang="0">
                <a:pos x="1" y="0"/>
              </a:cxn>
              <a:cxn ang="0">
                <a:pos x="4" y="0"/>
              </a:cxn>
              <a:cxn ang="0">
                <a:pos x="5" y="3"/>
              </a:cxn>
              <a:cxn ang="0">
                <a:pos x="6" y="3"/>
              </a:cxn>
              <a:cxn ang="0">
                <a:pos x="9" y="2"/>
              </a:cxn>
              <a:cxn ang="0">
                <a:pos x="10" y="2"/>
              </a:cxn>
              <a:cxn ang="0">
                <a:pos x="10" y="3"/>
              </a:cxn>
              <a:cxn ang="0">
                <a:pos x="13" y="5"/>
              </a:cxn>
              <a:cxn ang="0">
                <a:pos x="14" y="5"/>
              </a:cxn>
              <a:cxn ang="0">
                <a:pos x="17" y="7"/>
              </a:cxn>
              <a:cxn ang="0">
                <a:pos x="20" y="8"/>
              </a:cxn>
              <a:cxn ang="0">
                <a:pos x="18" y="8"/>
              </a:cxn>
              <a:cxn ang="0">
                <a:pos x="20" y="8"/>
              </a:cxn>
              <a:cxn ang="0">
                <a:pos x="20" y="10"/>
              </a:cxn>
            </a:cxnLst>
            <a:rect l="0" t="0" r="r" b="b"/>
            <a:pathLst>
              <a:path w="20" h="10">
                <a:moveTo>
                  <a:pt x="20" y="10"/>
                </a:moveTo>
                <a:lnTo>
                  <a:pt x="12" y="5"/>
                </a:lnTo>
                <a:lnTo>
                  <a:pt x="8" y="5"/>
                </a:lnTo>
                <a:lnTo>
                  <a:pt x="2" y="2"/>
                </a:lnTo>
                <a:lnTo>
                  <a:pt x="0" y="2"/>
                </a:lnTo>
                <a:lnTo>
                  <a:pt x="1" y="0"/>
                </a:lnTo>
                <a:lnTo>
                  <a:pt x="4" y="0"/>
                </a:lnTo>
                <a:lnTo>
                  <a:pt x="5" y="3"/>
                </a:lnTo>
                <a:lnTo>
                  <a:pt x="6" y="3"/>
                </a:lnTo>
                <a:lnTo>
                  <a:pt x="9" y="2"/>
                </a:lnTo>
                <a:lnTo>
                  <a:pt x="10" y="2"/>
                </a:lnTo>
                <a:lnTo>
                  <a:pt x="10" y="3"/>
                </a:lnTo>
                <a:lnTo>
                  <a:pt x="13" y="5"/>
                </a:lnTo>
                <a:lnTo>
                  <a:pt x="14" y="5"/>
                </a:lnTo>
                <a:lnTo>
                  <a:pt x="17" y="7"/>
                </a:lnTo>
                <a:lnTo>
                  <a:pt x="20" y="8"/>
                </a:lnTo>
                <a:lnTo>
                  <a:pt x="18" y="8"/>
                </a:lnTo>
                <a:lnTo>
                  <a:pt x="20" y="8"/>
                </a:lnTo>
                <a:lnTo>
                  <a:pt x="20" y="1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01" name="Freeform 601"/>
          <p:cNvSpPr>
            <a:spLocks/>
          </p:cNvSpPr>
          <p:nvPr/>
        </p:nvSpPr>
        <p:spPr bwMode="auto">
          <a:xfrm>
            <a:off x="6165527" y="2823755"/>
            <a:ext cx="38977" cy="21476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2" y="5"/>
              </a:cxn>
              <a:cxn ang="0">
                <a:pos x="8" y="5"/>
              </a:cxn>
              <a:cxn ang="0">
                <a:pos x="2" y="2"/>
              </a:cxn>
              <a:cxn ang="0">
                <a:pos x="0" y="2"/>
              </a:cxn>
              <a:cxn ang="0">
                <a:pos x="1" y="0"/>
              </a:cxn>
              <a:cxn ang="0">
                <a:pos x="4" y="0"/>
              </a:cxn>
              <a:cxn ang="0">
                <a:pos x="5" y="3"/>
              </a:cxn>
              <a:cxn ang="0">
                <a:pos x="6" y="3"/>
              </a:cxn>
              <a:cxn ang="0">
                <a:pos x="9" y="2"/>
              </a:cxn>
              <a:cxn ang="0">
                <a:pos x="10" y="2"/>
              </a:cxn>
              <a:cxn ang="0">
                <a:pos x="10" y="3"/>
              </a:cxn>
              <a:cxn ang="0">
                <a:pos x="13" y="5"/>
              </a:cxn>
              <a:cxn ang="0">
                <a:pos x="14" y="5"/>
              </a:cxn>
              <a:cxn ang="0">
                <a:pos x="17" y="7"/>
              </a:cxn>
              <a:cxn ang="0">
                <a:pos x="20" y="8"/>
              </a:cxn>
              <a:cxn ang="0">
                <a:pos x="18" y="8"/>
              </a:cxn>
              <a:cxn ang="0">
                <a:pos x="20" y="8"/>
              </a:cxn>
              <a:cxn ang="0">
                <a:pos x="20" y="10"/>
              </a:cxn>
            </a:cxnLst>
            <a:rect l="0" t="0" r="r" b="b"/>
            <a:pathLst>
              <a:path w="20" h="10">
                <a:moveTo>
                  <a:pt x="20" y="10"/>
                </a:moveTo>
                <a:lnTo>
                  <a:pt x="12" y="5"/>
                </a:lnTo>
                <a:lnTo>
                  <a:pt x="8" y="5"/>
                </a:lnTo>
                <a:lnTo>
                  <a:pt x="2" y="2"/>
                </a:lnTo>
                <a:lnTo>
                  <a:pt x="0" y="2"/>
                </a:lnTo>
                <a:lnTo>
                  <a:pt x="1" y="0"/>
                </a:lnTo>
                <a:lnTo>
                  <a:pt x="4" y="0"/>
                </a:lnTo>
                <a:lnTo>
                  <a:pt x="5" y="3"/>
                </a:lnTo>
                <a:lnTo>
                  <a:pt x="6" y="3"/>
                </a:lnTo>
                <a:lnTo>
                  <a:pt x="9" y="2"/>
                </a:lnTo>
                <a:lnTo>
                  <a:pt x="10" y="2"/>
                </a:lnTo>
                <a:lnTo>
                  <a:pt x="10" y="3"/>
                </a:lnTo>
                <a:lnTo>
                  <a:pt x="13" y="5"/>
                </a:lnTo>
                <a:lnTo>
                  <a:pt x="14" y="5"/>
                </a:lnTo>
                <a:lnTo>
                  <a:pt x="17" y="7"/>
                </a:lnTo>
                <a:lnTo>
                  <a:pt x="20" y="8"/>
                </a:lnTo>
                <a:lnTo>
                  <a:pt x="18" y="8"/>
                </a:lnTo>
                <a:lnTo>
                  <a:pt x="20" y="8"/>
                </a:lnTo>
                <a:lnTo>
                  <a:pt x="20" y="1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02" name="Freeform 602"/>
          <p:cNvSpPr>
            <a:spLocks/>
          </p:cNvSpPr>
          <p:nvPr/>
        </p:nvSpPr>
        <p:spPr bwMode="auto">
          <a:xfrm>
            <a:off x="6062240" y="2697045"/>
            <a:ext cx="169547" cy="131005"/>
          </a:xfrm>
          <a:custGeom>
            <a:avLst/>
            <a:gdLst/>
            <a:ahLst/>
            <a:cxnLst>
              <a:cxn ang="0">
                <a:pos x="71" y="15"/>
              </a:cxn>
              <a:cxn ang="0">
                <a:pos x="59" y="11"/>
              </a:cxn>
              <a:cxn ang="0">
                <a:pos x="50" y="4"/>
              </a:cxn>
              <a:cxn ang="0">
                <a:pos x="43" y="0"/>
              </a:cxn>
              <a:cxn ang="0">
                <a:pos x="40" y="4"/>
              </a:cxn>
              <a:cxn ang="0">
                <a:pos x="38" y="4"/>
              </a:cxn>
              <a:cxn ang="0">
                <a:pos x="31" y="7"/>
              </a:cxn>
              <a:cxn ang="0">
                <a:pos x="32" y="11"/>
              </a:cxn>
              <a:cxn ang="0">
                <a:pos x="28" y="15"/>
              </a:cxn>
              <a:cxn ang="0">
                <a:pos x="26" y="19"/>
              </a:cxn>
              <a:cxn ang="0">
                <a:pos x="23" y="24"/>
              </a:cxn>
              <a:cxn ang="0">
                <a:pos x="20" y="21"/>
              </a:cxn>
              <a:cxn ang="0">
                <a:pos x="12" y="21"/>
              </a:cxn>
              <a:cxn ang="0">
                <a:pos x="6" y="22"/>
              </a:cxn>
              <a:cxn ang="0">
                <a:pos x="0" y="26"/>
              </a:cxn>
              <a:cxn ang="0">
                <a:pos x="7" y="32"/>
              </a:cxn>
              <a:cxn ang="0">
                <a:pos x="15" y="24"/>
              </a:cxn>
              <a:cxn ang="0">
                <a:pos x="20" y="30"/>
              </a:cxn>
              <a:cxn ang="0">
                <a:pos x="28" y="41"/>
              </a:cxn>
              <a:cxn ang="0">
                <a:pos x="24" y="44"/>
              </a:cxn>
              <a:cxn ang="0">
                <a:pos x="32" y="51"/>
              </a:cxn>
              <a:cxn ang="0">
                <a:pos x="38" y="55"/>
              </a:cxn>
              <a:cxn ang="0">
                <a:pos x="50" y="57"/>
              </a:cxn>
              <a:cxn ang="0">
                <a:pos x="60" y="65"/>
              </a:cxn>
              <a:cxn ang="0">
                <a:pos x="55" y="55"/>
              </a:cxn>
              <a:cxn ang="0">
                <a:pos x="47" y="49"/>
              </a:cxn>
              <a:cxn ang="0">
                <a:pos x="43" y="44"/>
              </a:cxn>
              <a:cxn ang="0">
                <a:pos x="39" y="40"/>
              </a:cxn>
              <a:cxn ang="0">
                <a:pos x="39" y="37"/>
              </a:cxn>
              <a:cxn ang="0">
                <a:pos x="35" y="32"/>
              </a:cxn>
              <a:cxn ang="0">
                <a:pos x="34" y="29"/>
              </a:cxn>
              <a:cxn ang="0">
                <a:pos x="38" y="24"/>
              </a:cxn>
              <a:cxn ang="0">
                <a:pos x="50" y="24"/>
              </a:cxn>
              <a:cxn ang="0">
                <a:pos x="56" y="24"/>
              </a:cxn>
              <a:cxn ang="0">
                <a:pos x="63" y="26"/>
              </a:cxn>
              <a:cxn ang="0">
                <a:pos x="67" y="26"/>
              </a:cxn>
              <a:cxn ang="0">
                <a:pos x="71" y="26"/>
              </a:cxn>
              <a:cxn ang="0">
                <a:pos x="75" y="26"/>
              </a:cxn>
              <a:cxn ang="0">
                <a:pos x="80" y="30"/>
              </a:cxn>
              <a:cxn ang="0">
                <a:pos x="84" y="27"/>
              </a:cxn>
              <a:cxn ang="0">
                <a:pos x="85" y="24"/>
              </a:cxn>
              <a:cxn ang="0">
                <a:pos x="88" y="22"/>
              </a:cxn>
              <a:cxn ang="0">
                <a:pos x="84" y="22"/>
              </a:cxn>
              <a:cxn ang="0">
                <a:pos x="81" y="21"/>
              </a:cxn>
              <a:cxn ang="0">
                <a:pos x="83" y="18"/>
              </a:cxn>
              <a:cxn ang="0">
                <a:pos x="80" y="16"/>
              </a:cxn>
            </a:cxnLst>
            <a:rect l="0" t="0" r="r" b="b"/>
            <a:pathLst>
              <a:path w="88" h="65">
                <a:moveTo>
                  <a:pt x="77" y="13"/>
                </a:moveTo>
                <a:lnTo>
                  <a:pt x="75" y="15"/>
                </a:lnTo>
                <a:lnTo>
                  <a:pt x="71" y="15"/>
                </a:lnTo>
                <a:lnTo>
                  <a:pt x="66" y="15"/>
                </a:lnTo>
                <a:lnTo>
                  <a:pt x="62" y="13"/>
                </a:lnTo>
                <a:lnTo>
                  <a:pt x="59" y="11"/>
                </a:lnTo>
                <a:lnTo>
                  <a:pt x="56" y="8"/>
                </a:lnTo>
                <a:lnTo>
                  <a:pt x="52" y="7"/>
                </a:lnTo>
                <a:lnTo>
                  <a:pt x="50" y="4"/>
                </a:lnTo>
                <a:lnTo>
                  <a:pt x="46" y="2"/>
                </a:lnTo>
                <a:lnTo>
                  <a:pt x="44" y="2"/>
                </a:lnTo>
                <a:lnTo>
                  <a:pt x="43" y="0"/>
                </a:lnTo>
                <a:lnTo>
                  <a:pt x="42" y="0"/>
                </a:lnTo>
                <a:lnTo>
                  <a:pt x="40" y="2"/>
                </a:lnTo>
                <a:lnTo>
                  <a:pt x="40" y="4"/>
                </a:lnTo>
                <a:lnTo>
                  <a:pt x="40" y="5"/>
                </a:lnTo>
                <a:lnTo>
                  <a:pt x="40" y="4"/>
                </a:lnTo>
                <a:lnTo>
                  <a:pt x="38" y="4"/>
                </a:lnTo>
                <a:lnTo>
                  <a:pt x="38" y="5"/>
                </a:lnTo>
                <a:lnTo>
                  <a:pt x="36" y="5"/>
                </a:lnTo>
                <a:lnTo>
                  <a:pt x="31" y="7"/>
                </a:lnTo>
                <a:lnTo>
                  <a:pt x="31" y="8"/>
                </a:lnTo>
                <a:lnTo>
                  <a:pt x="31" y="10"/>
                </a:lnTo>
                <a:lnTo>
                  <a:pt x="32" y="11"/>
                </a:lnTo>
                <a:lnTo>
                  <a:pt x="32" y="13"/>
                </a:lnTo>
                <a:lnTo>
                  <a:pt x="31" y="15"/>
                </a:lnTo>
                <a:lnTo>
                  <a:pt x="28" y="15"/>
                </a:lnTo>
                <a:lnTo>
                  <a:pt x="26" y="18"/>
                </a:lnTo>
                <a:lnTo>
                  <a:pt x="27" y="19"/>
                </a:lnTo>
                <a:lnTo>
                  <a:pt x="26" y="19"/>
                </a:lnTo>
                <a:lnTo>
                  <a:pt x="26" y="22"/>
                </a:lnTo>
                <a:lnTo>
                  <a:pt x="24" y="24"/>
                </a:lnTo>
                <a:lnTo>
                  <a:pt x="23" y="24"/>
                </a:lnTo>
                <a:lnTo>
                  <a:pt x="22" y="22"/>
                </a:lnTo>
                <a:lnTo>
                  <a:pt x="20" y="22"/>
                </a:lnTo>
                <a:lnTo>
                  <a:pt x="20" y="21"/>
                </a:lnTo>
                <a:lnTo>
                  <a:pt x="19" y="22"/>
                </a:lnTo>
                <a:lnTo>
                  <a:pt x="15" y="18"/>
                </a:lnTo>
                <a:lnTo>
                  <a:pt x="12" y="21"/>
                </a:lnTo>
                <a:lnTo>
                  <a:pt x="8" y="21"/>
                </a:lnTo>
                <a:lnTo>
                  <a:pt x="7" y="21"/>
                </a:lnTo>
                <a:lnTo>
                  <a:pt x="6" y="22"/>
                </a:lnTo>
                <a:lnTo>
                  <a:pt x="2" y="22"/>
                </a:lnTo>
                <a:lnTo>
                  <a:pt x="0" y="21"/>
                </a:lnTo>
                <a:lnTo>
                  <a:pt x="0" y="26"/>
                </a:lnTo>
                <a:lnTo>
                  <a:pt x="4" y="32"/>
                </a:lnTo>
                <a:lnTo>
                  <a:pt x="6" y="32"/>
                </a:lnTo>
                <a:lnTo>
                  <a:pt x="7" y="32"/>
                </a:lnTo>
                <a:lnTo>
                  <a:pt x="10" y="27"/>
                </a:lnTo>
                <a:lnTo>
                  <a:pt x="12" y="22"/>
                </a:lnTo>
                <a:lnTo>
                  <a:pt x="15" y="24"/>
                </a:lnTo>
                <a:lnTo>
                  <a:pt x="18" y="27"/>
                </a:lnTo>
                <a:lnTo>
                  <a:pt x="19" y="27"/>
                </a:lnTo>
                <a:lnTo>
                  <a:pt x="20" y="30"/>
                </a:lnTo>
                <a:lnTo>
                  <a:pt x="20" y="33"/>
                </a:lnTo>
                <a:lnTo>
                  <a:pt x="23" y="37"/>
                </a:lnTo>
                <a:lnTo>
                  <a:pt x="28" y="41"/>
                </a:lnTo>
                <a:lnTo>
                  <a:pt x="26" y="41"/>
                </a:lnTo>
                <a:lnTo>
                  <a:pt x="24" y="43"/>
                </a:lnTo>
                <a:lnTo>
                  <a:pt x="24" y="44"/>
                </a:lnTo>
                <a:lnTo>
                  <a:pt x="28" y="48"/>
                </a:lnTo>
                <a:lnTo>
                  <a:pt x="31" y="49"/>
                </a:lnTo>
                <a:lnTo>
                  <a:pt x="32" y="51"/>
                </a:lnTo>
                <a:lnTo>
                  <a:pt x="35" y="52"/>
                </a:lnTo>
                <a:lnTo>
                  <a:pt x="36" y="54"/>
                </a:lnTo>
                <a:lnTo>
                  <a:pt x="38" y="55"/>
                </a:lnTo>
                <a:lnTo>
                  <a:pt x="42" y="55"/>
                </a:lnTo>
                <a:lnTo>
                  <a:pt x="46" y="55"/>
                </a:lnTo>
                <a:lnTo>
                  <a:pt x="50" y="57"/>
                </a:lnTo>
                <a:lnTo>
                  <a:pt x="54" y="60"/>
                </a:lnTo>
                <a:lnTo>
                  <a:pt x="58" y="63"/>
                </a:lnTo>
                <a:lnTo>
                  <a:pt x="60" y="65"/>
                </a:lnTo>
                <a:lnTo>
                  <a:pt x="62" y="63"/>
                </a:lnTo>
                <a:lnTo>
                  <a:pt x="56" y="59"/>
                </a:lnTo>
                <a:lnTo>
                  <a:pt x="55" y="55"/>
                </a:lnTo>
                <a:lnTo>
                  <a:pt x="55" y="54"/>
                </a:lnTo>
                <a:lnTo>
                  <a:pt x="52" y="54"/>
                </a:lnTo>
                <a:lnTo>
                  <a:pt x="47" y="49"/>
                </a:lnTo>
                <a:lnTo>
                  <a:pt x="47" y="48"/>
                </a:lnTo>
                <a:lnTo>
                  <a:pt x="44" y="44"/>
                </a:lnTo>
                <a:lnTo>
                  <a:pt x="43" y="44"/>
                </a:lnTo>
                <a:lnTo>
                  <a:pt x="40" y="41"/>
                </a:lnTo>
                <a:lnTo>
                  <a:pt x="39" y="41"/>
                </a:lnTo>
                <a:lnTo>
                  <a:pt x="39" y="40"/>
                </a:lnTo>
                <a:lnTo>
                  <a:pt x="40" y="40"/>
                </a:lnTo>
                <a:lnTo>
                  <a:pt x="39" y="38"/>
                </a:lnTo>
                <a:lnTo>
                  <a:pt x="39" y="37"/>
                </a:lnTo>
                <a:lnTo>
                  <a:pt x="38" y="35"/>
                </a:lnTo>
                <a:lnTo>
                  <a:pt x="36" y="32"/>
                </a:lnTo>
                <a:lnTo>
                  <a:pt x="35" y="32"/>
                </a:lnTo>
                <a:lnTo>
                  <a:pt x="32" y="30"/>
                </a:lnTo>
                <a:lnTo>
                  <a:pt x="34" y="30"/>
                </a:lnTo>
                <a:lnTo>
                  <a:pt x="34" y="29"/>
                </a:lnTo>
                <a:lnTo>
                  <a:pt x="34" y="24"/>
                </a:lnTo>
                <a:lnTo>
                  <a:pt x="35" y="22"/>
                </a:lnTo>
                <a:lnTo>
                  <a:pt x="38" y="24"/>
                </a:lnTo>
                <a:lnTo>
                  <a:pt x="42" y="27"/>
                </a:lnTo>
                <a:lnTo>
                  <a:pt x="44" y="24"/>
                </a:lnTo>
                <a:lnTo>
                  <a:pt x="50" y="24"/>
                </a:lnTo>
                <a:lnTo>
                  <a:pt x="51" y="22"/>
                </a:lnTo>
                <a:lnTo>
                  <a:pt x="55" y="24"/>
                </a:lnTo>
                <a:lnTo>
                  <a:pt x="56" y="24"/>
                </a:lnTo>
                <a:lnTo>
                  <a:pt x="58" y="26"/>
                </a:lnTo>
                <a:lnTo>
                  <a:pt x="62" y="26"/>
                </a:lnTo>
                <a:lnTo>
                  <a:pt x="63" y="26"/>
                </a:lnTo>
                <a:lnTo>
                  <a:pt x="64" y="27"/>
                </a:lnTo>
                <a:lnTo>
                  <a:pt x="66" y="27"/>
                </a:lnTo>
                <a:lnTo>
                  <a:pt x="67" y="26"/>
                </a:lnTo>
                <a:lnTo>
                  <a:pt x="68" y="26"/>
                </a:lnTo>
                <a:lnTo>
                  <a:pt x="70" y="26"/>
                </a:lnTo>
                <a:lnTo>
                  <a:pt x="71" y="26"/>
                </a:lnTo>
                <a:lnTo>
                  <a:pt x="74" y="26"/>
                </a:lnTo>
                <a:lnTo>
                  <a:pt x="75" y="27"/>
                </a:lnTo>
                <a:lnTo>
                  <a:pt x="75" y="26"/>
                </a:lnTo>
                <a:lnTo>
                  <a:pt x="77" y="26"/>
                </a:lnTo>
                <a:lnTo>
                  <a:pt x="79" y="29"/>
                </a:lnTo>
                <a:lnTo>
                  <a:pt x="80" y="30"/>
                </a:lnTo>
                <a:lnTo>
                  <a:pt x="83" y="30"/>
                </a:lnTo>
                <a:lnTo>
                  <a:pt x="84" y="29"/>
                </a:lnTo>
                <a:lnTo>
                  <a:pt x="84" y="27"/>
                </a:lnTo>
                <a:lnTo>
                  <a:pt x="84" y="26"/>
                </a:lnTo>
                <a:lnTo>
                  <a:pt x="84" y="24"/>
                </a:lnTo>
                <a:lnTo>
                  <a:pt x="85" y="24"/>
                </a:lnTo>
                <a:lnTo>
                  <a:pt x="87" y="24"/>
                </a:lnTo>
                <a:lnTo>
                  <a:pt x="88" y="24"/>
                </a:lnTo>
                <a:lnTo>
                  <a:pt x="88" y="22"/>
                </a:lnTo>
                <a:lnTo>
                  <a:pt x="87" y="22"/>
                </a:lnTo>
                <a:lnTo>
                  <a:pt x="85" y="22"/>
                </a:lnTo>
                <a:lnTo>
                  <a:pt x="84" y="22"/>
                </a:lnTo>
                <a:lnTo>
                  <a:pt x="83" y="22"/>
                </a:lnTo>
                <a:lnTo>
                  <a:pt x="83" y="21"/>
                </a:lnTo>
                <a:lnTo>
                  <a:pt x="81" y="21"/>
                </a:lnTo>
                <a:lnTo>
                  <a:pt x="81" y="19"/>
                </a:lnTo>
                <a:lnTo>
                  <a:pt x="83" y="19"/>
                </a:lnTo>
                <a:lnTo>
                  <a:pt x="83" y="18"/>
                </a:lnTo>
                <a:lnTo>
                  <a:pt x="81" y="18"/>
                </a:lnTo>
                <a:lnTo>
                  <a:pt x="80" y="18"/>
                </a:lnTo>
                <a:lnTo>
                  <a:pt x="80" y="16"/>
                </a:lnTo>
                <a:lnTo>
                  <a:pt x="80" y="15"/>
                </a:lnTo>
                <a:lnTo>
                  <a:pt x="77" y="13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03" name="Freeform 603"/>
          <p:cNvSpPr>
            <a:spLocks/>
          </p:cNvSpPr>
          <p:nvPr/>
        </p:nvSpPr>
        <p:spPr bwMode="auto">
          <a:xfrm>
            <a:off x="6062240" y="2697045"/>
            <a:ext cx="169547" cy="131005"/>
          </a:xfrm>
          <a:custGeom>
            <a:avLst/>
            <a:gdLst/>
            <a:ahLst/>
            <a:cxnLst>
              <a:cxn ang="0">
                <a:pos x="71" y="15"/>
              </a:cxn>
              <a:cxn ang="0">
                <a:pos x="59" y="11"/>
              </a:cxn>
              <a:cxn ang="0">
                <a:pos x="50" y="4"/>
              </a:cxn>
              <a:cxn ang="0">
                <a:pos x="43" y="0"/>
              </a:cxn>
              <a:cxn ang="0">
                <a:pos x="40" y="4"/>
              </a:cxn>
              <a:cxn ang="0">
                <a:pos x="38" y="4"/>
              </a:cxn>
              <a:cxn ang="0">
                <a:pos x="31" y="7"/>
              </a:cxn>
              <a:cxn ang="0">
                <a:pos x="32" y="11"/>
              </a:cxn>
              <a:cxn ang="0">
                <a:pos x="28" y="15"/>
              </a:cxn>
              <a:cxn ang="0">
                <a:pos x="26" y="19"/>
              </a:cxn>
              <a:cxn ang="0">
                <a:pos x="23" y="24"/>
              </a:cxn>
              <a:cxn ang="0">
                <a:pos x="20" y="21"/>
              </a:cxn>
              <a:cxn ang="0">
                <a:pos x="12" y="21"/>
              </a:cxn>
              <a:cxn ang="0">
                <a:pos x="6" y="22"/>
              </a:cxn>
              <a:cxn ang="0">
                <a:pos x="0" y="26"/>
              </a:cxn>
              <a:cxn ang="0">
                <a:pos x="7" y="32"/>
              </a:cxn>
              <a:cxn ang="0">
                <a:pos x="15" y="24"/>
              </a:cxn>
              <a:cxn ang="0">
                <a:pos x="20" y="30"/>
              </a:cxn>
              <a:cxn ang="0">
                <a:pos x="28" y="41"/>
              </a:cxn>
              <a:cxn ang="0">
                <a:pos x="24" y="44"/>
              </a:cxn>
              <a:cxn ang="0">
                <a:pos x="32" y="51"/>
              </a:cxn>
              <a:cxn ang="0">
                <a:pos x="38" y="55"/>
              </a:cxn>
              <a:cxn ang="0">
                <a:pos x="50" y="57"/>
              </a:cxn>
              <a:cxn ang="0">
                <a:pos x="60" y="65"/>
              </a:cxn>
              <a:cxn ang="0">
                <a:pos x="55" y="55"/>
              </a:cxn>
              <a:cxn ang="0">
                <a:pos x="47" y="49"/>
              </a:cxn>
              <a:cxn ang="0">
                <a:pos x="43" y="44"/>
              </a:cxn>
              <a:cxn ang="0">
                <a:pos x="39" y="40"/>
              </a:cxn>
              <a:cxn ang="0">
                <a:pos x="39" y="37"/>
              </a:cxn>
              <a:cxn ang="0">
                <a:pos x="35" y="32"/>
              </a:cxn>
              <a:cxn ang="0">
                <a:pos x="34" y="29"/>
              </a:cxn>
              <a:cxn ang="0">
                <a:pos x="38" y="24"/>
              </a:cxn>
              <a:cxn ang="0">
                <a:pos x="50" y="24"/>
              </a:cxn>
              <a:cxn ang="0">
                <a:pos x="56" y="24"/>
              </a:cxn>
              <a:cxn ang="0">
                <a:pos x="63" y="26"/>
              </a:cxn>
              <a:cxn ang="0">
                <a:pos x="67" y="26"/>
              </a:cxn>
              <a:cxn ang="0">
                <a:pos x="71" y="26"/>
              </a:cxn>
              <a:cxn ang="0">
                <a:pos x="75" y="26"/>
              </a:cxn>
              <a:cxn ang="0">
                <a:pos x="80" y="30"/>
              </a:cxn>
              <a:cxn ang="0">
                <a:pos x="84" y="27"/>
              </a:cxn>
              <a:cxn ang="0">
                <a:pos x="85" y="24"/>
              </a:cxn>
              <a:cxn ang="0">
                <a:pos x="88" y="22"/>
              </a:cxn>
              <a:cxn ang="0">
                <a:pos x="84" y="22"/>
              </a:cxn>
              <a:cxn ang="0">
                <a:pos x="81" y="21"/>
              </a:cxn>
              <a:cxn ang="0">
                <a:pos x="83" y="18"/>
              </a:cxn>
              <a:cxn ang="0">
                <a:pos x="80" y="16"/>
              </a:cxn>
            </a:cxnLst>
            <a:rect l="0" t="0" r="r" b="b"/>
            <a:pathLst>
              <a:path w="88" h="65">
                <a:moveTo>
                  <a:pt x="77" y="13"/>
                </a:moveTo>
                <a:lnTo>
                  <a:pt x="75" y="15"/>
                </a:lnTo>
                <a:lnTo>
                  <a:pt x="71" y="15"/>
                </a:lnTo>
                <a:lnTo>
                  <a:pt x="66" y="15"/>
                </a:lnTo>
                <a:lnTo>
                  <a:pt x="62" y="13"/>
                </a:lnTo>
                <a:lnTo>
                  <a:pt x="59" y="11"/>
                </a:lnTo>
                <a:lnTo>
                  <a:pt x="56" y="8"/>
                </a:lnTo>
                <a:lnTo>
                  <a:pt x="52" y="7"/>
                </a:lnTo>
                <a:lnTo>
                  <a:pt x="50" y="4"/>
                </a:lnTo>
                <a:lnTo>
                  <a:pt x="46" y="2"/>
                </a:lnTo>
                <a:lnTo>
                  <a:pt x="44" y="2"/>
                </a:lnTo>
                <a:lnTo>
                  <a:pt x="43" y="0"/>
                </a:lnTo>
                <a:lnTo>
                  <a:pt x="42" y="0"/>
                </a:lnTo>
                <a:lnTo>
                  <a:pt x="40" y="2"/>
                </a:lnTo>
                <a:lnTo>
                  <a:pt x="40" y="4"/>
                </a:lnTo>
                <a:lnTo>
                  <a:pt x="40" y="5"/>
                </a:lnTo>
                <a:lnTo>
                  <a:pt x="40" y="4"/>
                </a:lnTo>
                <a:lnTo>
                  <a:pt x="38" y="4"/>
                </a:lnTo>
                <a:lnTo>
                  <a:pt x="38" y="5"/>
                </a:lnTo>
                <a:lnTo>
                  <a:pt x="36" y="5"/>
                </a:lnTo>
                <a:lnTo>
                  <a:pt x="31" y="7"/>
                </a:lnTo>
                <a:lnTo>
                  <a:pt x="31" y="8"/>
                </a:lnTo>
                <a:lnTo>
                  <a:pt x="31" y="10"/>
                </a:lnTo>
                <a:lnTo>
                  <a:pt x="32" y="11"/>
                </a:lnTo>
                <a:lnTo>
                  <a:pt x="32" y="13"/>
                </a:lnTo>
                <a:lnTo>
                  <a:pt x="31" y="15"/>
                </a:lnTo>
                <a:lnTo>
                  <a:pt x="28" y="15"/>
                </a:lnTo>
                <a:lnTo>
                  <a:pt x="26" y="18"/>
                </a:lnTo>
                <a:lnTo>
                  <a:pt x="27" y="19"/>
                </a:lnTo>
                <a:lnTo>
                  <a:pt x="26" y="19"/>
                </a:lnTo>
                <a:lnTo>
                  <a:pt x="26" y="22"/>
                </a:lnTo>
                <a:lnTo>
                  <a:pt x="24" y="24"/>
                </a:lnTo>
                <a:lnTo>
                  <a:pt x="23" y="24"/>
                </a:lnTo>
                <a:lnTo>
                  <a:pt x="22" y="22"/>
                </a:lnTo>
                <a:lnTo>
                  <a:pt x="20" y="22"/>
                </a:lnTo>
                <a:lnTo>
                  <a:pt x="20" y="21"/>
                </a:lnTo>
                <a:lnTo>
                  <a:pt x="19" y="22"/>
                </a:lnTo>
                <a:lnTo>
                  <a:pt x="15" y="18"/>
                </a:lnTo>
                <a:lnTo>
                  <a:pt x="12" y="21"/>
                </a:lnTo>
                <a:lnTo>
                  <a:pt x="8" y="21"/>
                </a:lnTo>
                <a:lnTo>
                  <a:pt x="7" y="21"/>
                </a:lnTo>
                <a:lnTo>
                  <a:pt x="6" y="22"/>
                </a:lnTo>
                <a:lnTo>
                  <a:pt x="2" y="22"/>
                </a:lnTo>
                <a:lnTo>
                  <a:pt x="0" y="21"/>
                </a:lnTo>
                <a:lnTo>
                  <a:pt x="0" y="26"/>
                </a:lnTo>
                <a:lnTo>
                  <a:pt x="4" y="32"/>
                </a:lnTo>
                <a:lnTo>
                  <a:pt x="6" y="32"/>
                </a:lnTo>
                <a:lnTo>
                  <a:pt x="7" y="32"/>
                </a:lnTo>
                <a:lnTo>
                  <a:pt x="10" y="27"/>
                </a:lnTo>
                <a:lnTo>
                  <a:pt x="12" y="22"/>
                </a:lnTo>
                <a:lnTo>
                  <a:pt x="15" y="24"/>
                </a:lnTo>
                <a:lnTo>
                  <a:pt x="18" y="27"/>
                </a:lnTo>
                <a:lnTo>
                  <a:pt x="19" y="27"/>
                </a:lnTo>
                <a:lnTo>
                  <a:pt x="20" y="30"/>
                </a:lnTo>
                <a:lnTo>
                  <a:pt x="20" y="33"/>
                </a:lnTo>
                <a:lnTo>
                  <a:pt x="23" y="37"/>
                </a:lnTo>
                <a:lnTo>
                  <a:pt x="28" y="41"/>
                </a:lnTo>
                <a:lnTo>
                  <a:pt x="26" y="41"/>
                </a:lnTo>
                <a:lnTo>
                  <a:pt x="24" y="43"/>
                </a:lnTo>
                <a:lnTo>
                  <a:pt x="24" y="44"/>
                </a:lnTo>
                <a:lnTo>
                  <a:pt x="28" y="48"/>
                </a:lnTo>
                <a:lnTo>
                  <a:pt x="31" y="49"/>
                </a:lnTo>
                <a:lnTo>
                  <a:pt x="32" y="51"/>
                </a:lnTo>
                <a:lnTo>
                  <a:pt x="35" y="52"/>
                </a:lnTo>
                <a:lnTo>
                  <a:pt x="36" y="54"/>
                </a:lnTo>
                <a:lnTo>
                  <a:pt x="38" y="55"/>
                </a:lnTo>
                <a:lnTo>
                  <a:pt x="42" y="55"/>
                </a:lnTo>
                <a:lnTo>
                  <a:pt x="46" y="55"/>
                </a:lnTo>
                <a:lnTo>
                  <a:pt x="50" y="57"/>
                </a:lnTo>
                <a:lnTo>
                  <a:pt x="54" y="60"/>
                </a:lnTo>
                <a:lnTo>
                  <a:pt x="58" y="63"/>
                </a:lnTo>
                <a:lnTo>
                  <a:pt x="60" y="65"/>
                </a:lnTo>
                <a:lnTo>
                  <a:pt x="62" y="63"/>
                </a:lnTo>
                <a:lnTo>
                  <a:pt x="56" y="59"/>
                </a:lnTo>
                <a:lnTo>
                  <a:pt x="55" y="55"/>
                </a:lnTo>
                <a:lnTo>
                  <a:pt x="55" y="54"/>
                </a:lnTo>
                <a:lnTo>
                  <a:pt x="52" y="54"/>
                </a:lnTo>
                <a:lnTo>
                  <a:pt x="47" y="49"/>
                </a:lnTo>
                <a:lnTo>
                  <a:pt x="47" y="48"/>
                </a:lnTo>
                <a:lnTo>
                  <a:pt x="44" y="44"/>
                </a:lnTo>
                <a:lnTo>
                  <a:pt x="43" y="44"/>
                </a:lnTo>
                <a:lnTo>
                  <a:pt x="40" y="41"/>
                </a:lnTo>
                <a:lnTo>
                  <a:pt x="39" y="41"/>
                </a:lnTo>
                <a:lnTo>
                  <a:pt x="39" y="40"/>
                </a:lnTo>
                <a:lnTo>
                  <a:pt x="40" y="40"/>
                </a:lnTo>
                <a:lnTo>
                  <a:pt x="39" y="38"/>
                </a:lnTo>
                <a:lnTo>
                  <a:pt x="39" y="37"/>
                </a:lnTo>
                <a:lnTo>
                  <a:pt x="38" y="35"/>
                </a:lnTo>
                <a:lnTo>
                  <a:pt x="36" y="32"/>
                </a:lnTo>
                <a:lnTo>
                  <a:pt x="35" y="32"/>
                </a:lnTo>
                <a:lnTo>
                  <a:pt x="32" y="30"/>
                </a:lnTo>
                <a:lnTo>
                  <a:pt x="34" y="30"/>
                </a:lnTo>
                <a:lnTo>
                  <a:pt x="34" y="29"/>
                </a:lnTo>
                <a:lnTo>
                  <a:pt x="34" y="24"/>
                </a:lnTo>
                <a:lnTo>
                  <a:pt x="35" y="22"/>
                </a:lnTo>
                <a:lnTo>
                  <a:pt x="38" y="24"/>
                </a:lnTo>
                <a:lnTo>
                  <a:pt x="42" y="27"/>
                </a:lnTo>
                <a:lnTo>
                  <a:pt x="44" y="24"/>
                </a:lnTo>
                <a:lnTo>
                  <a:pt x="50" y="24"/>
                </a:lnTo>
                <a:lnTo>
                  <a:pt x="51" y="22"/>
                </a:lnTo>
                <a:lnTo>
                  <a:pt x="55" y="24"/>
                </a:lnTo>
                <a:lnTo>
                  <a:pt x="56" y="24"/>
                </a:lnTo>
                <a:lnTo>
                  <a:pt x="58" y="26"/>
                </a:lnTo>
                <a:lnTo>
                  <a:pt x="62" y="26"/>
                </a:lnTo>
                <a:lnTo>
                  <a:pt x="63" y="26"/>
                </a:lnTo>
                <a:lnTo>
                  <a:pt x="64" y="27"/>
                </a:lnTo>
                <a:lnTo>
                  <a:pt x="66" y="27"/>
                </a:lnTo>
                <a:lnTo>
                  <a:pt x="67" y="26"/>
                </a:lnTo>
                <a:lnTo>
                  <a:pt x="68" y="26"/>
                </a:lnTo>
                <a:lnTo>
                  <a:pt x="70" y="26"/>
                </a:lnTo>
                <a:lnTo>
                  <a:pt x="71" y="26"/>
                </a:lnTo>
                <a:lnTo>
                  <a:pt x="74" y="26"/>
                </a:lnTo>
                <a:lnTo>
                  <a:pt x="75" y="27"/>
                </a:lnTo>
                <a:lnTo>
                  <a:pt x="75" y="26"/>
                </a:lnTo>
                <a:lnTo>
                  <a:pt x="77" y="26"/>
                </a:lnTo>
                <a:lnTo>
                  <a:pt x="79" y="29"/>
                </a:lnTo>
                <a:lnTo>
                  <a:pt x="80" y="30"/>
                </a:lnTo>
                <a:lnTo>
                  <a:pt x="83" y="30"/>
                </a:lnTo>
                <a:lnTo>
                  <a:pt x="84" y="29"/>
                </a:lnTo>
                <a:lnTo>
                  <a:pt x="84" y="27"/>
                </a:lnTo>
                <a:lnTo>
                  <a:pt x="84" y="26"/>
                </a:lnTo>
                <a:lnTo>
                  <a:pt x="84" y="24"/>
                </a:lnTo>
                <a:lnTo>
                  <a:pt x="85" y="24"/>
                </a:lnTo>
                <a:lnTo>
                  <a:pt x="87" y="24"/>
                </a:lnTo>
                <a:lnTo>
                  <a:pt x="88" y="24"/>
                </a:lnTo>
                <a:lnTo>
                  <a:pt x="88" y="22"/>
                </a:lnTo>
                <a:lnTo>
                  <a:pt x="87" y="22"/>
                </a:lnTo>
                <a:lnTo>
                  <a:pt x="85" y="22"/>
                </a:lnTo>
                <a:lnTo>
                  <a:pt x="84" y="22"/>
                </a:lnTo>
                <a:lnTo>
                  <a:pt x="83" y="22"/>
                </a:lnTo>
                <a:lnTo>
                  <a:pt x="83" y="21"/>
                </a:lnTo>
                <a:lnTo>
                  <a:pt x="81" y="21"/>
                </a:lnTo>
                <a:lnTo>
                  <a:pt x="81" y="19"/>
                </a:lnTo>
                <a:lnTo>
                  <a:pt x="83" y="19"/>
                </a:lnTo>
                <a:lnTo>
                  <a:pt x="83" y="18"/>
                </a:lnTo>
                <a:lnTo>
                  <a:pt x="81" y="18"/>
                </a:lnTo>
                <a:lnTo>
                  <a:pt x="80" y="18"/>
                </a:lnTo>
                <a:lnTo>
                  <a:pt x="80" y="16"/>
                </a:lnTo>
                <a:lnTo>
                  <a:pt x="80" y="15"/>
                </a:lnTo>
                <a:lnTo>
                  <a:pt x="77" y="1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04" name="Freeform 604"/>
          <p:cNvSpPr>
            <a:spLocks/>
          </p:cNvSpPr>
          <p:nvPr/>
        </p:nvSpPr>
        <p:spPr bwMode="auto">
          <a:xfrm>
            <a:off x="6229837" y="2838787"/>
            <a:ext cx="48721" cy="107381"/>
          </a:xfrm>
          <a:custGeom>
            <a:avLst/>
            <a:gdLst/>
            <a:ahLst/>
            <a:cxnLst>
              <a:cxn ang="0">
                <a:pos x="13" y="52"/>
              </a:cxn>
              <a:cxn ang="0">
                <a:pos x="10" y="52"/>
              </a:cxn>
              <a:cxn ang="0">
                <a:pos x="10" y="49"/>
              </a:cxn>
              <a:cxn ang="0">
                <a:pos x="8" y="46"/>
              </a:cxn>
              <a:cxn ang="0">
                <a:pos x="4" y="44"/>
              </a:cxn>
              <a:cxn ang="0">
                <a:pos x="1" y="41"/>
              </a:cxn>
              <a:cxn ang="0">
                <a:pos x="0" y="39"/>
              </a:cxn>
              <a:cxn ang="0">
                <a:pos x="1" y="39"/>
              </a:cxn>
              <a:cxn ang="0">
                <a:pos x="1" y="38"/>
              </a:cxn>
              <a:cxn ang="0">
                <a:pos x="1" y="33"/>
              </a:cxn>
              <a:cxn ang="0">
                <a:pos x="1" y="30"/>
              </a:cxn>
              <a:cxn ang="0">
                <a:pos x="2" y="30"/>
              </a:cxn>
              <a:cxn ang="0">
                <a:pos x="2" y="28"/>
              </a:cxn>
              <a:cxn ang="0">
                <a:pos x="2" y="25"/>
              </a:cxn>
              <a:cxn ang="0">
                <a:pos x="1" y="22"/>
              </a:cxn>
              <a:cxn ang="0">
                <a:pos x="4" y="16"/>
              </a:cxn>
              <a:cxn ang="0">
                <a:pos x="2" y="14"/>
              </a:cxn>
              <a:cxn ang="0">
                <a:pos x="0" y="14"/>
              </a:cxn>
              <a:cxn ang="0">
                <a:pos x="1" y="10"/>
              </a:cxn>
              <a:cxn ang="0">
                <a:pos x="1" y="8"/>
              </a:cxn>
              <a:cxn ang="0">
                <a:pos x="2" y="3"/>
              </a:cxn>
              <a:cxn ang="0">
                <a:pos x="4" y="2"/>
              </a:cxn>
              <a:cxn ang="0">
                <a:pos x="6" y="0"/>
              </a:cxn>
              <a:cxn ang="0">
                <a:pos x="8" y="2"/>
              </a:cxn>
              <a:cxn ang="0">
                <a:pos x="12" y="2"/>
              </a:cxn>
              <a:cxn ang="0">
                <a:pos x="13" y="5"/>
              </a:cxn>
              <a:cxn ang="0">
                <a:pos x="17" y="6"/>
              </a:cxn>
              <a:cxn ang="0">
                <a:pos x="20" y="10"/>
              </a:cxn>
              <a:cxn ang="0">
                <a:pos x="18" y="19"/>
              </a:cxn>
              <a:cxn ang="0">
                <a:pos x="18" y="22"/>
              </a:cxn>
              <a:cxn ang="0">
                <a:pos x="21" y="27"/>
              </a:cxn>
              <a:cxn ang="0">
                <a:pos x="25" y="32"/>
              </a:cxn>
              <a:cxn ang="0">
                <a:pos x="26" y="35"/>
              </a:cxn>
              <a:cxn ang="0">
                <a:pos x="26" y="38"/>
              </a:cxn>
              <a:cxn ang="0">
                <a:pos x="22" y="41"/>
              </a:cxn>
              <a:cxn ang="0">
                <a:pos x="20" y="44"/>
              </a:cxn>
              <a:cxn ang="0">
                <a:pos x="17" y="47"/>
              </a:cxn>
              <a:cxn ang="0">
                <a:pos x="17" y="49"/>
              </a:cxn>
              <a:cxn ang="0">
                <a:pos x="16" y="50"/>
              </a:cxn>
              <a:cxn ang="0">
                <a:pos x="13" y="54"/>
              </a:cxn>
              <a:cxn ang="0">
                <a:pos x="13" y="52"/>
              </a:cxn>
            </a:cxnLst>
            <a:rect l="0" t="0" r="r" b="b"/>
            <a:pathLst>
              <a:path w="26" h="54">
                <a:moveTo>
                  <a:pt x="13" y="52"/>
                </a:moveTo>
                <a:lnTo>
                  <a:pt x="10" y="52"/>
                </a:lnTo>
                <a:lnTo>
                  <a:pt x="10" y="49"/>
                </a:lnTo>
                <a:lnTo>
                  <a:pt x="8" y="46"/>
                </a:lnTo>
                <a:lnTo>
                  <a:pt x="4" y="44"/>
                </a:lnTo>
                <a:lnTo>
                  <a:pt x="1" y="41"/>
                </a:lnTo>
                <a:lnTo>
                  <a:pt x="0" y="39"/>
                </a:lnTo>
                <a:lnTo>
                  <a:pt x="1" y="39"/>
                </a:lnTo>
                <a:lnTo>
                  <a:pt x="1" y="38"/>
                </a:lnTo>
                <a:lnTo>
                  <a:pt x="1" y="33"/>
                </a:lnTo>
                <a:lnTo>
                  <a:pt x="1" y="30"/>
                </a:lnTo>
                <a:lnTo>
                  <a:pt x="2" y="30"/>
                </a:lnTo>
                <a:lnTo>
                  <a:pt x="2" y="28"/>
                </a:lnTo>
                <a:lnTo>
                  <a:pt x="2" y="25"/>
                </a:lnTo>
                <a:lnTo>
                  <a:pt x="1" y="22"/>
                </a:lnTo>
                <a:lnTo>
                  <a:pt x="4" y="16"/>
                </a:lnTo>
                <a:lnTo>
                  <a:pt x="2" y="14"/>
                </a:lnTo>
                <a:lnTo>
                  <a:pt x="0" y="14"/>
                </a:lnTo>
                <a:lnTo>
                  <a:pt x="1" y="10"/>
                </a:lnTo>
                <a:lnTo>
                  <a:pt x="1" y="8"/>
                </a:lnTo>
                <a:lnTo>
                  <a:pt x="2" y="3"/>
                </a:lnTo>
                <a:lnTo>
                  <a:pt x="4" y="2"/>
                </a:lnTo>
                <a:lnTo>
                  <a:pt x="6" y="0"/>
                </a:lnTo>
                <a:lnTo>
                  <a:pt x="8" y="2"/>
                </a:lnTo>
                <a:lnTo>
                  <a:pt x="12" y="2"/>
                </a:lnTo>
                <a:lnTo>
                  <a:pt x="13" y="5"/>
                </a:lnTo>
                <a:lnTo>
                  <a:pt x="17" y="6"/>
                </a:lnTo>
                <a:lnTo>
                  <a:pt x="20" y="10"/>
                </a:lnTo>
                <a:lnTo>
                  <a:pt x="18" y="19"/>
                </a:lnTo>
                <a:lnTo>
                  <a:pt x="18" y="22"/>
                </a:lnTo>
                <a:lnTo>
                  <a:pt x="21" y="27"/>
                </a:lnTo>
                <a:lnTo>
                  <a:pt x="25" y="32"/>
                </a:lnTo>
                <a:lnTo>
                  <a:pt x="26" y="35"/>
                </a:lnTo>
                <a:lnTo>
                  <a:pt x="26" y="38"/>
                </a:lnTo>
                <a:lnTo>
                  <a:pt x="22" y="41"/>
                </a:lnTo>
                <a:lnTo>
                  <a:pt x="20" y="44"/>
                </a:lnTo>
                <a:lnTo>
                  <a:pt x="17" y="47"/>
                </a:lnTo>
                <a:lnTo>
                  <a:pt x="17" y="49"/>
                </a:lnTo>
                <a:lnTo>
                  <a:pt x="16" y="50"/>
                </a:lnTo>
                <a:lnTo>
                  <a:pt x="13" y="54"/>
                </a:lnTo>
                <a:lnTo>
                  <a:pt x="13" y="5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05" name="Freeform 605"/>
          <p:cNvSpPr>
            <a:spLocks/>
          </p:cNvSpPr>
          <p:nvPr/>
        </p:nvSpPr>
        <p:spPr bwMode="auto">
          <a:xfrm>
            <a:off x="6229837" y="2838787"/>
            <a:ext cx="48721" cy="107381"/>
          </a:xfrm>
          <a:custGeom>
            <a:avLst/>
            <a:gdLst/>
            <a:ahLst/>
            <a:cxnLst>
              <a:cxn ang="0">
                <a:pos x="13" y="52"/>
              </a:cxn>
              <a:cxn ang="0">
                <a:pos x="10" y="52"/>
              </a:cxn>
              <a:cxn ang="0">
                <a:pos x="10" y="49"/>
              </a:cxn>
              <a:cxn ang="0">
                <a:pos x="8" y="46"/>
              </a:cxn>
              <a:cxn ang="0">
                <a:pos x="4" y="44"/>
              </a:cxn>
              <a:cxn ang="0">
                <a:pos x="1" y="41"/>
              </a:cxn>
              <a:cxn ang="0">
                <a:pos x="0" y="39"/>
              </a:cxn>
              <a:cxn ang="0">
                <a:pos x="1" y="39"/>
              </a:cxn>
              <a:cxn ang="0">
                <a:pos x="1" y="38"/>
              </a:cxn>
              <a:cxn ang="0">
                <a:pos x="1" y="33"/>
              </a:cxn>
              <a:cxn ang="0">
                <a:pos x="1" y="30"/>
              </a:cxn>
              <a:cxn ang="0">
                <a:pos x="2" y="30"/>
              </a:cxn>
              <a:cxn ang="0">
                <a:pos x="2" y="28"/>
              </a:cxn>
              <a:cxn ang="0">
                <a:pos x="2" y="25"/>
              </a:cxn>
              <a:cxn ang="0">
                <a:pos x="1" y="22"/>
              </a:cxn>
              <a:cxn ang="0">
                <a:pos x="4" y="16"/>
              </a:cxn>
              <a:cxn ang="0">
                <a:pos x="2" y="14"/>
              </a:cxn>
              <a:cxn ang="0">
                <a:pos x="0" y="14"/>
              </a:cxn>
              <a:cxn ang="0">
                <a:pos x="1" y="10"/>
              </a:cxn>
              <a:cxn ang="0">
                <a:pos x="1" y="8"/>
              </a:cxn>
              <a:cxn ang="0">
                <a:pos x="2" y="3"/>
              </a:cxn>
              <a:cxn ang="0">
                <a:pos x="4" y="2"/>
              </a:cxn>
              <a:cxn ang="0">
                <a:pos x="6" y="0"/>
              </a:cxn>
              <a:cxn ang="0">
                <a:pos x="8" y="2"/>
              </a:cxn>
              <a:cxn ang="0">
                <a:pos x="12" y="2"/>
              </a:cxn>
              <a:cxn ang="0">
                <a:pos x="13" y="5"/>
              </a:cxn>
              <a:cxn ang="0">
                <a:pos x="17" y="6"/>
              </a:cxn>
              <a:cxn ang="0">
                <a:pos x="20" y="10"/>
              </a:cxn>
              <a:cxn ang="0">
                <a:pos x="18" y="19"/>
              </a:cxn>
              <a:cxn ang="0">
                <a:pos x="18" y="22"/>
              </a:cxn>
              <a:cxn ang="0">
                <a:pos x="21" y="27"/>
              </a:cxn>
              <a:cxn ang="0">
                <a:pos x="25" y="32"/>
              </a:cxn>
              <a:cxn ang="0">
                <a:pos x="26" y="35"/>
              </a:cxn>
              <a:cxn ang="0">
                <a:pos x="26" y="38"/>
              </a:cxn>
              <a:cxn ang="0">
                <a:pos x="22" y="41"/>
              </a:cxn>
              <a:cxn ang="0">
                <a:pos x="20" y="44"/>
              </a:cxn>
              <a:cxn ang="0">
                <a:pos x="17" y="47"/>
              </a:cxn>
              <a:cxn ang="0">
                <a:pos x="17" y="49"/>
              </a:cxn>
              <a:cxn ang="0">
                <a:pos x="16" y="50"/>
              </a:cxn>
              <a:cxn ang="0">
                <a:pos x="13" y="54"/>
              </a:cxn>
              <a:cxn ang="0">
                <a:pos x="13" y="52"/>
              </a:cxn>
            </a:cxnLst>
            <a:rect l="0" t="0" r="r" b="b"/>
            <a:pathLst>
              <a:path w="26" h="54">
                <a:moveTo>
                  <a:pt x="13" y="52"/>
                </a:moveTo>
                <a:lnTo>
                  <a:pt x="10" y="52"/>
                </a:lnTo>
                <a:lnTo>
                  <a:pt x="10" y="49"/>
                </a:lnTo>
                <a:lnTo>
                  <a:pt x="8" y="46"/>
                </a:lnTo>
                <a:lnTo>
                  <a:pt x="4" y="44"/>
                </a:lnTo>
                <a:lnTo>
                  <a:pt x="1" y="41"/>
                </a:lnTo>
                <a:lnTo>
                  <a:pt x="0" y="39"/>
                </a:lnTo>
                <a:lnTo>
                  <a:pt x="1" y="39"/>
                </a:lnTo>
                <a:lnTo>
                  <a:pt x="1" y="38"/>
                </a:lnTo>
                <a:lnTo>
                  <a:pt x="1" y="33"/>
                </a:lnTo>
                <a:lnTo>
                  <a:pt x="1" y="30"/>
                </a:lnTo>
                <a:lnTo>
                  <a:pt x="2" y="30"/>
                </a:lnTo>
                <a:lnTo>
                  <a:pt x="2" y="28"/>
                </a:lnTo>
                <a:lnTo>
                  <a:pt x="2" y="25"/>
                </a:lnTo>
                <a:lnTo>
                  <a:pt x="1" y="22"/>
                </a:lnTo>
                <a:lnTo>
                  <a:pt x="4" y="16"/>
                </a:lnTo>
                <a:lnTo>
                  <a:pt x="2" y="14"/>
                </a:lnTo>
                <a:lnTo>
                  <a:pt x="0" y="14"/>
                </a:lnTo>
                <a:lnTo>
                  <a:pt x="1" y="10"/>
                </a:lnTo>
                <a:lnTo>
                  <a:pt x="1" y="8"/>
                </a:lnTo>
                <a:lnTo>
                  <a:pt x="2" y="3"/>
                </a:lnTo>
                <a:lnTo>
                  <a:pt x="4" y="2"/>
                </a:lnTo>
                <a:lnTo>
                  <a:pt x="6" y="0"/>
                </a:lnTo>
                <a:lnTo>
                  <a:pt x="8" y="2"/>
                </a:lnTo>
                <a:lnTo>
                  <a:pt x="12" y="2"/>
                </a:lnTo>
                <a:lnTo>
                  <a:pt x="13" y="5"/>
                </a:lnTo>
                <a:lnTo>
                  <a:pt x="17" y="6"/>
                </a:lnTo>
                <a:lnTo>
                  <a:pt x="20" y="10"/>
                </a:lnTo>
                <a:lnTo>
                  <a:pt x="18" y="19"/>
                </a:lnTo>
                <a:lnTo>
                  <a:pt x="18" y="22"/>
                </a:lnTo>
                <a:lnTo>
                  <a:pt x="21" y="27"/>
                </a:lnTo>
                <a:lnTo>
                  <a:pt x="25" y="32"/>
                </a:lnTo>
                <a:lnTo>
                  <a:pt x="26" y="35"/>
                </a:lnTo>
                <a:lnTo>
                  <a:pt x="26" y="38"/>
                </a:lnTo>
                <a:lnTo>
                  <a:pt x="22" y="41"/>
                </a:lnTo>
                <a:lnTo>
                  <a:pt x="20" y="44"/>
                </a:lnTo>
                <a:lnTo>
                  <a:pt x="17" y="47"/>
                </a:lnTo>
                <a:lnTo>
                  <a:pt x="17" y="49"/>
                </a:lnTo>
                <a:lnTo>
                  <a:pt x="16" y="50"/>
                </a:lnTo>
                <a:lnTo>
                  <a:pt x="13" y="54"/>
                </a:lnTo>
                <a:lnTo>
                  <a:pt x="13" y="5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06" name="Freeform 606"/>
          <p:cNvSpPr>
            <a:spLocks/>
          </p:cNvSpPr>
          <p:nvPr/>
        </p:nvSpPr>
        <p:spPr bwMode="auto">
          <a:xfrm>
            <a:off x="8502156" y="4058627"/>
            <a:ext cx="3898" cy="85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"/>
              </a:cxn>
              <a:cxn ang="0">
                <a:pos x="0" y="5"/>
              </a:cxn>
              <a:cxn ang="0">
                <a:pos x="2" y="3"/>
              </a:cxn>
              <a:cxn ang="0">
                <a:pos x="2" y="2"/>
              </a:cxn>
              <a:cxn ang="0">
                <a:pos x="1" y="0"/>
              </a:cxn>
              <a:cxn ang="0">
                <a:pos x="0" y="0"/>
              </a:cxn>
            </a:cxnLst>
            <a:rect l="0" t="0" r="r" b="b"/>
            <a:pathLst>
              <a:path w="2" h="5">
                <a:moveTo>
                  <a:pt x="0" y="0"/>
                </a:moveTo>
                <a:lnTo>
                  <a:pt x="0" y="3"/>
                </a:lnTo>
                <a:lnTo>
                  <a:pt x="0" y="5"/>
                </a:lnTo>
                <a:lnTo>
                  <a:pt x="2" y="3"/>
                </a:lnTo>
                <a:lnTo>
                  <a:pt x="2" y="2"/>
                </a:lnTo>
                <a:lnTo>
                  <a:pt x="1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07" name="Freeform 607"/>
          <p:cNvSpPr>
            <a:spLocks/>
          </p:cNvSpPr>
          <p:nvPr/>
        </p:nvSpPr>
        <p:spPr bwMode="auto">
          <a:xfrm>
            <a:off x="8502156" y="4058627"/>
            <a:ext cx="3898" cy="85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"/>
              </a:cxn>
              <a:cxn ang="0">
                <a:pos x="0" y="5"/>
              </a:cxn>
              <a:cxn ang="0">
                <a:pos x="2" y="3"/>
              </a:cxn>
              <a:cxn ang="0">
                <a:pos x="2" y="2"/>
              </a:cxn>
              <a:cxn ang="0">
                <a:pos x="1" y="0"/>
              </a:cxn>
              <a:cxn ang="0">
                <a:pos x="0" y="0"/>
              </a:cxn>
            </a:cxnLst>
            <a:rect l="0" t="0" r="r" b="b"/>
            <a:pathLst>
              <a:path w="2" h="5">
                <a:moveTo>
                  <a:pt x="0" y="0"/>
                </a:moveTo>
                <a:lnTo>
                  <a:pt x="0" y="3"/>
                </a:lnTo>
                <a:lnTo>
                  <a:pt x="0" y="5"/>
                </a:lnTo>
                <a:lnTo>
                  <a:pt x="2" y="3"/>
                </a:lnTo>
                <a:lnTo>
                  <a:pt x="2" y="2"/>
                </a:lnTo>
                <a:lnTo>
                  <a:pt x="1" y="0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08" name="Freeform 608"/>
          <p:cNvSpPr>
            <a:spLocks/>
          </p:cNvSpPr>
          <p:nvPr/>
        </p:nvSpPr>
        <p:spPr bwMode="auto">
          <a:xfrm>
            <a:off x="8480719" y="3614073"/>
            <a:ext cx="226062" cy="530458"/>
          </a:xfrm>
          <a:custGeom>
            <a:avLst/>
            <a:gdLst/>
            <a:ahLst/>
            <a:cxnLst>
              <a:cxn ang="0">
                <a:pos x="35" y="7"/>
              </a:cxn>
              <a:cxn ang="0">
                <a:pos x="21" y="15"/>
              </a:cxn>
              <a:cxn ang="0">
                <a:pos x="7" y="20"/>
              </a:cxn>
              <a:cxn ang="0">
                <a:pos x="0" y="42"/>
              </a:cxn>
              <a:cxn ang="0">
                <a:pos x="11" y="61"/>
              </a:cxn>
              <a:cxn ang="0">
                <a:pos x="15" y="78"/>
              </a:cxn>
              <a:cxn ang="0">
                <a:pos x="15" y="87"/>
              </a:cxn>
              <a:cxn ang="0">
                <a:pos x="11" y="98"/>
              </a:cxn>
              <a:cxn ang="0">
                <a:pos x="16" y="114"/>
              </a:cxn>
              <a:cxn ang="0">
                <a:pos x="23" y="136"/>
              </a:cxn>
              <a:cxn ang="0">
                <a:pos x="31" y="157"/>
              </a:cxn>
              <a:cxn ang="0">
                <a:pos x="20" y="175"/>
              </a:cxn>
              <a:cxn ang="0">
                <a:pos x="16" y="188"/>
              </a:cxn>
              <a:cxn ang="0">
                <a:pos x="11" y="215"/>
              </a:cxn>
              <a:cxn ang="0">
                <a:pos x="23" y="229"/>
              </a:cxn>
              <a:cxn ang="0">
                <a:pos x="32" y="245"/>
              </a:cxn>
              <a:cxn ang="0">
                <a:pos x="44" y="252"/>
              </a:cxn>
              <a:cxn ang="0">
                <a:pos x="53" y="263"/>
              </a:cxn>
              <a:cxn ang="0">
                <a:pos x="66" y="263"/>
              </a:cxn>
              <a:cxn ang="0">
                <a:pos x="60" y="246"/>
              </a:cxn>
              <a:cxn ang="0">
                <a:pos x="44" y="235"/>
              </a:cxn>
              <a:cxn ang="0">
                <a:pos x="36" y="213"/>
              </a:cxn>
              <a:cxn ang="0">
                <a:pos x="28" y="205"/>
              </a:cxn>
              <a:cxn ang="0">
                <a:pos x="24" y="191"/>
              </a:cxn>
              <a:cxn ang="0">
                <a:pos x="25" y="179"/>
              </a:cxn>
              <a:cxn ang="0">
                <a:pos x="31" y="161"/>
              </a:cxn>
              <a:cxn ang="0">
                <a:pos x="37" y="136"/>
              </a:cxn>
              <a:cxn ang="0">
                <a:pos x="47" y="128"/>
              </a:cxn>
              <a:cxn ang="0">
                <a:pos x="51" y="144"/>
              </a:cxn>
              <a:cxn ang="0">
                <a:pos x="58" y="144"/>
              </a:cxn>
              <a:cxn ang="0">
                <a:pos x="70" y="152"/>
              </a:cxn>
              <a:cxn ang="0">
                <a:pos x="78" y="160"/>
              </a:cxn>
              <a:cxn ang="0">
                <a:pos x="78" y="152"/>
              </a:cxn>
              <a:cxn ang="0">
                <a:pos x="70" y="135"/>
              </a:cxn>
              <a:cxn ang="0">
                <a:pos x="76" y="122"/>
              </a:cxn>
              <a:cxn ang="0">
                <a:pos x="92" y="113"/>
              </a:cxn>
              <a:cxn ang="0">
                <a:pos x="112" y="116"/>
              </a:cxn>
              <a:cxn ang="0">
                <a:pos x="117" y="109"/>
              </a:cxn>
              <a:cxn ang="0">
                <a:pos x="118" y="89"/>
              </a:cxn>
              <a:cxn ang="0">
                <a:pos x="112" y="83"/>
              </a:cxn>
              <a:cxn ang="0">
                <a:pos x="106" y="67"/>
              </a:cxn>
              <a:cxn ang="0">
                <a:pos x="102" y="55"/>
              </a:cxn>
              <a:cxn ang="0">
                <a:pos x="96" y="47"/>
              </a:cxn>
              <a:cxn ang="0">
                <a:pos x="82" y="42"/>
              </a:cxn>
              <a:cxn ang="0">
                <a:pos x="74" y="50"/>
              </a:cxn>
              <a:cxn ang="0">
                <a:pos x="66" y="45"/>
              </a:cxn>
              <a:cxn ang="0">
                <a:pos x="53" y="51"/>
              </a:cxn>
              <a:cxn ang="0">
                <a:pos x="49" y="50"/>
              </a:cxn>
              <a:cxn ang="0">
                <a:pos x="53" y="33"/>
              </a:cxn>
              <a:cxn ang="0">
                <a:pos x="52" y="18"/>
              </a:cxn>
              <a:cxn ang="0">
                <a:pos x="44" y="12"/>
              </a:cxn>
              <a:cxn ang="0">
                <a:pos x="39" y="4"/>
              </a:cxn>
            </a:cxnLst>
            <a:rect l="0" t="0" r="r" b="b"/>
            <a:pathLst>
              <a:path w="118" h="268">
                <a:moveTo>
                  <a:pt x="40" y="0"/>
                </a:moveTo>
                <a:lnTo>
                  <a:pt x="37" y="1"/>
                </a:lnTo>
                <a:lnTo>
                  <a:pt x="36" y="3"/>
                </a:lnTo>
                <a:lnTo>
                  <a:pt x="35" y="7"/>
                </a:lnTo>
                <a:lnTo>
                  <a:pt x="31" y="9"/>
                </a:lnTo>
                <a:lnTo>
                  <a:pt x="28" y="11"/>
                </a:lnTo>
                <a:lnTo>
                  <a:pt x="24" y="14"/>
                </a:lnTo>
                <a:lnTo>
                  <a:pt x="21" y="15"/>
                </a:lnTo>
                <a:lnTo>
                  <a:pt x="19" y="18"/>
                </a:lnTo>
                <a:lnTo>
                  <a:pt x="15" y="20"/>
                </a:lnTo>
                <a:lnTo>
                  <a:pt x="11" y="20"/>
                </a:lnTo>
                <a:lnTo>
                  <a:pt x="7" y="20"/>
                </a:lnTo>
                <a:lnTo>
                  <a:pt x="3" y="33"/>
                </a:lnTo>
                <a:lnTo>
                  <a:pt x="3" y="36"/>
                </a:lnTo>
                <a:lnTo>
                  <a:pt x="3" y="39"/>
                </a:lnTo>
                <a:lnTo>
                  <a:pt x="0" y="42"/>
                </a:lnTo>
                <a:lnTo>
                  <a:pt x="0" y="44"/>
                </a:lnTo>
                <a:lnTo>
                  <a:pt x="1" y="48"/>
                </a:lnTo>
                <a:lnTo>
                  <a:pt x="5" y="56"/>
                </a:lnTo>
                <a:lnTo>
                  <a:pt x="11" y="61"/>
                </a:lnTo>
                <a:lnTo>
                  <a:pt x="13" y="64"/>
                </a:lnTo>
                <a:lnTo>
                  <a:pt x="15" y="70"/>
                </a:lnTo>
                <a:lnTo>
                  <a:pt x="13" y="75"/>
                </a:lnTo>
                <a:lnTo>
                  <a:pt x="15" y="78"/>
                </a:lnTo>
                <a:lnTo>
                  <a:pt x="17" y="78"/>
                </a:lnTo>
                <a:lnTo>
                  <a:pt x="19" y="81"/>
                </a:lnTo>
                <a:lnTo>
                  <a:pt x="16" y="83"/>
                </a:lnTo>
                <a:lnTo>
                  <a:pt x="15" y="87"/>
                </a:lnTo>
                <a:lnTo>
                  <a:pt x="15" y="91"/>
                </a:lnTo>
                <a:lnTo>
                  <a:pt x="13" y="94"/>
                </a:lnTo>
                <a:lnTo>
                  <a:pt x="13" y="95"/>
                </a:lnTo>
                <a:lnTo>
                  <a:pt x="11" y="98"/>
                </a:lnTo>
                <a:lnTo>
                  <a:pt x="9" y="100"/>
                </a:lnTo>
                <a:lnTo>
                  <a:pt x="9" y="105"/>
                </a:lnTo>
                <a:lnTo>
                  <a:pt x="11" y="109"/>
                </a:lnTo>
                <a:lnTo>
                  <a:pt x="16" y="114"/>
                </a:lnTo>
                <a:lnTo>
                  <a:pt x="21" y="120"/>
                </a:lnTo>
                <a:lnTo>
                  <a:pt x="21" y="122"/>
                </a:lnTo>
                <a:lnTo>
                  <a:pt x="23" y="125"/>
                </a:lnTo>
                <a:lnTo>
                  <a:pt x="23" y="136"/>
                </a:lnTo>
                <a:lnTo>
                  <a:pt x="24" y="141"/>
                </a:lnTo>
                <a:lnTo>
                  <a:pt x="25" y="141"/>
                </a:lnTo>
                <a:lnTo>
                  <a:pt x="27" y="147"/>
                </a:lnTo>
                <a:lnTo>
                  <a:pt x="31" y="157"/>
                </a:lnTo>
                <a:lnTo>
                  <a:pt x="31" y="160"/>
                </a:lnTo>
                <a:lnTo>
                  <a:pt x="25" y="169"/>
                </a:lnTo>
                <a:lnTo>
                  <a:pt x="23" y="172"/>
                </a:lnTo>
                <a:lnTo>
                  <a:pt x="20" y="175"/>
                </a:lnTo>
                <a:lnTo>
                  <a:pt x="20" y="180"/>
                </a:lnTo>
                <a:lnTo>
                  <a:pt x="19" y="185"/>
                </a:lnTo>
                <a:lnTo>
                  <a:pt x="17" y="186"/>
                </a:lnTo>
                <a:lnTo>
                  <a:pt x="16" y="188"/>
                </a:lnTo>
                <a:lnTo>
                  <a:pt x="15" y="191"/>
                </a:lnTo>
                <a:lnTo>
                  <a:pt x="15" y="194"/>
                </a:lnTo>
                <a:lnTo>
                  <a:pt x="11" y="208"/>
                </a:lnTo>
                <a:lnTo>
                  <a:pt x="11" y="215"/>
                </a:lnTo>
                <a:lnTo>
                  <a:pt x="11" y="219"/>
                </a:lnTo>
                <a:lnTo>
                  <a:pt x="11" y="223"/>
                </a:lnTo>
                <a:lnTo>
                  <a:pt x="16" y="223"/>
                </a:lnTo>
                <a:lnTo>
                  <a:pt x="23" y="229"/>
                </a:lnTo>
                <a:lnTo>
                  <a:pt x="24" y="230"/>
                </a:lnTo>
                <a:lnTo>
                  <a:pt x="28" y="237"/>
                </a:lnTo>
                <a:lnTo>
                  <a:pt x="31" y="240"/>
                </a:lnTo>
                <a:lnTo>
                  <a:pt x="32" y="245"/>
                </a:lnTo>
                <a:lnTo>
                  <a:pt x="40" y="254"/>
                </a:lnTo>
                <a:lnTo>
                  <a:pt x="39" y="249"/>
                </a:lnTo>
                <a:lnTo>
                  <a:pt x="43" y="249"/>
                </a:lnTo>
                <a:lnTo>
                  <a:pt x="44" y="252"/>
                </a:lnTo>
                <a:lnTo>
                  <a:pt x="49" y="252"/>
                </a:lnTo>
                <a:lnTo>
                  <a:pt x="52" y="254"/>
                </a:lnTo>
                <a:lnTo>
                  <a:pt x="54" y="259"/>
                </a:lnTo>
                <a:lnTo>
                  <a:pt x="53" y="263"/>
                </a:lnTo>
                <a:lnTo>
                  <a:pt x="54" y="268"/>
                </a:lnTo>
                <a:lnTo>
                  <a:pt x="61" y="262"/>
                </a:lnTo>
                <a:lnTo>
                  <a:pt x="64" y="263"/>
                </a:lnTo>
                <a:lnTo>
                  <a:pt x="66" y="263"/>
                </a:lnTo>
                <a:lnTo>
                  <a:pt x="69" y="259"/>
                </a:lnTo>
                <a:lnTo>
                  <a:pt x="66" y="254"/>
                </a:lnTo>
                <a:lnTo>
                  <a:pt x="64" y="249"/>
                </a:lnTo>
                <a:lnTo>
                  <a:pt x="60" y="246"/>
                </a:lnTo>
                <a:lnTo>
                  <a:pt x="49" y="245"/>
                </a:lnTo>
                <a:lnTo>
                  <a:pt x="47" y="240"/>
                </a:lnTo>
                <a:lnTo>
                  <a:pt x="45" y="238"/>
                </a:lnTo>
                <a:lnTo>
                  <a:pt x="44" y="235"/>
                </a:lnTo>
                <a:lnTo>
                  <a:pt x="41" y="224"/>
                </a:lnTo>
                <a:lnTo>
                  <a:pt x="40" y="221"/>
                </a:lnTo>
                <a:lnTo>
                  <a:pt x="37" y="218"/>
                </a:lnTo>
                <a:lnTo>
                  <a:pt x="36" y="213"/>
                </a:lnTo>
                <a:lnTo>
                  <a:pt x="36" y="207"/>
                </a:lnTo>
                <a:lnTo>
                  <a:pt x="35" y="204"/>
                </a:lnTo>
                <a:lnTo>
                  <a:pt x="32" y="204"/>
                </a:lnTo>
                <a:lnTo>
                  <a:pt x="28" y="205"/>
                </a:lnTo>
                <a:lnTo>
                  <a:pt x="25" y="204"/>
                </a:lnTo>
                <a:lnTo>
                  <a:pt x="24" y="202"/>
                </a:lnTo>
                <a:lnTo>
                  <a:pt x="24" y="196"/>
                </a:lnTo>
                <a:lnTo>
                  <a:pt x="24" y="191"/>
                </a:lnTo>
                <a:lnTo>
                  <a:pt x="24" y="186"/>
                </a:lnTo>
                <a:lnTo>
                  <a:pt x="24" y="185"/>
                </a:lnTo>
                <a:lnTo>
                  <a:pt x="25" y="182"/>
                </a:lnTo>
                <a:lnTo>
                  <a:pt x="25" y="179"/>
                </a:lnTo>
                <a:lnTo>
                  <a:pt x="27" y="177"/>
                </a:lnTo>
                <a:lnTo>
                  <a:pt x="28" y="174"/>
                </a:lnTo>
                <a:lnTo>
                  <a:pt x="28" y="169"/>
                </a:lnTo>
                <a:lnTo>
                  <a:pt x="31" y="161"/>
                </a:lnTo>
                <a:lnTo>
                  <a:pt x="33" y="157"/>
                </a:lnTo>
                <a:lnTo>
                  <a:pt x="35" y="152"/>
                </a:lnTo>
                <a:lnTo>
                  <a:pt x="36" y="147"/>
                </a:lnTo>
                <a:lnTo>
                  <a:pt x="37" y="136"/>
                </a:lnTo>
                <a:lnTo>
                  <a:pt x="36" y="130"/>
                </a:lnTo>
                <a:lnTo>
                  <a:pt x="39" y="128"/>
                </a:lnTo>
                <a:lnTo>
                  <a:pt x="44" y="128"/>
                </a:lnTo>
                <a:lnTo>
                  <a:pt x="47" y="128"/>
                </a:lnTo>
                <a:lnTo>
                  <a:pt x="49" y="128"/>
                </a:lnTo>
                <a:lnTo>
                  <a:pt x="51" y="130"/>
                </a:lnTo>
                <a:lnTo>
                  <a:pt x="49" y="142"/>
                </a:lnTo>
                <a:lnTo>
                  <a:pt x="51" y="144"/>
                </a:lnTo>
                <a:lnTo>
                  <a:pt x="52" y="144"/>
                </a:lnTo>
                <a:lnTo>
                  <a:pt x="51" y="144"/>
                </a:lnTo>
                <a:lnTo>
                  <a:pt x="52" y="142"/>
                </a:lnTo>
                <a:lnTo>
                  <a:pt x="58" y="144"/>
                </a:lnTo>
                <a:lnTo>
                  <a:pt x="61" y="142"/>
                </a:lnTo>
                <a:lnTo>
                  <a:pt x="64" y="144"/>
                </a:lnTo>
                <a:lnTo>
                  <a:pt x="69" y="149"/>
                </a:lnTo>
                <a:lnTo>
                  <a:pt x="70" y="152"/>
                </a:lnTo>
                <a:lnTo>
                  <a:pt x="73" y="152"/>
                </a:lnTo>
                <a:lnTo>
                  <a:pt x="74" y="153"/>
                </a:lnTo>
                <a:lnTo>
                  <a:pt x="76" y="153"/>
                </a:lnTo>
                <a:lnTo>
                  <a:pt x="78" y="160"/>
                </a:lnTo>
                <a:lnTo>
                  <a:pt x="80" y="161"/>
                </a:lnTo>
                <a:lnTo>
                  <a:pt x="81" y="160"/>
                </a:lnTo>
                <a:lnTo>
                  <a:pt x="80" y="157"/>
                </a:lnTo>
                <a:lnTo>
                  <a:pt x="78" y="152"/>
                </a:lnTo>
                <a:lnTo>
                  <a:pt x="77" y="149"/>
                </a:lnTo>
                <a:lnTo>
                  <a:pt x="73" y="144"/>
                </a:lnTo>
                <a:lnTo>
                  <a:pt x="70" y="138"/>
                </a:lnTo>
                <a:lnTo>
                  <a:pt x="70" y="135"/>
                </a:lnTo>
                <a:lnTo>
                  <a:pt x="70" y="128"/>
                </a:lnTo>
                <a:lnTo>
                  <a:pt x="73" y="127"/>
                </a:lnTo>
                <a:lnTo>
                  <a:pt x="74" y="124"/>
                </a:lnTo>
                <a:lnTo>
                  <a:pt x="76" y="122"/>
                </a:lnTo>
                <a:lnTo>
                  <a:pt x="80" y="116"/>
                </a:lnTo>
                <a:lnTo>
                  <a:pt x="82" y="114"/>
                </a:lnTo>
                <a:lnTo>
                  <a:pt x="84" y="113"/>
                </a:lnTo>
                <a:lnTo>
                  <a:pt x="92" y="113"/>
                </a:lnTo>
                <a:lnTo>
                  <a:pt x="96" y="114"/>
                </a:lnTo>
                <a:lnTo>
                  <a:pt x="101" y="114"/>
                </a:lnTo>
                <a:lnTo>
                  <a:pt x="109" y="113"/>
                </a:lnTo>
                <a:lnTo>
                  <a:pt x="112" y="116"/>
                </a:lnTo>
                <a:lnTo>
                  <a:pt x="114" y="114"/>
                </a:lnTo>
                <a:lnTo>
                  <a:pt x="114" y="113"/>
                </a:lnTo>
                <a:lnTo>
                  <a:pt x="116" y="113"/>
                </a:lnTo>
                <a:lnTo>
                  <a:pt x="117" y="109"/>
                </a:lnTo>
                <a:lnTo>
                  <a:pt x="117" y="97"/>
                </a:lnTo>
                <a:lnTo>
                  <a:pt x="118" y="94"/>
                </a:lnTo>
                <a:lnTo>
                  <a:pt x="118" y="91"/>
                </a:lnTo>
                <a:lnTo>
                  <a:pt x="118" y="89"/>
                </a:lnTo>
                <a:lnTo>
                  <a:pt x="117" y="87"/>
                </a:lnTo>
                <a:lnTo>
                  <a:pt x="114" y="86"/>
                </a:lnTo>
                <a:lnTo>
                  <a:pt x="113" y="83"/>
                </a:lnTo>
                <a:lnTo>
                  <a:pt x="112" y="83"/>
                </a:lnTo>
                <a:lnTo>
                  <a:pt x="109" y="81"/>
                </a:lnTo>
                <a:lnTo>
                  <a:pt x="108" y="78"/>
                </a:lnTo>
                <a:lnTo>
                  <a:pt x="106" y="75"/>
                </a:lnTo>
                <a:lnTo>
                  <a:pt x="106" y="67"/>
                </a:lnTo>
                <a:lnTo>
                  <a:pt x="106" y="62"/>
                </a:lnTo>
                <a:lnTo>
                  <a:pt x="105" y="59"/>
                </a:lnTo>
                <a:lnTo>
                  <a:pt x="104" y="56"/>
                </a:lnTo>
                <a:lnTo>
                  <a:pt x="102" y="55"/>
                </a:lnTo>
                <a:lnTo>
                  <a:pt x="101" y="51"/>
                </a:lnTo>
                <a:lnTo>
                  <a:pt x="98" y="51"/>
                </a:lnTo>
                <a:lnTo>
                  <a:pt x="97" y="48"/>
                </a:lnTo>
                <a:lnTo>
                  <a:pt x="96" y="47"/>
                </a:lnTo>
                <a:lnTo>
                  <a:pt x="92" y="42"/>
                </a:lnTo>
                <a:lnTo>
                  <a:pt x="89" y="42"/>
                </a:lnTo>
                <a:lnTo>
                  <a:pt x="85" y="42"/>
                </a:lnTo>
                <a:lnTo>
                  <a:pt x="82" y="42"/>
                </a:lnTo>
                <a:lnTo>
                  <a:pt x="81" y="45"/>
                </a:lnTo>
                <a:lnTo>
                  <a:pt x="81" y="47"/>
                </a:lnTo>
                <a:lnTo>
                  <a:pt x="78" y="48"/>
                </a:lnTo>
                <a:lnTo>
                  <a:pt x="74" y="50"/>
                </a:lnTo>
                <a:lnTo>
                  <a:pt x="73" y="50"/>
                </a:lnTo>
                <a:lnTo>
                  <a:pt x="70" y="48"/>
                </a:lnTo>
                <a:lnTo>
                  <a:pt x="69" y="45"/>
                </a:lnTo>
                <a:lnTo>
                  <a:pt x="66" y="45"/>
                </a:lnTo>
                <a:lnTo>
                  <a:pt x="64" y="45"/>
                </a:lnTo>
                <a:lnTo>
                  <a:pt x="60" y="47"/>
                </a:lnTo>
                <a:lnTo>
                  <a:pt x="57" y="50"/>
                </a:lnTo>
                <a:lnTo>
                  <a:pt x="53" y="51"/>
                </a:lnTo>
                <a:lnTo>
                  <a:pt x="52" y="55"/>
                </a:lnTo>
                <a:lnTo>
                  <a:pt x="51" y="56"/>
                </a:lnTo>
                <a:lnTo>
                  <a:pt x="51" y="55"/>
                </a:lnTo>
                <a:lnTo>
                  <a:pt x="49" y="50"/>
                </a:lnTo>
                <a:lnTo>
                  <a:pt x="51" y="47"/>
                </a:lnTo>
                <a:lnTo>
                  <a:pt x="52" y="39"/>
                </a:lnTo>
                <a:lnTo>
                  <a:pt x="53" y="36"/>
                </a:lnTo>
                <a:lnTo>
                  <a:pt x="53" y="33"/>
                </a:lnTo>
                <a:lnTo>
                  <a:pt x="53" y="29"/>
                </a:lnTo>
                <a:lnTo>
                  <a:pt x="52" y="25"/>
                </a:lnTo>
                <a:lnTo>
                  <a:pt x="53" y="20"/>
                </a:lnTo>
                <a:lnTo>
                  <a:pt x="52" y="18"/>
                </a:lnTo>
                <a:lnTo>
                  <a:pt x="47" y="18"/>
                </a:lnTo>
                <a:lnTo>
                  <a:pt x="45" y="18"/>
                </a:lnTo>
                <a:lnTo>
                  <a:pt x="44" y="18"/>
                </a:lnTo>
                <a:lnTo>
                  <a:pt x="44" y="12"/>
                </a:lnTo>
                <a:lnTo>
                  <a:pt x="44" y="7"/>
                </a:lnTo>
                <a:lnTo>
                  <a:pt x="43" y="4"/>
                </a:lnTo>
                <a:lnTo>
                  <a:pt x="41" y="4"/>
                </a:lnTo>
                <a:lnTo>
                  <a:pt x="39" y="4"/>
                </a:lnTo>
                <a:lnTo>
                  <a:pt x="39" y="3"/>
                </a:lnTo>
                <a:lnTo>
                  <a:pt x="39" y="0"/>
                </a:lnTo>
                <a:lnTo>
                  <a:pt x="4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09" name="Freeform 609"/>
          <p:cNvSpPr>
            <a:spLocks/>
          </p:cNvSpPr>
          <p:nvPr/>
        </p:nvSpPr>
        <p:spPr bwMode="auto">
          <a:xfrm>
            <a:off x="8480719" y="3614073"/>
            <a:ext cx="226062" cy="530458"/>
          </a:xfrm>
          <a:custGeom>
            <a:avLst/>
            <a:gdLst/>
            <a:ahLst/>
            <a:cxnLst>
              <a:cxn ang="0">
                <a:pos x="35" y="7"/>
              </a:cxn>
              <a:cxn ang="0">
                <a:pos x="21" y="15"/>
              </a:cxn>
              <a:cxn ang="0">
                <a:pos x="7" y="20"/>
              </a:cxn>
              <a:cxn ang="0">
                <a:pos x="0" y="42"/>
              </a:cxn>
              <a:cxn ang="0">
                <a:pos x="11" y="61"/>
              </a:cxn>
              <a:cxn ang="0">
                <a:pos x="15" y="78"/>
              </a:cxn>
              <a:cxn ang="0">
                <a:pos x="15" y="87"/>
              </a:cxn>
              <a:cxn ang="0">
                <a:pos x="11" y="98"/>
              </a:cxn>
              <a:cxn ang="0">
                <a:pos x="16" y="114"/>
              </a:cxn>
              <a:cxn ang="0">
                <a:pos x="23" y="136"/>
              </a:cxn>
              <a:cxn ang="0">
                <a:pos x="31" y="157"/>
              </a:cxn>
              <a:cxn ang="0">
                <a:pos x="20" y="175"/>
              </a:cxn>
              <a:cxn ang="0">
                <a:pos x="16" y="188"/>
              </a:cxn>
              <a:cxn ang="0">
                <a:pos x="11" y="215"/>
              </a:cxn>
              <a:cxn ang="0">
                <a:pos x="23" y="229"/>
              </a:cxn>
              <a:cxn ang="0">
                <a:pos x="32" y="245"/>
              </a:cxn>
              <a:cxn ang="0">
                <a:pos x="44" y="252"/>
              </a:cxn>
              <a:cxn ang="0">
                <a:pos x="53" y="263"/>
              </a:cxn>
              <a:cxn ang="0">
                <a:pos x="66" y="263"/>
              </a:cxn>
              <a:cxn ang="0">
                <a:pos x="60" y="246"/>
              </a:cxn>
              <a:cxn ang="0">
                <a:pos x="44" y="235"/>
              </a:cxn>
              <a:cxn ang="0">
                <a:pos x="36" y="213"/>
              </a:cxn>
              <a:cxn ang="0">
                <a:pos x="28" y="205"/>
              </a:cxn>
              <a:cxn ang="0">
                <a:pos x="24" y="191"/>
              </a:cxn>
              <a:cxn ang="0">
                <a:pos x="25" y="179"/>
              </a:cxn>
              <a:cxn ang="0">
                <a:pos x="31" y="161"/>
              </a:cxn>
              <a:cxn ang="0">
                <a:pos x="37" y="136"/>
              </a:cxn>
              <a:cxn ang="0">
                <a:pos x="47" y="128"/>
              </a:cxn>
              <a:cxn ang="0">
                <a:pos x="51" y="144"/>
              </a:cxn>
              <a:cxn ang="0">
                <a:pos x="58" y="144"/>
              </a:cxn>
              <a:cxn ang="0">
                <a:pos x="70" y="152"/>
              </a:cxn>
              <a:cxn ang="0">
                <a:pos x="78" y="160"/>
              </a:cxn>
              <a:cxn ang="0">
                <a:pos x="78" y="152"/>
              </a:cxn>
              <a:cxn ang="0">
                <a:pos x="70" y="135"/>
              </a:cxn>
              <a:cxn ang="0">
                <a:pos x="76" y="122"/>
              </a:cxn>
              <a:cxn ang="0">
                <a:pos x="92" y="113"/>
              </a:cxn>
              <a:cxn ang="0">
                <a:pos x="112" y="116"/>
              </a:cxn>
              <a:cxn ang="0">
                <a:pos x="117" y="109"/>
              </a:cxn>
              <a:cxn ang="0">
                <a:pos x="118" y="89"/>
              </a:cxn>
              <a:cxn ang="0">
                <a:pos x="112" y="83"/>
              </a:cxn>
              <a:cxn ang="0">
                <a:pos x="106" y="67"/>
              </a:cxn>
              <a:cxn ang="0">
                <a:pos x="102" y="55"/>
              </a:cxn>
              <a:cxn ang="0">
                <a:pos x="96" y="47"/>
              </a:cxn>
              <a:cxn ang="0">
                <a:pos x="82" y="42"/>
              </a:cxn>
              <a:cxn ang="0">
                <a:pos x="74" y="50"/>
              </a:cxn>
              <a:cxn ang="0">
                <a:pos x="66" y="45"/>
              </a:cxn>
              <a:cxn ang="0">
                <a:pos x="53" y="51"/>
              </a:cxn>
              <a:cxn ang="0">
                <a:pos x="49" y="50"/>
              </a:cxn>
              <a:cxn ang="0">
                <a:pos x="53" y="33"/>
              </a:cxn>
            </a:cxnLst>
            <a:rect l="0" t="0" r="r" b="b"/>
            <a:pathLst>
              <a:path w="118" h="268">
                <a:moveTo>
                  <a:pt x="40" y="0"/>
                </a:moveTo>
                <a:lnTo>
                  <a:pt x="37" y="1"/>
                </a:lnTo>
                <a:lnTo>
                  <a:pt x="36" y="3"/>
                </a:lnTo>
                <a:lnTo>
                  <a:pt x="35" y="7"/>
                </a:lnTo>
                <a:lnTo>
                  <a:pt x="31" y="9"/>
                </a:lnTo>
                <a:lnTo>
                  <a:pt x="28" y="11"/>
                </a:lnTo>
                <a:lnTo>
                  <a:pt x="24" y="14"/>
                </a:lnTo>
                <a:lnTo>
                  <a:pt x="21" y="15"/>
                </a:lnTo>
                <a:lnTo>
                  <a:pt x="19" y="18"/>
                </a:lnTo>
                <a:lnTo>
                  <a:pt x="15" y="20"/>
                </a:lnTo>
                <a:lnTo>
                  <a:pt x="11" y="20"/>
                </a:lnTo>
                <a:lnTo>
                  <a:pt x="7" y="20"/>
                </a:lnTo>
                <a:lnTo>
                  <a:pt x="3" y="33"/>
                </a:lnTo>
                <a:lnTo>
                  <a:pt x="3" y="36"/>
                </a:lnTo>
                <a:lnTo>
                  <a:pt x="3" y="39"/>
                </a:lnTo>
                <a:lnTo>
                  <a:pt x="0" y="42"/>
                </a:lnTo>
                <a:lnTo>
                  <a:pt x="0" y="44"/>
                </a:lnTo>
                <a:lnTo>
                  <a:pt x="1" y="48"/>
                </a:lnTo>
                <a:lnTo>
                  <a:pt x="5" y="56"/>
                </a:lnTo>
                <a:lnTo>
                  <a:pt x="11" y="61"/>
                </a:lnTo>
                <a:lnTo>
                  <a:pt x="13" y="64"/>
                </a:lnTo>
                <a:lnTo>
                  <a:pt x="15" y="70"/>
                </a:lnTo>
                <a:lnTo>
                  <a:pt x="13" y="75"/>
                </a:lnTo>
                <a:lnTo>
                  <a:pt x="15" y="78"/>
                </a:lnTo>
                <a:lnTo>
                  <a:pt x="17" y="78"/>
                </a:lnTo>
                <a:lnTo>
                  <a:pt x="19" y="81"/>
                </a:lnTo>
                <a:lnTo>
                  <a:pt x="16" y="83"/>
                </a:lnTo>
                <a:lnTo>
                  <a:pt x="15" y="87"/>
                </a:lnTo>
                <a:lnTo>
                  <a:pt x="15" y="91"/>
                </a:lnTo>
                <a:lnTo>
                  <a:pt x="13" y="94"/>
                </a:lnTo>
                <a:lnTo>
                  <a:pt x="13" y="95"/>
                </a:lnTo>
                <a:lnTo>
                  <a:pt x="11" y="98"/>
                </a:lnTo>
                <a:lnTo>
                  <a:pt x="9" y="100"/>
                </a:lnTo>
                <a:lnTo>
                  <a:pt x="9" y="105"/>
                </a:lnTo>
                <a:lnTo>
                  <a:pt x="11" y="109"/>
                </a:lnTo>
                <a:lnTo>
                  <a:pt x="16" y="114"/>
                </a:lnTo>
                <a:lnTo>
                  <a:pt x="21" y="120"/>
                </a:lnTo>
                <a:lnTo>
                  <a:pt x="21" y="122"/>
                </a:lnTo>
                <a:lnTo>
                  <a:pt x="23" y="125"/>
                </a:lnTo>
                <a:lnTo>
                  <a:pt x="23" y="136"/>
                </a:lnTo>
                <a:lnTo>
                  <a:pt x="24" y="141"/>
                </a:lnTo>
                <a:lnTo>
                  <a:pt x="25" y="141"/>
                </a:lnTo>
                <a:lnTo>
                  <a:pt x="27" y="147"/>
                </a:lnTo>
                <a:lnTo>
                  <a:pt x="31" y="157"/>
                </a:lnTo>
                <a:lnTo>
                  <a:pt x="31" y="160"/>
                </a:lnTo>
                <a:lnTo>
                  <a:pt x="25" y="169"/>
                </a:lnTo>
                <a:lnTo>
                  <a:pt x="23" y="172"/>
                </a:lnTo>
                <a:lnTo>
                  <a:pt x="20" y="175"/>
                </a:lnTo>
                <a:lnTo>
                  <a:pt x="20" y="180"/>
                </a:lnTo>
                <a:lnTo>
                  <a:pt x="19" y="185"/>
                </a:lnTo>
                <a:lnTo>
                  <a:pt x="17" y="186"/>
                </a:lnTo>
                <a:lnTo>
                  <a:pt x="16" y="188"/>
                </a:lnTo>
                <a:lnTo>
                  <a:pt x="15" y="191"/>
                </a:lnTo>
                <a:lnTo>
                  <a:pt x="15" y="194"/>
                </a:lnTo>
                <a:lnTo>
                  <a:pt x="11" y="208"/>
                </a:lnTo>
                <a:lnTo>
                  <a:pt x="11" y="215"/>
                </a:lnTo>
                <a:lnTo>
                  <a:pt x="11" y="219"/>
                </a:lnTo>
                <a:lnTo>
                  <a:pt x="11" y="223"/>
                </a:lnTo>
                <a:lnTo>
                  <a:pt x="16" y="223"/>
                </a:lnTo>
                <a:lnTo>
                  <a:pt x="23" y="229"/>
                </a:lnTo>
                <a:lnTo>
                  <a:pt x="24" y="230"/>
                </a:lnTo>
                <a:lnTo>
                  <a:pt x="28" y="237"/>
                </a:lnTo>
                <a:lnTo>
                  <a:pt x="31" y="240"/>
                </a:lnTo>
                <a:lnTo>
                  <a:pt x="32" y="245"/>
                </a:lnTo>
                <a:lnTo>
                  <a:pt x="40" y="254"/>
                </a:lnTo>
                <a:lnTo>
                  <a:pt x="39" y="249"/>
                </a:lnTo>
                <a:lnTo>
                  <a:pt x="43" y="249"/>
                </a:lnTo>
                <a:lnTo>
                  <a:pt x="44" y="252"/>
                </a:lnTo>
                <a:lnTo>
                  <a:pt x="49" y="252"/>
                </a:lnTo>
                <a:lnTo>
                  <a:pt x="52" y="254"/>
                </a:lnTo>
                <a:lnTo>
                  <a:pt x="54" y="259"/>
                </a:lnTo>
                <a:lnTo>
                  <a:pt x="53" y="263"/>
                </a:lnTo>
                <a:lnTo>
                  <a:pt x="54" y="268"/>
                </a:lnTo>
                <a:lnTo>
                  <a:pt x="61" y="262"/>
                </a:lnTo>
                <a:lnTo>
                  <a:pt x="64" y="263"/>
                </a:lnTo>
                <a:lnTo>
                  <a:pt x="66" y="263"/>
                </a:lnTo>
                <a:lnTo>
                  <a:pt x="69" y="259"/>
                </a:lnTo>
                <a:lnTo>
                  <a:pt x="66" y="254"/>
                </a:lnTo>
                <a:lnTo>
                  <a:pt x="64" y="249"/>
                </a:lnTo>
                <a:lnTo>
                  <a:pt x="60" y="246"/>
                </a:lnTo>
                <a:lnTo>
                  <a:pt x="49" y="245"/>
                </a:lnTo>
                <a:lnTo>
                  <a:pt x="47" y="240"/>
                </a:lnTo>
                <a:lnTo>
                  <a:pt x="45" y="238"/>
                </a:lnTo>
                <a:lnTo>
                  <a:pt x="44" y="235"/>
                </a:lnTo>
                <a:lnTo>
                  <a:pt x="41" y="224"/>
                </a:lnTo>
                <a:lnTo>
                  <a:pt x="40" y="221"/>
                </a:lnTo>
                <a:lnTo>
                  <a:pt x="37" y="218"/>
                </a:lnTo>
                <a:lnTo>
                  <a:pt x="36" y="213"/>
                </a:lnTo>
                <a:lnTo>
                  <a:pt x="36" y="207"/>
                </a:lnTo>
                <a:lnTo>
                  <a:pt x="35" y="204"/>
                </a:lnTo>
                <a:lnTo>
                  <a:pt x="32" y="204"/>
                </a:lnTo>
                <a:lnTo>
                  <a:pt x="28" y="205"/>
                </a:lnTo>
                <a:lnTo>
                  <a:pt x="25" y="204"/>
                </a:lnTo>
                <a:lnTo>
                  <a:pt x="24" y="202"/>
                </a:lnTo>
                <a:lnTo>
                  <a:pt x="24" y="196"/>
                </a:lnTo>
                <a:lnTo>
                  <a:pt x="24" y="191"/>
                </a:lnTo>
                <a:lnTo>
                  <a:pt x="24" y="186"/>
                </a:lnTo>
                <a:lnTo>
                  <a:pt x="24" y="185"/>
                </a:lnTo>
                <a:lnTo>
                  <a:pt x="25" y="182"/>
                </a:lnTo>
                <a:lnTo>
                  <a:pt x="25" y="179"/>
                </a:lnTo>
                <a:lnTo>
                  <a:pt x="27" y="177"/>
                </a:lnTo>
                <a:lnTo>
                  <a:pt x="28" y="174"/>
                </a:lnTo>
                <a:lnTo>
                  <a:pt x="28" y="169"/>
                </a:lnTo>
                <a:lnTo>
                  <a:pt x="31" y="161"/>
                </a:lnTo>
                <a:lnTo>
                  <a:pt x="33" y="157"/>
                </a:lnTo>
                <a:lnTo>
                  <a:pt x="35" y="152"/>
                </a:lnTo>
                <a:lnTo>
                  <a:pt x="36" y="147"/>
                </a:lnTo>
                <a:lnTo>
                  <a:pt x="37" y="136"/>
                </a:lnTo>
                <a:lnTo>
                  <a:pt x="36" y="130"/>
                </a:lnTo>
                <a:lnTo>
                  <a:pt x="39" y="128"/>
                </a:lnTo>
                <a:lnTo>
                  <a:pt x="44" y="128"/>
                </a:lnTo>
                <a:lnTo>
                  <a:pt x="47" y="128"/>
                </a:lnTo>
                <a:lnTo>
                  <a:pt x="49" y="128"/>
                </a:lnTo>
                <a:lnTo>
                  <a:pt x="51" y="130"/>
                </a:lnTo>
                <a:lnTo>
                  <a:pt x="49" y="142"/>
                </a:lnTo>
                <a:lnTo>
                  <a:pt x="51" y="144"/>
                </a:lnTo>
                <a:lnTo>
                  <a:pt x="52" y="144"/>
                </a:lnTo>
                <a:lnTo>
                  <a:pt x="51" y="144"/>
                </a:lnTo>
                <a:lnTo>
                  <a:pt x="52" y="142"/>
                </a:lnTo>
                <a:lnTo>
                  <a:pt x="58" y="144"/>
                </a:lnTo>
                <a:lnTo>
                  <a:pt x="61" y="142"/>
                </a:lnTo>
                <a:lnTo>
                  <a:pt x="64" y="144"/>
                </a:lnTo>
                <a:lnTo>
                  <a:pt x="69" y="149"/>
                </a:lnTo>
                <a:lnTo>
                  <a:pt x="70" y="152"/>
                </a:lnTo>
                <a:lnTo>
                  <a:pt x="73" y="152"/>
                </a:lnTo>
                <a:lnTo>
                  <a:pt x="74" y="153"/>
                </a:lnTo>
                <a:lnTo>
                  <a:pt x="76" y="153"/>
                </a:lnTo>
                <a:lnTo>
                  <a:pt x="78" y="160"/>
                </a:lnTo>
                <a:lnTo>
                  <a:pt x="80" y="161"/>
                </a:lnTo>
                <a:lnTo>
                  <a:pt x="81" y="160"/>
                </a:lnTo>
                <a:lnTo>
                  <a:pt x="80" y="157"/>
                </a:lnTo>
                <a:lnTo>
                  <a:pt x="78" y="152"/>
                </a:lnTo>
                <a:lnTo>
                  <a:pt x="77" y="149"/>
                </a:lnTo>
                <a:lnTo>
                  <a:pt x="73" y="144"/>
                </a:lnTo>
                <a:lnTo>
                  <a:pt x="70" y="138"/>
                </a:lnTo>
                <a:lnTo>
                  <a:pt x="70" y="135"/>
                </a:lnTo>
                <a:lnTo>
                  <a:pt x="70" y="128"/>
                </a:lnTo>
                <a:lnTo>
                  <a:pt x="73" y="127"/>
                </a:lnTo>
                <a:lnTo>
                  <a:pt x="74" y="124"/>
                </a:lnTo>
                <a:lnTo>
                  <a:pt x="76" y="122"/>
                </a:lnTo>
                <a:lnTo>
                  <a:pt x="80" y="116"/>
                </a:lnTo>
                <a:lnTo>
                  <a:pt x="82" y="114"/>
                </a:lnTo>
                <a:lnTo>
                  <a:pt x="84" y="113"/>
                </a:lnTo>
                <a:lnTo>
                  <a:pt x="92" y="113"/>
                </a:lnTo>
                <a:lnTo>
                  <a:pt x="96" y="114"/>
                </a:lnTo>
                <a:lnTo>
                  <a:pt x="101" y="114"/>
                </a:lnTo>
                <a:lnTo>
                  <a:pt x="109" y="113"/>
                </a:lnTo>
                <a:lnTo>
                  <a:pt x="112" y="116"/>
                </a:lnTo>
                <a:lnTo>
                  <a:pt x="114" y="114"/>
                </a:lnTo>
                <a:lnTo>
                  <a:pt x="114" y="113"/>
                </a:lnTo>
                <a:lnTo>
                  <a:pt x="116" y="113"/>
                </a:lnTo>
                <a:lnTo>
                  <a:pt x="117" y="109"/>
                </a:lnTo>
                <a:lnTo>
                  <a:pt x="117" y="97"/>
                </a:lnTo>
                <a:lnTo>
                  <a:pt x="118" y="94"/>
                </a:lnTo>
                <a:lnTo>
                  <a:pt x="118" y="91"/>
                </a:lnTo>
                <a:lnTo>
                  <a:pt x="118" y="89"/>
                </a:lnTo>
                <a:lnTo>
                  <a:pt x="117" y="87"/>
                </a:lnTo>
                <a:lnTo>
                  <a:pt x="114" y="86"/>
                </a:lnTo>
                <a:lnTo>
                  <a:pt x="113" y="83"/>
                </a:lnTo>
                <a:lnTo>
                  <a:pt x="112" y="83"/>
                </a:lnTo>
                <a:lnTo>
                  <a:pt x="109" y="81"/>
                </a:lnTo>
                <a:lnTo>
                  <a:pt x="108" y="78"/>
                </a:lnTo>
                <a:lnTo>
                  <a:pt x="106" y="75"/>
                </a:lnTo>
                <a:lnTo>
                  <a:pt x="106" y="67"/>
                </a:lnTo>
                <a:lnTo>
                  <a:pt x="106" y="62"/>
                </a:lnTo>
                <a:lnTo>
                  <a:pt x="105" y="59"/>
                </a:lnTo>
                <a:lnTo>
                  <a:pt x="104" y="56"/>
                </a:lnTo>
                <a:lnTo>
                  <a:pt x="102" y="55"/>
                </a:lnTo>
                <a:lnTo>
                  <a:pt x="101" y="51"/>
                </a:lnTo>
                <a:lnTo>
                  <a:pt x="98" y="51"/>
                </a:lnTo>
                <a:lnTo>
                  <a:pt x="97" y="48"/>
                </a:lnTo>
                <a:lnTo>
                  <a:pt x="96" y="47"/>
                </a:lnTo>
                <a:lnTo>
                  <a:pt x="92" y="42"/>
                </a:lnTo>
                <a:lnTo>
                  <a:pt x="89" y="42"/>
                </a:lnTo>
                <a:lnTo>
                  <a:pt x="85" y="42"/>
                </a:lnTo>
                <a:lnTo>
                  <a:pt x="82" y="42"/>
                </a:lnTo>
                <a:lnTo>
                  <a:pt x="81" y="45"/>
                </a:lnTo>
                <a:lnTo>
                  <a:pt x="81" y="47"/>
                </a:lnTo>
                <a:lnTo>
                  <a:pt x="78" y="48"/>
                </a:lnTo>
                <a:lnTo>
                  <a:pt x="74" y="50"/>
                </a:lnTo>
                <a:lnTo>
                  <a:pt x="73" y="50"/>
                </a:lnTo>
                <a:lnTo>
                  <a:pt x="70" y="48"/>
                </a:lnTo>
                <a:lnTo>
                  <a:pt x="69" y="45"/>
                </a:lnTo>
                <a:lnTo>
                  <a:pt x="66" y="45"/>
                </a:lnTo>
                <a:lnTo>
                  <a:pt x="64" y="45"/>
                </a:lnTo>
                <a:lnTo>
                  <a:pt x="60" y="47"/>
                </a:lnTo>
                <a:lnTo>
                  <a:pt x="57" y="50"/>
                </a:lnTo>
                <a:lnTo>
                  <a:pt x="53" y="51"/>
                </a:lnTo>
                <a:lnTo>
                  <a:pt x="52" y="55"/>
                </a:lnTo>
                <a:lnTo>
                  <a:pt x="51" y="56"/>
                </a:lnTo>
                <a:lnTo>
                  <a:pt x="51" y="55"/>
                </a:lnTo>
                <a:lnTo>
                  <a:pt x="49" y="50"/>
                </a:lnTo>
                <a:lnTo>
                  <a:pt x="51" y="47"/>
                </a:lnTo>
                <a:lnTo>
                  <a:pt x="52" y="39"/>
                </a:lnTo>
                <a:lnTo>
                  <a:pt x="53" y="36"/>
                </a:lnTo>
                <a:lnTo>
                  <a:pt x="53" y="33"/>
                </a:lnTo>
                <a:lnTo>
                  <a:pt x="53" y="29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10" name="Freeform 610"/>
          <p:cNvSpPr>
            <a:spLocks/>
          </p:cNvSpPr>
          <p:nvPr/>
        </p:nvSpPr>
        <p:spPr bwMode="auto">
          <a:xfrm>
            <a:off x="8556722" y="3614073"/>
            <a:ext cx="27284" cy="55838"/>
          </a:xfrm>
          <a:custGeom>
            <a:avLst/>
            <a:gdLst/>
            <a:ahLst/>
            <a:cxnLst>
              <a:cxn ang="0">
                <a:pos x="14" y="29"/>
              </a:cxn>
              <a:cxn ang="0">
                <a:pos x="13" y="25"/>
              </a:cxn>
              <a:cxn ang="0">
                <a:pos x="14" y="20"/>
              </a:cxn>
              <a:cxn ang="0">
                <a:pos x="13" y="18"/>
              </a:cxn>
              <a:cxn ang="0">
                <a:pos x="8" y="18"/>
              </a:cxn>
              <a:cxn ang="0">
                <a:pos x="6" y="18"/>
              </a:cxn>
              <a:cxn ang="0">
                <a:pos x="5" y="18"/>
              </a:cxn>
              <a:cxn ang="0">
                <a:pos x="5" y="12"/>
              </a:cxn>
              <a:cxn ang="0">
                <a:pos x="5" y="7"/>
              </a:cxn>
              <a:cxn ang="0">
                <a:pos x="4" y="4"/>
              </a:cxn>
              <a:cxn ang="0">
                <a:pos x="2" y="4"/>
              </a:cxn>
              <a:cxn ang="0">
                <a:pos x="0" y="4"/>
              </a:cxn>
              <a:cxn ang="0">
                <a:pos x="0" y="3"/>
              </a:cxn>
              <a:cxn ang="0">
                <a:pos x="0" y="0"/>
              </a:cxn>
              <a:cxn ang="0">
                <a:pos x="1" y="0"/>
              </a:cxn>
            </a:cxnLst>
            <a:rect l="0" t="0" r="r" b="b"/>
            <a:pathLst>
              <a:path w="14" h="29">
                <a:moveTo>
                  <a:pt x="14" y="29"/>
                </a:moveTo>
                <a:lnTo>
                  <a:pt x="13" y="25"/>
                </a:lnTo>
                <a:lnTo>
                  <a:pt x="14" y="20"/>
                </a:lnTo>
                <a:lnTo>
                  <a:pt x="13" y="18"/>
                </a:lnTo>
                <a:lnTo>
                  <a:pt x="8" y="18"/>
                </a:lnTo>
                <a:lnTo>
                  <a:pt x="6" y="18"/>
                </a:lnTo>
                <a:lnTo>
                  <a:pt x="5" y="18"/>
                </a:lnTo>
                <a:lnTo>
                  <a:pt x="5" y="12"/>
                </a:lnTo>
                <a:lnTo>
                  <a:pt x="5" y="7"/>
                </a:lnTo>
                <a:lnTo>
                  <a:pt x="4" y="4"/>
                </a:lnTo>
                <a:lnTo>
                  <a:pt x="2" y="4"/>
                </a:lnTo>
                <a:lnTo>
                  <a:pt x="0" y="4"/>
                </a:lnTo>
                <a:lnTo>
                  <a:pt x="0" y="3"/>
                </a:lnTo>
                <a:lnTo>
                  <a:pt x="0" y="0"/>
                </a:lnTo>
                <a:lnTo>
                  <a:pt x="1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11" name="Freeform 611"/>
          <p:cNvSpPr>
            <a:spLocks/>
          </p:cNvSpPr>
          <p:nvPr/>
        </p:nvSpPr>
        <p:spPr bwMode="auto">
          <a:xfrm>
            <a:off x="6276609" y="2349132"/>
            <a:ext cx="167598" cy="92348"/>
          </a:xfrm>
          <a:custGeom>
            <a:avLst/>
            <a:gdLst/>
            <a:ahLst/>
            <a:cxnLst>
              <a:cxn ang="0">
                <a:pos x="1" y="11"/>
              </a:cxn>
              <a:cxn ang="0">
                <a:pos x="1" y="14"/>
              </a:cxn>
              <a:cxn ang="0">
                <a:pos x="1" y="11"/>
              </a:cxn>
              <a:cxn ang="0">
                <a:pos x="3" y="17"/>
              </a:cxn>
              <a:cxn ang="0">
                <a:pos x="3" y="20"/>
              </a:cxn>
              <a:cxn ang="0">
                <a:pos x="4" y="22"/>
              </a:cxn>
              <a:cxn ang="0">
                <a:pos x="8" y="22"/>
              </a:cxn>
              <a:cxn ang="0">
                <a:pos x="12" y="23"/>
              </a:cxn>
              <a:cxn ang="0">
                <a:pos x="19" y="25"/>
              </a:cxn>
              <a:cxn ang="0">
                <a:pos x="25" y="25"/>
              </a:cxn>
              <a:cxn ang="0">
                <a:pos x="27" y="31"/>
              </a:cxn>
              <a:cxn ang="0">
                <a:pos x="27" y="37"/>
              </a:cxn>
              <a:cxn ang="0">
                <a:pos x="36" y="40"/>
              </a:cxn>
              <a:cxn ang="0">
                <a:pos x="41" y="45"/>
              </a:cxn>
              <a:cxn ang="0">
                <a:pos x="51" y="45"/>
              </a:cxn>
              <a:cxn ang="0">
                <a:pos x="55" y="44"/>
              </a:cxn>
              <a:cxn ang="0">
                <a:pos x="59" y="44"/>
              </a:cxn>
              <a:cxn ang="0">
                <a:pos x="60" y="40"/>
              </a:cxn>
              <a:cxn ang="0">
                <a:pos x="63" y="39"/>
              </a:cxn>
              <a:cxn ang="0">
                <a:pos x="67" y="39"/>
              </a:cxn>
              <a:cxn ang="0">
                <a:pos x="71" y="40"/>
              </a:cxn>
              <a:cxn ang="0">
                <a:pos x="72" y="39"/>
              </a:cxn>
              <a:cxn ang="0">
                <a:pos x="69" y="36"/>
              </a:cxn>
              <a:cxn ang="0">
                <a:pos x="72" y="33"/>
              </a:cxn>
              <a:cxn ang="0">
                <a:pos x="73" y="29"/>
              </a:cxn>
              <a:cxn ang="0">
                <a:pos x="73" y="26"/>
              </a:cxn>
              <a:cxn ang="0">
                <a:pos x="77" y="25"/>
              </a:cxn>
              <a:cxn ang="0">
                <a:pos x="81" y="23"/>
              </a:cxn>
              <a:cxn ang="0">
                <a:pos x="88" y="20"/>
              </a:cxn>
              <a:cxn ang="0">
                <a:pos x="82" y="18"/>
              </a:cxn>
              <a:cxn ang="0">
                <a:pos x="85" y="15"/>
              </a:cxn>
              <a:cxn ang="0">
                <a:pos x="84" y="14"/>
              </a:cxn>
              <a:cxn ang="0">
                <a:pos x="77" y="9"/>
              </a:cxn>
              <a:cxn ang="0">
                <a:pos x="65" y="6"/>
              </a:cxn>
              <a:cxn ang="0">
                <a:pos x="61" y="1"/>
              </a:cxn>
              <a:cxn ang="0">
                <a:pos x="57" y="0"/>
              </a:cxn>
              <a:cxn ang="0">
                <a:pos x="49" y="3"/>
              </a:cxn>
              <a:cxn ang="0">
                <a:pos x="39" y="1"/>
              </a:cxn>
              <a:cxn ang="0">
                <a:pos x="33" y="1"/>
              </a:cxn>
              <a:cxn ang="0">
                <a:pos x="28" y="1"/>
              </a:cxn>
              <a:cxn ang="0">
                <a:pos x="24" y="0"/>
              </a:cxn>
              <a:cxn ang="0">
                <a:pos x="17" y="0"/>
              </a:cxn>
              <a:cxn ang="0">
                <a:pos x="7" y="3"/>
              </a:cxn>
              <a:cxn ang="0">
                <a:pos x="3" y="6"/>
              </a:cxn>
            </a:cxnLst>
            <a:rect l="0" t="0" r="r" b="b"/>
            <a:pathLst>
              <a:path w="88" h="45">
                <a:moveTo>
                  <a:pt x="0" y="6"/>
                </a:moveTo>
                <a:lnTo>
                  <a:pt x="1" y="11"/>
                </a:lnTo>
                <a:lnTo>
                  <a:pt x="1" y="12"/>
                </a:lnTo>
                <a:lnTo>
                  <a:pt x="1" y="14"/>
                </a:lnTo>
                <a:lnTo>
                  <a:pt x="1" y="9"/>
                </a:lnTo>
                <a:lnTo>
                  <a:pt x="1" y="11"/>
                </a:lnTo>
                <a:lnTo>
                  <a:pt x="1" y="12"/>
                </a:lnTo>
                <a:lnTo>
                  <a:pt x="3" y="17"/>
                </a:lnTo>
                <a:lnTo>
                  <a:pt x="4" y="18"/>
                </a:lnTo>
                <a:lnTo>
                  <a:pt x="3" y="20"/>
                </a:lnTo>
                <a:lnTo>
                  <a:pt x="4" y="20"/>
                </a:lnTo>
                <a:lnTo>
                  <a:pt x="4" y="22"/>
                </a:lnTo>
                <a:lnTo>
                  <a:pt x="7" y="20"/>
                </a:lnTo>
                <a:lnTo>
                  <a:pt x="8" y="22"/>
                </a:lnTo>
                <a:lnTo>
                  <a:pt x="11" y="22"/>
                </a:lnTo>
                <a:lnTo>
                  <a:pt x="12" y="23"/>
                </a:lnTo>
                <a:lnTo>
                  <a:pt x="15" y="23"/>
                </a:lnTo>
                <a:lnTo>
                  <a:pt x="19" y="25"/>
                </a:lnTo>
                <a:lnTo>
                  <a:pt x="24" y="23"/>
                </a:lnTo>
                <a:lnTo>
                  <a:pt x="25" y="25"/>
                </a:lnTo>
                <a:lnTo>
                  <a:pt x="28" y="29"/>
                </a:lnTo>
                <a:lnTo>
                  <a:pt x="27" y="31"/>
                </a:lnTo>
                <a:lnTo>
                  <a:pt x="27" y="34"/>
                </a:lnTo>
                <a:lnTo>
                  <a:pt x="27" y="37"/>
                </a:lnTo>
                <a:lnTo>
                  <a:pt x="32" y="39"/>
                </a:lnTo>
                <a:lnTo>
                  <a:pt x="36" y="40"/>
                </a:lnTo>
                <a:lnTo>
                  <a:pt x="37" y="44"/>
                </a:lnTo>
                <a:lnTo>
                  <a:pt x="41" y="45"/>
                </a:lnTo>
                <a:lnTo>
                  <a:pt x="47" y="44"/>
                </a:lnTo>
                <a:lnTo>
                  <a:pt x="51" y="45"/>
                </a:lnTo>
                <a:lnTo>
                  <a:pt x="52" y="44"/>
                </a:lnTo>
                <a:lnTo>
                  <a:pt x="55" y="44"/>
                </a:lnTo>
                <a:lnTo>
                  <a:pt x="56" y="44"/>
                </a:lnTo>
                <a:lnTo>
                  <a:pt x="59" y="44"/>
                </a:lnTo>
                <a:lnTo>
                  <a:pt x="57" y="40"/>
                </a:lnTo>
                <a:lnTo>
                  <a:pt x="60" y="40"/>
                </a:lnTo>
                <a:lnTo>
                  <a:pt x="61" y="40"/>
                </a:lnTo>
                <a:lnTo>
                  <a:pt x="63" y="39"/>
                </a:lnTo>
                <a:lnTo>
                  <a:pt x="65" y="39"/>
                </a:lnTo>
                <a:lnTo>
                  <a:pt x="67" y="39"/>
                </a:lnTo>
                <a:lnTo>
                  <a:pt x="68" y="40"/>
                </a:lnTo>
                <a:lnTo>
                  <a:pt x="71" y="40"/>
                </a:lnTo>
                <a:lnTo>
                  <a:pt x="72" y="40"/>
                </a:lnTo>
                <a:lnTo>
                  <a:pt x="72" y="39"/>
                </a:lnTo>
                <a:lnTo>
                  <a:pt x="71" y="37"/>
                </a:lnTo>
                <a:lnTo>
                  <a:pt x="69" y="36"/>
                </a:lnTo>
                <a:lnTo>
                  <a:pt x="71" y="34"/>
                </a:lnTo>
                <a:lnTo>
                  <a:pt x="72" y="33"/>
                </a:lnTo>
                <a:lnTo>
                  <a:pt x="72" y="31"/>
                </a:lnTo>
                <a:lnTo>
                  <a:pt x="73" y="29"/>
                </a:lnTo>
                <a:lnTo>
                  <a:pt x="73" y="28"/>
                </a:lnTo>
                <a:lnTo>
                  <a:pt x="73" y="26"/>
                </a:lnTo>
                <a:lnTo>
                  <a:pt x="76" y="25"/>
                </a:lnTo>
                <a:lnTo>
                  <a:pt x="77" y="25"/>
                </a:lnTo>
                <a:lnTo>
                  <a:pt x="80" y="23"/>
                </a:lnTo>
                <a:lnTo>
                  <a:pt x="81" y="23"/>
                </a:lnTo>
                <a:lnTo>
                  <a:pt x="85" y="23"/>
                </a:lnTo>
                <a:lnTo>
                  <a:pt x="88" y="20"/>
                </a:lnTo>
                <a:lnTo>
                  <a:pt x="85" y="18"/>
                </a:lnTo>
                <a:lnTo>
                  <a:pt x="82" y="18"/>
                </a:lnTo>
                <a:lnTo>
                  <a:pt x="82" y="17"/>
                </a:lnTo>
                <a:lnTo>
                  <a:pt x="85" y="15"/>
                </a:lnTo>
                <a:lnTo>
                  <a:pt x="86" y="14"/>
                </a:lnTo>
                <a:lnTo>
                  <a:pt x="84" y="14"/>
                </a:lnTo>
                <a:lnTo>
                  <a:pt x="82" y="12"/>
                </a:lnTo>
                <a:lnTo>
                  <a:pt x="77" y="9"/>
                </a:lnTo>
                <a:lnTo>
                  <a:pt x="71" y="6"/>
                </a:lnTo>
                <a:lnTo>
                  <a:pt x="65" y="6"/>
                </a:lnTo>
                <a:lnTo>
                  <a:pt x="64" y="4"/>
                </a:lnTo>
                <a:lnTo>
                  <a:pt x="61" y="1"/>
                </a:lnTo>
                <a:lnTo>
                  <a:pt x="60" y="0"/>
                </a:lnTo>
                <a:lnTo>
                  <a:pt x="57" y="0"/>
                </a:lnTo>
                <a:lnTo>
                  <a:pt x="55" y="3"/>
                </a:lnTo>
                <a:lnTo>
                  <a:pt x="49" y="3"/>
                </a:lnTo>
                <a:lnTo>
                  <a:pt x="41" y="1"/>
                </a:lnTo>
                <a:lnTo>
                  <a:pt x="39" y="1"/>
                </a:lnTo>
                <a:lnTo>
                  <a:pt x="35" y="1"/>
                </a:lnTo>
                <a:lnTo>
                  <a:pt x="33" y="1"/>
                </a:lnTo>
                <a:lnTo>
                  <a:pt x="31" y="1"/>
                </a:lnTo>
                <a:lnTo>
                  <a:pt x="28" y="1"/>
                </a:lnTo>
                <a:lnTo>
                  <a:pt x="27" y="1"/>
                </a:lnTo>
                <a:lnTo>
                  <a:pt x="24" y="0"/>
                </a:lnTo>
                <a:lnTo>
                  <a:pt x="23" y="0"/>
                </a:lnTo>
                <a:lnTo>
                  <a:pt x="17" y="0"/>
                </a:lnTo>
                <a:lnTo>
                  <a:pt x="11" y="1"/>
                </a:lnTo>
                <a:lnTo>
                  <a:pt x="7" y="3"/>
                </a:lnTo>
                <a:lnTo>
                  <a:pt x="5" y="6"/>
                </a:lnTo>
                <a:lnTo>
                  <a:pt x="3" y="6"/>
                </a:lnTo>
                <a:lnTo>
                  <a:pt x="0" y="6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12" name="Freeform 612"/>
          <p:cNvSpPr>
            <a:spLocks/>
          </p:cNvSpPr>
          <p:nvPr/>
        </p:nvSpPr>
        <p:spPr bwMode="auto">
          <a:xfrm>
            <a:off x="6276609" y="2349132"/>
            <a:ext cx="167598" cy="92348"/>
          </a:xfrm>
          <a:custGeom>
            <a:avLst/>
            <a:gdLst/>
            <a:ahLst/>
            <a:cxnLst>
              <a:cxn ang="0">
                <a:pos x="1" y="11"/>
              </a:cxn>
              <a:cxn ang="0">
                <a:pos x="1" y="14"/>
              </a:cxn>
              <a:cxn ang="0">
                <a:pos x="1" y="11"/>
              </a:cxn>
              <a:cxn ang="0">
                <a:pos x="3" y="17"/>
              </a:cxn>
              <a:cxn ang="0">
                <a:pos x="3" y="20"/>
              </a:cxn>
              <a:cxn ang="0">
                <a:pos x="4" y="22"/>
              </a:cxn>
              <a:cxn ang="0">
                <a:pos x="8" y="22"/>
              </a:cxn>
              <a:cxn ang="0">
                <a:pos x="12" y="23"/>
              </a:cxn>
              <a:cxn ang="0">
                <a:pos x="19" y="25"/>
              </a:cxn>
              <a:cxn ang="0">
                <a:pos x="25" y="25"/>
              </a:cxn>
              <a:cxn ang="0">
                <a:pos x="27" y="31"/>
              </a:cxn>
              <a:cxn ang="0">
                <a:pos x="27" y="37"/>
              </a:cxn>
              <a:cxn ang="0">
                <a:pos x="36" y="40"/>
              </a:cxn>
              <a:cxn ang="0">
                <a:pos x="41" y="45"/>
              </a:cxn>
              <a:cxn ang="0">
                <a:pos x="51" y="45"/>
              </a:cxn>
              <a:cxn ang="0">
                <a:pos x="55" y="44"/>
              </a:cxn>
              <a:cxn ang="0">
                <a:pos x="59" y="44"/>
              </a:cxn>
              <a:cxn ang="0">
                <a:pos x="60" y="40"/>
              </a:cxn>
              <a:cxn ang="0">
                <a:pos x="63" y="39"/>
              </a:cxn>
              <a:cxn ang="0">
                <a:pos x="67" y="39"/>
              </a:cxn>
              <a:cxn ang="0">
                <a:pos x="71" y="40"/>
              </a:cxn>
              <a:cxn ang="0">
                <a:pos x="72" y="39"/>
              </a:cxn>
              <a:cxn ang="0">
                <a:pos x="69" y="36"/>
              </a:cxn>
              <a:cxn ang="0">
                <a:pos x="72" y="33"/>
              </a:cxn>
              <a:cxn ang="0">
                <a:pos x="73" y="29"/>
              </a:cxn>
              <a:cxn ang="0">
                <a:pos x="73" y="26"/>
              </a:cxn>
              <a:cxn ang="0">
                <a:pos x="77" y="25"/>
              </a:cxn>
              <a:cxn ang="0">
                <a:pos x="81" y="23"/>
              </a:cxn>
              <a:cxn ang="0">
                <a:pos x="88" y="20"/>
              </a:cxn>
              <a:cxn ang="0">
                <a:pos x="82" y="18"/>
              </a:cxn>
              <a:cxn ang="0">
                <a:pos x="85" y="15"/>
              </a:cxn>
              <a:cxn ang="0">
                <a:pos x="84" y="14"/>
              </a:cxn>
              <a:cxn ang="0">
                <a:pos x="77" y="9"/>
              </a:cxn>
              <a:cxn ang="0">
                <a:pos x="65" y="6"/>
              </a:cxn>
              <a:cxn ang="0">
                <a:pos x="61" y="1"/>
              </a:cxn>
              <a:cxn ang="0">
                <a:pos x="57" y="0"/>
              </a:cxn>
              <a:cxn ang="0">
                <a:pos x="49" y="3"/>
              </a:cxn>
              <a:cxn ang="0">
                <a:pos x="39" y="1"/>
              </a:cxn>
              <a:cxn ang="0">
                <a:pos x="33" y="1"/>
              </a:cxn>
              <a:cxn ang="0">
                <a:pos x="28" y="1"/>
              </a:cxn>
              <a:cxn ang="0">
                <a:pos x="24" y="0"/>
              </a:cxn>
              <a:cxn ang="0">
                <a:pos x="17" y="0"/>
              </a:cxn>
              <a:cxn ang="0">
                <a:pos x="7" y="3"/>
              </a:cxn>
              <a:cxn ang="0">
                <a:pos x="3" y="6"/>
              </a:cxn>
            </a:cxnLst>
            <a:rect l="0" t="0" r="r" b="b"/>
            <a:pathLst>
              <a:path w="88" h="45">
                <a:moveTo>
                  <a:pt x="0" y="6"/>
                </a:moveTo>
                <a:lnTo>
                  <a:pt x="1" y="11"/>
                </a:lnTo>
                <a:lnTo>
                  <a:pt x="1" y="12"/>
                </a:lnTo>
                <a:lnTo>
                  <a:pt x="1" y="14"/>
                </a:lnTo>
                <a:lnTo>
                  <a:pt x="1" y="9"/>
                </a:lnTo>
                <a:lnTo>
                  <a:pt x="1" y="11"/>
                </a:lnTo>
                <a:lnTo>
                  <a:pt x="1" y="12"/>
                </a:lnTo>
                <a:lnTo>
                  <a:pt x="3" y="17"/>
                </a:lnTo>
                <a:lnTo>
                  <a:pt x="4" y="18"/>
                </a:lnTo>
                <a:lnTo>
                  <a:pt x="3" y="20"/>
                </a:lnTo>
                <a:lnTo>
                  <a:pt x="4" y="20"/>
                </a:lnTo>
                <a:lnTo>
                  <a:pt x="4" y="22"/>
                </a:lnTo>
                <a:lnTo>
                  <a:pt x="7" y="20"/>
                </a:lnTo>
                <a:lnTo>
                  <a:pt x="8" y="22"/>
                </a:lnTo>
                <a:lnTo>
                  <a:pt x="11" y="22"/>
                </a:lnTo>
                <a:lnTo>
                  <a:pt x="12" y="23"/>
                </a:lnTo>
                <a:lnTo>
                  <a:pt x="15" y="23"/>
                </a:lnTo>
                <a:lnTo>
                  <a:pt x="19" y="25"/>
                </a:lnTo>
                <a:lnTo>
                  <a:pt x="24" y="23"/>
                </a:lnTo>
                <a:lnTo>
                  <a:pt x="25" y="25"/>
                </a:lnTo>
                <a:lnTo>
                  <a:pt x="28" y="29"/>
                </a:lnTo>
                <a:lnTo>
                  <a:pt x="27" y="31"/>
                </a:lnTo>
                <a:lnTo>
                  <a:pt x="27" y="34"/>
                </a:lnTo>
                <a:lnTo>
                  <a:pt x="27" y="37"/>
                </a:lnTo>
                <a:lnTo>
                  <a:pt x="32" y="39"/>
                </a:lnTo>
                <a:lnTo>
                  <a:pt x="36" y="40"/>
                </a:lnTo>
                <a:lnTo>
                  <a:pt x="37" y="44"/>
                </a:lnTo>
                <a:lnTo>
                  <a:pt x="41" y="45"/>
                </a:lnTo>
                <a:lnTo>
                  <a:pt x="47" y="44"/>
                </a:lnTo>
                <a:lnTo>
                  <a:pt x="51" y="45"/>
                </a:lnTo>
                <a:lnTo>
                  <a:pt x="52" y="44"/>
                </a:lnTo>
                <a:lnTo>
                  <a:pt x="55" y="44"/>
                </a:lnTo>
                <a:lnTo>
                  <a:pt x="56" y="44"/>
                </a:lnTo>
                <a:lnTo>
                  <a:pt x="59" y="44"/>
                </a:lnTo>
                <a:lnTo>
                  <a:pt x="57" y="40"/>
                </a:lnTo>
                <a:lnTo>
                  <a:pt x="60" y="40"/>
                </a:lnTo>
                <a:lnTo>
                  <a:pt x="61" y="40"/>
                </a:lnTo>
                <a:lnTo>
                  <a:pt x="63" y="39"/>
                </a:lnTo>
                <a:lnTo>
                  <a:pt x="65" y="39"/>
                </a:lnTo>
                <a:lnTo>
                  <a:pt x="67" y="39"/>
                </a:lnTo>
                <a:lnTo>
                  <a:pt x="68" y="40"/>
                </a:lnTo>
                <a:lnTo>
                  <a:pt x="71" y="40"/>
                </a:lnTo>
                <a:lnTo>
                  <a:pt x="72" y="40"/>
                </a:lnTo>
                <a:lnTo>
                  <a:pt x="72" y="39"/>
                </a:lnTo>
                <a:lnTo>
                  <a:pt x="71" y="37"/>
                </a:lnTo>
                <a:lnTo>
                  <a:pt x="69" y="36"/>
                </a:lnTo>
                <a:lnTo>
                  <a:pt x="71" y="34"/>
                </a:lnTo>
                <a:lnTo>
                  <a:pt x="72" y="33"/>
                </a:lnTo>
                <a:lnTo>
                  <a:pt x="72" y="31"/>
                </a:lnTo>
                <a:lnTo>
                  <a:pt x="73" y="29"/>
                </a:lnTo>
                <a:lnTo>
                  <a:pt x="73" y="28"/>
                </a:lnTo>
                <a:lnTo>
                  <a:pt x="73" y="26"/>
                </a:lnTo>
                <a:lnTo>
                  <a:pt x="76" y="25"/>
                </a:lnTo>
                <a:lnTo>
                  <a:pt x="77" y="25"/>
                </a:lnTo>
                <a:lnTo>
                  <a:pt x="80" y="23"/>
                </a:lnTo>
                <a:lnTo>
                  <a:pt x="81" y="23"/>
                </a:lnTo>
                <a:lnTo>
                  <a:pt x="85" y="23"/>
                </a:lnTo>
                <a:lnTo>
                  <a:pt x="88" y="20"/>
                </a:lnTo>
                <a:lnTo>
                  <a:pt x="85" y="18"/>
                </a:lnTo>
                <a:lnTo>
                  <a:pt x="82" y="18"/>
                </a:lnTo>
                <a:lnTo>
                  <a:pt x="82" y="17"/>
                </a:lnTo>
                <a:lnTo>
                  <a:pt x="85" y="15"/>
                </a:lnTo>
                <a:lnTo>
                  <a:pt x="86" y="14"/>
                </a:lnTo>
                <a:lnTo>
                  <a:pt x="84" y="14"/>
                </a:lnTo>
                <a:lnTo>
                  <a:pt x="82" y="12"/>
                </a:lnTo>
                <a:lnTo>
                  <a:pt x="77" y="9"/>
                </a:lnTo>
                <a:lnTo>
                  <a:pt x="71" y="6"/>
                </a:lnTo>
                <a:lnTo>
                  <a:pt x="65" y="6"/>
                </a:lnTo>
                <a:lnTo>
                  <a:pt x="64" y="4"/>
                </a:lnTo>
                <a:lnTo>
                  <a:pt x="61" y="1"/>
                </a:lnTo>
                <a:lnTo>
                  <a:pt x="60" y="0"/>
                </a:lnTo>
                <a:lnTo>
                  <a:pt x="57" y="0"/>
                </a:lnTo>
                <a:lnTo>
                  <a:pt x="55" y="3"/>
                </a:lnTo>
                <a:lnTo>
                  <a:pt x="49" y="3"/>
                </a:lnTo>
                <a:lnTo>
                  <a:pt x="41" y="1"/>
                </a:lnTo>
                <a:lnTo>
                  <a:pt x="39" y="1"/>
                </a:lnTo>
                <a:lnTo>
                  <a:pt x="35" y="1"/>
                </a:lnTo>
                <a:lnTo>
                  <a:pt x="33" y="1"/>
                </a:lnTo>
                <a:lnTo>
                  <a:pt x="31" y="1"/>
                </a:lnTo>
                <a:lnTo>
                  <a:pt x="28" y="1"/>
                </a:lnTo>
                <a:lnTo>
                  <a:pt x="27" y="1"/>
                </a:lnTo>
                <a:lnTo>
                  <a:pt x="24" y="0"/>
                </a:lnTo>
                <a:lnTo>
                  <a:pt x="23" y="0"/>
                </a:lnTo>
                <a:lnTo>
                  <a:pt x="17" y="0"/>
                </a:lnTo>
                <a:lnTo>
                  <a:pt x="11" y="1"/>
                </a:lnTo>
                <a:lnTo>
                  <a:pt x="7" y="3"/>
                </a:lnTo>
                <a:lnTo>
                  <a:pt x="5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13" name="Freeform 613"/>
          <p:cNvSpPr>
            <a:spLocks/>
          </p:cNvSpPr>
          <p:nvPr/>
        </p:nvSpPr>
        <p:spPr bwMode="auto">
          <a:xfrm>
            <a:off x="1843056" y="2430741"/>
            <a:ext cx="42874" cy="38657"/>
          </a:xfrm>
          <a:custGeom>
            <a:avLst/>
            <a:gdLst/>
            <a:ahLst/>
            <a:cxnLst>
              <a:cxn ang="0">
                <a:pos x="16" y="4"/>
              </a:cxn>
              <a:cxn ang="0">
                <a:pos x="19" y="2"/>
              </a:cxn>
              <a:cxn ang="0">
                <a:pos x="20" y="2"/>
              </a:cxn>
              <a:cxn ang="0">
                <a:pos x="22" y="2"/>
              </a:cxn>
              <a:cxn ang="0">
                <a:pos x="22" y="4"/>
              </a:cxn>
              <a:cxn ang="0">
                <a:pos x="20" y="8"/>
              </a:cxn>
              <a:cxn ang="0">
                <a:pos x="19" y="10"/>
              </a:cxn>
              <a:cxn ang="0">
                <a:pos x="19" y="11"/>
              </a:cxn>
              <a:cxn ang="0">
                <a:pos x="19" y="16"/>
              </a:cxn>
              <a:cxn ang="0">
                <a:pos x="16" y="18"/>
              </a:cxn>
              <a:cxn ang="0">
                <a:pos x="15" y="18"/>
              </a:cxn>
              <a:cxn ang="0">
                <a:pos x="14" y="16"/>
              </a:cxn>
              <a:cxn ang="0">
                <a:pos x="12" y="18"/>
              </a:cxn>
              <a:cxn ang="0">
                <a:pos x="11" y="19"/>
              </a:cxn>
              <a:cxn ang="0">
                <a:pos x="11" y="18"/>
              </a:cxn>
              <a:cxn ang="0">
                <a:pos x="10" y="18"/>
              </a:cxn>
              <a:cxn ang="0">
                <a:pos x="10" y="15"/>
              </a:cxn>
              <a:cxn ang="0">
                <a:pos x="10" y="16"/>
              </a:cxn>
              <a:cxn ang="0">
                <a:pos x="11" y="15"/>
              </a:cxn>
              <a:cxn ang="0">
                <a:pos x="11" y="13"/>
              </a:cxn>
              <a:cxn ang="0">
                <a:pos x="8" y="13"/>
              </a:cxn>
              <a:cxn ang="0">
                <a:pos x="6" y="11"/>
              </a:cxn>
              <a:cxn ang="0">
                <a:pos x="4" y="11"/>
              </a:cxn>
              <a:cxn ang="0">
                <a:pos x="2" y="5"/>
              </a:cxn>
              <a:cxn ang="0">
                <a:pos x="0" y="5"/>
              </a:cxn>
              <a:cxn ang="0">
                <a:pos x="0" y="0"/>
              </a:cxn>
              <a:cxn ang="0">
                <a:pos x="7" y="2"/>
              </a:cxn>
              <a:cxn ang="0">
                <a:pos x="8" y="2"/>
              </a:cxn>
              <a:cxn ang="0">
                <a:pos x="7" y="4"/>
              </a:cxn>
              <a:cxn ang="0">
                <a:pos x="7" y="5"/>
              </a:cxn>
              <a:cxn ang="0">
                <a:pos x="8" y="4"/>
              </a:cxn>
              <a:cxn ang="0">
                <a:pos x="10" y="2"/>
              </a:cxn>
              <a:cxn ang="0">
                <a:pos x="12" y="2"/>
              </a:cxn>
              <a:cxn ang="0">
                <a:pos x="14" y="4"/>
              </a:cxn>
              <a:cxn ang="0">
                <a:pos x="14" y="7"/>
              </a:cxn>
              <a:cxn ang="0">
                <a:pos x="12" y="8"/>
              </a:cxn>
              <a:cxn ang="0">
                <a:pos x="8" y="10"/>
              </a:cxn>
              <a:cxn ang="0">
                <a:pos x="11" y="10"/>
              </a:cxn>
              <a:cxn ang="0">
                <a:pos x="10" y="11"/>
              </a:cxn>
              <a:cxn ang="0">
                <a:pos x="12" y="11"/>
              </a:cxn>
              <a:cxn ang="0">
                <a:pos x="14" y="10"/>
              </a:cxn>
              <a:cxn ang="0">
                <a:pos x="15" y="8"/>
              </a:cxn>
              <a:cxn ang="0">
                <a:pos x="16" y="5"/>
              </a:cxn>
              <a:cxn ang="0">
                <a:pos x="16" y="4"/>
              </a:cxn>
            </a:cxnLst>
            <a:rect l="0" t="0" r="r" b="b"/>
            <a:pathLst>
              <a:path w="22" h="19">
                <a:moveTo>
                  <a:pt x="16" y="4"/>
                </a:moveTo>
                <a:lnTo>
                  <a:pt x="19" y="2"/>
                </a:lnTo>
                <a:lnTo>
                  <a:pt x="20" y="2"/>
                </a:lnTo>
                <a:lnTo>
                  <a:pt x="22" y="2"/>
                </a:lnTo>
                <a:lnTo>
                  <a:pt x="22" y="4"/>
                </a:lnTo>
                <a:lnTo>
                  <a:pt x="20" y="8"/>
                </a:lnTo>
                <a:lnTo>
                  <a:pt x="19" y="10"/>
                </a:lnTo>
                <a:lnTo>
                  <a:pt x="19" y="11"/>
                </a:lnTo>
                <a:lnTo>
                  <a:pt x="19" y="16"/>
                </a:lnTo>
                <a:lnTo>
                  <a:pt x="16" y="18"/>
                </a:lnTo>
                <a:lnTo>
                  <a:pt x="15" y="18"/>
                </a:lnTo>
                <a:lnTo>
                  <a:pt x="14" y="16"/>
                </a:lnTo>
                <a:lnTo>
                  <a:pt x="12" y="18"/>
                </a:lnTo>
                <a:lnTo>
                  <a:pt x="11" y="19"/>
                </a:lnTo>
                <a:lnTo>
                  <a:pt x="11" y="18"/>
                </a:lnTo>
                <a:lnTo>
                  <a:pt x="10" y="18"/>
                </a:lnTo>
                <a:lnTo>
                  <a:pt x="10" y="15"/>
                </a:lnTo>
                <a:lnTo>
                  <a:pt x="10" y="16"/>
                </a:lnTo>
                <a:lnTo>
                  <a:pt x="11" y="15"/>
                </a:lnTo>
                <a:lnTo>
                  <a:pt x="11" y="13"/>
                </a:lnTo>
                <a:lnTo>
                  <a:pt x="8" y="13"/>
                </a:lnTo>
                <a:lnTo>
                  <a:pt x="6" y="11"/>
                </a:lnTo>
                <a:lnTo>
                  <a:pt x="4" y="11"/>
                </a:lnTo>
                <a:lnTo>
                  <a:pt x="2" y="5"/>
                </a:lnTo>
                <a:lnTo>
                  <a:pt x="0" y="5"/>
                </a:lnTo>
                <a:lnTo>
                  <a:pt x="0" y="0"/>
                </a:lnTo>
                <a:lnTo>
                  <a:pt x="7" y="2"/>
                </a:lnTo>
                <a:lnTo>
                  <a:pt x="8" y="2"/>
                </a:lnTo>
                <a:lnTo>
                  <a:pt x="7" y="4"/>
                </a:lnTo>
                <a:lnTo>
                  <a:pt x="7" y="5"/>
                </a:lnTo>
                <a:lnTo>
                  <a:pt x="8" y="4"/>
                </a:lnTo>
                <a:lnTo>
                  <a:pt x="10" y="2"/>
                </a:lnTo>
                <a:lnTo>
                  <a:pt x="12" y="2"/>
                </a:lnTo>
                <a:lnTo>
                  <a:pt x="14" y="4"/>
                </a:lnTo>
                <a:lnTo>
                  <a:pt x="14" y="7"/>
                </a:lnTo>
                <a:lnTo>
                  <a:pt x="12" y="8"/>
                </a:lnTo>
                <a:lnTo>
                  <a:pt x="8" y="10"/>
                </a:lnTo>
                <a:lnTo>
                  <a:pt x="11" y="10"/>
                </a:lnTo>
                <a:lnTo>
                  <a:pt x="10" y="11"/>
                </a:lnTo>
                <a:lnTo>
                  <a:pt x="12" y="11"/>
                </a:lnTo>
                <a:lnTo>
                  <a:pt x="14" y="10"/>
                </a:lnTo>
                <a:lnTo>
                  <a:pt x="15" y="8"/>
                </a:lnTo>
                <a:lnTo>
                  <a:pt x="16" y="5"/>
                </a:lnTo>
                <a:lnTo>
                  <a:pt x="16" y="4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14" name="Freeform 614"/>
          <p:cNvSpPr>
            <a:spLocks/>
          </p:cNvSpPr>
          <p:nvPr/>
        </p:nvSpPr>
        <p:spPr bwMode="auto">
          <a:xfrm>
            <a:off x="1843056" y="2430741"/>
            <a:ext cx="42874" cy="38657"/>
          </a:xfrm>
          <a:custGeom>
            <a:avLst/>
            <a:gdLst/>
            <a:ahLst/>
            <a:cxnLst>
              <a:cxn ang="0">
                <a:pos x="16" y="4"/>
              </a:cxn>
              <a:cxn ang="0">
                <a:pos x="19" y="2"/>
              </a:cxn>
              <a:cxn ang="0">
                <a:pos x="20" y="2"/>
              </a:cxn>
              <a:cxn ang="0">
                <a:pos x="22" y="2"/>
              </a:cxn>
              <a:cxn ang="0">
                <a:pos x="22" y="4"/>
              </a:cxn>
              <a:cxn ang="0">
                <a:pos x="20" y="8"/>
              </a:cxn>
              <a:cxn ang="0">
                <a:pos x="19" y="10"/>
              </a:cxn>
              <a:cxn ang="0">
                <a:pos x="19" y="11"/>
              </a:cxn>
              <a:cxn ang="0">
                <a:pos x="19" y="16"/>
              </a:cxn>
              <a:cxn ang="0">
                <a:pos x="16" y="18"/>
              </a:cxn>
              <a:cxn ang="0">
                <a:pos x="15" y="18"/>
              </a:cxn>
              <a:cxn ang="0">
                <a:pos x="14" y="16"/>
              </a:cxn>
              <a:cxn ang="0">
                <a:pos x="12" y="18"/>
              </a:cxn>
              <a:cxn ang="0">
                <a:pos x="11" y="19"/>
              </a:cxn>
              <a:cxn ang="0">
                <a:pos x="11" y="18"/>
              </a:cxn>
              <a:cxn ang="0">
                <a:pos x="10" y="18"/>
              </a:cxn>
              <a:cxn ang="0">
                <a:pos x="10" y="15"/>
              </a:cxn>
              <a:cxn ang="0">
                <a:pos x="10" y="16"/>
              </a:cxn>
              <a:cxn ang="0">
                <a:pos x="11" y="15"/>
              </a:cxn>
              <a:cxn ang="0">
                <a:pos x="11" y="13"/>
              </a:cxn>
              <a:cxn ang="0">
                <a:pos x="8" y="13"/>
              </a:cxn>
              <a:cxn ang="0">
                <a:pos x="6" y="11"/>
              </a:cxn>
              <a:cxn ang="0">
                <a:pos x="4" y="11"/>
              </a:cxn>
              <a:cxn ang="0">
                <a:pos x="2" y="5"/>
              </a:cxn>
              <a:cxn ang="0">
                <a:pos x="0" y="5"/>
              </a:cxn>
              <a:cxn ang="0">
                <a:pos x="0" y="0"/>
              </a:cxn>
              <a:cxn ang="0">
                <a:pos x="7" y="2"/>
              </a:cxn>
              <a:cxn ang="0">
                <a:pos x="8" y="2"/>
              </a:cxn>
              <a:cxn ang="0">
                <a:pos x="7" y="4"/>
              </a:cxn>
              <a:cxn ang="0">
                <a:pos x="7" y="5"/>
              </a:cxn>
              <a:cxn ang="0">
                <a:pos x="8" y="4"/>
              </a:cxn>
              <a:cxn ang="0">
                <a:pos x="10" y="2"/>
              </a:cxn>
              <a:cxn ang="0">
                <a:pos x="12" y="2"/>
              </a:cxn>
              <a:cxn ang="0">
                <a:pos x="14" y="4"/>
              </a:cxn>
              <a:cxn ang="0">
                <a:pos x="14" y="7"/>
              </a:cxn>
              <a:cxn ang="0">
                <a:pos x="12" y="8"/>
              </a:cxn>
              <a:cxn ang="0">
                <a:pos x="8" y="10"/>
              </a:cxn>
              <a:cxn ang="0">
                <a:pos x="11" y="10"/>
              </a:cxn>
              <a:cxn ang="0">
                <a:pos x="10" y="11"/>
              </a:cxn>
              <a:cxn ang="0">
                <a:pos x="12" y="11"/>
              </a:cxn>
              <a:cxn ang="0">
                <a:pos x="14" y="10"/>
              </a:cxn>
              <a:cxn ang="0">
                <a:pos x="15" y="8"/>
              </a:cxn>
              <a:cxn ang="0">
                <a:pos x="16" y="5"/>
              </a:cxn>
              <a:cxn ang="0">
                <a:pos x="16" y="4"/>
              </a:cxn>
            </a:cxnLst>
            <a:rect l="0" t="0" r="r" b="b"/>
            <a:pathLst>
              <a:path w="22" h="19">
                <a:moveTo>
                  <a:pt x="16" y="4"/>
                </a:moveTo>
                <a:lnTo>
                  <a:pt x="19" y="2"/>
                </a:lnTo>
                <a:lnTo>
                  <a:pt x="20" y="2"/>
                </a:lnTo>
                <a:lnTo>
                  <a:pt x="22" y="2"/>
                </a:lnTo>
                <a:lnTo>
                  <a:pt x="22" y="4"/>
                </a:lnTo>
                <a:lnTo>
                  <a:pt x="20" y="8"/>
                </a:lnTo>
                <a:lnTo>
                  <a:pt x="19" y="10"/>
                </a:lnTo>
                <a:lnTo>
                  <a:pt x="19" y="11"/>
                </a:lnTo>
                <a:lnTo>
                  <a:pt x="19" y="16"/>
                </a:lnTo>
                <a:lnTo>
                  <a:pt x="16" y="18"/>
                </a:lnTo>
                <a:lnTo>
                  <a:pt x="15" y="18"/>
                </a:lnTo>
                <a:lnTo>
                  <a:pt x="14" y="16"/>
                </a:lnTo>
                <a:lnTo>
                  <a:pt x="12" y="18"/>
                </a:lnTo>
                <a:lnTo>
                  <a:pt x="11" y="19"/>
                </a:lnTo>
                <a:lnTo>
                  <a:pt x="11" y="18"/>
                </a:lnTo>
                <a:lnTo>
                  <a:pt x="10" y="18"/>
                </a:lnTo>
                <a:lnTo>
                  <a:pt x="10" y="15"/>
                </a:lnTo>
                <a:lnTo>
                  <a:pt x="10" y="16"/>
                </a:lnTo>
                <a:lnTo>
                  <a:pt x="11" y="15"/>
                </a:lnTo>
                <a:lnTo>
                  <a:pt x="11" y="13"/>
                </a:lnTo>
                <a:lnTo>
                  <a:pt x="8" y="13"/>
                </a:lnTo>
                <a:lnTo>
                  <a:pt x="6" y="11"/>
                </a:lnTo>
                <a:lnTo>
                  <a:pt x="4" y="11"/>
                </a:lnTo>
                <a:lnTo>
                  <a:pt x="2" y="5"/>
                </a:lnTo>
                <a:lnTo>
                  <a:pt x="0" y="5"/>
                </a:lnTo>
                <a:lnTo>
                  <a:pt x="0" y="0"/>
                </a:lnTo>
                <a:lnTo>
                  <a:pt x="7" y="2"/>
                </a:lnTo>
                <a:lnTo>
                  <a:pt x="8" y="2"/>
                </a:lnTo>
                <a:lnTo>
                  <a:pt x="7" y="4"/>
                </a:lnTo>
                <a:lnTo>
                  <a:pt x="7" y="5"/>
                </a:lnTo>
                <a:lnTo>
                  <a:pt x="8" y="4"/>
                </a:lnTo>
                <a:lnTo>
                  <a:pt x="10" y="2"/>
                </a:lnTo>
                <a:lnTo>
                  <a:pt x="12" y="2"/>
                </a:lnTo>
                <a:lnTo>
                  <a:pt x="14" y="4"/>
                </a:lnTo>
                <a:lnTo>
                  <a:pt x="14" y="7"/>
                </a:lnTo>
                <a:lnTo>
                  <a:pt x="12" y="8"/>
                </a:lnTo>
                <a:lnTo>
                  <a:pt x="8" y="10"/>
                </a:lnTo>
                <a:lnTo>
                  <a:pt x="11" y="10"/>
                </a:lnTo>
                <a:lnTo>
                  <a:pt x="10" y="11"/>
                </a:lnTo>
                <a:lnTo>
                  <a:pt x="12" y="11"/>
                </a:lnTo>
                <a:lnTo>
                  <a:pt x="14" y="10"/>
                </a:lnTo>
                <a:lnTo>
                  <a:pt x="15" y="8"/>
                </a:lnTo>
                <a:lnTo>
                  <a:pt x="16" y="5"/>
                </a:lnTo>
                <a:lnTo>
                  <a:pt x="16" y="4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15" name="Freeform 615"/>
          <p:cNvSpPr>
            <a:spLocks/>
          </p:cNvSpPr>
          <p:nvPr/>
        </p:nvSpPr>
        <p:spPr bwMode="auto">
          <a:xfrm>
            <a:off x="1864493" y="2462957"/>
            <a:ext cx="33130" cy="38657"/>
          </a:xfrm>
          <a:custGeom>
            <a:avLst/>
            <a:gdLst/>
            <a:ahLst/>
            <a:cxnLst>
              <a:cxn ang="0">
                <a:pos x="4" y="11"/>
              </a:cxn>
              <a:cxn ang="0">
                <a:pos x="4" y="10"/>
              </a:cxn>
              <a:cxn ang="0">
                <a:pos x="4" y="6"/>
              </a:cxn>
              <a:cxn ang="0">
                <a:pos x="3" y="8"/>
              </a:cxn>
              <a:cxn ang="0">
                <a:pos x="1" y="8"/>
              </a:cxn>
              <a:cxn ang="0">
                <a:pos x="3" y="6"/>
              </a:cxn>
              <a:cxn ang="0">
                <a:pos x="3" y="5"/>
              </a:cxn>
              <a:cxn ang="0">
                <a:pos x="0" y="5"/>
              </a:cxn>
              <a:cxn ang="0">
                <a:pos x="5" y="3"/>
              </a:cxn>
              <a:cxn ang="0">
                <a:pos x="8" y="0"/>
              </a:cxn>
              <a:cxn ang="0">
                <a:pos x="9" y="2"/>
              </a:cxn>
              <a:cxn ang="0">
                <a:pos x="11" y="5"/>
              </a:cxn>
              <a:cxn ang="0">
                <a:pos x="8" y="5"/>
              </a:cxn>
              <a:cxn ang="0">
                <a:pos x="11" y="5"/>
              </a:cxn>
              <a:cxn ang="0">
                <a:pos x="12" y="6"/>
              </a:cxn>
              <a:cxn ang="0">
                <a:pos x="11" y="8"/>
              </a:cxn>
              <a:cxn ang="0">
                <a:pos x="9" y="8"/>
              </a:cxn>
              <a:cxn ang="0">
                <a:pos x="8" y="8"/>
              </a:cxn>
              <a:cxn ang="0">
                <a:pos x="8" y="10"/>
              </a:cxn>
              <a:cxn ang="0">
                <a:pos x="7" y="10"/>
              </a:cxn>
              <a:cxn ang="0">
                <a:pos x="8" y="11"/>
              </a:cxn>
              <a:cxn ang="0">
                <a:pos x="9" y="13"/>
              </a:cxn>
              <a:cxn ang="0">
                <a:pos x="12" y="14"/>
              </a:cxn>
              <a:cxn ang="0">
                <a:pos x="13" y="16"/>
              </a:cxn>
              <a:cxn ang="0">
                <a:pos x="14" y="16"/>
              </a:cxn>
              <a:cxn ang="0">
                <a:pos x="14" y="17"/>
              </a:cxn>
              <a:cxn ang="0">
                <a:pos x="17" y="21"/>
              </a:cxn>
              <a:cxn ang="0">
                <a:pos x="13" y="19"/>
              </a:cxn>
              <a:cxn ang="0">
                <a:pos x="11" y="16"/>
              </a:cxn>
              <a:cxn ang="0">
                <a:pos x="11" y="14"/>
              </a:cxn>
              <a:cxn ang="0">
                <a:pos x="9" y="14"/>
              </a:cxn>
              <a:cxn ang="0">
                <a:pos x="8" y="13"/>
              </a:cxn>
              <a:cxn ang="0">
                <a:pos x="5" y="11"/>
              </a:cxn>
              <a:cxn ang="0">
                <a:pos x="4" y="11"/>
              </a:cxn>
            </a:cxnLst>
            <a:rect l="0" t="0" r="r" b="b"/>
            <a:pathLst>
              <a:path w="17" h="21">
                <a:moveTo>
                  <a:pt x="4" y="11"/>
                </a:moveTo>
                <a:lnTo>
                  <a:pt x="4" y="10"/>
                </a:lnTo>
                <a:lnTo>
                  <a:pt x="4" y="6"/>
                </a:lnTo>
                <a:lnTo>
                  <a:pt x="3" y="8"/>
                </a:lnTo>
                <a:lnTo>
                  <a:pt x="1" y="8"/>
                </a:lnTo>
                <a:lnTo>
                  <a:pt x="3" y="6"/>
                </a:lnTo>
                <a:lnTo>
                  <a:pt x="3" y="5"/>
                </a:lnTo>
                <a:lnTo>
                  <a:pt x="0" y="5"/>
                </a:lnTo>
                <a:lnTo>
                  <a:pt x="5" y="3"/>
                </a:lnTo>
                <a:lnTo>
                  <a:pt x="8" y="0"/>
                </a:lnTo>
                <a:lnTo>
                  <a:pt x="9" y="2"/>
                </a:lnTo>
                <a:lnTo>
                  <a:pt x="11" y="5"/>
                </a:lnTo>
                <a:lnTo>
                  <a:pt x="8" y="5"/>
                </a:lnTo>
                <a:lnTo>
                  <a:pt x="11" y="5"/>
                </a:lnTo>
                <a:lnTo>
                  <a:pt x="12" y="6"/>
                </a:lnTo>
                <a:lnTo>
                  <a:pt x="11" y="8"/>
                </a:lnTo>
                <a:lnTo>
                  <a:pt x="9" y="8"/>
                </a:lnTo>
                <a:lnTo>
                  <a:pt x="8" y="8"/>
                </a:lnTo>
                <a:lnTo>
                  <a:pt x="8" y="10"/>
                </a:lnTo>
                <a:lnTo>
                  <a:pt x="7" y="10"/>
                </a:lnTo>
                <a:lnTo>
                  <a:pt x="8" y="11"/>
                </a:lnTo>
                <a:lnTo>
                  <a:pt x="9" y="13"/>
                </a:lnTo>
                <a:lnTo>
                  <a:pt x="12" y="14"/>
                </a:lnTo>
                <a:lnTo>
                  <a:pt x="13" y="16"/>
                </a:lnTo>
                <a:lnTo>
                  <a:pt x="14" y="16"/>
                </a:lnTo>
                <a:lnTo>
                  <a:pt x="14" y="17"/>
                </a:lnTo>
                <a:lnTo>
                  <a:pt x="17" y="21"/>
                </a:lnTo>
                <a:lnTo>
                  <a:pt x="13" y="19"/>
                </a:lnTo>
                <a:lnTo>
                  <a:pt x="11" y="16"/>
                </a:lnTo>
                <a:lnTo>
                  <a:pt x="11" y="14"/>
                </a:lnTo>
                <a:lnTo>
                  <a:pt x="9" y="14"/>
                </a:lnTo>
                <a:lnTo>
                  <a:pt x="8" y="13"/>
                </a:lnTo>
                <a:lnTo>
                  <a:pt x="5" y="11"/>
                </a:lnTo>
                <a:lnTo>
                  <a:pt x="4" y="11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16" name="Freeform 616"/>
          <p:cNvSpPr>
            <a:spLocks/>
          </p:cNvSpPr>
          <p:nvPr/>
        </p:nvSpPr>
        <p:spPr bwMode="auto">
          <a:xfrm>
            <a:off x="1864493" y="2462957"/>
            <a:ext cx="33130" cy="38657"/>
          </a:xfrm>
          <a:custGeom>
            <a:avLst/>
            <a:gdLst/>
            <a:ahLst/>
            <a:cxnLst>
              <a:cxn ang="0">
                <a:pos x="4" y="11"/>
              </a:cxn>
              <a:cxn ang="0">
                <a:pos x="4" y="10"/>
              </a:cxn>
              <a:cxn ang="0">
                <a:pos x="4" y="6"/>
              </a:cxn>
              <a:cxn ang="0">
                <a:pos x="3" y="8"/>
              </a:cxn>
              <a:cxn ang="0">
                <a:pos x="1" y="8"/>
              </a:cxn>
              <a:cxn ang="0">
                <a:pos x="3" y="6"/>
              </a:cxn>
              <a:cxn ang="0">
                <a:pos x="3" y="5"/>
              </a:cxn>
              <a:cxn ang="0">
                <a:pos x="0" y="5"/>
              </a:cxn>
              <a:cxn ang="0">
                <a:pos x="5" y="3"/>
              </a:cxn>
              <a:cxn ang="0">
                <a:pos x="8" y="0"/>
              </a:cxn>
              <a:cxn ang="0">
                <a:pos x="9" y="2"/>
              </a:cxn>
              <a:cxn ang="0">
                <a:pos x="11" y="5"/>
              </a:cxn>
              <a:cxn ang="0">
                <a:pos x="8" y="5"/>
              </a:cxn>
              <a:cxn ang="0">
                <a:pos x="11" y="5"/>
              </a:cxn>
              <a:cxn ang="0">
                <a:pos x="12" y="6"/>
              </a:cxn>
              <a:cxn ang="0">
                <a:pos x="11" y="8"/>
              </a:cxn>
              <a:cxn ang="0">
                <a:pos x="9" y="8"/>
              </a:cxn>
              <a:cxn ang="0">
                <a:pos x="8" y="8"/>
              </a:cxn>
              <a:cxn ang="0">
                <a:pos x="8" y="10"/>
              </a:cxn>
              <a:cxn ang="0">
                <a:pos x="7" y="10"/>
              </a:cxn>
              <a:cxn ang="0">
                <a:pos x="8" y="11"/>
              </a:cxn>
              <a:cxn ang="0">
                <a:pos x="9" y="13"/>
              </a:cxn>
              <a:cxn ang="0">
                <a:pos x="12" y="14"/>
              </a:cxn>
              <a:cxn ang="0">
                <a:pos x="13" y="16"/>
              </a:cxn>
              <a:cxn ang="0">
                <a:pos x="14" y="16"/>
              </a:cxn>
              <a:cxn ang="0">
                <a:pos x="14" y="17"/>
              </a:cxn>
              <a:cxn ang="0">
                <a:pos x="17" y="21"/>
              </a:cxn>
              <a:cxn ang="0">
                <a:pos x="13" y="19"/>
              </a:cxn>
              <a:cxn ang="0">
                <a:pos x="11" y="16"/>
              </a:cxn>
              <a:cxn ang="0">
                <a:pos x="11" y="14"/>
              </a:cxn>
              <a:cxn ang="0">
                <a:pos x="9" y="14"/>
              </a:cxn>
              <a:cxn ang="0">
                <a:pos x="8" y="13"/>
              </a:cxn>
              <a:cxn ang="0">
                <a:pos x="5" y="11"/>
              </a:cxn>
              <a:cxn ang="0">
                <a:pos x="4" y="11"/>
              </a:cxn>
            </a:cxnLst>
            <a:rect l="0" t="0" r="r" b="b"/>
            <a:pathLst>
              <a:path w="17" h="21">
                <a:moveTo>
                  <a:pt x="4" y="11"/>
                </a:moveTo>
                <a:lnTo>
                  <a:pt x="4" y="10"/>
                </a:lnTo>
                <a:lnTo>
                  <a:pt x="4" y="6"/>
                </a:lnTo>
                <a:lnTo>
                  <a:pt x="3" y="8"/>
                </a:lnTo>
                <a:lnTo>
                  <a:pt x="1" y="8"/>
                </a:lnTo>
                <a:lnTo>
                  <a:pt x="3" y="6"/>
                </a:lnTo>
                <a:lnTo>
                  <a:pt x="3" y="5"/>
                </a:lnTo>
                <a:lnTo>
                  <a:pt x="0" y="5"/>
                </a:lnTo>
                <a:lnTo>
                  <a:pt x="5" y="3"/>
                </a:lnTo>
                <a:lnTo>
                  <a:pt x="8" y="0"/>
                </a:lnTo>
                <a:lnTo>
                  <a:pt x="9" y="2"/>
                </a:lnTo>
                <a:lnTo>
                  <a:pt x="11" y="5"/>
                </a:lnTo>
                <a:lnTo>
                  <a:pt x="8" y="5"/>
                </a:lnTo>
                <a:lnTo>
                  <a:pt x="11" y="5"/>
                </a:lnTo>
                <a:lnTo>
                  <a:pt x="12" y="6"/>
                </a:lnTo>
                <a:lnTo>
                  <a:pt x="11" y="8"/>
                </a:lnTo>
                <a:lnTo>
                  <a:pt x="9" y="8"/>
                </a:lnTo>
                <a:lnTo>
                  <a:pt x="8" y="8"/>
                </a:lnTo>
                <a:lnTo>
                  <a:pt x="8" y="10"/>
                </a:lnTo>
                <a:lnTo>
                  <a:pt x="7" y="10"/>
                </a:lnTo>
                <a:lnTo>
                  <a:pt x="8" y="11"/>
                </a:lnTo>
                <a:lnTo>
                  <a:pt x="9" y="13"/>
                </a:lnTo>
                <a:lnTo>
                  <a:pt x="12" y="14"/>
                </a:lnTo>
                <a:lnTo>
                  <a:pt x="13" y="16"/>
                </a:lnTo>
                <a:lnTo>
                  <a:pt x="14" y="16"/>
                </a:lnTo>
                <a:lnTo>
                  <a:pt x="14" y="17"/>
                </a:lnTo>
                <a:lnTo>
                  <a:pt x="17" y="21"/>
                </a:lnTo>
                <a:lnTo>
                  <a:pt x="13" y="19"/>
                </a:lnTo>
                <a:lnTo>
                  <a:pt x="11" y="16"/>
                </a:lnTo>
                <a:lnTo>
                  <a:pt x="11" y="14"/>
                </a:lnTo>
                <a:lnTo>
                  <a:pt x="9" y="14"/>
                </a:lnTo>
                <a:lnTo>
                  <a:pt x="8" y="13"/>
                </a:lnTo>
                <a:lnTo>
                  <a:pt x="5" y="11"/>
                </a:lnTo>
                <a:lnTo>
                  <a:pt x="4" y="11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17" name="Freeform 617"/>
          <p:cNvSpPr>
            <a:spLocks/>
          </p:cNvSpPr>
          <p:nvPr/>
        </p:nvSpPr>
        <p:spPr bwMode="auto">
          <a:xfrm>
            <a:off x="1915161" y="2435036"/>
            <a:ext cx="9745" cy="10739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2" y="2"/>
              </a:cxn>
              <a:cxn ang="0">
                <a:pos x="3" y="0"/>
              </a:cxn>
              <a:cxn ang="0">
                <a:pos x="6" y="2"/>
              </a:cxn>
              <a:cxn ang="0">
                <a:pos x="6" y="3"/>
              </a:cxn>
              <a:cxn ang="0">
                <a:pos x="4" y="5"/>
              </a:cxn>
              <a:cxn ang="0">
                <a:pos x="2" y="3"/>
              </a:cxn>
              <a:cxn ang="0">
                <a:pos x="0" y="3"/>
              </a:cxn>
            </a:cxnLst>
            <a:rect l="0" t="0" r="r" b="b"/>
            <a:pathLst>
              <a:path w="6" h="5">
                <a:moveTo>
                  <a:pt x="0" y="3"/>
                </a:moveTo>
                <a:lnTo>
                  <a:pt x="2" y="2"/>
                </a:lnTo>
                <a:lnTo>
                  <a:pt x="3" y="0"/>
                </a:lnTo>
                <a:lnTo>
                  <a:pt x="6" y="2"/>
                </a:lnTo>
                <a:lnTo>
                  <a:pt x="6" y="3"/>
                </a:lnTo>
                <a:lnTo>
                  <a:pt x="4" y="5"/>
                </a:lnTo>
                <a:lnTo>
                  <a:pt x="2" y="3"/>
                </a:lnTo>
                <a:lnTo>
                  <a:pt x="0" y="3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18" name="Freeform 618"/>
          <p:cNvSpPr>
            <a:spLocks/>
          </p:cNvSpPr>
          <p:nvPr/>
        </p:nvSpPr>
        <p:spPr bwMode="auto">
          <a:xfrm>
            <a:off x="1915161" y="2435036"/>
            <a:ext cx="9745" cy="10739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2" y="2"/>
              </a:cxn>
              <a:cxn ang="0">
                <a:pos x="3" y="0"/>
              </a:cxn>
              <a:cxn ang="0">
                <a:pos x="6" y="2"/>
              </a:cxn>
              <a:cxn ang="0">
                <a:pos x="6" y="3"/>
              </a:cxn>
              <a:cxn ang="0">
                <a:pos x="4" y="5"/>
              </a:cxn>
              <a:cxn ang="0">
                <a:pos x="2" y="3"/>
              </a:cxn>
              <a:cxn ang="0">
                <a:pos x="0" y="3"/>
              </a:cxn>
            </a:cxnLst>
            <a:rect l="0" t="0" r="r" b="b"/>
            <a:pathLst>
              <a:path w="6" h="5">
                <a:moveTo>
                  <a:pt x="0" y="3"/>
                </a:moveTo>
                <a:lnTo>
                  <a:pt x="2" y="2"/>
                </a:lnTo>
                <a:lnTo>
                  <a:pt x="3" y="0"/>
                </a:lnTo>
                <a:lnTo>
                  <a:pt x="6" y="2"/>
                </a:lnTo>
                <a:lnTo>
                  <a:pt x="6" y="3"/>
                </a:lnTo>
                <a:lnTo>
                  <a:pt x="4" y="5"/>
                </a:lnTo>
                <a:lnTo>
                  <a:pt x="2" y="3"/>
                </a:lnTo>
                <a:lnTo>
                  <a:pt x="0" y="3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19" name="Freeform 619"/>
          <p:cNvSpPr>
            <a:spLocks/>
          </p:cNvSpPr>
          <p:nvPr/>
        </p:nvSpPr>
        <p:spPr bwMode="auto">
          <a:xfrm>
            <a:off x="1921009" y="2452217"/>
            <a:ext cx="19488" cy="1718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" y="1"/>
              </a:cxn>
              <a:cxn ang="0">
                <a:pos x="7" y="3"/>
              </a:cxn>
              <a:cxn ang="0">
                <a:pos x="8" y="5"/>
              </a:cxn>
              <a:cxn ang="0">
                <a:pos x="9" y="8"/>
              </a:cxn>
              <a:cxn ang="0">
                <a:pos x="11" y="9"/>
              </a:cxn>
              <a:cxn ang="0">
                <a:pos x="9" y="9"/>
              </a:cxn>
              <a:cxn ang="0">
                <a:pos x="7" y="6"/>
              </a:cxn>
              <a:cxn ang="0">
                <a:pos x="4" y="5"/>
              </a:cxn>
              <a:cxn ang="0">
                <a:pos x="3" y="3"/>
              </a:cxn>
              <a:cxn ang="0">
                <a:pos x="1" y="3"/>
              </a:cxn>
              <a:cxn ang="0">
                <a:pos x="0" y="0"/>
              </a:cxn>
            </a:cxnLst>
            <a:rect l="0" t="0" r="r" b="b"/>
            <a:pathLst>
              <a:path w="11" h="9">
                <a:moveTo>
                  <a:pt x="0" y="0"/>
                </a:moveTo>
                <a:lnTo>
                  <a:pt x="4" y="1"/>
                </a:lnTo>
                <a:lnTo>
                  <a:pt x="7" y="3"/>
                </a:lnTo>
                <a:lnTo>
                  <a:pt x="8" y="5"/>
                </a:lnTo>
                <a:lnTo>
                  <a:pt x="9" y="8"/>
                </a:lnTo>
                <a:lnTo>
                  <a:pt x="11" y="9"/>
                </a:lnTo>
                <a:lnTo>
                  <a:pt x="9" y="9"/>
                </a:lnTo>
                <a:lnTo>
                  <a:pt x="7" y="6"/>
                </a:lnTo>
                <a:lnTo>
                  <a:pt x="4" y="5"/>
                </a:lnTo>
                <a:lnTo>
                  <a:pt x="3" y="3"/>
                </a:lnTo>
                <a:lnTo>
                  <a:pt x="1" y="3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20" name="Freeform 620"/>
          <p:cNvSpPr>
            <a:spLocks/>
          </p:cNvSpPr>
          <p:nvPr/>
        </p:nvSpPr>
        <p:spPr bwMode="auto">
          <a:xfrm>
            <a:off x="1921009" y="2452217"/>
            <a:ext cx="19488" cy="1718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" y="1"/>
              </a:cxn>
              <a:cxn ang="0">
                <a:pos x="7" y="3"/>
              </a:cxn>
              <a:cxn ang="0">
                <a:pos x="8" y="5"/>
              </a:cxn>
              <a:cxn ang="0">
                <a:pos x="9" y="8"/>
              </a:cxn>
              <a:cxn ang="0">
                <a:pos x="11" y="9"/>
              </a:cxn>
              <a:cxn ang="0">
                <a:pos x="9" y="9"/>
              </a:cxn>
              <a:cxn ang="0">
                <a:pos x="7" y="6"/>
              </a:cxn>
              <a:cxn ang="0">
                <a:pos x="4" y="5"/>
              </a:cxn>
              <a:cxn ang="0">
                <a:pos x="3" y="3"/>
              </a:cxn>
              <a:cxn ang="0">
                <a:pos x="1" y="3"/>
              </a:cxn>
              <a:cxn ang="0">
                <a:pos x="0" y="0"/>
              </a:cxn>
            </a:cxnLst>
            <a:rect l="0" t="0" r="r" b="b"/>
            <a:pathLst>
              <a:path w="11" h="9">
                <a:moveTo>
                  <a:pt x="0" y="0"/>
                </a:moveTo>
                <a:lnTo>
                  <a:pt x="4" y="1"/>
                </a:lnTo>
                <a:lnTo>
                  <a:pt x="7" y="3"/>
                </a:lnTo>
                <a:lnTo>
                  <a:pt x="8" y="5"/>
                </a:lnTo>
                <a:lnTo>
                  <a:pt x="9" y="8"/>
                </a:lnTo>
                <a:lnTo>
                  <a:pt x="11" y="9"/>
                </a:lnTo>
                <a:lnTo>
                  <a:pt x="9" y="9"/>
                </a:lnTo>
                <a:lnTo>
                  <a:pt x="7" y="6"/>
                </a:lnTo>
                <a:lnTo>
                  <a:pt x="4" y="5"/>
                </a:lnTo>
                <a:lnTo>
                  <a:pt x="3" y="3"/>
                </a:lnTo>
                <a:lnTo>
                  <a:pt x="1" y="3"/>
                </a:lnTo>
                <a:lnTo>
                  <a:pt x="0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21" name="Freeform 621"/>
          <p:cNvSpPr>
            <a:spLocks/>
          </p:cNvSpPr>
          <p:nvPr/>
        </p:nvSpPr>
        <p:spPr bwMode="auto">
          <a:xfrm>
            <a:off x="1926854" y="2445776"/>
            <a:ext cx="21438" cy="21476"/>
          </a:xfrm>
          <a:custGeom>
            <a:avLst/>
            <a:gdLst/>
            <a:ahLst/>
            <a:cxnLst>
              <a:cxn ang="0">
                <a:pos x="7" y="3"/>
              </a:cxn>
              <a:cxn ang="0">
                <a:pos x="8" y="4"/>
              </a:cxn>
              <a:cxn ang="0">
                <a:pos x="9" y="6"/>
              </a:cxn>
              <a:cxn ang="0">
                <a:pos x="11" y="8"/>
              </a:cxn>
              <a:cxn ang="0">
                <a:pos x="11" y="11"/>
              </a:cxn>
              <a:cxn ang="0">
                <a:pos x="9" y="11"/>
              </a:cxn>
              <a:cxn ang="0">
                <a:pos x="7" y="6"/>
              </a:cxn>
              <a:cxn ang="0">
                <a:pos x="3" y="3"/>
              </a:cxn>
              <a:cxn ang="0">
                <a:pos x="3" y="1"/>
              </a:cxn>
              <a:cxn ang="0">
                <a:pos x="1" y="1"/>
              </a:cxn>
              <a:cxn ang="0">
                <a:pos x="0" y="0"/>
              </a:cxn>
              <a:cxn ang="0">
                <a:pos x="1" y="0"/>
              </a:cxn>
              <a:cxn ang="0">
                <a:pos x="4" y="1"/>
              </a:cxn>
              <a:cxn ang="0">
                <a:pos x="7" y="3"/>
              </a:cxn>
            </a:cxnLst>
            <a:rect l="0" t="0" r="r" b="b"/>
            <a:pathLst>
              <a:path w="11" h="11">
                <a:moveTo>
                  <a:pt x="7" y="3"/>
                </a:moveTo>
                <a:lnTo>
                  <a:pt x="8" y="4"/>
                </a:lnTo>
                <a:lnTo>
                  <a:pt x="9" y="6"/>
                </a:lnTo>
                <a:lnTo>
                  <a:pt x="11" y="8"/>
                </a:lnTo>
                <a:lnTo>
                  <a:pt x="11" y="11"/>
                </a:lnTo>
                <a:lnTo>
                  <a:pt x="9" y="11"/>
                </a:lnTo>
                <a:lnTo>
                  <a:pt x="7" y="6"/>
                </a:lnTo>
                <a:lnTo>
                  <a:pt x="3" y="3"/>
                </a:lnTo>
                <a:lnTo>
                  <a:pt x="3" y="1"/>
                </a:lnTo>
                <a:lnTo>
                  <a:pt x="1" y="1"/>
                </a:lnTo>
                <a:lnTo>
                  <a:pt x="0" y="0"/>
                </a:lnTo>
                <a:lnTo>
                  <a:pt x="1" y="0"/>
                </a:lnTo>
                <a:lnTo>
                  <a:pt x="4" y="1"/>
                </a:lnTo>
                <a:lnTo>
                  <a:pt x="7" y="3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22" name="Freeform 622"/>
          <p:cNvSpPr>
            <a:spLocks/>
          </p:cNvSpPr>
          <p:nvPr/>
        </p:nvSpPr>
        <p:spPr bwMode="auto">
          <a:xfrm>
            <a:off x="1926854" y="2445776"/>
            <a:ext cx="21438" cy="21476"/>
          </a:xfrm>
          <a:custGeom>
            <a:avLst/>
            <a:gdLst/>
            <a:ahLst/>
            <a:cxnLst>
              <a:cxn ang="0">
                <a:pos x="7" y="3"/>
              </a:cxn>
              <a:cxn ang="0">
                <a:pos x="8" y="4"/>
              </a:cxn>
              <a:cxn ang="0">
                <a:pos x="9" y="6"/>
              </a:cxn>
              <a:cxn ang="0">
                <a:pos x="11" y="8"/>
              </a:cxn>
              <a:cxn ang="0">
                <a:pos x="11" y="11"/>
              </a:cxn>
              <a:cxn ang="0">
                <a:pos x="9" y="11"/>
              </a:cxn>
              <a:cxn ang="0">
                <a:pos x="7" y="6"/>
              </a:cxn>
              <a:cxn ang="0">
                <a:pos x="3" y="3"/>
              </a:cxn>
              <a:cxn ang="0">
                <a:pos x="3" y="1"/>
              </a:cxn>
              <a:cxn ang="0">
                <a:pos x="1" y="1"/>
              </a:cxn>
              <a:cxn ang="0">
                <a:pos x="0" y="0"/>
              </a:cxn>
              <a:cxn ang="0">
                <a:pos x="1" y="0"/>
              </a:cxn>
              <a:cxn ang="0">
                <a:pos x="4" y="1"/>
              </a:cxn>
              <a:cxn ang="0">
                <a:pos x="7" y="3"/>
              </a:cxn>
            </a:cxnLst>
            <a:rect l="0" t="0" r="r" b="b"/>
            <a:pathLst>
              <a:path w="11" h="11">
                <a:moveTo>
                  <a:pt x="7" y="3"/>
                </a:moveTo>
                <a:lnTo>
                  <a:pt x="8" y="4"/>
                </a:lnTo>
                <a:lnTo>
                  <a:pt x="9" y="6"/>
                </a:lnTo>
                <a:lnTo>
                  <a:pt x="11" y="8"/>
                </a:lnTo>
                <a:lnTo>
                  <a:pt x="11" y="11"/>
                </a:lnTo>
                <a:lnTo>
                  <a:pt x="9" y="11"/>
                </a:lnTo>
                <a:lnTo>
                  <a:pt x="7" y="6"/>
                </a:lnTo>
                <a:lnTo>
                  <a:pt x="3" y="3"/>
                </a:lnTo>
                <a:lnTo>
                  <a:pt x="3" y="1"/>
                </a:lnTo>
                <a:lnTo>
                  <a:pt x="1" y="1"/>
                </a:lnTo>
                <a:lnTo>
                  <a:pt x="0" y="0"/>
                </a:lnTo>
                <a:lnTo>
                  <a:pt x="1" y="0"/>
                </a:lnTo>
                <a:lnTo>
                  <a:pt x="4" y="1"/>
                </a:lnTo>
                <a:lnTo>
                  <a:pt x="7" y="3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23" name="Freeform 623"/>
          <p:cNvSpPr>
            <a:spLocks/>
          </p:cNvSpPr>
          <p:nvPr/>
        </p:nvSpPr>
        <p:spPr bwMode="auto">
          <a:xfrm>
            <a:off x="1958035" y="2477989"/>
            <a:ext cx="5847" cy="1288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0"/>
              </a:cxn>
              <a:cxn ang="0">
                <a:pos x="1" y="2"/>
              </a:cxn>
              <a:cxn ang="0">
                <a:pos x="2" y="3"/>
              </a:cxn>
              <a:cxn ang="0">
                <a:pos x="4" y="5"/>
              </a:cxn>
              <a:cxn ang="0">
                <a:pos x="4" y="6"/>
              </a:cxn>
              <a:cxn ang="0">
                <a:pos x="2" y="6"/>
              </a:cxn>
              <a:cxn ang="0">
                <a:pos x="1" y="5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4" h="6">
                <a:moveTo>
                  <a:pt x="0" y="0"/>
                </a:moveTo>
                <a:lnTo>
                  <a:pt x="1" y="0"/>
                </a:lnTo>
                <a:lnTo>
                  <a:pt x="1" y="2"/>
                </a:lnTo>
                <a:lnTo>
                  <a:pt x="2" y="3"/>
                </a:lnTo>
                <a:lnTo>
                  <a:pt x="4" y="5"/>
                </a:lnTo>
                <a:lnTo>
                  <a:pt x="4" y="6"/>
                </a:lnTo>
                <a:lnTo>
                  <a:pt x="2" y="6"/>
                </a:lnTo>
                <a:lnTo>
                  <a:pt x="1" y="5"/>
                </a:ln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24" name="Freeform 624"/>
          <p:cNvSpPr>
            <a:spLocks/>
          </p:cNvSpPr>
          <p:nvPr/>
        </p:nvSpPr>
        <p:spPr bwMode="auto">
          <a:xfrm>
            <a:off x="1958035" y="2477989"/>
            <a:ext cx="5847" cy="1288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0"/>
              </a:cxn>
              <a:cxn ang="0">
                <a:pos x="1" y="2"/>
              </a:cxn>
              <a:cxn ang="0">
                <a:pos x="2" y="3"/>
              </a:cxn>
              <a:cxn ang="0">
                <a:pos x="4" y="5"/>
              </a:cxn>
              <a:cxn ang="0">
                <a:pos x="4" y="6"/>
              </a:cxn>
              <a:cxn ang="0">
                <a:pos x="2" y="6"/>
              </a:cxn>
              <a:cxn ang="0">
                <a:pos x="1" y="5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4" h="6">
                <a:moveTo>
                  <a:pt x="0" y="0"/>
                </a:moveTo>
                <a:lnTo>
                  <a:pt x="1" y="0"/>
                </a:lnTo>
                <a:lnTo>
                  <a:pt x="1" y="2"/>
                </a:lnTo>
                <a:lnTo>
                  <a:pt x="2" y="3"/>
                </a:lnTo>
                <a:lnTo>
                  <a:pt x="4" y="5"/>
                </a:lnTo>
                <a:lnTo>
                  <a:pt x="4" y="6"/>
                </a:lnTo>
                <a:lnTo>
                  <a:pt x="2" y="6"/>
                </a:lnTo>
                <a:lnTo>
                  <a:pt x="1" y="5"/>
                </a:lnTo>
                <a:lnTo>
                  <a:pt x="0" y="2"/>
                </a:lnTo>
                <a:lnTo>
                  <a:pt x="0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25" name="Freeform 625"/>
          <p:cNvSpPr>
            <a:spLocks/>
          </p:cNvSpPr>
          <p:nvPr/>
        </p:nvSpPr>
        <p:spPr bwMode="auto">
          <a:xfrm>
            <a:off x="1981421" y="2548861"/>
            <a:ext cx="146162" cy="88051"/>
          </a:xfrm>
          <a:custGeom>
            <a:avLst/>
            <a:gdLst/>
            <a:ahLst/>
            <a:cxnLst>
              <a:cxn ang="0">
                <a:pos x="13" y="6"/>
              </a:cxn>
              <a:cxn ang="0">
                <a:pos x="8" y="3"/>
              </a:cxn>
              <a:cxn ang="0">
                <a:pos x="5" y="3"/>
              </a:cxn>
              <a:cxn ang="0">
                <a:pos x="3" y="5"/>
              </a:cxn>
              <a:cxn ang="0">
                <a:pos x="0" y="2"/>
              </a:cxn>
              <a:cxn ang="0">
                <a:pos x="3" y="0"/>
              </a:cxn>
              <a:cxn ang="0">
                <a:pos x="8" y="0"/>
              </a:cxn>
              <a:cxn ang="0">
                <a:pos x="13" y="2"/>
              </a:cxn>
              <a:cxn ang="0">
                <a:pos x="25" y="6"/>
              </a:cxn>
              <a:cxn ang="0">
                <a:pos x="37" y="8"/>
              </a:cxn>
              <a:cxn ang="0">
                <a:pos x="43" y="9"/>
              </a:cxn>
              <a:cxn ang="0">
                <a:pos x="44" y="13"/>
              </a:cxn>
              <a:cxn ang="0">
                <a:pos x="53" y="20"/>
              </a:cxn>
              <a:cxn ang="0">
                <a:pos x="53" y="22"/>
              </a:cxn>
              <a:cxn ang="0">
                <a:pos x="57" y="25"/>
              </a:cxn>
              <a:cxn ang="0">
                <a:pos x="63" y="27"/>
              </a:cxn>
              <a:cxn ang="0">
                <a:pos x="65" y="28"/>
              </a:cxn>
              <a:cxn ang="0">
                <a:pos x="70" y="33"/>
              </a:cxn>
              <a:cxn ang="0">
                <a:pos x="72" y="38"/>
              </a:cxn>
              <a:cxn ang="0">
                <a:pos x="74" y="41"/>
              </a:cxn>
              <a:cxn ang="0">
                <a:pos x="76" y="42"/>
              </a:cxn>
              <a:cxn ang="0">
                <a:pos x="73" y="44"/>
              </a:cxn>
              <a:cxn ang="0">
                <a:pos x="66" y="42"/>
              </a:cxn>
              <a:cxn ang="0">
                <a:pos x="60" y="39"/>
              </a:cxn>
              <a:cxn ang="0">
                <a:pos x="55" y="39"/>
              </a:cxn>
              <a:cxn ang="0">
                <a:pos x="56" y="38"/>
              </a:cxn>
              <a:cxn ang="0">
                <a:pos x="55" y="38"/>
              </a:cxn>
              <a:cxn ang="0">
                <a:pos x="51" y="36"/>
              </a:cxn>
              <a:cxn ang="0">
                <a:pos x="52" y="35"/>
              </a:cxn>
              <a:cxn ang="0">
                <a:pos x="52" y="33"/>
              </a:cxn>
              <a:cxn ang="0">
                <a:pos x="48" y="33"/>
              </a:cxn>
              <a:cxn ang="0">
                <a:pos x="43" y="33"/>
              </a:cxn>
              <a:cxn ang="0">
                <a:pos x="41" y="31"/>
              </a:cxn>
              <a:cxn ang="0">
                <a:pos x="43" y="30"/>
              </a:cxn>
              <a:cxn ang="0">
                <a:pos x="37" y="27"/>
              </a:cxn>
              <a:cxn ang="0">
                <a:pos x="33" y="25"/>
              </a:cxn>
              <a:cxn ang="0">
                <a:pos x="29" y="25"/>
              </a:cxn>
              <a:cxn ang="0">
                <a:pos x="29" y="22"/>
              </a:cxn>
              <a:cxn ang="0">
                <a:pos x="36" y="20"/>
              </a:cxn>
              <a:cxn ang="0">
                <a:pos x="31" y="20"/>
              </a:cxn>
              <a:cxn ang="0">
                <a:pos x="28" y="20"/>
              </a:cxn>
              <a:cxn ang="0">
                <a:pos x="24" y="16"/>
              </a:cxn>
              <a:cxn ang="0">
                <a:pos x="23" y="16"/>
              </a:cxn>
              <a:cxn ang="0">
                <a:pos x="19" y="16"/>
              </a:cxn>
              <a:cxn ang="0">
                <a:pos x="20" y="13"/>
              </a:cxn>
              <a:cxn ang="0">
                <a:pos x="17" y="13"/>
              </a:cxn>
              <a:cxn ang="0">
                <a:pos x="15" y="11"/>
              </a:cxn>
              <a:cxn ang="0">
                <a:pos x="12" y="11"/>
              </a:cxn>
              <a:cxn ang="0">
                <a:pos x="9" y="13"/>
              </a:cxn>
              <a:cxn ang="0">
                <a:pos x="9" y="11"/>
              </a:cxn>
              <a:cxn ang="0">
                <a:pos x="7" y="8"/>
              </a:cxn>
              <a:cxn ang="0">
                <a:pos x="12" y="6"/>
              </a:cxn>
            </a:cxnLst>
            <a:rect l="0" t="0" r="r" b="b"/>
            <a:pathLst>
              <a:path w="76" h="44">
                <a:moveTo>
                  <a:pt x="13" y="8"/>
                </a:moveTo>
                <a:lnTo>
                  <a:pt x="13" y="6"/>
                </a:lnTo>
                <a:lnTo>
                  <a:pt x="13" y="3"/>
                </a:lnTo>
                <a:lnTo>
                  <a:pt x="8" y="3"/>
                </a:lnTo>
                <a:lnTo>
                  <a:pt x="5" y="2"/>
                </a:lnTo>
                <a:lnTo>
                  <a:pt x="5" y="3"/>
                </a:lnTo>
                <a:lnTo>
                  <a:pt x="4" y="5"/>
                </a:lnTo>
                <a:lnTo>
                  <a:pt x="3" y="5"/>
                </a:lnTo>
                <a:lnTo>
                  <a:pt x="0" y="3"/>
                </a:lnTo>
                <a:lnTo>
                  <a:pt x="0" y="2"/>
                </a:lnTo>
                <a:lnTo>
                  <a:pt x="1" y="0"/>
                </a:lnTo>
                <a:lnTo>
                  <a:pt x="3" y="0"/>
                </a:lnTo>
                <a:lnTo>
                  <a:pt x="5" y="0"/>
                </a:lnTo>
                <a:lnTo>
                  <a:pt x="8" y="0"/>
                </a:lnTo>
                <a:lnTo>
                  <a:pt x="11" y="2"/>
                </a:lnTo>
                <a:lnTo>
                  <a:pt x="13" y="2"/>
                </a:lnTo>
                <a:lnTo>
                  <a:pt x="16" y="3"/>
                </a:lnTo>
                <a:lnTo>
                  <a:pt x="25" y="6"/>
                </a:lnTo>
                <a:lnTo>
                  <a:pt x="33" y="8"/>
                </a:lnTo>
                <a:lnTo>
                  <a:pt x="37" y="8"/>
                </a:lnTo>
                <a:lnTo>
                  <a:pt x="41" y="9"/>
                </a:lnTo>
                <a:lnTo>
                  <a:pt x="43" y="9"/>
                </a:lnTo>
                <a:lnTo>
                  <a:pt x="44" y="11"/>
                </a:lnTo>
                <a:lnTo>
                  <a:pt x="44" y="13"/>
                </a:lnTo>
                <a:lnTo>
                  <a:pt x="52" y="20"/>
                </a:lnTo>
                <a:lnTo>
                  <a:pt x="53" y="20"/>
                </a:lnTo>
                <a:lnTo>
                  <a:pt x="52" y="22"/>
                </a:lnTo>
                <a:lnTo>
                  <a:pt x="53" y="22"/>
                </a:lnTo>
                <a:lnTo>
                  <a:pt x="53" y="24"/>
                </a:lnTo>
                <a:lnTo>
                  <a:pt x="57" y="25"/>
                </a:lnTo>
                <a:lnTo>
                  <a:pt x="60" y="27"/>
                </a:lnTo>
                <a:lnTo>
                  <a:pt x="63" y="27"/>
                </a:lnTo>
                <a:lnTo>
                  <a:pt x="64" y="27"/>
                </a:lnTo>
                <a:lnTo>
                  <a:pt x="65" y="28"/>
                </a:lnTo>
                <a:lnTo>
                  <a:pt x="69" y="31"/>
                </a:lnTo>
                <a:lnTo>
                  <a:pt x="70" y="33"/>
                </a:lnTo>
                <a:lnTo>
                  <a:pt x="72" y="36"/>
                </a:lnTo>
                <a:lnTo>
                  <a:pt x="72" y="38"/>
                </a:lnTo>
                <a:lnTo>
                  <a:pt x="73" y="39"/>
                </a:lnTo>
                <a:lnTo>
                  <a:pt x="74" y="41"/>
                </a:lnTo>
                <a:lnTo>
                  <a:pt x="74" y="39"/>
                </a:lnTo>
                <a:lnTo>
                  <a:pt x="76" y="42"/>
                </a:lnTo>
                <a:lnTo>
                  <a:pt x="74" y="44"/>
                </a:lnTo>
                <a:lnTo>
                  <a:pt x="73" y="44"/>
                </a:lnTo>
                <a:lnTo>
                  <a:pt x="72" y="44"/>
                </a:lnTo>
                <a:lnTo>
                  <a:pt x="66" y="42"/>
                </a:lnTo>
                <a:lnTo>
                  <a:pt x="61" y="41"/>
                </a:lnTo>
                <a:lnTo>
                  <a:pt x="60" y="39"/>
                </a:lnTo>
                <a:lnTo>
                  <a:pt x="59" y="41"/>
                </a:lnTo>
                <a:lnTo>
                  <a:pt x="55" y="39"/>
                </a:lnTo>
                <a:lnTo>
                  <a:pt x="55" y="38"/>
                </a:lnTo>
                <a:lnTo>
                  <a:pt x="56" y="38"/>
                </a:lnTo>
                <a:lnTo>
                  <a:pt x="56" y="36"/>
                </a:lnTo>
                <a:lnTo>
                  <a:pt x="55" y="38"/>
                </a:lnTo>
                <a:lnTo>
                  <a:pt x="53" y="38"/>
                </a:lnTo>
                <a:lnTo>
                  <a:pt x="51" y="36"/>
                </a:lnTo>
                <a:lnTo>
                  <a:pt x="49" y="35"/>
                </a:lnTo>
                <a:lnTo>
                  <a:pt x="52" y="35"/>
                </a:lnTo>
                <a:lnTo>
                  <a:pt x="53" y="33"/>
                </a:lnTo>
                <a:lnTo>
                  <a:pt x="52" y="33"/>
                </a:lnTo>
                <a:lnTo>
                  <a:pt x="49" y="31"/>
                </a:lnTo>
                <a:lnTo>
                  <a:pt x="48" y="33"/>
                </a:lnTo>
                <a:lnTo>
                  <a:pt x="47" y="33"/>
                </a:lnTo>
                <a:lnTo>
                  <a:pt x="43" y="33"/>
                </a:lnTo>
                <a:lnTo>
                  <a:pt x="40" y="31"/>
                </a:lnTo>
                <a:lnTo>
                  <a:pt x="41" y="31"/>
                </a:lnTo>
                <a:lnTo>
                  <a:pt x="44" y="31"/>
                </a:lnTo>
                <a:lnTo>
                  <a:pt x="43" y="30"/>
                </a:lnTo>
                <a:lnTo>
                  <a:pt x="40" y="28"/>
                </a:lnTo>
                <a:lnTo>
                  <a:pt x="37" y="27"/>
                </a:lnTo>
                <a:lnTo>
                  <a:pt x="36" y="27"/>
                </a:lnTo>
                <a:lnTo>
                  <a:pt x="33" y="25"/>
                </a:lnTo>
                <a:lnTo>
                  <a:pt x="31" y="25"/>
                </a:lnTo>
                <a:lnTo>
                  <a:pt x="29" y="25"/>
                </a:lnTo>
                <a:lnTo>
                  <a:pt x="28" y="22"/>
                </a:lnTo>
                <a:lnTo>
                  <a:pt x="29" y="22"/>
                </a:lnTo>
                <a:lnTo>
                  <a:pt x="33" y="22"/>
                </a:lnTo>
                <a:lnTo>
                  <a:pt x="36" y="20"/>
                </a:lnTo>
                <a:lnTo>
                  <a:pt x="33" y="20"/>
                </a:lnTo>
                <a:lnTo>
                  <a:pt x="31" y="20"/>
                </a:lnTo>
                <a:lnTo>
                  <a:pt x="29" y="19"/>
                </a:lnTo>
                <a:lnTo>
                  <a:pt x="28" y="20"/>
                </a:lnTo>
                <a:lnTo>
                  <a:pt x="27" y="17"/>
                </a:lnTo>
                <a:lnTo>
                  <a:pt x="24" y="16"/>
                </a:lnTo>
                <a:lnTo>
                  <a:pt x="23" y="17"/>
                </a:lnTo>
                <a:lnTo>
                  <a:pt x="23" y="16"/>
                </a:lnTo>
                <a:lnTo>
                  <a:pt x="20" y="17"/>
                </a:lnTo>
                <a:lnTo>
                  <a:pt x="19" y="16"/>
                </a:lnTo>
                <a:lnTo>
                  <a:pt x="19" y="14"/>
                </a:lnTo>
                <a:lnTo>
                  <a:pt x="20" y="13"/>
                </a:lnTo>
                <a:lnTo>
                  <a:pt x="19" y="13"/>
                </a:lnTo>
                <a:lnTo>
                  <a:pt x="17" y="13"/>
                </a:lnTo>
                <a:lnTo>
                  <a:pt x="16" y="14"/>
                </a:lnTo>
                <a:lnTo>
                  <a:pt x="15" y="11"/>
                </a:lnTo>
                <a:lnTo>
                  <a:pt x="13" y="13"/>
                </a:lnTo>
                <a:lnTo>
                  <a:pt x="12" y="11"/>
                </a:lnTo>
                <a:lnTo>
                  <a:pt x="11" y="13"/>
                </a:lnTo>
                <a:lnTo>
                  <a:pt x="9" y="13"/>
                </a:lnTo>
                <a:lnTo>
                  <a:pt x="8" y="13"/>
                </a:lnTo>
                <a:lnTo>
                  <a:pt x="9" y="11"/>
                </a:lnTo>
                <a:lnTo>
                  <a:pt x="9" y="9"/>
                </a:lnTo>
                <a:lnTo>
                  <a:pt x="7" y="8"/>
                </a:lnTo>
                <a:lnTo>
                  <a:pt x="9" y="6"/>
                </a:lnTo>
                <a:lnTo>
                  <a:pt x="12" y="6"/>
                </a:lnTo>
                <a:lnTo>
                  <a:pt x="13" y="8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26" name="Freeform 626"/>
          <p:cNvSpPr>
            <a:spLocks/>
          </p:cNvSpPr>
          <p:nvPr/>
        </p:nvSpPr>
        <p:spPr bwMode="auto">
          <a:xfrm>
            <a:off x="1981421" y="2548861"/>
            <a:ext cx="146162" cy="88051"/>
          </a:xfrm>
          <a:custGeom>
            <a:avLst/>
            <a:gdLst/>
            <a:ahLst/>
            <a:cxnLst>
              <a:cxn ang="0">
                <a:pos x="13" y="6"/>
              </a:cxn>
              <a:cxn ang="0">
                <a:pos x="8" y="3"/>
              </a:cxn>
              <a:cxn ang="0">
                <a:pos x="5" y="3"/>
              </a:cxn>
              <a:cxn ang="0">
                <a:pos x="3" y="5"/>
              </a:cxn>
              <a:cxn ang="0">
                <a:pos x="0" y="2"/>
              </a:cxn>
              <a:cxn ang="0">
                <a:pos x="3" y="0"/>
              </a:cxn>
              <a:cxn ang="0">
                <a:pos x="8" y="0"/>
              </a:cxn>
              <a:cxn ang="0">
                <a:pos x="13" y="2"/>
              </a:cxn>
              <a:cxn ang="0">
                <a:pos x="25" y="6"/>
              </a:cxn>
              <a:cxn ang="0">
                <a:pos x="37" y="8"/>
              </a:cxn>
              <a:cxn ang="0">
                <a:pos x="43" y="9"/>
              </a:cxn>
              <a:cxn ang="0">
                <a:pos x="44" y="13"/>
              </a:cxn>
              <a:cxn ang="0">
                <a:pos x="53" y="20"/>
              </a:cxn>
              <a:cxn ang="0">
                <a:pos x="53" y="22"/>
              </a:cxn>
              <a:cxn ang="0">
                <a:pos x="57" y="25"/>
              </a:cxn>
              <a:cxn ang="0">
                <a:pos x="63" y="27"/>
              </a:cxn>
              <a:cxn ang="0">
                <a:pos x="65" y="28"/>
              </a:cxn>
              <a:cxn ang="0">
                <a:pos x="70" y="33"/>
              </a:cxn>
              <a:cxn ang="0">
                <a:pos x="72" y="38"/>
              </a:cxn>
              <a:cxn ang="0">
                <a:pos x="74" y="41"/>
              </a:cxn>
              <a:cxn ang="0">
                <a:pos x="76" y="42"/>
              </a:cxn>
              <a:cxn ang="0">
                <a:pos x="73" y="44"/>
              </a:cxn>
              <a:cxn ang="0">
                <a:pos x="66" y="42"/>
              </a:cxn>
              <a:cxn ang="0">
                <a:pos x="60" y="39"/>
              </a:cxn>
              <a:cxn ang="0">
                <a:pos x="55" y="39"/>
              </a:cxn>
              <a:cxn ang="0">
                <a:pos x="56" y="38"/>
              </a:cxn>
              <a:cxn ang="0">
                <a:pos x="55" y="38"/>
              </a:cxn>
              <a:cxn ang="0">
                <a:pos x="51" y="36"/>
              </a:cxn>
              <a:cxn ang="0">
                <a:pos x="52" y="35"/>
              </a:cxn>
              <a:cxn ang="0">
                <a:pos x="52" y="33"/>
              </a:cxn>
              <a:cxn ang="0">
                <a:pos x="48" y="33"/>
              </a:cxn>
              <a:cxn ang="0">
                <a:pos x="43" y="33"/>
              </a:cxn>
              <a:cxn ang="0">
                <a:pos x="41" y="31"/>
              </a:cxn>
              <a:cxn ang="0">
                <a:pos x="43" y="30"/>
              </a:cxn>
              <a:cxn ang="0">
                <a:pos x="37" y="27"/>
              </a:cxn>
              <a:cxn ang="0">
                <a:pos x="33" y="25"/>
              </a:cxn>
              <a:cxn ang="0">
                <a:pos x="29" y="25"/>
              </a:cxn>
              <a:cxn ang="0">
                <a:pos x="29" y="22"/>
              </a:cxn>
              <a:cxn ang="0">
                <a:pos x="36" y="20"/>
              </a:cxn>
              <a:cxn ang="0">
                <a:pos x="31" y="20"/>
              </a:cxn>
              <a:cxn ang="0">
                <a:pos x="28" y="20"/>
              </a:cxn>
              <a:cxn ang="0">
                <a:pos x="24" y="16"/>
              </a:cxn>
              <a:cxn ang="0">
                <a:pos x="23" y="16"/>
              </a:cxn>
              <a:cxn ang="0">
                <a:pos x="19" y="16"/>
              </a:cxn>
              <a:cxn ang="0">
                <a:pos x="20" y="13"/>
              </a:cxn>
              <a:cxn ang="0">
                <a:pos x="17" y="13"/>
              </a:cxn>
              <a:cxn ang="0">
                <a:pos x="15" y="11"/>
              </a:cxn>
              <a:cxn ang="0">
                <a:pos x="12" y="11"/>
              </a:cxn>
              <a:cxn ang="0">
                <a:pos x="9" y="13"/>
              </a:cxn>
              <a:cxn ang="0">
                <a:pos x="9" y="11"/>
              </a:cxn>
              <a:cxn ang="0">
                <a:pos x="7" y="8"/>
              </a:cxn>
              <a:cxn ang="0">
                <a:pos x="12" y="6"/>
              </a:cxn>
            </a:cxnLst>
            <a:rect l="0" t="0" r="r" b="b"/>
            <a:pathLst>
              <a:path w="76" h="44">
                <a:moveTo>
                  <a:pt x="13" y="8"/>
                </a:moveTo>
                <a:lnTo>
                  <a:pt x="13" y="6"/>
                </a:lnTo>
                <a:lnTo>
                  <a:pt x="13" y="3"/>
                </a:lnTo>
                <a:lnTo>
                  <a:pt x="8" y="3"/>
                </a:lnTo>
                <a:lnTo>
                  <a:pt x="5" y="2"/>
                </a:lnTo>
                <a:lnTo>
                  <a:pt x="5" y="3"/>
                </a:lnTo>
                <a:lnTo>
                  <a:pt x="4" y="5"/>
                </a:lnTo>
                <a:lnTo>
                  <a:pt x="3" y="5"/>
                </a:lnTo>
                <a:lnTo>
                  <a:pt x="0" y="3"/>
                </a:lnTo>
                <a:lnTo>
                  <a:pt x="0" y="2"/>
                </a:lnTo>
                <a:lnTo>
                  <a:pt x="1" y="0"/>
                </a:lnTo>
                <a:lnTo>
                  <a:pt x="3" y="0"/>
                </a:lnTo>
                <a:lnTo>
                  <a:pt x="5" y="0"/>
                </a:lnTo>
                <a:lnTo>
                  <a:pt x="8" y="0"/>
                </a:lnTo>
                <a:lnTo>
                  <a:pt x="11" y="2"/>
                </a:lnTo>
                <a:lnTo>
                  <a:pt x="13" y="2"/>
                </a:lnTo>
                <a:lnTo>
                  <a:pt x="16" y="3"/>
                </a:lnTo>
                <a:lnTo>
                  <a:pt x="25" y="6"/>
                </a:lnTo>
                <a:lnTo>
                  <a:pt x="33" y="8"/>
                </a:lnTo>
                <a:lnTo>
                  <a:pt x="37" y="8"/>
                </a:lnTo>
                <a:lnTo>
                  <a:pt x="41" y="9"/>
                </a:lnTo>
                <a:lnTo>
                  <a:pt x="43" y="9"/>
                </a:lnTo>
                <a:lnTo>
                  <a:pt x="44" y="11"/>
                </a:lnTo>
                <a:lnTo>
                  <a:pt x="44" y="13"/>
                </a:lnTo>
                <a:lnTo>
                  <a:pt x="52" y="20"/>
                </a:lnTo>
                <a:lnTo>
                  <a:pt x="53" y="20"/>
                </a:lnTo>
                <a:lnTo>
                  <a:pt x="52" y="22"/>
                </a:lnTo>
                <a:lnTo>
                  <a:pt x="53" y="22"/>
                </a:lnTo>
                <a:lnTo>
                  <a:pt x="53" y="24"/>
                </a:lnTo>
                <a:lnTo>
                  <a:pt x="57" y="25"/>
                </a:lnTo>
                <a:lnTo>
                  <a:pt x="60" y="27"/>
                </a:lnTo>
                <a:lnTo>
                  <a:pt x="63" y="27"/>
                </a:lnTo>
                <a:lnTo>
                  <a:pt x="64" y="27"/>
                </a:lnTo>
                <a:lnTo>
                  <a:pt x="65" y="28"/>
                </a:lnTo>
                <a:lnTo>
                  <a:pt x="69" y="31"/>
                </a:lnTo>
                <a:lnTo>
                  <a:pt x="70" y="33"/>
                </a:lnTo>
                <a:lnTo>
                  <a:pt x="72" y="36"/>
                </a:lnTo>
                <a:lnTo>
                  <a:pt x="72" y="38"/>
                </a:lnTo>
                <a:lnTo>
                  <a:pt x="73" y="39"/>
                </a:lnTo>
                <a:lnTo>
                  <a:pt x="74" y="41"/>
                </a:lnTo>
                <a:lnTo>
                  <a:pt x="74" y="39"/>
                </a:lnTo>
                <a:lnTo>
                  <a:pt x="76" y="42"/>
                </a:lnTo>
                <a:lnTo>
                  <a:pt x="74" y="44"/>
                </a:lnTo>
                <a:lnTo>
                  <a:pt x="73" y="44"/>
                </a:lnTo>
                <a:lnTo>
                  <a:pt x="72" y="44"/>
                </a:lnTo>
                <a:lnTo>
                  <a:pt x="66" y="42"/>
                </a:lnTo>
                <a:lnTo>
                  <a:pt x="61" y="41"/>
                </a:lnTo>
                <a:lnTo>
                  <a:pt x="60" y="39"/>
                </a:lnTo>
                <a:lnTo>
                  <a:pt x="59" y="41"/>
                </a:lnTo>
                <a:lnTo>
                  <a:pt x="55" y="39"/>
                </a:lnTo>
                <a:lnTo>
                  <a:pt x="55" y="38"/>
                </a:lnTo>
                <a:lnTo>
                  <a:pt x="56" y="38"/>
                </a:lnTo>
                <a:lnTo>
                  <a:pt x="56" y="36"/>
                </a:lnTo>
                <a:lnTo>
                  <a:pt x="55" y="38"/>
                </a:lnTo>
                <a:lnTo>
                  <a:pt x="53" y="38"/>
                </a:lnTo>
                <a:lnTo>
                  <a:pt x="51" y="36"/>
                </a:lnTo>
                <a:lnTo>
                  <a:pt x="49" y="35"/>
                </a:lnTo>
                <a:lnTo>
                  <a:pt x="52" y="35"/>
                </a:lnTo>
                <a:lnTo>
                  <a:pt x="53" y="33"/>
                </a:lnTo>
                <a:lnTo>
                  <a:pt x="52" y="33"/>
                </a:lnTo>
                <a:lnTo>
                  <a:pt x="49" y="31"/>
                </a:lnTo>
                <a:lnTo>
                  <a:pt x="48" y="33"/>
                </a:lnTo>
                <a:lnTo>
                  <a:pt x="47" y="33"/>
                </a:lnTo>
                <a:lnTo>
                  <a:pt x="43" y="33"/>
                </a:lnTo>
                <a:lnTo>
                  <a:pt x="40" y="31"/>
                </a:lnTo>
                <a:lnTo>
                  <a:pt x="41" y="31"/>
                </a:lnTo>
                <a:lnTo>
                  <a:pt x="44" y="31"/>
                </a:lnTo>
                <a:lnTo>
                  <a:pt x="43" y="30"/>
                </a:lnTo>
                <a:lnTo>
                  <a:pt x="40" y="28"/>
                </a:lnTo>
                <a:lnTo>
                  <a:pt x="37" y="27"/>
                </a:lnTo>
                <a:lnTo>
                  <a:pt x="36" y="27"/>
                </a:lnTo>
                <a:lnTo>
                  <a:pt x="33" y="25"/>
                </a:lnTo>
                <a:lnTo>
                  <a:pt x="31" y="25"/>
                </a:lnTo>
                <a:lnTo>
                  <a:pt x="29" y="25"/>
                </a:lnTo>
                <a:lnTo>
                  <a:pt x="28" y="22"/>
                </a:lnTo>
                <a:lnTo>
                  <a:pt x="29" y="22"/>
                </a:lnTo>
                <a:lnTo>
                  <a:pt x="33" y="22"/>
                </a:lnTo>
                <a:lnTo>
                  <a:pt x="36" y="20"/>
                </a:lnTo>
                <a:lnTo>
                  <a:pt x="33" y="20"/>
                </a:lnTo>
                <a:lnTo>
                  <a:pt x="31" y="20"/>
                </a:lnTo>
                <a:lnTo>
                  <a:pt x="29" y="19"/>
                </a:lnTo>
                <a:lnTo>
                  <a:pt x="28" y="20"/>
                </a:lnTo>
                <a:lnTo>
                  <a:pt x="27" y="17"/>
                </a:lnTo>
                <a:lnTo>
                  <a:pt x="24" y="16"/>
                </a:lnTo>
                <a:lnTo>
                  <a:pt x="23" y="17"/>
                </a:lnTo>
                <a:lnTo>
                  <a:pt x="23" y="16"/>
                </a:lnTo>
                <a:lnTo>
                  <a:pt x="20" y="17"/>
                </a:lnTo>
                <a:lnTo>
                  <a:pt x="19" y="16"/>
                </a:lnTo>
                <a:lnTo>
                  <a:pt x="19" y="14"/>
                </a:lnTo>
                <a:lnTo>
                  <a:pt x="20" y="13"/>
                </a:lnTo>
                <a:lnTo>
                  <a:pt x="19" y="13"/>
                </a:lnTo>
                <a:lnTo>
                  <a:pt x="17" y="13"/>
                </a:lnTo>
                <a:lnTo>
                  <a:pt x="16" y="14"/>
                </a:lnTo>
                <a:lnTo>
                  <a:pt x="15" y="11"/>
                </a:lnTo>
                <a:lnTo>
                  <a:pt x="13" y="13"/>
                </a:lnTo>
                <a:lnTo>
                  <a:pt x="12" y="11"/>
                </a:lnTo>
                <a:lnTo>
                  <a:pt x="11" y="13"/>
                </a:lnTo>
                <a:lnTo>
                  <a:pt x="9" y="13"/>
                </a:lnTo>
                <a:lnTo>
                  <a:pt x="8" y="13"/>
                </a:lnTo>
                <a:lnTo>
                  <a:pt x="9" y="11"/>
                </a:lnTo>
                <a:lnTo>
                  <a:pt x="9" y="9"/>
                </a:lnTo>
                <a:lnTo>
                  <a:pt x="7" y="8"/>
                </a:lnTo>
                <a:lnTo>
                  <a:pt x="9" y="6"/>
                </a:lnTo>
                <a:lnTo>
                  <a:pt x="12" y="6"/>
                </a:lnTo>
                <a:lnTo>
                  <a:pt x="13" y="8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27" name="Freeform 627"/>
          <p:cNvSpPr>
            <a:spLocks/>
          </p:cNvSpPr>
          <p:nvPr/>
        </p:nvSpPr>
        <p:spPr bwMode="auto">
          <a:xfrm>
            <a:off x="3821102" y="2583223"/>
            <a:ext cx="79901" cy="27918"/>
          </a:xfrm>
          <a:custGeom>
            <a:avLst/>
            <a:gdLst/>
            <a:ahLst/>
            <a:cxnLst>
              <a:cxn ang="0">
                <a:pos x="9" y="1"/>
              </a:cxn>
              <a:cxn ang="0">
                <a:pos x="13" y="3"/>
              </a:cxn>
              <a:cxn ang="0">
                <a:pos x="17" y="3"/>
              </a:cxn>
              <a:cxn ang="0">
                <a:pos x="27" y="6"/>
              </a:cxn>
              <a:cxn ang="0">
                <a:pos x="33" y="9"/>
              </a:cxn>
              <a:cxn ang="0">
                <a:pos x="35" y="9"/>
              </a:cxn>
              <a:cxn ang="0">
                <a:pos x="37" y="11"/>
              </a:cxn>
              <a:cxn ang="0">
                <a:pos x="38" y="11"/>
              </a:cxn>
              <a:cxn ang="0">
                <a:pos x="39" y="11"/>
              </a:cxn>
              <a:cxn ang="0">
                <a:pos x="39" y="12"/>
              </a:cxn>
              <a:cxn ang="0">
                <a:pos x="41" y="12"/>
              </a:cxn>
              <a:cxn ang="0">
                <a:pos x="41" y="14"/>
              </a:cxn>
              <a:cxn ang="0">
                <a:pos x="38" y="15"/>
              </a:cxn>
              <a:cxn ang="0">
                <a:pos x="33" y="15"/>
              </a:cxn>
              <a:cxn ang="0">
                <a:pos x="29" y="14"/>
              </a:cxn>
              <a:cxn ang="0">
                <a:pos x="25" y="14"/>
              </a:cxn>
              <a:cxn ang="0">
                <a:pos x="22" y="12"/>
              </a:cxn>
              <a:cxn ang="0">
                <a:pos x="18" y="12"/>
              </a:cxn>
              <a:cxn ang="0">
                <a:pos x="15" y="11"/>
              </a:cxn>
              <a:cxn ang="0">
                <a:pos x="13" y="9"/>
              </a:cxn>
              <a:cxn ang="0">
                <a:pos x="11" y="6"/>
              </a:cxn>
              <a:cxn ang="0">
                <a:pos x="1" y="3"/>
              </a:cxn>
              <a:cxn ang="0">
                <a:pos x="0" y="1"/>
              </a:cxn>
              <a:cxn ang="0">
                <a:pos x="0" y="0"/>
              </a:cxn>
              <a:cxn ang="0">
                <a:pos x="4" y="0"/>
              </a:cxn>
              <a:cxn ang="0">
                <a:pos x="6" y="0"/>
              </a:cxn>
              <a:cxn ang="0">
                <a:pos x="9" y="1"/>
              </a:cxn>
            </a:cxnLst>
            <a:rect l="0" t="0" r="r" b="b"/>
            <a:pathLst>
              <a:path w="41" h="15">
                <a:moveTo>
                  <a:pt x="9" y="1"/>
                </a:moveTo>
                <a:lnTo>
                  <a:pt x="13" y="3"/>
                </a:lnTo>
                <a:lnTo>
                  <a:pt x="17" y="3"/>
                </a:lnTo>
                <a:lnTo>
                  <a:pt x="27" y="6"/>
                </a:lnTo>
                <a:lnTo>
                  <a:pt x="33" y="9"/>
                </a:lnTo>
                <a:lnTo>
                  <a:pt x="35" y="9"/>
                </a:lnTo>
                <a:lnTo>
                  <a:pt x="37" y="11"/>
                </a:lnTo>
                <a:lnTo>
                  <a:pt x="38" y="11"/>
                </a:lnTo>
                <a:lnTo>
                  <a:pt x="39" y="11"/>
                </a:lnTo>
                <a:lnTo>
                  <a:pt x="39" y="12"/>
                </a:lnTo>
                <a:lnTo>
                  <a:pt x="41" y="12"/>
                </a:lnTo>
                <a:lnTo>
                  <a:pt x="41" y="14"/>
                </a:lnTo>
                <a:lnTo>
                  <a:pt x="38" y="15"/>
                </a:lnTo>
                <a:lnTo>
                  <a:pt x="33" y="15"/>
                </a:lnTo>
                <a:lnTo>
                  <a:pt x="29" y="14"/>
                </a:lnTo>
                <a:lnTo>
                  <a:pt x="25" y="14"/>
                </a:lnTo>
                <a:lnTo>
                  <a:pt x="22" y="12"/>
                </a:lnTo>
                <a:lnTo>
                  <a:pt x="18" y="12"/>
                </a:lnTo>
                <a:lnTo>
                  <a:pt x="15" y="11"/>
                </a:lnTo>
                <a:lnTo>
                  <a:pt x="13" y="9"/>
                </a:lnTo>
                <a:lnTo>
                  <a:pt x="11" y="6"/>
                </a:lnTo>
                <a:lnTo>
                  <a:pt x="1" y="3"/>
                </a:lnTo>
                <a:lnTo>
                  <a:pt x="0" y="1"/>
                </a:lnTo>
                <a:lnTo>
                  <a:pt x="0" y="0"/>
                </a:lnTo>
                <a:lnTo>
                  <a:pt x="4" y="0"/>
                </a:lnTo>
                <a:lnTo>
                  <a:pt x="6" y="0"/>
                </a:lnTo>
                <a:lnTo>
                  <a:pt x="9" y="1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28" name="Freeform 628"/>
          <p:cNvSpPr>
            <a:spLocks/>
          </p:cNvSpPr>
          <p:nvPr/>
        </p:nvSpPr>
        <p:spPr bwMode="auto">
          <a:xfrm>
            <a:off x="3821102" y="2583223"/>
            <a:ext cx="79901" cy="27918"/>
          </a:xfrm>
          <a:custGeom>
            <a:avLst/>
            <a:gdLst/>
            <a:ahLst/>
            <a:cxnLst>
              <a:cxn ang="0">
                <a:pos x="9" y="1"/>
              </a:cxn>
              <a:cxn ang="0">
                <a:pos x="13" y="3"/>
              </a:cxn>
              <a:cxn ang="0">
                <a:pos x="17" y="3"/>
              </a:cxn>
              <a:cxn ang="0">
                <a:pos x="27" y="6"/>
              </a:cxn>
              <a:cxn ang="0">
                <a:pos x="33" y="9"/>
              </a:cxn>
              <a:cxn ang="0">
                <a:pos x="35" y="9"/>
              </a:cxn>
              <a:cxn ang="0">
                <a:pos x="37" y="11"/>
              </a:cxn>
              <a:cxn ang="0">
                <a:pos x="38" y="11"/>
              </a:cxn>
              <a:cxn ang="0">
                <a:pos x="39" y="11"/>
              </a:cxn>
              <a:cxn ang="0">
                <a:pos x="39" y="12"/>
              </a:cxn>
              <a:cxn ang="0">
                <a:pos x="41" y="12"/>
              </a:cxn>
              <a:cxn ang="0">
                <a:pos x="41" y="14"/>
              </a:cxn>
              <a:cxn ang="0">
                <a:pos x="38" y="15"/>
              </a:cxn>
              <a:cxn ang="0">
                <a:pos x="33" y="15"/>
              </a:cxn>
              <a:cxn ang="0">
                <a:pos x="29" y="14"/>
              </a:cxn>
              <a:cxn ang="0">
                <a:pos x="25" y="14"/>
              </a:cxn>
              <a:cxn ang="0">
                <a:pos x="22" y="12"/>
              </a:cxn>
              <a:cxn ang="0">
                <a:pos x="18" y="12"/>
              </a:cxn>
              <a:cxn ang="0">
                <a:pos x="15" y="11"/>
              </a:cxn>
              <a:cxn ang="0">
                <a:pos x="13" y="9"/>
              </a:cxn>
              <a:cxn ang="0">
                <a:pos x="11" y="6"/>
              </a:cxn>
              <a:cxn ang="0">
                <a:pos x="1" y="3"/>
              </a:cxn>
              <a:cxn ang="0">
                <a:pos x="0" y="1"/>
              </a:cxn>
              <a:cxn ang="0">
                <a:pos x="0" y="0"/>
              </a:cxn>
              <a:cxn ang="0">
                <a:pos x="4" y="0"/>
              </a:cxn>
              <a:cxn ang="0">
                <a:pos x="6" y="0"/>
              </a:cxn>
              <a:cxn ang="0">
                <a:pos x="9" y="1"/>
              </a:cxn>
            </a:cxnLst>
            <a:rect l="0" t="0" r="r" b="b"/>
            <a:pathLst>
              <a:path w="41" h="15">
                <a:moveTo>
                  <a:pt x="9" y="1"/>
                </a:moveTo>
                <a:lnTo>
                  <a:pt x="13" y="3"/>
                </a:lnTo>
                <a:lnTo>
                  <a:pt x="17" y="3"/>
                </a:lnTo>
                <a:lnTo>
                  <a:pt x="27" y="6"/>
                </a:lnTo>
                <a:lnTo>
                  <a:pt x="33" y="9"/>
                </a:lnTo>
                <a:lnTo>
                  <a:pt x="35" y="9"/>
                </a:lnTo>
                <a:lnTo>
                  <a:pt x="37" y="11"/>
                </a:lnTo>
                <a:lnTo>
                  <a:pt x="38" y="11"/>
                </a:lnTo>
                <a:lnTo>
                  <a:pt x="39" y="11"/>
                </a:lnTo>
                <a:lnTo>
                  <a:pt x="39" y="12"/>
                </a:lnTo>
                <a:lnTo>
                  <a:pt x="41" y="12"/>
                </a:lnTo>
                <a:lnTo>
                  <a:pt x="41" y="14"/>
                </a:lnTo>
                <a:lnTo>
                  <a:pt x="38" y="15"/>
                </a:lnTo>
                <a:lnTo>
                  <a:pt x="33" y="15"/>
                </a:lnTo>
                <a:lnTo>
                  <a:pt x="29" y="14"/>
                </a:lnTo>
                <a:lnTo>
                  <a:pt x="25" y="14"/>
                </a:lnTo>
                <a:lnTo>
                  <a:pt x="22" y="12"/>
                </a:lnTo>
                <a:lnTo>
                  <a:pt x="18" y="12"/>
                </a:lnTo>
                <a:lnTo>
                  <a:pt x="15" y="11"/>
                </a:lnTo>
                <a:lnTo>
                  <a:pt x="13" y="9"/>
                </a:lnTo>
                <a:lnTo>
                  <a:pt x="11" y="6"/>
                </a:lnTo>
                <a:lnTo>
                  <a:pt x="1" y="3"/>
                </a:lnTo>
                <a:lnTo>
                  <a:pt x="0" y="1"/>
                </a:lnTo>
                <a:lnTo>
                  <a:pt x="0" y="0"/>
                </a:lnTo>
                <a:lnTo>
                  <a:pt x="4" y="0"/>
                </a:lnTo>
                <a:lnTo>
                  <a:pt x="6" y="0"/>
                </a:lnTo>
                <a:lnTo>
                  <a:pt x="9" y="1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29" name="Freeform 629"/>
          <p:cNvSpPr>
            <a:spLocks/>
          </p:cNvSpPr>
          <p:nvPr/>
        </p:nvSpPr>
        <p:spPr bwMode="auto">
          <a:xfrm>
            <a:off x="4054959" y="2679864"/>
            <a:ext cx="1949" cy="1288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0" y="6"/>
              </a:cxn>
              <a:cxn ang="0">
                <a:pos x="1" y="5"/>
              </a:cxn>
              <a:cxn ang="0">
                <a:pos x="1" y="2"/>
              </a:cxn>
              <a:cxn ang="0">
                <a:pos x="0" y="0"/>
              </a:cxn>
            </a:cxnLst>
            <a:rect l="0" t="0" r="r" b="b"/>
            <a:pathLst>
              <a:path w="1" h="6">
                <a:moveTo>
                  <a:pt x="0" y="0"/>
                </a:moveTo>
                <a:lnTo>
                  <a:pt x="0" y="2"/>
                </a:lnTo>
                <a:lnTo>
                  <a:pt x="0" y="6"/>
                </a:lnTo>
                <a:lnTo>
                  <a:pt x="1" y="5"/>
                </a:lnTo>
                <a:lnTo>
                  <a:pt x="1" y="2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30" name="Freeform 630"/>
          <p:cNvSpPr>
            <a:spLocks/>
          </p:cNvSpPr>
          <p:nvPr/>
        </p:nvSpPr>
        <p:spPr bwMode="auto">
          <a:xfrm>
            <a:off x="4054959" y="2679864"/>
            <a:ext cx="1949" cy="1288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0" y="6"/>
              </a:cxn>
              <a:cxn ang="0">
                <a:pos x="1" y="5"/>
              </a:cxn>
              <a:cxn ang="0">
                <a:pos x="1" y="2"/>
              </a:cxn>
              <a:cxn ang="0">
                <a:pos x="0" y="0"/>
              </a:cxn>
            </a:cxnLst>
            <a:rect l="0" t="0" r="r" b="b"/>
            <a:pathLst>
              <a:path w="1" h="6">
                <a:moveTo>
                  <a:pt x="0" y="0"/>
                </a:moveTo>
                <a:lnTo>
                  <a:pt x="0" y="2"/>
                </a:lnTo>
                <a:lnTo>
                  <a:pt x="0" y="6"/>
                </a:lnTo>
                <a:lnTo>
                  <a:pt x="1" y="5"/>
                </a:lnTo>
                <a:lnTo>
                  <a:pt x="1" y="2"/>
                </a:lnTo>
                <a:lnTo>
                  <a:pt x="0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31" name="Freeform 631"/>
          <p:cNvSpPr>
            <a:spLocks/>
          </p:cNvSpPr>
          <p:nvPr/>
        </p:nvSpPr>
        <p:spPr bwMode="auto">
          <a:xfrm>
            <a:off x="3748997" y="2763621"/>
            <a:ext cx="5846" cy="8591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0" y="2"/>
              </a:cxn>
              <a:cxn ang="0">
                <a:pos x="0" y="4"/>
              </a:cxn>
              <a:cxn ang="0">
                <a:pos x="2" y="2"/>
              </a:cxn>
              <a:cxn ang="0">
                <a:pos x="3" y="0"/>
              </a:cxn>
              <a:cxn ang="0">
                <a:pos x="2" y="0"/>
              </a:cxn>
            </a:cxnLst>
            <a:rect l="0" t="0" r="r" b="b"/>
            <a:pathLst>
              <a:path w="3" h="4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2" y="2"/>
                </a:lnTo>
                <a:lnTo>
                  <a:pt x="3" y="0"/>
                </a:lnTo>
                <a:lnTo>
                  <a:pt x="2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32" name="Freeform 632"/>
          <p:cNvSpPr>
            <a:spLocks/>
          </p:cNvSpPr>
          <p:nvPr/>
        </p:nvSpPr>
        <p:spPr bwMode="auto">
          <a:xfrm>
            <a:off x="3748997" y="2763621"/>
            <a:ext cx="5846" cy="8591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0" y="2"/>
              </a:cxn>
              <a:cxn ang="0">
                <a:pos x="0" y="4"/>
              </a:cxn>
              <a:cxn ang="0">
                <a:pos x="2" y="2"/>
              </a:cxn>
              <a:cxn ang="0">
                <a:pos x="3" y="0"/>
              </a:cxn>
              <a:cxn ang="0">
                <a:pos x="2" y="0"/>
              </a:cxn>
            </a:cxnLst>
            <a:rect l="0" t="0" r="r" b="b"/>
            <a:pathLst>
              <a:path w="3" h="4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2" y="2"/>
                </a:lnTo>
                <a:lnTo>
                  <a:pt x="3" y="0"/>
                </a:lnTo>
                <a:lnTo>
                  <a:pt x="2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33" name="Freeform 633"/>
          <p:cNvSpPr>
            <a:spLocks/>
          </p:cNvSpPr>
          <p:nvPr/>
        </p:nvSpPr>
        <p:spPr bwMode="auto">
          <a:xfrm>
            <a:off x="3969212" y="2520941"/>
            <a:ext cx="189036" cy="176104"/>
          </a:xfrm>
          <a:custGeom>
            <a:avLst/>
            <a:gdLst/>
            <a:ahLst/>
            <a:cxnLst>
              <a:cxn ang="0">
                <a:pos x="40" y="5"/>
              </a:cxn>
              <a:cxn ang="0">
                <a:pos x="38" y="9"/>
              </a:cxn>
              <a:cxn ang="0">
                <a:pos x="34" y="13"/>
              </a:cxn>
              <a:cxn ang="0">
                <a:pos x="30" y="16"/>
              </a:cxn>
              <a:cxn ang="0">
                <a:pos x="29" y="20"/>
              </a:cxn>
              <a:cxn ang="0">
                <a:pos x="25" y="28"/>
              </a:cxn>
              <a:cxn ang="0">
                <a:pos x="22" y="38"/>
              </a:cxn>
              <a:cxn ang="0">
                <a:pos x="17" y="42"/>
              </a:cxn>
              <a:cxn ang="0">
                <a:pos x="20" y="45"/>
              </a:cxn>
              <a:cxn ang="0">
                <a:pos x="9" y="55"/>
              </a:cxn>
              <a:cxn ang="0">
                <a:pos x="2" y="55"/>
              </a:cxn>
              <a:cxn ang="0">
                <a:pos x="12" y="56"/>
              </a:cxn>
              <a:cxn ang="0">
                <a:pos x="0" y="67"/>
              </a:cxn>
              <a:cxn ang="0">
                <a:pos x="5" y="72"/>
              </a:cxn>
              <a:cxn ang="0">
                <a:pos x="25" y="71"/>
              </a:cxn>
              <a:cxn ang="0">
                <a:pos x="38" y="72"/>
              </a:cxn>
              <a:cxn ang="0">
                <a:pos x="49" y="69"/>
              </a:cxn>
              <a:cxn ang="0">
                <a:pos x="53" y="72"/>
              </a:cxn>
              <a:cxn ang="0">
                <a:pos x="51" y="74"/>
              </a:cxn>
              <a:cxn ang="0">
                <a:pos x="61" y="71"/>
              </a:cxn>
              <a:cxn ang="0">
                <a:pos x="67" y="72"/>
              </a:cxn>
              <a:cxn ang="0">
                <a:pos x="58" y="80"/>
              </a:cxn>
              <a:cxn ang="0">
                <a:pos x="51" y="85"/>
              </a:cxn>
              <a:cxn ang="0">
                <a:pos x="61" y="83"/>
              </a:cxn>
              <a:cxn ang="0">
                <a:pos x="73" y="75"/>
              </a:cxn>
              <a:cxn ang="0">
                <a:pos x="79" y="69"/>
              </a:cxn>
              <a:cxn ang="0">
                <a:pos x="79" y="82"/>
              </a:cxn>
              <a:cxn ang="0">
                <a:pos x="86" y="80"/>
              </a:cxn>
              <a:cxn ang="0">
                <a:pos x="86" y="85"/>
              </a:cxn>
              <a:cxn ang="0">
                <a:pos x="90" y="88"/>
              </a:cxn>
              <a:cxn ang="0">
                <a:pos x="97" y="78"/>
              </a:cxn>
              <a:cxn ang="0">
                <a:pos x="98" y="69"/>
              </a:cxn>
              <a:cxn ang="0">
                <a:pos x="93" y="71"/>
              </a:cxn>
              <a:cxn ang="0">
                <a:pos x="97" y="63"/>
              </a:cxn>
              <a:cxn ang="0">
                <a:pos x="89" y="67"/>
              </a:cxn>
              <a:cxn ang="0">
                <a:pos x="83" y="71"/>
              </a:cxn>
              <a:cxn ang="0">
                <a:pos x="85" y="64"/>
              </a:cxn>
              <a:cxn ang="0">
                <a:pos x="87" y="60"/>
              </a:cxn>
              <a:cxn ang="0">
                <a:pos x="94" y="55"/>
              </a:cxn>
              <a:cxn ang="0">
                <a:pos x="85" y="55"/>
              </a:cxn>
              <a:cxn ang="0">
                <a:pos x="81" y="55"/>
              </a:cxn>
              <a:cxn ang="0">
                <a:pos x="81" y="50"/>
              </a:cxn>
              <a:cxn ang="0">
                <a:pos x="87" y="42"/>
              </a:cxn>
              <a:cxn ang="0">
                <a:pos x="81" y="39"/>
              </a:cxn>
              <a:cxn ang="0">
                <a:pos x="62" y="42"/>
              </a:cxn>
              <a:cxn ang="0">
                <a:pos x="59" y="38"/>
              </a:cxn>
              <a:cxn ang="0">
                <a:pos x="51" y="38"/>
              </a:cxn>
              <a:cxn ang="0">
                <a:pos x="53" y="33"/>
              </a:cxn>
              <a:cxn ang="0">
                <a:pos x="49" y="30"/>
              </a:cxn>
              <a:cxn ang="0">
                <a:pos x="43" y="31"/>
              </a:cxn>
              <a:cxn ang="0">
                <a:pos x="37" y="33"/>
              </a:cxn>
              <a:cxn ang="0">
                <a:pos x="42" y="25"/>
              </a:cxn>
              <a:cxn ang="0">
                <a:pos x="47" y="17"/>
              </a:cxn>
              <a:cxn ang="0">
                <a:pos x="47" y="14"/>
              </a:cxn>
              <a:cxn ang="0">
                <a:pos x="50" y="6"/>
              </a:cxn>
              <a:cxn ang="0">
                <a:pos x="57" y="2"/>
              </a:cxn>
              <a:cxn ang="0">
                <a:pos x="53" y="2"/>
              </a:cxn>
            </a:cxnLst>
            <a:rect l="0" t="0" r="r" b="b"/>
            <a:pathLst>
              <a:path w="99" h="89">
                <a:moveTo>
                  <a:pt x="46" y="3"/>
                </a:moveTo>
                <a:lnTo>
                  <a:pt x="43" y="3"/>
                </a:lnTo>
                <a:lnTo>
                  <a:pt x="40" y="5"/>
                </a:lnTo>
                <a:lnTo>
                  <a:pt x="40" y="6"/>
                </a:lnTo>
                <a:lnTo>
                  <a:pt x="38" y="8"/>
                </a:lnTo>
                <a:lnTo>
                  <a:pt x="38" y="9"/>
                </a:lnTo>
                <a:lnTo>
                  <a:pt x="37" y="9"/>
                </a:lnTo>
                <a:lnTo>
                  <a:pt x="34" y="11"/>
                </a:lnTo>
                <a:lnTo>
                  <a:pt x="34" y="13"/>
                </a:lnTo>
                <a:lnTo>
                  <a:pt x="34" y="14"/>
                </a:lnTo>
                <a:lnTo>
                  <a:pt x="33" y="16"/>
                </a:lnTo>
                <a:lnTo>
                  <a:pt x="30" y="16"/>
                </a:lnTo>
                <a:lnTo>
                  <a:pt x="29" y="17"/>
                </a:lnTo>
                <a:lnTo>
                  <a:pt x="32" y="19"/>
                </a:lnTo>
                <a:lnTo>
                  <a:pt x="29" y="20"/>
                </a:lnTo>
                <a:lnTo>
                  <a:pt x="28" y="25"/>
                </a:lnTo>
                <a:lnTo>
                  <a:pt x="30" y="27"/>
                </a:lnTo>
                <a:lnTo>
                  <a:pt x="25" y="28"/>
                </a:lnTo>
                <a:lnTo>
                  <a:pt x="22" y="34"/>
                </a:lnTo>
                <a:lnTo>
                  <a:pt x="22" y="36"/>
                </a:lnTo>
                <a:lnTo>
                  <a:pt x="22" y="38"/>
                </a:lnTo>
                <a:lnTo>
                  <a:pt x="20" y="38"/>
                </a:lnTo>
                <a:lnTo>
                  <a:pt x="17" y="41"/>
                </a:lnTo>
                <a:lnTo>
                  <a:pt x="17" y="42"/>
                </a:lnTo>
                <a:lnTo>
                  <a:pt x="20" y="44"/>
                </a:lnTo>
                <a:lnTo>
                  <a:pt x="18" y="44"/>
                </a:lnTo>
                <a:lnTo>
                  <a:pt x="20" y="45"/>
                </a:lnTo>
                <a:lnTo>
                  <a:pt x="14" y="45"/>
                </a:lnTo>
                <a:lnTo>
                  <a:pt x="10" y="53"/>
                </a:lnTo>
                <a:lnTo>
                  <a:pt x="9" y="55"/>
                </a:lnTo>
                <a:lnTo>
                  <a:pt x="8" y="53"/>
                </a:lnTo>
                <a:lnTo>
                  <a:pt x="5" y="53"/>
                </a:lnTo>
                <a:lnTo>
                  <a:pt x="2" y="55"/>
                </a:lnTo>
                <a:lnTo>
                  <a:pt x="2" y="56"/>
                </a:lnTo>
                <a:lnTo>
                  <a:pt x="9" y="55"/>
                </a:lnTo>
                <a:lnTo>
                  <a:pt x="12" y="56"/>
                </a:lnTo>
                <a:lnTo>
                  <a:pt x="13" y="58"/>
                </a:lnTo>
                <a:lnTo>
                  <a:pt x="5" y="63"/>
                </a:lnTo>
                <a:lnTo>
                  <a:pt x="0" y="67"/>
                </a:lnTo>
                <a:lnTo>
                  <a:pt x="0" y="71"/>
                </a:lnTo>
                <a:lnTo>
                  <a:pt x="1" y="72"/>
                </a:lnTo>
                <a:lnTo>
                  <a:pt x="5" y="72"/>
                </a:lnTo>
                <a:lnTo>
                  <a:pt x="10" y="72"/>
                </a:lnTo>
                <a:lnTo>
                  <a:pt x="18" y="71"/>
                </a:lnTo>
                <a:lnTo>
                  <a:pt x="25" y="71"/>
                </a:lnTo>
                <a:lnTo>
                  <a:pt x="28" y="71"/>
                </a:lnTo>
                <a:lnTo>
                  <a:pt x="30" y="72"/>
                </a:lnTo>
                <a:lnTo>
                  <a:pt x="38" y="72"/>
                </a:lnTo>
                <a:lnTo>
                  <a:pt x="42" y="72"/>
                </a:lnTo>
                <a:lnTo>
                  <a:pt x="47" y="71"/>
                </a:lnTo>
                <a:lnTo>
                  <a:pt x="49" y="69"/>
                </a:lnTo>
                <a:lnTo>
                  <a:pt x="53" y="67"/>
                </a:lnTo>
                <a:lnTo>
                  <a:pt x="53" y="71"/>
                </a:lnTo>
                <a:lnTo>
                  <a:pt x="53" y="72"/>
                </a:lnTo>
                <a:lnTo>
                  <a:pt x="49" y="72"/>
                </a:lnTo>
                <a:lnTo>
                  <a:pt x="47" y="74"/>
                </a:lnTo>
                <a:lnTo>
                  <a:pt x="51" y="74"/>
                </a:lnTo>
                <a:lnTo>
                  <a:pt x="51" y="75"/>
                </a:lnTo>
                <a:lnTo>
                  <a:pt x="58" y="74"/>
                </a:lnTo>
                <a:lnTo>
                  <a:pt x="61" y="71"/>
                </a:lnTo>
                <a:lnTo>
                  <a:pt x="62" y="72"/>
                </a:lnTo>
                <a:lnTo>
                  <a:pt x="66" y="72"/>
                </a:lnTo>
                <a:lnTo>
                  <a:pt x="67" y="72"/>
                </a:lnTo>
                <a:lnTo>
                  <a:pt x="65" y="74"/>
                </a:lnTo>
                <a:lnTo>
                  <a:pt x="61" y="77"/>
                </a:lnTo>
                <a:lnTo>
                  <a:pt x="58" y="80"/>
                </a:lnTo>
                <a:lnTo>
                  <a:pt x="54" y="82"/>
                </a:lnTo>
                <a:lnTo>
                  <a:pt x="51" y="82"/>
                </a:lnTo>
                <a:lnTo>
                  <a:pt x="51" y="85"/>
                </a:lnTo>
                <a:lnTo>
                  <a:pt x="54" y="85"/>
                </a:lnTo>
                <a:lnTo>
                  <a:pt x="58" y="85"/>
                </a:lnTo>
                <a:lnTo>
                  <a:pt x="61" y="83"/>
                </a:lnTo>
                <a:lnTo>
                  <a:pt x="63" y="80"/>
                </a:lnTo>
                <a:lnTo>
                  <a:pt x="67" y="77"/>
                </a:lnTo>
                <a:lnTo>
                  <a:pt x="73" y="75"/>
                </a:lnTo>
                <a:lnTo>
                  <a:pt x="77" y="66"/>
                </a:lnTo>
                <a:lnTo>
                  <a:pt x="79" y="66"/>
                </a:lnTo>
                <a:lnTo>
                  <a:pt x="79" y="69"/>
                </a:lnTo>
                <a:lnTo>
                  <a:pt x="81" y="72"/>
                </a:lnTo>
                <a:lnTo>
                  <a:pt x="81" y="77"/>
                </a:lnTo>
                <a:lnTo>
                  <a:pt x="79" y="82"/>
                </a:lnTo>
                <a:lnTo>
                  <a:pt x="78" y="85"/>
                </a:lnTo>
                <a:lnTo>
                  <a:pt x="81" y="86"/>
                </a:lnTo>
                <a:lnTo>
                  <a:pt x="86" y="80"/>
                </a:lnTo>
                <a:lnTo>
                  <a:pt x="87" y="80"/>
                </a:lnTo>
                <a:lnTo>
                  <a:pt x="86" y="83"/>
                </a:lnTo>
                <a:lnTo>
                  <a:pt x="86" y="85"/>
                </a:lnTo>
                <a:lnTo>
                  <a:pt x="86" y="88"/>
                </a:lnTo>
                <a:lnTo>
                  <a:pt x="87" y="89"/>
                </a:lnTo>
                <a:lnTo>
                  <a:pt x="90" y="88"/>
                </a:lnTo>
                <a:lnTo>
                  <a:pt x="94" y="88"/>
                </a:lnTo>
                <a:lnTo>
                  <a:pt x="95" y="85"/>
                </a:lnTo>
                <a:lnTo>
                  <a:pt x="97" y="78"/>
                </a:lnTo>
                <a:lnTo>
                  <a:pt x="99" y="75"/>
                </a:lnTo>
                <a:lnTo>
                  <a:pt x="99" y="71"/>
                </a:lnTo>
                <a:lnTo>
                  <a:pt x="98" y="69"/>
                </a:lnTo>
                <a:lnTo>
                  <a:pt x="94" y="75"/>
                </a:lnTo>
                <a:lnTo>
                  <a:pt x="93" y="74"/>
                </a:lnTo>
                <a:lnTo>
                  <a:pt x="93" y="71"/>
                </a:lnTo>
                <a:lnTo>
                  <a:pt x="94" y="66"/>
                </a:lnTo>
                <a:lnTo>
                  <a:pt x="95" y="64"/>
                </a:lnTo>
                <a:lnTo>
                  <a:pt x="97" y="63"/>
                </a:lnTo>
                <a:lnTo>
                  <a:pt x="97" y="61"/>
                </a:lnTo>
                <a:lnTo>
                  <a:pt x="91" y="64"/>
                </a:lnTo>
                <a:lnTo>
                  <a:pt x="89" y="67"/>
                </a:lnTo>
                <a:lnTo>
                  <a:pt x="87" y="71"/>
                </a:lnTo>
                <a:lnTo>
                  <a:pt x="86" y="71"/>
                </a:lnTo>
                <a:lnTo>
                  <a:pt x="83" y="71"/>
                </a:lnTo>
                <a:lnTo>
                  <a:pt x="83" y="69"/>
                </a:lnTo>
                <a:lnTo>
                  <a:pt x="83" y="67"/>
                </a:lnTo>
                <a:lnTo>
                  <a:pt x="85" y="64"/>
                </a:lnTo>
                <a:lnTo>
                  <a:pt x="83" y="63"/>
                </a:lnTo>
                <a:lnTo>
                  <a:pt x="82" y="61"/>
                </a:lnTo>
                <a:lnTo>
                  <a:pt x="87" y="60"/>
                </a:lnTo>
                <a:lnTo>
                  <a:pt x="89" y="58"/>
                </a:lnTo>
                <a:lnTo>
                  <a:pt x="91" y="56"/>
                </a:lnTo>
                <a:lnTo>
                  <a:pt x="94" y="55"/>
                </a:lnTo>
                <a:lnTo>
                  <a:pt x="93" y="53"/>
                </a:lnTo>
                <a:lnTo>
                  <a:pt x="86" y="56"/>
                </a:lnTo>
                <a:lnTo>
                  <a:pt x="85" y="55"/>
                </a:lnTo>
                <a:lnTo>
                  <a:pt x="81" y="56"/>
                </a:lnTo>
                <a:lnTo>
                  <a:pt x="79" y="56"/>
                </a:lnTo>
                <a:lnTo>
                  <a:pt x="81" y="55"/>
                </a:lnTo>
                <a:lnTo>
                  <a:pt x="83" y="52"/>
                </a:lnTo>
                <a:lnTo>
                  <a:pt x="82" y="50"/>
                </a:lnTo>
                <a:lnTo>
                  <a:pt x="81" y="50"/>
                </a:lnTo>
                <a:lnTo>
                  <a:pt x="82" y="47"/>
                </a:lnTo>
                <a:lnTo>
                  <a:pt x="85" y="45"/>
                </a:lnTo>
                <a:lnTo>
                  <a:pt x="87" y="42"/>
                </a:lnTo>
                <a:lnTo>
                  <a:pt x="87" y="41"/>
                </a:lnTo>
                <a:lnTo>
                  <a:pt x="86" y="41"/>
                </a:lnTo>
                <a:lnTo>
                  <a:pt x="81" y="39"/>
                </a:lnTo>
                <a:lnTo>
                  <a:pt x="75" y="39"/>
                </a:lnTo>
                <a:lnTo>
                  <a:pt x="73" y="38"/>
                </a:lnTo>
                <a:lnTo>
                  <a:pt x="62" y="42"/>
                </a:lnTo>
                <a:lnTo>
                  <a:pt x="59" y="42"/>
                </a:lnTo>
                <a:lnTo>
                  <a:pt x="62" y="38"/>
                </a:lnTo>
                <a:lnTo>
                  <a:pt x="59" y="38"/>
                </a:lnTo>
                <a:lnTo>
                  <a:pt x="59" y="39"/>
                </a:lnTo>
                <a:lnTo>
                  <a:pt x="57" y="39"/>
                </a:lnTo>
                <a:lnTo>
                  <a:pt x="51" y="38"/>
                </a:lnTo>
                <a:lnTo>
                  <a:pt x="51" y="36"/>
                </a:lnTo>
                <a:lnTo>
                  <a:pt x="49" y="34"/>
                </a:lnTo>
                <a:lnTo>
                  <a:pt x="53" y="33"/>
                </a:lnTo>
                <a:lnTo>
                  <a:pt x="57" y="31"/>
                </a:lnTo>
                <a:lnTo>
                  <a:pt x="55" y="30"/>
                </a:lnTo>
                <a:lnTo>
                  <a:pt x="49" y="30"/>
                </a:lnTo>
                <a:lnTo>
                  <a:pt x="49" y="27"/>
                </a:lnTo>
                <a:lnTo>
                  <a:pt x="47" y="27"/>
                </a:lnTo>
                <a:lnTo>
                  <a:pt x="43" y="31"/>
                </a:lnTo>
                <a:lnTo>
                  <a:pt x="41" y="33"/>
                </a:lnTo>
                <a:lnTo>
                  <a:pt x="38" y="36"/>
                </a:lnTo>
                <a:lnTo>
                  <a:pt x="37" y="33"/>
                </a:lnTo>
                <a:lnTo>
                  <a:pt x="38" y="31"/>
                </a:lnTo>
                <a:lnTo>
                  <a:pt x="38" y="28"/>
                </a:lnTo>
                <a:lnTo>
                  <a:pt x="42" y="25"/>
                </a:lnTo>
                <a:lnTo>
                  <a:pt x="43" y="22"/>
                </a:lnTo>
                <a:lnTo>
                  <a:pt x="46" y="19"/>
                </a:lnTo>
                <a:lnTo>
                  <a:pt x="47" y="17"/>
                </a:lnTo>
                <a:lnTo>
                  <a:pt x="46" y="16"/>
                </a:lnTo>
                <a:lnTo>
                  <a:pt x="47" y="13"/>
                </a:lnTo>
                <a:lnTo>
                  <a:pt x="47" y="14"/>
                </a:lnTo>
                <a:lnTo>
                  <a:pt x="51" y="14"/>
                </a:lnTo>
                <a:lnTo>
                  <a:pt x="53" y="9"/>
                </a:lnTo>
                <a:lnTo>
                  <a:pt x="50" y="6"/>
                </a:lnTo>
                <a:lnTo>
                  <a:pt x="51" y="5"/>
                </a:lnTo>
                <a:lnTo>
                  <a:pt x="54" y="5"/>
                </a:lnTo>
                <a:lnTo>
                  <a:pt x="57" y="2"/>
                </a:lnTo>
                <a:lnTo>
                  <a:pt x="57" y="0"/>
                </a:lnTo>
                <a:lnTo>
                  <a:pt x="54" y="2"/>
                </a:lnTo>
                <a:lnTo>
                  <a:pt x="53" y="2"/>
                </a:lnTo>
                <a:lnTo>
                  <a:pt x="50" y="2"/>
                </a:lnTo>
                <a:lnTo>
                  <a:pt x="46" y="3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34" name="Freeform 634"/>
          <p:cNvSpPr>
            <a:spLocks/>
          </p:cNvSpPr>
          <p:nvPr/>
        </p:nvSpPr>
        <p:spPr bwMode="auto">
          <a:xfrm>
            <a:off x="3969212" y="2520941"/>
            <a:ext cx="189036" cy="176104"/>
          </a:xfrm>
          <a:custGeom>
            <a:avLst/>
            <a:gdLst/>
            <a:ahLst/>
            <a:cxnLst>
              <a:cxn ang="0">
                <a:pos x="40" y="5"/>
              </a:cxn>
              <a:cxn ang="0">
                <a:pos x="38" y="9"/>
              </a:cxn>
              <a:cxn ang="0">
                <a:pos x="34" y="13"/>
              </a:cxn>
              <a:cxn ang="0">
                <a:pos x="30" y="16"/>
              </a:cxn>
              <a:cxn ang="0">
                <a:pos x="29" y="20"/>
              </a:cxn>
              <a:cxn ang="0">
                <a:pos x="25" y="28"/>
              </a:cxn>
              <a:cxn ang="0">
                <a:pos x="22" y="38"/>
              </a:cxn>
              <a:cxn ang="0">
                <a:pos x="17" y="42"/>
              </a:cxn>
              <a:cxn ang="0">
                <a:pos x="20" y="45"/>
              </a:cxn>
              <a:cxn ang="0">
                <a:pos x="9" y="55"/>
              </a:cxn>
              <a:cxn ang="0">
                <a:pos x="2" y="55"/>
              </a:cxn>
              <a:cxn ang="0">
                <a:pos x="12" y="56"/>
              </a:cxn>
              <a:cxn ang="0">
                <a:pos x="0" y="67"/>
              </a:cxn>
              <a:cxn ang="0">
                <a:pos x="5" y="72"/>
              </a:cxn>
              <a:cxn ang="0">
                <a:pos x="25" y="71"/>
              </a:cxn>
              <a:cxn ang="0">
                <a:pos x="38" y="72"/>
              </a:cxn>
              <a:cxn ang="0">
                <a:pos x="49" y="69"/>
              </a:cxn>
              <a:cxn ang="0">
                <a:pos x="53" y="72"/>
              </a:cxn>
              <a:cxn ang="0">
                <a:pos x="51" y="74"/>
              </a:cxn>
              <a:cxn ang="0">
                <a:pos x="61" y="71"/>
              </a:cxn>
              <a:cxn ang="0">
                <a:pos x="67" y="72"/>
              </a:cxn>
              <a:cxn ang="0">
                <a:pos x="58" y="80"/>
              </a:cxn>
              <a:cxn ang="0">
                <a:pos x="51" y="85"/>
              </a:cxn>
              <a:cxn ang="0">
                <a:pos x="61" y="83"/>
              </a:cxn>
              <a:cxn ang="0">
                <a:pos x="73" y="75"/>
              </a:cxn>
              <a:cxn ang="0">
                <a:pos x="79" y="69"/>
              </a:cxn>
              <a:cxn ang="0">
                <a:pos x="79" y="82"/>
              </a:cxn>
              <a:cxn ang="0">
                <a:pos x="86" y="80"/>
              </a:cxn>
              <a:cxn ang="0">
                <a:pos x="86" y="85"/>
              </a:cxn>
              <a:cxn ang="0">
                <a:pos x="90" y="88"/>
              </a:cxn>
              <a:cxn ang="0">
                <a:pos x="97" y="78"/>
              </a:cxn>
              <a:cxn ang="0">
                <a:pos x="98" y="69"/>
              </a:cxn>
              <a:cxn ang="0">
                <a:pos x="93" y="71"/>
              </a:cxn>
              <a:cxn ang="0">
                <a:pos x="97" y="63"/>
              </a:cxn>
              <a:cxn ang="0">
                <a:pos x="89" y="67"/>
              </a:cxn>
              <a:cxn ang="0">
                <a:pos x="83" y="71"/>
              </a:cxn>
              <a:cxn ang="0">
                <a:pos x="85" y="64"/>
              </a:cxn>
              <a:cxn ang="0">
                <a:pos x="87" y="60"/>
              </a:cxn>
              <a:cxn ang="0">
                <a:pos x="94" y="55"/>
              </a:cxn>
              <a:cxn ang="0">
                <a:pos x="85" y="55"/>
              </a:cxn>
              <a:cxn ang="0">
                <a:pos x="81" y="55"/>
              </a:cxn>
              <a:cxn ang="0">
                <a:pos x="81" y="50"/>
              </a:cxn>
              <a:cxn ang="0">
                <a:pos x="87" y="42"/>
              </a:cxn>
              <a:cxn ang="0">
                <a:pos x="81" y="39"/>
              </a:cxn>
              <a:cxn ang="0">
                <a:pos x="62" y="42"/>
              </a:cxn>
              <a:cxn ang="0">
                <a:pos x="59" y="38"/>
              </a:cxn>
              <a:cxn ang="0">
                <a:pos x="51" y="38"/>
              </a:cxn>
              <a:cxn ang="0">
                <a:pos x="53" y="33"/>
              </a:cxn>
              <a:cxn ang="0">
                <a:pos x="49" y="30"/>
              </a:cxn>
              <a:cxn ang="0">
                <a:pos x="43" y="31"/>
              </a:cxn>
              <a:cxn ang="0">
                <a:pos x="37" y="33"/>
              </a:cxn>
              <a:cxn ang="0">
                <a:pos x="42" y="25"/>
              </a:cxn>
              <a:cxn ang="0">
                <a:pos x="47" y="17"/>
              </a:cxn>
              <a:cxn ang="0">
                <a:pos x="47" y="14"/>
              </a:cxn>
              <a:cxn ang="0">
                <a:pos x="50" y="6"/>
              </a:cxn>
              <a:cxn ang="0">
                <a:pos x="57" y="2"/>
              </a:cxn>
              <a:cxn ang="0">
                <a:pos x="53" y="2"/>
              </a:cxn>
            </a:cxnLst>
            <a:rect l="0" t="0" r="r" b="b"/>
            <a:pathLst>
              <a:path w="99" h="89">
                <a:moveTo>
                  <a:pt x="46" y="3"/>
                </a:moveTo>
                <a:lnTo>
                  <a:pt x="43" y="3"/>
                </a:lnTo>
                <a:lnTo>
                  <a:pt x="40" y="5"/>
                </a:lnTo>
                <a:lnTo>
                  <a:pt x="40" y="6"/>
                </a:lnTo>
                <a:lnTo>
                  <a:pt x="38" y="8"/>
                </a:lnTo>
                <a:lnTo>
                  <a:pt x="38" y="9"/>
                </a:lnTo>
                <a:lnTo>
                  <a:pt x="37" y="9"/>
                </a:lnTo>
                <a:lnTo>
                  <a:pt x="34" y="11"/>
                </a:lnTo>
                <a:lnTo>
                  <a:pt x="34" y="13"/>
                </a:lnTo>
                <a:lnTo>
                  <a:pt x="34" y="14"/>
                </a:lnTo>
                <a:lnTo>
                  <a:pt x="33" y="16"/>
                </a:lnTo>
                <a:lnTo>
                  <a:pt x="30" y="16"/>
                </a:lnTo>
                <a:lnTo>
                  <a:pt x="29" y="17"/>
                </a:lnTo>
                <a:lnTo>
                  <a:pt x="32" y="19"/>
                </a:lnTo>
                <a:lnTo>
                  <a:pt x="29" y="20"/>
                </a:lnTo>
                <a:lnTo>
                  <a:pt x="28" y="25"/>
                </a:lnTo>
                <a:lnTo>
                  <a:pt x="30" y="27"/>
                </a:lnTo>
                <a:lnTo>
                  <a:pt x="25" y="28"/>
                </a:lnTo>
                <a:lnTo>
                  <a:pt x="22" y="34"/>
                </a:lnTo>
                <a:lnTo>
                  <a:pt x="22" y="36"/>
                </a:lnTo>
                <a:lnTo>
                  <a:pt x="22" y="38"/>
                </a:lnTo>
                <a:lnTo>
                  <a:pt x="20" y="38"/>
                </a:lnTo>
                <a:lnTo>
                  <a:pt x="17" y="41"/>
                </a:lnTo>
                <a:lnTo>
                  <a:pt x="17" y="42"/>
                </a:lnTo>
                <a:lnTo>
                  <a:pt x="20" y="44"/>
                </a:lnTo>
                <a:lnTo>
                  <a:pt x="18" y="44"/>
                </a:lnTo>
                <a:lnTo>
                  <a:pt x="20" y="45"/>
                </a:lnTo>
                <a:lnTo>
                  <a:pt x="14" y="45"/>
                </a:lnTo>
                <a:lnTo>
                  <a:pt x="10" y="53"/>
                </a:lnTo>
                <a:lnTo>
                  <a:pt x="9" y="55"/>
                </a:lnTo>
                <a:lnTo>
                  <a:pt x="8" y="53"/>
                </a:lnTo>
                <a:lnTo>
                  <a:pt x="5" y="53"/>
                </a:lnTo>
                <a:lnTo>
                  <a:pt x="2" y="55"/>
                </a:lnTo>
                <a:lnTo>
                  <a:pt x="2" y="56"/>
                </a:lnTo>
                <a:lnTo>
                  <a:pt x="9" y="55"/>
                </a:lnTo>
                <a:lnTo>
                  <a:pt x="12" y="56"/>
                </a:lnTo>
                <a:lnTo>
                  <a:pt x="13" y="58"/>
                </a:lnTo>
                <a:lnTo>
                  <a:pt x="5" y="63"/>
                </a:lnTo>
                <a:lnTo>
                  <a:pt x="0" y="67"/>
                </a:lnTo>
                <a:lnTo>
                  <a:pt x="0" y="71"/>
                </a:lnTo>
                <a:lnTo>
                  <a:pt x="1" y="72"/>
                </a:lnTo>
                <a:lnTo>
                  <a:pt x="5" y="72"/>
                </a:lnTo>
                <a:lnTo>
                  <a:pt x="10" y="72"/>
                </a:lnTo>
                <a:lnTo>
                  <a:pt x="18" y="71"/>
                </a:lnTo>
                <a:lnTo>
                  <a:pt x="25" y="71"/>
                </a:lnTo>
                <a:lnTo>
                  <a:pt x="28" y="71"/>
                </a:lnTo>
                <a:lnTo>
                  <a:pt x="30" y="72"/>
                </a:lnTo>
                <a:lnTo>
                  <a:pt x="38" y="72"/>
                </a:lnTo>
                <a:lnTo>
                  <a:pt x="42" y="72"/>
                </a:lnTo>
                <a:lnTo>
                  <a:pt x="47" y="71"/>
                </a:lnTo>
                <a:lnTo>
                  <a:pt x="49" y="69"/>
                </a:lnTo>
                <a:lnTo>
                  <a:pt x="53" y="67"/>
                </a:lnTo>
                <a:lnTo>
                  <a:pt x="53" y="71"/>
                </a:lnTo>
                <a:lnTo>
                  <a:pt x="53" y="72"/>
                </a:lnTo>
                <a:lnTo>
                  <a:pt x="49" y="72"/>
                </a:lnTo>
                <a:lnTo>
                  <a:pt x="47" y="74"/>
                </a:lnTo>
                <a:lnTo>
                  <a:pt x="51" y="74"/>
                </a:lnTo>
                <a:lnTo>
                  <a:pt x="51" y="75"/>
                </a:lnTo>
                <a:lnTo>
                  <a:pt x="58" y="74"/>
                </a:lnTo>
                <a:lnTo>
                  <a:pt x="61" y="71"/>
                </a:lnTo>
                <a:lnTo>
                  <a:pt x="62" y="72"/>
                </a:lnTo>
                <a:lnTo>
                  <a:pt x="66" y="72"/>
                </a:lnTo>
                <a:lnTo>
                  <a:pt x="67" y="72"/>
                </a:lnTo>
                <a:lnTo>
                  <a:pt x="65" y="74"/>
                </a:lnTo>
                <a:lnTo>
                  <a:pt x="61" y="77"/>
                </a:lnTo>
                <a:lnTo>
                  <a:pt x="58" y="80"/>
                </a:lnTo>
                <a:lnTo>
                  <a:pt x="54" y="82"/>
                </a:lnTo>
                <a:lnTo>
                  <a:pt x="51" y="82"/>
                </a:lnTo>
                <a:lnTo>
                  <a:pt x="51" y="85"/>
                </a:lnTo>
                <a:lnTo>
                  <a:pt x="54" y="85"/>
                </a:lnTo>
                <a:lnTo>
                  <a:pt x="58" y="85"/>
                </a:lnTo>
                <a:lnTo>
                  <a:pt x="61" y="83"/>
                </a:lnTo>
                <a:lnTo>
                  <a:pt x="63" y="80"/>
                </a:lnTo>
                <a:lnTo>
                  <a:pt x="67" y="77"/>
                </a:lnTo>
                <a:lnTo>
                  <a:pt x="73" y="75"/>
                </a:lnTo>
                <a:lnTo>
                  <a:pt x="77" y="66"/>
                </a:lnTo>
                <a:lnTo>
                  <a:pt x="79" y="66"/>
                </a:lnTo>
                <a:lnTo>
                  <a:pt x="79" y="69"/>
                </a:lnTo>
                <a:lnTo>
                  <a:pt x="81" y="72"/>
                </a:lnTo>
                <a:lnTo>
                  <a:pt x="81" y="77"/>
                </a:lnTo>
                <a:lnTo>
                  <a:pt x="79" y="82"/>
                </a:lnTo>
                <a:lnTo>
                  <a:pt x="78" y="85"/>
                </a:lnTo>
                <a:lnTo>
                  <a:pt x="81" y="86"/>
                </a:lnTo>
                <a:lnTo>
                  <a:pt x="86" y="80"/>
                </a:lnTo>
                <a:lnTo>
                  <a:pt x="87" y="80"/>
                </a:lnTo>
                <a:lnTo>
                  <a:pt x="86" y="83"/>
                </a:lnTo>
                <a:lnTo>
                  <a:pt x="86" y="85"/>
                </a:lnTo>
                <a:lnTo>
                  <a:pt x="86" y="88"/>
                </a:lnTo>
                <a:lnTo>
                  <a:pt x="87" y="89"/>
                </a:lnTo>
                <a:lnTo>
                  <a:pt x="90" y="88"/>
                </a:lnTo>
                <a:lnTo>
                  <a:pt x="94" y="88"/>
                </a:lnTo>
                <a:lnTo>
                  <a:pt x="95" y="85"/>
                </a:lnTo>
                <a:lnTo>
                  <a:pt x="97" y="78"/>
                </a:lnTo>
                <a:lnTo>
                  <a:pt x="99" y="75"/>
                </a:lnTo>
                <a:lnTo>
                  <a:pt x="99" y="71"/>
                </a:lnTo>
                <a:lnTo>
                  <a:pt x="98" y="69"/>
                </a:lnTo>
                <a:lnTo>
                  <a:pt x="94" y="75"/>
                </a:lnTo>
                <a:lnTo>
                  <a:pt x="93" y="74"/>
                </a:lnTo>
                <a:lnTo>
                  <a:pt x="93" y="71"/>
                </a:lnTo>
                <a:lnTo>
                  <a:pt x="94" y="66"/>
                </a:lnTo>
                <a:lnTo>
                  <a:pt x="95" y="64"/>
                </a:lnTo>
                <a:lnTo>
                  <a:pt x="97" y="63"/>
                </a:lnTo>
                <a:lnTo>
                  <a:pt x="97" y="61"/>
                </a:lnTo>
                <a:lnTo>
                  <a:pt x="91" y="64"/>
                </a:lnTo>
                <a:lnTo>
                  <a:pt x="89" y="67"/>
                </a:lnTo>
                <a:lnTo>
                  <a:pt x="87" y="71"/>
                </a:lnTo>
                <a:lnTo>
                  <a:pt x="86" y="71"/>
                </a:lnTo>
                <a:lnTo>
                  <a:pt x="83" y="71"/>
                </a:lnTo>
                <a:lnTo>
                  <a:pt x="83" y="69"/>
                </a:lnTo>
                <a:lnTo>
                  <a:pt x="83" y="67"/>
                </a:lnTo>
                <a:lnTo>
                  <a:pt x="85" y="64"/>
                </a:lnTo>
                <a:lnTo>
                  <a:pt x="83" y="63"/>
                </a:lnTo>
                <a:lnTo>
                  <a:pt x="82" y="61"/>
                </a:lnTo>
                <a:lnTo>
                  <a:pt x="87" y="60"/>
                </a:lnTo>
                <a:lnTo>
                  <a:pt x="89" y="58"/>
                </a:lnTo>
                <a:lnTo>
                  <a:pt x="91" y="56"/>
                </a:lnTo>
                <a:lnTo>
                  <a:pt x="94" y="55"/>
                </a:lnTo>
                <a:lnTo>
                  <a:pt x="93" y="53"/>
                </a:lnTo>
                <a:lnTo>
                  <a:pt x="86" y="56"/>
                </a:lnTo>
                <a:lnTo>
                  <a:pt x="85" y="55"/>
                </a:lnTo>
                <a:lnTo>
                  <a:pt x="81" y="56"/>
                </a:lnTo>
                <a:lnTo>
                  <a:pt x="79" y="56"/>
                </a:lnTo>
                <a:lnTo>
                  <a:pt x="81" y="55"/>
                </a:lnTo>
                <a:lnTo>
                  <a:pt x="83" y="52"/>
                </a:lnTo>
                <a:lnTo>
                  <a:pt x="82" y="50"/>
                </a:lnTo>
                <a:lnTo>
                  <a:pt x="81" y="50"/>
                </a:lnTo>
                <a:lnTo>
                  <a:pt x="82" y="47"/>
                </a:lnTo>
                <a:lnTo>
                  <a:pt x="85" y="45"/>
                </a:lnTo>
                <a:lnTo>
                  <a:pt x="87" y="42"/>
                </a:lnTo>
                <a:lnTo>
                  <a:pt x="87" y="41"/>
                </a:lnTo>
                <a:lnTo>
                  <a:pt x="86" y="41"/>
                </a:lnTo>
                <a:lnTo>
                  <a:pt x="81" y="39"/>
                </a:lnTo>
                <a:lnTo>
                  <a:pt x="75" y="39"/>
                </a:lnTo>
                <a:lnTo>
                  <a:pt x="73" y="38"/>
                </a:lnTo>
                <a:lnTo>
                  <a:pt x="62" y="42"/>
                </a:lnTo>
                <a:lnTo>
                  <a:pt x="59" y="42"/>
                </a:lnTo>
                <a:lnTo>
                  <a:pt x="62" y="38"/>
                </a:lnTo>
                <a:lnTo>
                  <a:pt x="59" y="38"/>
                </a:lnTo>
                <a:lnTo>
                  <a:pt x="59" y="39"/>
                </a:lnTo>
                <a:lnTo>
                  <a:pt x="57" y="39"/>
                </a:lnTo>
                <a:lnTo>
                  <a:pt x="51" y="38"/>
                </a:lnTo>
                <a:lnTo>
                  <a:pt x="51" y="36"/>
                </a:lnTo>
                <a:lnTo>
                  <a:pt x="49" y="34"/>
                </a:lnTo>
                <a:lnTo>
                  <a:pt x="53" y="33"/>
                </a:lnTo>
                <a:lnTo>
                  <a:pt x="57" y="31"/>
                </a:lnTo>
                <a:lnTo>
                  <a:pt x="55" y="30"/>
                </a:lnTo>
                <a:lnTo>
                  <a:pt x="49" y="30"/>
                </a:lnTo>
                <a:lnTo>
                  <a:pt x="49" y="27"/>
                </a:lnTo>
                <a:lnTo>
                  <a:pt x="47" y="27"/>
                </a:lnTo>
                <a:lnTo>
                  <a:pt x="43" y="31"/>
                </a:lnTo>
                <a:lnTo>
                  <a:pt x="41" y="33"/>
                </a:lnTo>
                <a:lnTo>
                  <a:pt x="38" y="36"/>
                </a:lnTo>
                <a:lnTo>
                  <a:pt x="37" y="33"/>
                </a:lnTo>
                <a:lnTo>
                  <a:pt x="38" y="31"/>
                </a:lnTo>
                <a:lnTo>
                  <a:pt x="38" y="28"/>
                </a:lnTo>
                <a:lnTo>
                  <a:pt x="42" y="25"/>
                </a:lnTo>
                <a:lnTo>
                  <a:pt x="43" y="22"/>
                </a:lnTo>
                <a:lnTo>
                  <a:pt x="46" y="19"/>
                </a:lnTo>
                <a:lnTo>
                  <a:pt x="47" y="17"/>
                </a:lnTo>
                <a:lnTo>
                  <a:pt x="46" y="16"/>
                </a:lnTo>
                <a:lnTo>
                  <a:pt x="47" y="13"/>
                </a:lnTo>
                <a:lnTo>
                  <a:pt x="47" y="14"/>
                </a:lnTo>
                <a:lnTo>
                  <a:pt x="51" y="14"/>
                </a:lnTo>
                <a:lnTo>
                  <a:pt x="53" y="9"/>
                </a:lnTo>
                <a:lnTo>
                  <a:pt x="50" y="6"/>
                </a:lnTo>
                <a:lnTo>
                  <a:pt x="51" y="5"/>
                </a:lnTo>
                <a:lnTo>
                  <a:pt x="54" y="5"/>
                </a:lnTo>
                <a:lnTo>
                  <a:pt x="57" y="2"/>
                </a:lnTo>
                <a:lnTo>
                  <a:pt x="57" y="0"/>
                </a:lnTo>
                <a:lnTo>
                  <a:pt x="54" y="2"/>
                </a:lnTo>
                <a:lnTo>
                  <a:pt x="53" y="2"/>
                </a:lnTo>
                <a:lnTo>
                  <a:pt x="50" y="2"/>
                </a:lnTo>
                <a:lnTo>
                  <a:pt x="46" y="3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35" name="Freeform 635"/>
          <p:cNvSpPr>
            <a:spLocks/>
          </p:cNvSpPr>
          <p:nvPr/>
        </p:nvSpPr>
        <p:spPr bwMode="auto">
          <a:xfrm>
            <a:off x="1782642" y="1883101"/>
            <a:ext cx="42874" cy="25772"/>
          </a:xfrm>
          <a:custGeom>
            <a:avLst/>
            <a:gdLst/>
            <a:ahLst/>
            <a:cxnLst>
              <a:cxn ang="0">
                <a:pos x="4" y="6"/>
              </a:cxn>
              <a:cxn ang="0">
                <a:pos x="7" y="6"/>
              </a:cxn>
              <a:cxn ang="0">
                <a:pos x="5" y="5"/>
              </a:cxn>
              <a:cxn ang="0">
                <a:pos x="7" y="5"/>
              </a:cxn>
              <a:cxn ang="0">
                <a:pos x="8" y="6"/>
              </a:cxn>
              <a:cxn ang="0">
                <a:pos x="9" y="5"/>
              </a:cxn>
              <a:cxn ang="0">
                <a:pos x="11" y="6"/>
              </a:cxn>
              <a:cxn ang="0">
                <a:pos x="12" y="5"/>
              </a:cxn>
              <a:cxn ang="0">
                <a:pos x="13" y="5"/>
              </a:cxn>
              <a:cxn ang="0">
                <a:pos x="12" y="5"/>
              </a:cxn>
              <a:cxn ang="0">
                <a:pos x="11" y="5"/>
              </a:cxn>
              <a:cxn ang="0">
                <a:pos x="12" y="3"/>
              </a:cxn>
              <a:cxn ang="0">
                <a:pos x="13" y="2"/>
              </a:cxn>
              <a:cxn ang="0">
                <a:pos x="12" y="2"/>
              </a:cxn>
              <a:cxn ang="0">
                <a:pos x="12" y="0"/>
              </a:cxn>
              <a:cxn ang="0">
                <a:pos x="13" y="0"/>
              </a:cxn>
              <a:cxn ang="0">
                <a:pos x="13" y="2"/>
              </a:cxn>
              <a:cxn ang="0">
                <a:pos x="16" y="2"/>
              </a:cxn>
              <a:cxn ang="0">
                <a:pos x="16" y="3"/>
              </a:cxn>
              <a:cxn ang="0">
                <a:pos x="19" y="5"/>
              </a:cxn>
              <a:cxn ang="0">
                <a:pos x="21" y="3"/>
              </a:cxn>
              <a:cxn ang="0">
                <a:pos x="23" y="3"/>
              </a:cxn>
              <a:cxn ang="0">
                <a:pos x="23" y="5"/>
              </a:cxn>
              <a:cxn ang="0">
                <a:pos x="21" y="6"/>
              </a:cxn>
              <a:cxn ang="0">
                <a:pos x="20" y="6"/>
              </a:cxn>
              <a:cxn ang="0">
                <a:pos x="13" y="11"/>
              </a:cxn>
              <a:cxn ang="0">
                <a:pos x="9" y="13"/>
              </a:cxn>
              <a:cxn ang="0">
                <a:pos x="7" y="13"/>
              </a:cxn>
              <a:cxn ang="0">
                <a:pos x="4" y="13"/>
              </a:cxn>
              <a:cxn ang="0">
                <a:pos x="5" y="11"/>
              </a:cxn>
              <a:cxn ang="0">
                <a:pos x="8" y="13"/>
              </a:cxn>
              <a:cxn ang="0">
                <a:pos x="9" y="11"/>
              </a:cxn>
              <a:cxn ang="0">
                <a:pos x="11" y="9"/>
              </a:cxn>
              <a:cxn ang="0">
                <a:pos x="7" y="11"/>
              </a:cxn>
              <a:cxn ang="0">
                <a:pos x="4" y="9"/>
              </a:cxn>
              <a:cxn ang="0">
                <a:pos x="3" y="8"/>
              </a:cxn>
              <a:cxn ang="0">
                <a:pos x="1" y="6"/>
              </a:cxn>
              <a:cxn ang="0">
                <a:pos x="0" y="6"/>
              </a:cxn>
              <a:cxn ang="0">
                <a:pos x="1" y="5"/>
              </a:cxn>
              <a:cxn ang="0">
                <a:pos x="4" y="6"/>
              </a:cxn>
            </a:cxnLst>
            <a:rect l="0" t="0" r="r" b="b"/>
            <a:pathLst>
              <a:path w="23" h="13">
                <a:moveTo>
                  <a:pt x="4" y="6"/>
                </a:moveTo>
                <a:lnTo>
                  <a:pt x="7" y="6"/>
                </a:lnTo>
                <a:lnTo>
                  <a:pt x="5" y="5"/>
                </a:lnTo>
                <a:lnTo>
                  <a:pt x="7" y="5"/>
                </a:lnTo>
                <a:lnTo>
                  <a:pt x="8" y="6"/>
                </a:lnTo>
                <a:lnTo>
                  <a:pt x="9" y="5"/>
                </a:lnTo>
                <a:lnTo>
                  <a:pt x="11" y="6"/>
                </a:lnTo>
                <a:lnTo>
                  <a:pt x="12" y="5"/>
                </a:lnTo>
                <a:lnTo>
                  <a:pt x="13" y="5"/>
                </a:lnTo>
                <a:lnTo>
                  <a:pt x="12" y="5"/>
                </a:lnTo>
                <a:lnTo>
                  <a:pt x="11" y="5"/>
                </a:lnTo>
                <a:lnTo>
                  <a:pt x="12" y="3"/>
                </a:lnTo>
                <a:lnTo>
                  <a:pt x="13" y="2"/>
                </a:lnTo>
                <a:lnTo>
                  <a:pt x="12" y="2"/>
                </a:lnTo>
                <a:lnTo>
                  <a:pt x="12" y="0"/>
                </a:lnTo>
                <a:lnTo>
                  <a:pt x="13" y="0"/>
                </a:lnTo>
                <a:lnTo>
                  <a:pt x="13" y="2"/>
                </a:lnTo>
                <a:lnTo>
                  <a:pt x="16" y="2"/>
                </a:lnTo>
                <a:lnTo>
                  <a:pt x="16" y="3"/>
                </a:lnTo>
                <a:lnTo>
                  <a:pt x="19" y="5"/>
                </a:lnTo>
                <a:lnTo>
                  <a:pt x="21" y="3"/>
                </a:lnTo>
                <a:lnTo>
                  <a:pt x="23" y="3"/>
                </a:lnTo>
                <a:lnTo>
                  <a:pt x="23" y="5"/>
                </a:lnTo>
                <a:lnTo>
                  <a:pt x="21" y="6"/>
                </a:lnTo>
                <a:lnTo>
                  <a:pt x="20" y="6"/>
                </a:lnTo>
                <a:lnTo>
                  <a:pt x="13" y="11"/>
                </a:lnTo>
                <a:lnTo>
                  <a:pt x="9" y="13"/>
                </a:lnTo>
                <a:lnTo>
                  <a:pt x="7" y="13"/>
                </a:lnTo>
                <a:lnTo>
                  <a:pt x="4" y="13"/>
                </a:lnTo>
                <a:lnTo>
                  <a:pt x="5" y="11"/>
                </a:lnTo>
                <a:lnTo>
                  <a:pt x="8" y="13"/>
                </a:lnTo>
                <a:lnTo>
                  <a:pt x="9" y="11"/>
                </a:lnTo>
                <a:lnTo>
                  <a:pt x="11" y="9"/>
                </a:lnTo>
                <a:lnTo>
                  <a:pt x="7" y="11"/>
                </a:lnTo>
                <a:lnTo>
                  <a:pt x="4" y="9"/>
                </a:lnTo>
                <a:lnTo>
                  <a:pt x="3" y="8"/>
                </a:lnTo>
                <a:lnTo>
                  <a:pt x="1" y="6"/>
                </a:lnTo>
                <a:lnTo>
                  <a:pt x="0" y="6"/>
                </a:lnTo>
                <a:lnTo>
                  <a:pt x="1" y="5"/>
                </a:lnTo>
                <a:lnTo>
                  <a:pt x="4" y="6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36" name="Freeform 636"/>
          <p:cNvSpPr>
            <a:spLocks/>
          </p:cNvSpPr>
          <p:nvPr/>
        </p:nvSpPr>
        <p:spPr bwMode="auto">
          <a:xfrm>
            <a:off x="1782642" y="1883101"/>
            <a:ext cx="42874" cy="25772"/>
          </a:xfrm>
          <a:custGeom>
            <a:avLst/>
            <a:gdLst/>
            <a:ahLst/>
            <a:cxnLst>
              <a:cxn ang="0">
                <a:pos x="4" y="6"/>
              </a:cxn>
              <a:cxn ang="0">
                <a:pos x="7" y="6"/>
              </a:cxn>
              <a:cxn ang="0">
                <a:pos x="5" y="5"/>
              </a:cxn>
              <a:cxn ang="0">
                <a:pos x="7" y="5"/>
              </a:cxn>
              <a:cxn ang="0">
                <a:pos x="8" y="6"/>
              </a:cxn>
              <a:cxn ang="0">
                <a:pos x="9" y="5"/>
              </a:cxn>
              <a:cxn ang="0">
                <a:pos x="11" y="6"/>
              </a:cxn>
              <a:cxn ang="0">
                <a:pos x="12" y="5"/>
              </a:cxn>
              <a:cxn ang="0">
                <a:pos x="13" y="5"/>
              </a:cxn>
              <a:cxn ang="0">
                <a:pos x="12" y="5"/>
              </a:cxn>
              <a:cxn ang="0">
                <a:pos x="11" y="5"/>
              </a:cxn>
              <a:cxn ang="0">
                <a:pos x="12" y="3"/>
              </a:cxn>
              <a:cxn ang="0">
                <a:pos x="13" y="2"/>
              </a:cxn>
              <a:cxn ang="0">
                <a:pos x="12" y="2"/>
              </a:cxn>
              <a:cxn ang="0">
                <a:pos x="12" y="0"/>
              </a:cxn>
              <a:cxn ang="0">
                <a:pos x="13" y="0"/>
              </a:cxn>
              <a:cxn ang="0">
                <a:pos x="13" y="2"/>
              </a:cxn>
              <a:cxn ang="0">
                <a:pos x="16" y="2"/>
              </a:cxn>
              <a:cxn ang="0">
                <a:pos x="16" y="3"/>
              </a:cxn>
              <a:cxn ang="0">
                <a:pos x="19" y="5"/>
              </a:cxn>
              <a:cxn ang="0">
                <a:pos x="21" y="3"/>
              </a:cxn>
              <a:cxn ang="0">
                <a:pos x="23" y="3"/>
              </a:cxn>
              <a:cxn ang="0">
                <a:pos x="23" y="5"/>
              </a:cxn>
              <a:cxn ang="0">
                <a:pos x="21" y="6"/>
              </a:cxn>
              <a:cxn ang="0">
                <a:pos x="20" y="6"/>
              </a:cxn>
              <a:cxn ang="0">
                <a:pos x="13" y="11"/>
              </a:cxn>
              <a:cxn ang="0">
                <a:pos x="9" y="13"/>
              </a:cxn>
              <a:cxn ang="0">
                <a:pos x="7" y="13"/>
              </a:cxn>
              <a:cxn ang="0">
                <a:pos x="4" y="13"/>
              </a:cxn>
              <a:cxn ang="0">
                <a:pos x="5" y="11"/>
              </a:cxn>
              <a:cxn ang="0">
                <a:pos x="8" y="13"/>
              </a:cxn>
              <a:cxn ang="0">
                <a:pos x="9" y="11"/>
              </a:cxn>
              <a:cxn ang="0">
                <a:pos x="11" y="9"/>
              </a:cxn>
              <a:cxn ang="0">
                <a:pos x="7" y="11"/>
              </a:cxn>
              <a:cxn ang="0">
                <a:pos x="4" y="9"/>
              </a:cxn>
              <a:cxn ang="0">
                <a:pos x="3" y="8"/>
              </a:cxn>
              <a:cxn ang="0">
                <a:pos x="1" y="6"/>
              </a:cxn>
              <a:cxn ang="0">
                <a:pos x="0" y="6"/>
              </a:cxn>
              <a:cxn ang="0">
                <a:pos x="1" y="5"/>
              </a:cxn>
              <a:cxn ang="0">
                <a:pos x="4" y="6"/>
              </a:cxn>
            </a:cxnLst>
            <a:rect l="0" t="0" r="r" b="b"/>
            <a:pathLst>
              <a:path w="23" h="13">
                <a:moveTo>
                  <a:pt x="4" y="6"/>
                </a:moveTo>
                <a:lnTo>
                  <a:pt x="7" y="6"/>
                </a:lnTo>
                <a:lnTo>
                  <a:pt x="5" y="5"/>
                </a:lnTo>
                <a:lnTo>
                  <a:pt x="7" y="5"/>
                </a:lnTo>
                <a:lnTo>
                  <a:pt x="8" y="6"/>
                </a:lnTo>
                <a:lnTo>
                  <a:pt x="9" y="5"/>
                </a:lnTo>
                <a:lnTo>
                  <a:pt x="11" y="6"/>
                </a:lnTo>
                <a:lnTo>
                  <a:pt x="12" y="5"/>
                </a:lnTo>
                <a:lnTo>
                  <a:pt x="13" y="5"/>
                </a:lnTo>
                <a:lnTo>
                  <a:pt x="12" y="5"/>
                </a:lnTo>
                <a:lnTo>
                  <a:pt x="11" y="5"/>
                </a:lnTo>
                <a:lnTo>
                  <a:pt x="12" y="3"/>
                </a:lnTo>
                <a:lnTo>
                  <a:pt x="13" y="2"/>
                </a:lnTo>
                <a:lnTo>
                  <a:pt x="12" y="2"/>
                </a:lnTo>
                <a:lnTo>
                  <a:pt x="12" y="0"/>
                </a:lnTo>
                <a:lnTo>
                  <a:pt x="13" y="0"/>
                </a:lnTo>
                <a:lnTo>
                  <a:pt x="13" y="2"/>
                </a:lnTo>
                <a:lnTo>
                  <a:pt x="16" y="2"/>
                </a:lnTo>
                <a:lnTo>
                  <a:pt x="16" y="3"/>
                </a:lnTo>
                <a:lnTo>
                  <a:pt x="19" y="5"/>
                </a:lnTo>
                <a:lnTo>
                  <a:pt x="21" y="3"/>
                </a:lnTo>
                <a:lnTo>
                  <a:pt x="23" y="3"/>
                </a:lnTo>
                <a:lnTo>
                  <a:pt x="23" y="5"/>
                </a:lnTo>
                <a:lnTo>
                  <a:pt x="21" y="6"/>
                </a:lnTo>
                <a:lnTo>
                  <a:pt x="20" y="6"/>
                </a:lnTo>
                <a:lnTo>
                  <a:pt x="13" y="11"/>
                </a:lnTo>
                <a:lnTo>
                  <a:pt x="9" y="13"/>
                </a:lnTo>
                <a:lnTo>
                  <a:pt x="7" y="13"/>
                </a:lnTo>
                <a:lnTo>
                  <a:pt x="4" y="13"/>
                </a:lnTo>
                <a:lnTo>
                  <a:pt x="5" y="11"/>
                </a:lnTo>
                <a:lnTo>
                  <a:pt x="8" y="13"/>
                </a:lnTo>
                <a:lnTo>
                  <a:pt x="9" y="11"/>
                </a:lnTo>
                <a:lnTo>
                  <a:pt x="11" y="9"/>
                </a:lnTo>
                <a:lnTo>
                  <a:pt x="7" y="11"/>
                </a:lnTo>
                <a:lnTo>
                  <a:pt x="4" y="9"/>
                </a:lnTo>
                <a:lnTo>
                  <a:pt x="3" y="8"/>
                </a:lnTo>
                <a:lnTo>
                  <a:pt x="1" y="6"/>
                </a:lnTo>
                <a:lnTo>
                  <a:pt x="0" y="6"/>
                </a:lnTo>
                <a:lnTo>
                  <a:pt x="1" y="5"/>
                </a:lnTo>
                <a:lnTo>
                  <a:pt x="4" y="6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37" name="Freeform 637"/>
          <p:cNvSpPr>
            <a:spLocks/>
          </p:cNvSpPr>
          <p:nvPr/>
        </p:nvSpPr>
        <p:spPr bwMode="auto">
          <a:xfrm>
            <a:off x="1763155" y="1898135"/>
            <a:ext cx="27284" cy="17181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0" y="3"/>
              </a:cxn>
              <a:cxn ang="0">
                <a:pos x="2" y="3"/>
              </a:cxn>
              <a:cxn ang="0">
                <a:pos x="2" y="5"/>
              </a:cxn>
              <a:cxn ang="0">
                <a:pos x="6" y="5"/>
              </a:cxn>
              <a:cxn ang="0">
                <a:pos x="8" y="6"/>
              </a:cxn>
              <a:cxn ang="0">
                <a:pos x="10" y="6"/>
              </a:cxn>
              <a:cxn ang="0">
                <a:pos x="12" y="6"/>
              </a:cxn>
              <a:cxn ang="0">
                <a:pos x="13" y="8"/>
              </a:cxn>
              <a:cxn ang="0">
                <a:pos x="14" y="6"/>
              </a:cxn>
              <a:cxn ang="0">
                <a:pos x="12" y="5"/>
              </a:cxn>
              <a:cxn ang="0">
                <a:pos x="8" y="3"/>
              </a:cxn>
              <a:cxn ang="0">
                <a:pos x="9" y="3"/>
              </a:cxn>
              <a:cxn ang="0">
                <a:pos x="5" y="1"/>
              </a:cxn>
              <a:cxn ang="0">
                <a:pos x="4" y="1"/>
              </a:cxn>
              <a:cxn ang="0">
                <a:pos x="2" y="0"/>
              </a:cxn>
              <a:cxn ang="0">
                <a:pos x="1" y="0"/>
              </a:cxn>
              <a:cxn ang="0">
                <a:pos x="0" y="1"/>
              </a:cxn>
            </a:cxnLst>
            <a:rect l="0" t="0" r="r" b="b"/>
            <a:pathLst>
              <a:path w="14" h="8">
                <a:moveTo>
                  <a:pt x="0" y="1"/>
                </a:moveTo>
                <a:lnTo>
                  <a:pt x="0" y="3"/>
                </a:lnTo>
                <a:lnTo>
                  <a:pt x="2" y="3"/>
                </a:lnTo>
                <a:lnTo>
                  <a:pt x="2" y="5"/>
                </a:lnTo>
                <a:lnTo>
                  <a:pt x="6" y="5"/>
                </a:lnTo>
                <a:lnTo>
                  <a:pt x="8" y="6"/>
                </a:lnTo>
                <a:lnTo>
                  <a:pt x="10" y="6"/>
                </a:lnTo>
                <a:lnTo>
                  <a:pt x="12" y="6"/>
                </a:lnTo>
                <a:lnTo>
                  <a:pt x="13" y="8"/>
                </a:lnTo>
                <a:lnTo>
                  <a:pt x="14" y="6"/>
                </a:lnTo>
                <a:lnTo>
                  <a:pt x="12" y="5"/>
                </a:lnTo>
                <a:lnTo>
                  <a:pt x="8" y="3"/>
                </a:lnTo>
                <a:lnTo>
                  <a:pt x="9" y="3"/>
                </a:lnTo>
                <a:lnTo>
                  <a:pt x="5" y="1"/>
                </a:lnTo>
                <a:lnTo>
                  <a:pt x="4" y="1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38" name="Freeform 638"/>
          <p:cNvSpPr>
            <a:spLocks/>
          </p:cNvSpPr>
          <p:nvPr/>
        </p:nvSpPr>
        <p:spPr bwMode="auto">
          <a:xfrm>
            <a:off x="1763155" y="1898135"/>
            <a:ext cx="27284" cy="17181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0" y="3"/>
              </a:cxn>
              <a:cxn ang="0">
                <a:pos x="2" y="3"/>
              </a:cxn>
              <a:cxn ang="0">
                <a:pos x="2" y="5"/>
              </a:cxn>
              <a:cxn ang="0">
                <a:pos x="6" y="5"/>
              </a:cxn>
              <a:cxn ang="0">
                <a:pos x="8" y="6"/>
              </a:cxn>
              <a:cxn ang="0">
                <a:pos x="10" y="6"/>
              </a:cxn>
              <a:cxn ang="0">
                <a:pos x="12" y="6"/>
              </a:cxn>
              <a:cxn ang="0">
                <a:pos x="13" y="8"/>
              </a:cxn>
              <a:cxn ang="0">
                <a:pos x="14" y="6"/>
              </a:cxn>
              <a:cxn ang="0">
                <a:pos x="12" y="5"/>
              </a:cxn>
              <a:cxn ang="0">
                <a:pos x="8" y="3"/>
              </a:cxn>
              <a:cxn ang="0">
                <a:pos x="9" y="3"/>
              </a:cxn>
              <a:cxn ang="0">
                <a:pos x="5" y="1"/>
              </a:cxn>
              <a:cxn ang="0">
                <a:pos x="4" y="1"/>
              </a:cxn>
              <a:cxn ang="0">
                <a:pos x="2" y="0"/>
              </a:cxn>
              <a:cxn ang="0">
                <a:pos x="1" y="0"/>
              </a:cxn>
              <a:cxn ang="0">
                <a:pos x="0" y="1"/>
              </a:cxn>
            </a:cxnLst>
            <a:rect l="0" t="0" r="r" b="b"/>
            <a:pathLst>
              <a:path w="14" h="8">
                <a:moveTo>
                  <a:pt x="0" y="1"/>
                </a:moveTo>
                <a:lnTo>
                  <a:pt x="0" y="3"/>
                </a:lnTo>
                <a:lnTo>
                  <a:pt x="2" y="3"/>
                </a:lnTo>
                <a:lnTo>
                  <a:pt x="2" y="5"/>
                </a:lnTo>
                <a:lnTo>
                  <a:pt x="6" y="5"/>
                </a:lnTo>
                <a:lnTo>
                  <a:pt x="8" y="6"/>
                </a:lnTo>
                <a:lnTo>
                  <a:pt x="10" y="6"/>
                </a:lnTo>
                <a:lnTo>
                  <a:pt x="12" y="6"/>
                </a:lnTo>
                <a:lnTo>
                  <a:pt x="13" y="8"/>
                </a:lnTo>
                <a:lnTo>
                  <a:pt x="14" y="6"/>
                </a:lnTo>
                <a:lnTo>
                  <a:pt x="12" y="5"/>
                </a:lnTo>
                <a:lnTo>
                  <a:pt x="8" y="3"/>
                </a:lnTo>
                <a:lnTo>
                  <a:pt x="9" y="3"/>
                </a:lnTo>
                <a:lnTo>
                  <a:pt x="5" y="1"/>
                </a:lnTo>
                <a:lnTo>
                  <a:pt x="4" y="1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39" name="Freeform 639"/>
          <p:cNvSpPr>
            <a:spLocks/>
          </p:cNvSpPr>
          <p:nvPr/>
        </p:nvSpPr>
        <p:spPr bwMode="auto">
          <a:xfrm>
            <a:off x="2811616" y="1878807"/>
            <a:ext cx="124724" cy="51542"/>
          </a:xfrm>
          <a:custGeom>
            <a:avLst/>
            <a:gdLst/>
            <a:ahLst/>
            <a:cxnLst>
              <a:cxn ang="0">
                <a:pos x="36" y="4"/>
              </a:cxn>
              <a:cxn ang="0">
                <a:pos x="32" y="4"/>
              </a:cxn>
              <a:cxn ang="0">
                <a:pos x="32" y="2"/>
              </a:cxn>
              <a:cxn ang="0">
                <a:pos x="28" y="0"/>
              </a:cxn>
              <a:cxn ang="0">
                <a:pos x="24" y="0"/>
              </a:cxn>
              <a:cxn ang="0">
                <a:pos x="20" y="2"/>
              </a:cxn>
              <a:cxn ang="0">
                <a:pos x="20" y="5"/>
              </a:cxn>
              <a:cxn ang="0">
                <a:pos x="18" y="5"/>
              </a:cxn>
              <a:cxn ang="0">
                <a:pos x="14" y="7"/>
              </a:cxn>
              <a:cxn ang="0">
                <a:pos x="16" y="10"/>
              </a:cxn>
              <a:cxn ang="0">
                <a:pos x="10" y="13"/>
              </a:cxn>
              <a:cxn ang="0">
                <a:pos x="2" y="13"/>
              </a:cxn>
              <a:cxn ang="0">
                <a:pos x="0" y="16"/>
              </a:cxn>
              <a:cxn ang="0">
                <a:pos x="2" y="19"/>
              </a:cxn>
              <a:cxn ang="0">
                <a:pos x="5" y="18"/>
              </a:cxn>
              <a:cxn ang="0">
                <a:pos x="9" y="18"/>
              </a:cxn>
              <a:cxn ang="0">
                <a:pos x="12" y="19"/>
              </a:cxn>
              <a:cxn ang="0">
                <a:pos x="16" y="19"/>
              </a:cxn>
              <a:cxn ang="0">
                <a:pos x="20" y="19"/>
              </a:cxn>
              <a:cxn ang="0">
                <a:pos x="21" y="21"/>
              </a:cxn>
              <a:cxn ang="0">
                <a:pos x="28" y="22"/>
              </a:cxn>
              <a:cxn ang="0">
                <a:pos x="34" y="24"/>
              </a:cxn>
              <a:cxn ang="0">
                <a:pos x="37" y="22"/>
              </a:cxn>
              <a:cxn ang="0">
                <a:pos x="45" y="26"/>
              </a:cxn>
              <a:cxn ang="0">
                <a:pos x="52" y="22"/>
              </a:cxn>
              <a:cxn ang="0">
                <a:pos x="57" y="21"/>
              </a:cxn>
              <a:cxn ang="0">
                <a:pos x="61" y="21"/>
              </a:cxn>
              <a:cxn ang="0">
                <a:pos x="65" y="19"/>
              </a:cxn>
              <a:cxn ang="0">
                <a:pos x="60" y="19"/>
              </a:cxn>
              <a:cxn ang="0">
                <a:pos x="56" y="16"/>
              </a:cxn>
              <a:cxn ang="0">
                <a:pos x="52" y="13"/>
              </a:cxn>
              <a:cxn ang="0">
                <a:pos x="48" y="10"/>
              </a:cxn>
              <a:cxn ang="0">
                <a:pos x="38" y="7"/>
              </a:cxn>
            </a:cxnLst>
            <a:rect l="0" t="0" r="r" b="b"/>
            <a:pathLst>
              <a:path w="65" h="26">
                <a:moveTo>
                  <a:pt x="38" y="7"/>
                </a:moveTo>
                <a:lnTo>
                  <a:pt x="36" y="4"/>
                </a:lnTo>
                <a:lnTo>
                  <a:pt x="34" y="4"/>
                </a:lnTo>
                <a:lnTo>
                  <a:pt x="32" y="4"/>
                </a:lnTo>
                <a:lnTo>
                  <a:pt x="33" y="2"/>
                </a:lnTo>
                <a:lnTo>
                  <a:pt x="32" y="2"/>
                </a:lnTo>
                <a:lnTo>
                  <a:pt x="29" y="2"/>
                </a:lnTo>
                <a:lnTo>
                  <a:pt x="28" y="0"/>
                </a:lnTo>
                <a:lnTo>
                  <a:pt x="26" y="0"/>
                </a:lnTo>
                <a:lnTo>
                  <a:pt x="24" y="0"/>
                </a:lnTo>
                <a:lnTo>
                  <a:pt x="22" y="0"/>
                </a:lnTo>
                <a:lnTo>
                  <a:pt x="20" y="2"/>
                </a:lnTo>
                <a:lnTo>
                  <a:pt x="17" y="5"/>
                </a:lnTo>
                <a:lnTo>
                  <a:pt x="20" y="5"/>
                </a:lnTo>
                <a:lnTo>
                  <a:pt x="20" y="7"/>
                </a:lnTo>
                <a:lnTo>
                  <a:pt x="18" y="5"/>
                </a:lnTo>
                <a:lnTo>
                  <a:pt x="16" y="5"/>
                </a:lnTo>
                <a:lnTo>
                  <a:pt x="14" y="7"/>
                </a:lnTo>
                <a:lnTo>
                  <a:pt x="14" y="8"/>
                </a:lnTo>
                <a:lnTo>
                  <a:pt x="16" y="10"/>
                </a:lnTo>
                <a:lnTo>
                  <a:pt x="13" y="11"/>
                </a:lnTo>
                <a:lnTo>
                  <a:pt x="10" y="13"/>
                </a:lnTo>
                <a:lnTo>
                  <a:pt x="6" y="13"/>
                </a:lnTo>
                <a:lnTo>
                  <a:pt x="2" y="13"/>
                </a:lnTo>
                <a:lnTo>
                  <a:pt x="0" y="15"/>
                </a:lnTo>
                <a:lnTo>
                  <a:pt x="0" y="16"/>
                </a:lnTo>
                <a:lnTo>
                  <a:pt x="0" y="18"/>
                </a:lnTo>
                <a:lnTo>
                  <a:pt x="2" y="19"/>
                </a:lnTo>
                <a:lnTo>
                  <a:pt x="5" y="19"/>
                </a:lnTo>
                <a:lnTo>
                  <a:pt x="5" y="18"/>
                </a:lnTo>
                <a:lnTo>
                  <a:pt x="6" y="18"/>
                </a:lnTo>
                <a:lnTo>
                  <a:pt x="9" y="18"/>
                </a:lnTo>
                <a:lnTo>
                  <a:pt x="10" y="18"/>
                </a:lnTo>
                <a:lnTo>
                  <a:pt x="12" y="19"/>
                </a:lnTo>
                <a:lnTo>
                  <a:pt x="14" y="19"/>
                </a:lnTo>
                <a:lnTo>
                  <a:pt x="16" y="19"/>
                </a:lnTo>
                <a:lnTo>
                  <a:pt x="17" y="19"/>
                </a:lnTo>
                <a:lnTo>
                  <a:pt x="20" y="19"/>
                </a:lnTo>
                <a:lnTo>
                  <a:pt x="20" y="21"/>
                </a:lnTo>
                <a:lnTo>
                  <a:pt x="21" y="21"/>
                </a:lnTo>
                <a:lnTo>
                  <a:pt x="24" y="21"/>
                </a:lnTo>
                <a:lnTo>
                  <a:pt x="28" y="22"/>
                </a:lnTo>
                <a:lnTo>
                  <a:pt x="30" y="22"/>
                </a:lnTo>
                <a:lnTo>
                  <a:pt x="34" y="24"/>
                </a:lnTo>
                <a:lnTo>
                  <a:pt x="36" y="24"/>
                </a:lnTo>
                <a:lnTo>
                  <a:pt x="37" y="22"/>
                </a:lnTo>
                <a:lnTo>
                  <a:pt x="41" y="24"/>
                </a:lnTo>
                <a:lnTo>
                  <a:pt x="45" y="26"/>
                </a:lnTo>
                <a:lnTo>
                  <a:pt x="48" y="24"/>
                </a:lnTo>
                <a:lnTo>
                  <a:pt x="52" y="22"/>
                </a:lnTo>
                <a:lnTo>
                  <a:pt x="53" y="22"/>
                </a:lnTo>
                <a:lnTo>
                  <a:pt x="57" y="21"/>
                </a:lnTo>
                <a:lnTo>
                  <a:pt x="60" y="21"/>
                </a:lnTo>
                <a:lnTo>
                  <a:pt x="61" y="21"/>
                </a:lnTo>
                <a:lnTo>
                  <a:pt x="64" y="19"/>
                </a:lnTo>
                <a:lnTo>
                  <a:pt x="65" y="19"/>
                </a:lnTo>
                <a:lnTo>
                  <a:pt x="64" y="18"/>
                </a:lnTo>
                <a:lnTo>
                  <a:pt x="60" y="19"/>
                </a:lnTo>
                <a:lnTo>
                  <a:pt x="57" y="18"/>
                </a:lnTo>
                <a:lnTo>
                  <a:pt x="56" y="16"/>
                </a:lnTo>
                <a:lnTo>
                  <a:pt x="56" y="15"/>
                </a:lnTo>
                <a:lnTo>
                  <a:pt x="52" y="13"/>
                </a:lnTo>
                <a:lnTo>
                  <a:pt x="49" y="11"/>
                </a:lnTo>
                <a:lnTo>
                  <a:pt x="48" y="10"/>
                </a:lnTo>
                <a:lnTo>
                  <a:pt x="40" y="7"/>
                </a:lnTo>
                <a:lnTo>
                  <a:pt x="38" y="7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40" name="Freeform 640"/>
          <p:cNvSpPr>
            <a:spLocks/>
          </p:cNvSpPr>
          <p:nvPr/>
        </p:nvSpPr>
        <p:spPr bwMode="auto">
          <a:xfrm>
            <a:off x="2811616" y="1878807"/>
            <a:ext cx="124724" cy="51542"/>
          </a:xfrm>
          <a:custGeom>
            <a:avLst/>
            <a:gdLst/>
            <a:ahLst/>
            <a:cxnLst>
              <a:cxn ang="0">
                <a:pos x="36" y="4"/>
              </a:cxn>
              <a:cxn ang="0">
                <a:pos x="32" y="4"/>
              </a:cxn>
              <a:cxn ang="0">
                <a:pos x="32" y="2"/>
              </a:cxn>
              <a:cxn ang="0">
                <a:pos x="28" y="0"/>
              </a:cxn>
              <a:cxn ang="0">
                <a:pos x="24" y="0"/>
              </a:cxn>
              <a:cxn ang="0">
                <a:pos x="20" y="2"/>
              </a:cxn>
              <a:cxn ang="0">
                <a:pos x="20" y="5"/>
              </a:cxn>
              <a:cxn ang="0">
                <a:pos x="18" y="5"/>
              </a:cxn>
              <a:cxn ang="0">
                <a:pos x="14" y="7"/>
              </a:cxn>
              <a:cxn ang="0">
                <a:pos x="16" y="10"/>
              </a:cxn>
              <a:cxn ang="0">
                <a:pos x="10" y="13"/>
              </a:cxn>
              <a:cxn ang="0">
                <a:pos x="2" y="13"/>
              </a:cxn>
              <a:cxn ang="0">
                <a:pos x="0" y="16"/>
              </a:cxn>
              <a:cxn ang="0">
                <a:pos x="2" y="19"/>
              </a:cxn>
              <a:cxn ang="0">
                <a:pos x="5" y="18"/>
              </a:cxn>
              <a:cxn ang="0">
                <a:pos x="9" y="18"/>
              </a:cxn>
              <a:cxn ang="0">
                <a:pos x="12" y="19"/>
              </a:cxn>
              <a:cxn ang="0">
                <a:pos x="16" y="19"/>
              </a:cxn>
              <a:cxn ang="0">
                <a:pos x="20" y="19"/>
              </a:cxn>
              <a:cxn ang="0">
                <a:pos x="21" y="21"/>
              </a:cxn>
              <a:cxn ang="0">
                <a:pos x="28" y="22"/>
              </a:cxn>
              <a:cxn ang="0">
                <a:pos x="34" y="24"/>
              </a:cxn>
              <a:cxn ang="0">
                <a:pos x="37" y="22"/>
              </a:cxn>
              <a:cxn ang="0">
                <a:pos x="45" y="26"/>
              </a:cxn>
              <a:cxn ang="0">
                <a:pos x="52" y="22"/>
              </a:cxn>
              <a:cxn ang="0">
                <a:pos x="57" y="21"/>
              </a:cxn>
              <a:cxn ang="0">
                <a:pos x="61" y="21"/>
              </a:cxn>
              <a:cxn ang="0">
                <a:pos x="65" y="19"/>
              </a:cxn>
              <a:cxn ang="0">
                <a:pos x="60" y="19"/>
              </a:cxn>
              <a:cxn ang="0">
                <a:pos x="56" y="16"/>
              </a:cxn>
              <a:cxn ang="0">
                <a:pos x="52" y="13"/>
              </a:cxn>
              <a:cxn ang="0">
                <a:pos x="48" y="10"/>
              </a:cxn>
              <a:cxn ang="0">
                <a:pos x="38" y="7"/>
              </a:cxn>
            </a:cxnLst>
            <a:rect l="0" t="0" r="r" b="b"/>
            <a:pathLst>
              <a:path w="65" h="26">
                <a:moveTo>
                  <a:pt x="38" y="7"/>
                </a:moveTo>
                <a:lnTo>
                  <a:pt x="36" y="4"/>
                </a:lnTo>
                <a:lnTo>
                  <a:pt x="34" y="4"/>
                </a:lnTo>
                <a:lnTo>
                  <a:pt x="32" y="4"/>
                </a:lnTo>
                <a:lnTo>
                  <a:pt x="33" y="2"/>
                </a:lnTo>
                <a:lnTo>
                  <a:pt x="32" y="2"/>
                </a:lnTo>
                <a:lnTo>
                  <a:pt x="29" y="2"/>
                </a:lnTo>
                <a:lnTo>
                  <a:pt x="28" y="0"/>
                </a:lnTo>
                <a:lnTo>
                  <a:pt x="26" y="0"/>
                </a:lnTo>
                <a:lnTo>
                  <a:pt x="24" y="0"/>
                </a:lnTo>
                <a:lnTo>
                  <a:pt x="22" y="0"/>
                </a:lnTo>
                <a:lnTo>
                  <a:pt x="20" y="2"/>
                </a:lnTo>
                <a:lnTo>
                  <a:pt x="17" y="5"/>
                </a:lnTo>
                <a:lnTo>
                  <a:pt x="20" y="5"/>
                </a:lnTo>
                <a:lnTo>
                  <a:pt x="20" y="7"/>
                </a:lnTo>
                <a:lnTo>
                  <a:pt x="18" y="5"/>
                </a:lnTo>
                <a:lnTo>
                  <a:pt x="16" y="5"/>
                </a:lnTo>
                <a:lnTo>
                  <a:pt x="14" y="7"/>
                </a:lnTo>
                <a:lnTo>
                  <a:pt x="14" y="8"/>
                </a:lnTo>
                <a:lnTo>
                  <a:pt x="16" y="10"/>
                </a:lnTo>
                <a:lnTo>
                  <a:pt x="13" y="11"/>
                </a:lnTo>
                <a:lnTo>
                  <a:pt x="10" y="13"/>
                </a:lnTo>
                <a:lnTo>
                  <a:pt x="6" y="13"/>
                </a:lnTo>
                <a:lnTo>
                  <a:pt x="2" y="13"/>
                </a:lnTo>
                <a:lnTo>
                  <a:pt x="0" y="15"/>
                </a:lnTo>
                <a:lnTo>
                  <a:pt x="0" y="16"/>
                </a:lnTo>
                <a:lnTo>
                  <a:pt x="0" y="18"/>
                </a:lnTo>
                <a:lnTo>
                  <a:pt x="2" y="19"/>
                </a:lnTo>
                <a:lnTo>
                  <a:pt x="5" y="19"/>
                </a:lnTo>
                <a:lnTo>
                  <a:pt x="5" y="18"/>
                </a:lnTo>
                <a:lnTo>
                  <a:pt x="6" y="18"/>
                </a:lnTo>
                <a:lnTo>
                  <a:pt x="9" y="18"/>
                </a:lnTo>
                <a:lnTo>
                  <a:pt x="10" y="18"/>
                </a:lnTo>
                <a:lnTo>
                  <a:pt x="12" y="19"/>
                </a:lnTo>
                <a:lnTo>
                  <a:pt x="14" y="19"/>
                </a:lnTo>
                <a:lnTo>
                  <a:pt x="16" y="19"/>
                </a:lnTo>
                <a:lnTo>
                  <a:pt x="17" y="19"/>
                </a:lnTo>
                <a:lnTo>
                  <a:pt x="20" y="19"/>
                </a:lnTo>
                <a:lnTo>
                  <a:pt x="20" y="21"/>
                </a:lnTo>
                <a:lnTo>
                  <a:pt x="21" y="21"/>
                </a:lnTo>
                <a:lnTo>
                  <a:pt x="24" y="21"/>
                </a:lnTo>
                <a:lnTo>
                  <a:pt x="28" y="22"/>
                </a:lnTo>
                <a:lnTo>
                  <a:pt x="30" y="22"/>
                </a:lnTo>
                <a:lnTo>
                  <a:pt x="34" y="24"/>
                </a:lnTo>
                <a:lnTo>
                  <a:pt x="36" y="24"/>
                </a:lnTo>
                <a:lnTo>
                  <a:pt x="37" y="22"/>
                </a:lnTo>
                <a:lnTo>
                  <a:pt x="41" y="24"/>
                </a:lnTo>
                <a:lnTo>
                  <a:pt x="45" y="26"/>
                </a:lnTo>
                <a:lnTo>
                  <a:pt x="48" y="24"/>
                </a:lnTo>
                <a:lnTo>
                  <a:pt x="52" y="22"/>
                </a:lnTo>
                <a:lnTo>
                  <a:pt x="53" y="22"/>
                </a:lnTo>
                <a:lnTo>
                  <a:pt x="57" y="21"/>
                </a:lnTo>
                <a:lnTo>
                  <a:pt x="60" y="21"/>
                </a:lnTo>
                <a:lnTo>
                  <a:pt x="61" y="21"/>
                </a:lnTo>
                <a:lnTo>
                  <a:pt x="64" y="19"/>
                </a:lnTo>
                <a:lnTo>
                  <a:pt x="65" y="19"/>
                </a:lnTo>
                <a:lnTo>
                  <a:pt x="64" y="18"/>
                </a:lnTo>
                <a:lnTo>
                  <a:pt x="60" y="19"/>
                </a:lnTo>
                <a:lnTo>
                  <a:pt x="57" y="18"/>
                </a:lnTo>
                <a:lnTo>
                  <a:pt x="56" y="16"/>
                </a:lnTo>
                <a:lnTo>
                  <a:pt x="56" y="15"/>
                </a:lnTo>
                <a:lnTo>
                  <a:pt x="52" y="13"/>
                </a:lnTo>
                <a:lnTo>
                  <a:pt x="49" y="11"/>
                </a:lnTo>
                <a:lnTo>
                  <a:pt x="48" y="10"/>
                </a:lnTo>
                <a:lnTo>
                  <a:pt x="40" y="7"/>
                </a:lnTo>
                <a:lnTo>
                  <a:pt x="38" y="7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41" name="Freeform 641"/>
          <p:cNvSpPr>
            <a:spLocks/>
          </p:cNvSpPr>
          <p:nvPr/>
        </p:nvSpPr>
        <p:spPr bwMode="auto">
          <a:xfrm>
            <a:off x="3312463" y="2469398"/>
            <a:ext cx="40925" cy="19329"/>
          </a:xfrm>
          <a:custGeom>
            <a:avLst/>
            <a:gdLst/>
            <a:ahLst/>
            <a:cxnLst>
              <a:cxn ang="0">
                <a:pos x="1" y="2"/>
              </a:cxn>
              <a:cxn ang="0">
                <a:pos x="8" y="0"/>
              </a:cxn>
              <a:cxn ang="0">
                <a:pos x="12" y="2"/>
              </a:cxn>
              <a:cxn ang="0">
                <a:pos x="14" y="2"/>
              </a:cxn>
              <a:cxn ang="0">
                <a:pos x="17" y="2"/>
              </a:cxn>
              <a:cxn ang="0">
                <a:pos x="18" y="5"/>
              </a:cxn>
              <a:cxn ang="0">
                <a:pos x="18" y="7"/>
              </a:cxn>
              <a:cxn ang="0">
                <a:pos x="20" y="8"/>
              </a:cxn>
              <a:cxn ang="0">
                <a:pos x="20" y="10"/>
              </a:cxn>
              <a:cxn ang="0">
                <a:pos x="17" y="8"/>
              </a:cxn>
              <a:cxn ang="0">
                <a:pos x="14" y="8"/>
              </a:cxn>
              <a:cxn ang="0">
                <a:pos x="9" y="5"/>
              </a:cxn>
              <a:cxn ang="0">
                <a:pos x="4" y="5"/>
              </a:cxn>
              <a:cxn ang="0">
                <a:pos x="0" y="3"/>
              </a:cxn>
              <a:cxn ang="0">
                <a:pos x="1" y="2"/>
              </a:cxn>
            </a:cxnLst>
            <a:rect l="0" t="0" r="r" b="b"/>
            <a:pathLst>
              <a:path w="20" h="10">
                <a:moveTo>
                  <a:pt x="1" y="2"/>
                </a:moveTo>
                <a:lnTo>
                  <a:pt x="8" y="0"/>
                </a:lnTo>
                <a:lnTo>
                  <a:pt x="12" y="2"/>
                </a:lnTo>
                <a:lnTo>
                  <a:pt x="14" y="2"/>
                </a:lnTo>
                <a:lnTo>
                  <a:pt x="17" y="2"/>
                </a:lnTo>
                <a:lnTo>
                  <a:pt x="18" y="5"/>
                </a:lnTo>
                <a:lnTo>
                  <a:pt x="18" y="7"/>
                </a:lnTo>
                <a:lnTo>
                  <a:pt x="20" y="8"/>
                </a:lnTo>
                <a:lnTo>
                  <a:pt x="20" y="10"/>
                </a:lnTo>
                <a:lnTo>
                  <a:pt x="17" y="8"/>
                </a:lnTo>
                <a:lnTo>
                  <a:pt x="14" y="8"/>
                </a:lnTo>
                <a:lnTo>
                  <a:pt x="9" y="5"/>
                </a:lnTo>
                <a:lnTo>
                  <a:pt x="4" y="5"/>
                </a:lnTo>
                <a:lnTo>
                  <a:pt x="0" y="3"/>
                </a:lnTo>
                <a:lnTo>
                  <a:pt x="1" y="2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42" name="Freeform 642"/>
          <p:cNvSpPr>
            <a:spLocks/>
          </p:cNvSpPr>
          <p:nvPr/>
        </p:nvSpPr>
        <p:spPr bwMode="auto">
          <a:xfrm>
            <a:off x="3312463" y="2469398"/>
            <a:ext cx="40925" cy="19329"/>
          </a:xfrm>
          <a:custGeom>
            <a:avLst/>
            <a:gdLst/>
            <a:ahLst/>
            <a:cxnLst>
              <a:cxn ang="0">
                <a:pos x="1" y="2"/>
              </a:cxn>
              <a:cxn ang="0">
                <a:pos x="8" y="0"/>
              </a:cxn>
              <a:cxn ang="0">
                <a:pos x="12" y="2"/>
              </a:cxn>
              <a:cxn ang="0">
                <a:pos x="14" y="2"/>
              </a:cxn>
              <a:cxn ang="0">
                <a:pos x="17" y="2"/>
              </a:cxn>
              <a:cxn ang="0">
                <a:pos x="18" y="5"/>
              </a:cxn>
              <a:cxn ang="0">
                <a:pos x="18" y="7"/>
              </a:cxn>
              <a:cxn ang="0">
                <a:pos x="20" y="8"/>
              </a:cxn>
              <a:cxn ang="0">
                <a:pos x="20" y="10"/>
              </a:cxn>
              <a:cxn ang="0">
                <a:pos x="17" y="8"/>
              </a:cxn>
              <a:cxn ang="0">
                <a:pos x="14" y="8"/>
              </a:cxn>
              <a:cxn ang="0">
                <a:pos x="9" y="5"/>
              </a:cxn>
              <a:cxn ang="0">
                <a:pos x="4" y="5"/>
              </a:cxn>
              <a:cxn ang="0">
                <a:pos x="0" y="3"/>
              </a:cxn>
              <a:cxn ang="0">
                <a:pos x="1" y="2"/>
              </a:cxn>
            </a:cxnLst>
            <a:rect l="0" t="0" r="r" b="b"/>
            <a:pathLst>
              <a:path w="20" h="10">
                <a:moveTo>
                  <a:pt x="1" y="2"/>
                </a:moveTo>
                <a:lnTo>
                  <a:pt x="8" y="0"/>
                </a:lnTo>
                <a:lnTo>
                  <a:pt x="12" y="2"/>
                </a:lnTo>
                <a:lnTo>
                  <a:pt x="14" y="2"/>
                </a:lnTo>
                <a:lnTo>
                  <a:pt x="17" y="2"/>
                </a:lnTo>
                <a:lnTo>
                  <a:pt x="18" y="5"/>
                </a:lnTo>
                <a:lnTo>
                  <a:pt x="18" y="7"/>
                </a:lnTo>
                <a:lnTo>
                  <a:pt x="20" y="8"/>
                </a:lnTo>
                <a:lnTo>
                  <a:pt x="20" y="10"/>
                </a:lnTo>
                <a:lnTo>
                  <a:pt x="17" y="8"/>
                </a:lnTo>
                <a:lnTo>
                  <a:pt x="14" y="8"/>
                </a:lnTo>
                <a:lnTo>
                  <a:pt x="9" y="5"/>
                </a:lnTo>
                <a:lnTo>
                  <a:pt x="4" y="5"/>
                </a:lnTo>
                <a:lnTo>
                  <a:pt x="0" y="3"/>
                </a:lnTo>
                <a:lnTo>
                  <a:pt x="1" y="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43" name="Freeform 643"/>
          <p:cNvSpPr>
            <a:spLocks/>
          </p:cNvSpPr>
          <p:nvPr/>
        </p:nvSpPr>
        <p:spPr bwMode="auto">
          <a:xfrm>
            <a:off x="2049631" y="1711295"/>
            <a:ext cx="304015" cy="124561"/>
          </a:xfrm>
          <a:custGeom>
            <a:avLst/>
            <a:gdLst/>
            <a:ahLst/>
            <a:cxnLst>
              <a:cxn ang="0">
                <a:pos x="29" y="12"/>
              </a:cxn>
              <a:cxn ang="0">
                <a:pos x="27" y="17"/>
              </a:cxn>
              <a:cxn ang="0">
                <a:pos x="23" y="20"/>
              </a:cxn>
              <a:cxn ang="0">
                <a:pos x="20" y="23"/>
              </a:cxn>
              <a:cxn ang="0">
                <a:pos x="17" y="25"/>
              </a:cxn>
              <a:cxn ang="0">
                <a:pos x="16" y="26"/>
              </a:cxn>
              <a:cxn ang="0">
                <a:pos x="20" y="28"/>
              </a:cxn>
              <a:cxn ang="0">
                <a:pos x="12" y="29"/>
              </a:cxn>
              <a:cxn ang="0">
                <a:pos x="13" y="33"/>
              </a:cxn>
              <a:cxn ang="0">
                <a:pos x="13" y="36"/>
              </a:cxn>
              <a:cxn ang="0">
                <a:pos x="12" y="37"/>
              </a:cxn>
              <a:cxn ang="0">
                <a:pos x="8" y="39"/>
              </a:cxn>
              <a:cxn ang="0">
                <a:pos x="7" y="40"/>
              </a:cxn>
              <a:cxn ang="0">
                <a:pos x="5" y="44"/>
              </a:cxn>
              <a:cxn ang="0">
                <a:pos x="3" y="45"/>
              </a:cxn>
              <a:cxn ang="0">
                <a:pos x="0" y="47"/>
              </a:cxn>
              <a:cxn ang="0">
                <a:pos x="13" y="47"/>
              </a:cxn>
              <a:cxn ang="0">
                <a:pos x="12" y="48"/>
              </a:cxn>
              <a:cxn ang="0">
                <a:pos x="19" y="48"/>
              </a:cxn>
              <a:cxn ang="0">
                <a:pos x="28" y="51"/>
              </a:cxn>
              <a:cxn ang="0">
                <a:pos x="34" y="55"/>
              </a:cxn>
              <a:cxn ang="0">
                <a:pos x="45" y="62"/>
              </a:cxn>
              <a:cxn ang="0">
                <a:pos x="58" y="58"/>
              </a:cxn>
              <a:cxn ang="0">
                <a:pos x="65" y="56"/>
              </a:cxn>
              <a:cxn ang="0">
                <a:pos x="69" y="56"/>
              </a:cxn>
              <a:cxn ang="0">
                <a:pos x="73" y="55"/>
              </a:cxn>
              <a:cxn ang="0">
                <a:pos x="80" y="55"/>
              </a:cxn>
              <a:cxn ang="0">
                <a:pos x="82" y="50"/>
              </a:cxn>
              <a:cxn ang="0">
                <a:pos x="85" y="44"/>
              </a:cxn>
              <a:cxn ang="0">
                <a:pos x="90" y="42"/>
              </a:cxn>
              <a:cxn ang="0">
                <a:pos x="100" y="40"/>
              </a:cxn>
              <a:cxn ang="0">
                <a:pos x="102" y="34"/>
              </a:cxn>
              <a:cxn ang="0">
                <a:pos x="112" y="33"/>
              </a:cxn>
              <a:cxn ang="0">
                <a:pos x="126" y="28"/>
              </a:cxn>
              <a:cxn ang="0">
                <a:pos x="141" y="25"/>
              </a:cxn>
              <a:cxn ang="0">
                <a:pos x="159" y="19"/>
              </a:cxn>
              <a:cxn ang="0">
                <a:pos x="151" y="15"/>
              </a:cxn>
              <a:cxn ang="0">
                <a:pos x="140" y="11"/>
              </a:cxn>
              <a:cxn ang="0">
                <a:pos x="128" y="6"/>
              </a:cxn>
              <a:cxn ang="0">
                <a:pos x="106" y="8"/>
              </a:cxn>
              <a:cxn ang="0">
                <a:pos x="105" y="9"/>
              </a:cxn>
              <a:cxn ang="0">
                <a:pos x="101" y="9"/>
              </a:cxn>
              <a:cxn ang="0">
                <a:pos x="98" y="6"/>
              </a:cxn>
              <a:cxn ang="0">
                <a:pos x="93" y="9"/>
              </a:cxn>
              <a:cxn ang="0">
                <a:pos x="84" y="4"/>
              </a:cxn>
              <a:cxn ang="0">
                <a:pos x="76" y="1"/>
              </a:cxn>
              <a:cxn ang="0">
                <a:pos x="61" y="1"/>
              </a:cxn>
              <a:cxn ang="0">
                <a:pos x="44" y="1"/>
              </a:cxn>
              <a:cxn ang="0">
                <a:pos x="44" y="4"/>
              </a:cxn>
              <a:cxn ang="0">
                <a:pos x="41" y="1"/>
              </a:cxn>
              <a:cxn ang="0">
                <a:pos x="37" y="1"/>
              </a:cxn>
              <a:cxn ang="0">
                <a:pos x="27" y="3"/>
              </a:cxn>
              <a:cxn ang="0">
                <a:pos x="21" y="4"/>
              </a:cxn>
              <a:cxn ang="0">
                <a:pos x="24" y="8"/>
              </a:cxn>
            </a:cxnLst>
            <a:rect l="0" t="0" r="r" b="b"/>
            <a:pathLst>
              <a:path w="159" h="62">
                <a:moveTo>
                  <a:pt x="25" y="11"/>
                </a:moveTo>
                <a:lnTo>
                  <a:pt x="28" y="12"/>
                </a:lnTo>
                <a:lnTo>
                  <a:pt x="29" y="12"/>
                </a:lnTo>
                <a:lnTo>
                  <a:pt x="30" y="14"/>
                </a:lnTo>
                <a:lnTo>
                  <a:pt x="29" y="14"/>
                </a:lnTo>
                <a:lnTo>
                  <a:pt x="27" y="17"/>
                </a:lnTo>
                <a:lnTo>
                  <a:pt x="25" y="17"/>
                </a:lnTo>
                <a:lnTo>
                  <a:pt x="24" y="19"/>
                </a:lnTo>
                <a:lnTo>
                  <a:pt x="23" y="20"/>
                </a:lnTo>
                <a:lnTo>
                  <a:pt x="21" y="20"/>
                </a:lnTo>
                <a:lnTo>
                  <a:pt x="20" y="22"/>
                </a:lnTo>
                <a:lnTo>
                  <a:pt x="20" y="23"/>
                </a:lnTo>
                <a:lnTo>
                  <a:pt x="17" y="23"/>
                </a:lnTo>
                <a:lnTo>
                  <a:pt x="19" y="25"/>
                </a:lnTo>
                <a:lnTo>
                  <a:pt x="17" y="25"/>
                </a:lnTo>
                <a:lnTo>
                  <a:pt x="17" y="26"/>
                </a:lnTo>
                <a:lnTo>
                  <a:pt x="15" y="26"/>
                </a:lnTo>
                <a:lnTo>
                  <a:pt x="16" y="26"/>
                </a:lnTo>
                <a:lnTo>
                  <a:pt x="17" y="26"/>
                </a:lnTo>
                <a:lnTo>
                  <a:pt x="19" y="28"/>
                </a:lnTo>
                <a:lnTo>
                  <a:pt x="20" y="28"/>
                </a:lnTo>
                <a:lnTo>
                  <a:pt x="20" y="29"/>
                </a:lnTo>
                <a:lnTo>
                  <a:pt x="15" y="29"/>
                </a:lnTo>
                <a:lnTo>
                  <a:pt x="12" y="29"/>
                </a:lnTo>
                <a:lnTo>
                  <a:pt x="12" y="31"/>
                </a:lnTo>
                <a:lnTo>
                  <a:pt x="13" y="31"/>
                </a:lnTo>
                <a:lnTo>
                  <a:pt x="13" y="33"/>
                </a:lnTo>
                <a:lnTo>
                  <a:pt x="12" y="34"/>
                </a:lnTo>
                <a:lnTo>
                  <a:pt x="13" y="34"/>
                </a:lnTo>
                <a:lnTo>
                  <a:pt x="13" y="36"/>
                </a:lnTo>
                <a:lnTo>
                  <a:pt x="12" y="36"/>
                </a:lnTo>
                <a:lnTo>
                  <a:pt x="11" y="37"/>
                </a:lnTo>
                <a:lnTo>
                  <a:pt x="12" y="37"/>
                </a:lnTo>
                <a:lnTo>
                  <a:pt x="11" y="37"/>
                </a:lnTo>
                <a:lnTo>
                  <a:pt x="9" y="37"/>
                </a:lnTo>
                <a:lnTo>
                  <a:pt x="8" y="39"/>
                </a:lnTo>
                <a:lnTo>
                  <a:pt x="8" y="40"/>
                </a:lnTo>
                <a:lnTo>
                  <a:pt x="5" y="40"/>
                </a:lnTo>
                <a:lnTo>
                  <a:pt x="7" y="40"/>
                </a:lnTo>
                <a:lnTo>
                  <a:pt x="8" y="42"/>
                </a:lnTo>
                <a:lnTo>
                  <a:pt x="4" y="42"/>
                </a:lnTo>
                <a:lnTo>
                  <a:pt x="5" y="44"/>
                </a:lnTo>
                <a:lnTo>
                  <a:pt x="4" y="44"/>
                </a:lnTo>
                <a:lnTo>
                  <a:pt x="3" y="44"/>
                </a:lnTo>
                <a:lnTo>
                  <a:pt x="3" y="45"/>
                </a:lnTo>
                <a:lnTo>
                  <a:pt x="4" y="45"/>
                </a:lnTo>
                <a:lnTo>
                  <a:pt x="3" y="47"/>
                </a:lnTo>
                <a:lnTo>
                  <a:pt x="0" y="47"/>
                </a:lnTo>
                <a:lnTo>
                  <a:pt x="1" y="47"/>
                </a:lnTo>
                <a:lnTo>
                  <a:pt x="8" y="47"/>
                </a:lnTo>
                <a:lnTo>
                  <a:pt x="13" y="47"/>
                </a:lnTo>
                <a:lnTo>
                  <a:pt x="15" y="47"/>
                </a:lnTo>
                <a:lnTo>
                  <a:pt x="12" y="47"/>
                </a:lnTo>
                <a:lnTo>
                  <a:pt x="12" y="48"/>
                </a:lnTo>
                <a:lnTo>
                  <a:pt x="17" y="48"/>
                </a:lnTo>
                <a:lnTo>
                  <a:pt x="19" y="50"/>
                </a:lnTo>
                <a:lnTo>
                  <a:pt x="19" y="48"/>
                </a:lnTo>
                <a:lnTo>
                  <a:pt x="20" y="48"/>
                </a:lnTo>
                <a:lnTo>
                  <a:pt x="21" y="50"/>
                </a:lnTo>
                <a:lnTo>
                  <a:pt x="28" y="51"/>
                </a:lnTo>
                <a:lnTo>
                  <a:pt x="30" y="53"/>
                </a:lnTo>
                <a:lnTo>
                  <a:pt x="32" y="55"/>
                </a:lnTo>
                <a:lnTo>
                  <a:pt x="34" y="55"/>
                </a:lnTo>
                <a:lnTo>
                  <a:pt x="38" y="61"/>
                </a:lnTo>
                <a:lnTo>
                  <a:pt x="41" y="62"/>
                </a:lnTo>
                <a:lnTo>
                  <a:pt x="45" y="62"/>
                </a:lnTo>
                <a:lnTo>
                  <a:pt x="49" y="59"/>
                </a:lnTo>
                <a:lnTo>
                  <a:pt x="53" y="59"/>
                </a:lnTo>
                <a:lnTo>
                  <a:pt x="58" y="58"/>
                </a:lnTo>
                <a:lnTo>
                  <a:pt x="61" y="56"/>
                </a:lnTo>
                <a:lnTo>
                  <a:pt x="62" y="55"/>
                </a:lnTo>
                <a:lnTo>
                  <a:pt x="65" y="56"/>
                </a:lnTo>
                <a:lnTo>
                  <a:pt x="66" y="56"/>
                </a:lnTo>
                <a:lnTo>
                  <a:pt x="65" y="56"/>
                </a:lnTo>
                <a:lnTo>
                  <a:pt x="69" y="56"/>
                </a:lnTo>
                <a:lnTo>
                  <a:pt x="70" y="56"/>
                </a:lnTo>
                <a:lnTo>
                  <a:pt x="72" y="56"/>
                </a:lnTo>
                <a:lnTo>
                  <a:pt x="73" y="55"/>
                </a:lnTo>
                <a:lnTo>
                  <a:pt x="74" y="56"/>
                </a:lnTo>
                <a:lnTo>
                  <a:pt x="77" y="56"/>
                </a:lnTo>
                <a:lnTo>
                  <a:pt x="80" y="55"/>
                </a:lnTo>
                <a:lnTo>
                  <a:pt x="82" y="53"/>
                </a:lnTo>
                <a:lnTo>
                  <a:pt x="82" y="51"/>
                </a:lnTo>
                <a:lnTo>
                  <a:pt x="82" y="50"/>
                </a:lnTo>
                <a:lnTo>
                  <a:pt x="82" y="48"/>
                </a:lnTo>
                <a:lnTo>
                  <a:pt x="81" y="47"/>
                </a:lnTo>
                <a:lnTo>
                  <a:pt x="85" y="44"/>
                </a:lnTo>
                <a:lnTo>
                  <a:pt x="86" y="42"/>
                </a:lnTo>
                <a:lnTo>
                  <a:pt x="86" y="40"/>
                </a:lnTo>
                <a:lnTo>
                  <a:pt x="90" y="42"/>
                </a:lnTo>
                <a:lnTo>
                  <a:pt x="93" y="40"/>
                </a:lnTo>
                <a:lnTo>
                  <a:pt x="96" y="40"/>
                </a:lnTo>
                <a:lnTo>
                  <a:pt x="100" y="40"/>
                </a:lnTo>
                <a:lnTo>
                  <a:pt x="101" y="37"/>
                </a:lnTo>
                <a:lnTo>
                  <a:pt x="102" y="36"/>
                </a:lnTo>
                <a:lnTo>
                  <a:pt x="102" y="34"/>
                </a:lnTo>
                <a:lnTo>
                  <a:pt x="104" y="34"/>
                </a:lnTo>
                <a:lnTo>
                  <a:pt x="108" y="33"/>
                </a:lnTo>
                <a:lnTo>
                  <a:pt x="112" y="33"/>
                </a:lnTo>
                <a:lnTo>
                  <a:pt x="114" y="31"/>
                </a:lnTo>
                <a:lnTo>
                  <a:pt x="121" y="29"/>
                </a:lnTo>
                <a:lnTo>
                  <a:pt x="126" y="28"/>
                </a:lnTo>
                <a:lnTo>
                  <a:pt x="130" y="28"/>
                </a:lnTo>
                <a:lnTo>
                  <a:pt x="133" y="26"/>
                </a:lnTo>
                <a:lnTo>
                  <a:pt x="141" y="25"/>
                </a:lnTo>
                <a:lnTo>
                  <a:pt x="151" y="23"/>
                </a:lnTo>
                <a:lnTo>
                  <a:pt x="159" y="20"/>
                </a:lnTo>
                <a:lnTo>
                  <a:pt x="159" y="19"/>
                </a:lnTo>
                <a:lnTo>
                  <a:pt x="158" y="17"/>
                </a:lnTo>
                <a:lnTo>
                  <a:pt x="154" y="15"/>
                </a:lnTo>
                <a:lnTo>
                  <a:pt x="151" y="15"/>
                </a:lnTo>
                <a:lnTo>
                  <a:pt x="147" y="14"/>
                </a:lnTo>
                <a:lnTo>
                  <a:pt x="141" y="11"/>
                </a:lnTo>
                <a:lnTo>
                  <a:pt x="140" y="11"/>
                </a:lnTo>
                <a:lnTo>
                  <a:pt x="134" y="9"/>
                </a:lnTo>
                <a:lnTo>
                  <a:pt x="132" y="8"/>
                </a:lnTo>
                <a:lnTo>
                  <a:pt x="128" y="6"/>
                </a:lnTo>
                <a:lnTo>
                  <a:pt x="116" y="6"/>
                </a:lnTo>
                <a:lnTo>
                  <a:pt x="108" y="6"/>
                </a:lnTo>
                <a:lnTo>
                  <a:pt x="106" y="8"/>
                </a:lnTo>
                <a:lnTo>
                  <a:pt x="105" y="8"/>
                </a:lnTo>
                <a:lnTo>
                  <a:pt x="106" y="9"/>
                </a:lnTo>
                <a:lnTo>
                  <a:pt x="105" y="9"/>
                </a:lnTo>
                <a:lnTo>
                  <a:pt x="105" y="11"/>
                </a:lnTo>
                <a:lnTo>
                  <a:pt x="102" y="11"/>
                </a:lnTo>
                <a:lnTo>
                  <a:pt x="101" y="9"/>
                </a:lnTo>
                <a:lnTo>
                  <a:pt x="102" y="9"/>
                </a:lnTo>
                <a:lnTo>
                  <a:pt x="102" y="8"/>
                </a:lnTo>
                <a:lnTo>
                  <a:pt x="98" y="6"/>
                </a:lnTo>
                <a:lnTo>
                  <a:pt x="97" y="8"/>
                </a:lnTo>
                <a:lnTo>
                  <a:pt x="94" y="8"/>
                </a:lnTo>
                <a:lnTo>
                  <a:pt x="93" y="9"/>
                </a:lnTo>
                <a:lnTo>
                  <a:pt x="93" y="8"/>
                </a:lnTo>
                <a:lnTo>
                  <a:pt x="94" y="8"/>
                </a:lnTo>
                <a:lnTo>
                  <a:pt x="84" y="4"/>
                </a:lnTo>
                <a:lnTo>
                  <a:pt x="80" y="3"/>
                </a:lnTo>
                <a:lnTo>
                  <a:pt x="77" y="3"/>
                </a:lnTo>
                <a:lnTo>
                  <a:pt x="76" y="1"/>
                </a:lnTo>
                <a:lnTo>
                  <a:pt x="68" y="0"/>
                </a:lnTo>
                <a:lnTo>
                  <a:pt x="64" y="0"/>
                </a:lnTo>
                <a:lnTo>
                  <a:pt x="61" y="1"/>
                </a:lnTo>
                <a:lnTo>
                  <a:pt x="58" y="1"/>
                </a:lnTo>
                <a:lnTo>
                  <a:pt x="54" y="1"/>
                </a:lnTo>
                <a:lnTo>
                  <a:pt x="44" y="1"/>
                </a:lnTo>
                <a:lnTo>
                  <a:pt x="42" y="3"/>
                </a:lnTo>
                <a:lnTo>
                  <a:pt x="44" y="3"/>
                </a:lnTo>
                <a:lnTo>
                  <a:pt x="44" y="4"/>
                </a:lnTo>
                <a:lnTo>
                  <a:pt x="42" y="3"/>
                </a:lnTo>
                <a:lnTo>
                  <a:pt x="41" y="3"/>
                </a:lnTo>
                <a:lnTo>
                  <a:pt x="41" y="1"/>
                </a:lnTo>
                <a:lnTo>
                  <a:pt x="40" y="1"/>
                </a:lnTo>
                <a:lnTo>
                  <a:pt x="38" y="3"/>
                </a:lnTo>
                <a:lnTo>
                  <a:pt x="37" y="1"/>
                </a:lnTo>
                <a:lnTo>
                  <a:pt x="33" y="3"/>
                </a:lnTo>
                <a:lnTo>
                  <a:pt x="29" y="3"/>
                </a:lnTo>
                <a:lnTo>
                  <a:pt x="27" y="3"/>
                </a:lnTo>
                <a:lnTo>
                  <a:pt x="23" y="3"/>
                </a:lnTo>
                <a:lnTo>
                  <a:pt x="20" y="3"/>
                </a:lnTo>
                <a:lnTo>
                  <a:pt x="21" y="4"/>
                </a:lnTo>
                <a:lnTo>
                  <a:pt x="23" y="6"/>
                </a:lnTo>
                <a:lnTo>
                  <a:pt x="25" y="6"/>
                </a:lnTo>
                <a:lnTo>
                  <a:pt x="24" y="8"/>
                </a:lnTo>
                <a:lnTo>
                  <a:pt x="23" y="8"/>
                </a:lnTo>
                <a:lnTo>
                  <a:pt x="25" y="11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44" name="Freeform 644"/>
          <p:cNvSpPr>
            <a:spLocks/>
          </p:cNvSpPr>
          <p:nvPr/>
        </p:nvSpPr>
        <p:spPr bwMode="auto">
          <a:xfrm>
            <a:off x="2049631" y="1711295"/>
            <a:ext cx="304015" cy="124561"/>
          </a:xfrm>
          <a:custGeom>
            <a:avLst/>
            <a:gdLst/>
            <a:ahLst/>
            <a:cxnLst>
              <a:cxn ang="0">
                <a:pos x="29" y="12"/>
              </a:cxn>
              <a:cxn ang="0">
                <a:pos x="27" y="17"/>
              </a:cxn>
              <a:cxn ang="0">
                <a:pos x="23" y="20"/>
              </a:cxn>
              <a:cxn ang="0">
                <a:pos x="20" y="23"/>
              </a:cxn>
              <a:cxn ang="0">
                <a:pos x="17" y="25"/>
              </a:cxn>
              <a:cxn ang="0">
                <a:pos x="16" y="26"/>
              </a:cxn>
              <a:cxn ang="0">
                <a:pos x="20" y="28"/>
              </a:cxn>
              <a:cxn ang="0">
                <a:pos x="12" y="29"/>
              </a:cxn>
              <a:cxn ang="0">
                <a:pos x="13" y="33"/>
              </a:cxn>
              <a:cxn ang="0">
                <a:pos x="13" y="36"/>
              </a:cxn>
              <a:cxn ang="0">
                <a:pos x="12" y="37"/>
              </a:cxn>
              <a:cxn ang="0">
                <a:pos x="8" y="39"/>
              </a:cxn>
              <a:cxn ang="0">
                <a:pos x="7" y="40"/>
              </a:cxn>
              <a:cxn ang="0">
                <a:pos x="5" y="44"/>
              </a:cxn>
              <a:cxn ang="0">
                <a:pos x="3" y="45"/>
              </a:cxn>
              <a:cxn ang="0">
                <a:pos x="0" y="47"/>
              </a:cxn>
              <a:cxn ang="0">
                <a:pos x="13" y="47"/>
              </a:cxn>
              <a:cxn ang="0">
                <a:pos x="12" y="48"/>
              </a:cxn>
              <a:cxn ang="0">
                <a:pos x="19" y="48"/>
              </a:cxn>
              <a:cxn ang="0">
                <a:pos x="28" y="51"/>
              </a:cxn>
              <a:cxn ang="0">
                <a:pos x="34" y="55"/>
              </a:cxn>
              <a:cxn ang="0">
                <a:pos x="45" y="62"/>
              </a:cxn>
              <a:cxn ang="0">
                <a:pos x="58" y="58"/>
              </a:cxn>
              <a:cxn ang="0">
                <a:pos x="65" y="56"/>
              </a:cxn>
              <a:cxn ang="0">
                <a:pos x="69" y="56"/>
              </a:cxn>
              <a:cxn ang="0">
                <a:pos x="73" y="55"/>
              </a:cxn>
              <a:cxn ang="0">
                <a:pos x="80" y="55"/>
              </a:cxn>
              <a:cxn ang="0">
                <a:pos x="82" y="50"/>
              </a:cxn>
              <a:cxn ang="0">
                <a:pos x="85" y="44"/>
              </a:cxn>
              <a:cxn ang="0">
                <a:pos x="90" y="42"/>
              </a:cxn>
              <a:cxn ang="0">
                <a:pos x="100" y="40"/>
              </a:cxn>
              <a:cxn ang="0">
                <a:pos x="102" y="34"/>
              </a:cxn>
              <a:cxn ang="0">
                <a:pos x="112" y="33"/>
              </a:cxn>
              <a:cxn ang="0">
                <a:pos x="126" y="28"/>
              </a:cxn>
              <a:cxn ang="0">
                <a:pos x="141" y="25"/>
              </a:cxn>
              <a:cxn ang="0">
                <a:pos x="159" y="19"/>
              </a:cxn>
              <a:cxn ang="0">
                <a:pos x="151" y="15"/>
              </a:cxn>
              <a:cxn ang="0">
                <a:pos x="140" y="11"/>
              </a:cxn>
              <a:cxn ang="0">
                <a:pos x="128" y="6"/>
              </a:cxn>
              <a:cxn ang="0">
                <a:pos x="106" y="8"/>
              </a:cxn>
              <a:cxn ang="0">
                <a:pos x="105" y="9"/>
              </a:cxn>
              <a:cxn ang="0">
                <a:pos x="101" y="9"/>
              </a:cxn>
              <a:cxn ang="0">
                <a:pos x="98" y="6"/>
              </a:cxn>
              <a:cxn ang="0">
                <a:pos x="93" y="9"/>
              </a:cxn>
              <a:cxn ang="0">
                <a:pos x="84" y="4"/>
              </a:cxn>
              <a:cxn ang="0">
                <a:pos x="76" y="1"/>
              </a:cxn>
              <a:cxn ang="0">
                <a:pos x="61" y="1"/>
              </a:cxn>
              <a:cxn ang="0">
                <a:pos x="44" y="1"/>
              </a:cxn>
              <a:cxn ang="0">
                <a:pos x="44" y="4"/>
              </a:cxn>
              <a:cxn ang="0">
                <a:pos x="41" y="1"/>
              </a:cxn>
              <a:cxn ang="0">
                <a:pos x="37" y="1"/>
              </a:cxn>
              <a:cxn ang="0">
                <a:pos x="27" y="3"/>
              </a:cxn>
              <a:cxn ang="0">
                <a:pos x="21" y="4"/>
              </a:cxn>
              <a:cxn ang="0">
                <a:pos x="24" y="8"/>
              </a:cxn>
            </a:cxnLst>
            <a:rect l="0" t="0" r="r" b="b"/>
            <a:pathLst>
              <a:path w="159" h="62">
                <a:moveTo>
                  <a:pt x="25" y="11"/>
                </a:moveTo>
                <a:lnTo>
                  <a:pt x="28" y="12"/>
                </a:lnTo>
                <a:lnTo>
                  <a:pt x="29" y="12"/>
                </a:lnTo>
                <a:lnTo>
                  <a:pt x="30" y="14"/>
                </a:lnTo>
                <a:lnTo>
                  <a:pt x="29" y="14"/>
                </a:lnTo>
                <a:lnTo>
                  <a:pt x="27" y="17"/>
                </a:lnTo>
                <a:lnTo>
                  <a:pt x="25" y="17"/>
                </a:lnTo>
                <a:lnTo>
                  <a:pt x="24" y="19"/>
                </a:lnTo>
                <a:lnTo>
                  <a:pt x="23" y="20"/>
                </a:lnTo>
                <a:lnTo>
                  <a:pt x="21" y="20"/>
                </a:lnTo>
                <a:lnTo>
                  <a:pt x="20" y="22"/>
                </a:lnTo>
                <a:lnTo>
                  <a:pt x="20" y="23"/>
                </a:lnTo>
                <a:lnTo>
                  <a:pt x="17" y="23"/>
                </a:lnTo>
                <a:lnTo>
                  <a:pt x="19" y="25"/>
                </a:lnTo>
                <a:lnTo>
                  <a:pt x="17" y="25"/>
                </a:lnTo>
                <a:lnTo>
                  <a:pt x="17" y="26"/>
                </a:lnTo>
                <a:lnTo>
                  <a:pt x="15" y="26"/>
                </a:lnTo>
                <a:lnTo>
                  <a:pt x="16" y="26"/>
                </a:lnTo>
                <a:lnTo>
                  <a:pt x="17" y="26"/>
                </a:lnTo>
                <a:lnTo>
                  <a:pt x="19" y="28"/>
                </a:lnTo>
                <a:lnTo>
                  <a:pt x="20" y="28"/>
                </a:lnTo>
                <a:lnTo>
                  <a:pt x="20" y="29"/>
                </a:lnTo>
                <a:lnTo>
                  <a:pt x="15" y="29"/>
                </a:lnTo>
                <a:lnTo>
                  <a:pt x="12" y="29"/>
                </a:lnTo>
                <a:lnTo>
                  <a:pt x="12" y="31"/>
                </a:lnTo>
                <a:lnTo>
                  <a:pt x="13" y="31"/>
                </a:lnTo>
                <a:lnTo>
                  <a:pt x="13" y="33"/>
                </a:lnTo>
                <a:lnTo>
                  <a:pt x="12" y="34"/>
                </a:lnTo>
                <a:lnTo>
                  <a:pt x="13" y="34"/>
                </a:lnTo>
                <a:lnTo>
                  <a:pt x="13" y="36"/>
                </a:lnTo>
                <a:lnTo>
                  <a:pt x="12" y="36"/>
                </a:lnTo>
                <a:lnTo>
                  <a:pt x="11" y="37"/>
                </a:lnTo>
                <a:lnTo>
                  <a:pt x="12" y="37"/>
                </a:lnTo>
                <a:lnTo>
                  <a:pt x="11" y="37"/>
                </a:lnTo>
                <a:lnTo>
                  <a:pt x="9" y="37"/>
                </a:lnTo>
                <a:lnTo>
                  <a:pt x="8" y="39"/>
                </a:lnTo>
                <a:lnTo>
                  <a:pt x="8" y="40"/>
                </a:lnTo>
                <a:lnTo>
                  <a:pt x="5" y="40"/>
                </a:lnTo>
                <a:lnTo>
                  <a:pt x="7" y="40"/>
                </a:lnTo>
                <a:lnTo>
                  <a:pt x="8" y="42"/>
                </a:lnTo>
                <a:lnTo>
                  <a:pt x="4" y="42"/>
                </a:lnTo>
                <a:lnTo>
                  <a:pt x="5" y="44"/>
                </a:lnTo>
                <a:lnTo>
                  <a:pt x="4" y="44"/>
                </a:lnTo>
                <a:lnTo>
                  <a:pt x="3" y="44"/>
                </a:lnTo>
                <a:lnTo>
                  <a:pt x="3" y="45"/>
                </a:lnTo>
                <a:lnTo>
                  <a:pt x="4" y="45"/>
                </a:lnTo>
                <a:lnTo>
                  <a:pt x="3" y="47"/>
                </a:lnTo>
                <a:lnTo>
                  <a:pt x="0" y="47"/>
                </a:lnTo>
                <a:lnTo>
                  <a:pt x="1" y="47"/>
                </a:lnTo>
                <a:lnTo>
                  <a:pt x="8" y="47"/>
                </a:lnTo>
                <a:lnTo>
                  <a:pt x="13" y="47"/>
                </a:lnTo>
                <a:lnTo>
                  <a:pt x="15" y="47"/>
                </a:lnTo>
                <a:lnTo>
                  <a:pt x="12" y="47"/>
                </a:lnTo>
                <a:lnTo>
                  <a:pt x="12" y="48"/>
                </a:lnTo>
                <a:lnTo>
                  <a:pt x="17" y="48"/>
                </a:lnTo>
                <a:lnTo>
                  <a:pt x="19" y="50"/>
                </a:lnTo>
                <a:lnTo>
                  <a:pt x="19" y="48"/>
                </a:lnTo>
                <a:lnTo>
                  <a:pt x="20" y="48"/>
                </a:lnTo>
                <a:lnTo>
                  <a:pt x="21" y="50"/>
                </a:lnTo>
                <a:lnTo>
                  <a:pt x="28" y="51"/>
                </a:lnTo>
                <a:lnTo>
                  <a:pt x="30" y="53"/>
                </a:lnTo>
                <a:lnTo>
                  <a:pt x="32" y="55"/>
                </a:lnTo>
                <a:lnTo>
                  <a:pt x="34" y="55"/>
                </a:lnTo>
                <a:lnTo>
                  <a:pt x="38" y="61"/>
                </a:lnTo>
                <a:lnTo>
                  <a:pt x="41" y="62"/>
                </a:lnTo>
                <a:lnTo>
                  <a:pt x="45" y="62"/>
                </a:lnTo>
                <a:lnTo>
                  <a:pt x="49" y="59"/>
                </a:lnTo>
                <a:lnTo>
                  <a:pt x="53" y="59"/>
                </a:lnTo>
                <a:lnTo>
                  <a:pt x="58" y="58"/>
                </a:lnTo>
                <a:lnTo>
                  <a:pt x="61" y="56"/>
                </a:lnTo>
                <a:lnTo>
                  <a:pt x="62" y="55"/>
                </a:lnTo>
                <a:lnTo>
                  <a:pt x="65" y="56"/>
                </a:lnTo>
                <a:lnTo>
                  <a:pt x="66" y="56"/>
                </a:lnTo>
                <a:lnTo>
                  <a:pt x="65" y="56"/>
                </a:lnTo>
                <a:lnTo>
                  <a:pt x="69" y="56"/>
                </a:lnTo>
                <a:lnTo>
                  <a:pt x="70" y="56"/>
                </a:lnTo>
                <a:lnTo>
                  <a:pt x="72" y="56"/>
                </a:lnTo>
                <a:lnTo>
                  <a:pt x="73" y="55"/>
                </a:lnTo>
                <a:lnTo>
                  <a:pt x="74" y="56"/>
                </a:lnTo>
                <a:lnTo>
                  <a:pt x="77" y="56"/>
                </a:lnTo>
                <a:lnTo>
                  <a:pt x="80" y="55"/>
                </a:lnTo>
                <a:lnTo>
                  <a:pt x="82" y="53"/>
                </a:lnTo>
                <a:lnTo>
                  <a:pt x="82" y="51"/>
                </a:lnTo>
                <a:lnTo>
                  <a:pt x="82" y="50"/>
                </a:lnTo>
                <a:lnTo>
                  <a:pt x="82" y="48"/>
                </a:lnTo>
                <a:lnTo>
                  <a:pt x="81" y="47"/>
                </a:lnTo>
                <a:lnTo>
                  <a:pt x="85" y="44"/>
                </a:lnTo>
                <a:lnTo>
                  <a:pt x="86" y="42"/>
                </a:lnTo>
                <a:lnTo>
                  <a:pt x="86" y="40"/>
                </a:lnTo>
                <a:lnTo>
                  <a:pt x="90" y="42"/>
                </a:lnTo>
                <a:lnTo>
                  <a:pt x="93" y="40"/>
                </a:lnTo>
                <a:lnTo>
                  <a:pt x="96" y="40"/>
                </a:lnTo>
                <a:lnTo>
                  <a:pt x="100" y="40"/>
                </a:lnTo>
                <a:lnTo>
                  <a:pt x="101" y="37"/>
                </a:lnTo>
                <a:lnTo>
                  <a:pt x="102" y="36"/>
                </a:lnTo>
                <a:lnTo>
                  <a:pt x="102" y="34"/>
                </a:lnTo>
                <a:lnTo>
                  <a:pt x="104" y="34"/>
                </a:lnTo>
                <a:lnTo>
                  <a:pt x="108" y="33"/>
                </a:lnTo>
                <a:lnTo>
                  <a:pt x="112" y="33"/>
                </a:lnTo>
                <a:lnTo>
                  <a:pt x="114" y="31"/>
                </a:lnTo>
                <a:lnTo>
                  <a:pt x="121" y="29"/>
                </a:lnTo>
                <a:lnTo>
                  <a:pt x="126" y="28"/>
                </a:lnTo>
                <a:lnTo>
                  <a:pt x="130" y="28"/>
                </a:lnTo>
                <a:lnTo>
                  <a:pt x="133" y="26"/>
                </a:lnTo>
                <a:lnTo>
                  <a:pt x="141" y="25"/>
                </a:lnTo>
                <a:lnTo>
                  <a:pt x="151" y="23"/>
                </a:lnTo>
                <a:lnTo>
                  <a:pt x="159" y="20"/>
                </a:lnTo>
                <a:lnTo>
                  <a:pt x="159" y="19"/>
                </a:lnTo>
                <a:lnTo>
                  <a:pt x="158" y="17"/>
                </a:lnTo>
                <a:lnTo>
                  <a:pt x="154" y="15"/>
                </a:lnTo>
                <a:lnTo>
                  <a:pt x="151" y="15"/>
                </a:lnTo>
                <a:lnTo>
                  <a:pt x="147" y="14"/>
                </a:lnTo>
                <a:lnTo>
                  <a:pt x="141" y="11"/>
                </a:lnTo>
                <a:lnTo>
                  <a:pt x="140" y="11"/>
                </a:lnTo>
                <a:lnTo>
                  <a:pt x="134" y="9"/>
                </a:lnTo>
                <a:lnTo>
                  <a:pt x="132" y="8"/>
                </a:lnTo>
                <a:lnTo>
                  <a:pt x="128" y="6"/>
                </a:lnTo>
                <a:lnTo>
                  <a:pt x="116" y="6"/>
                </a:lnTo>
                <a:lnTo>
                  <a:pt x="108" y="6"/>
                </a:lnTo>
                <a:lnTo>
                  <a:pt x="106" y="8"/>
                </a:lnTo>
                <a:lnTo>
                  <a:pt x="105" y="8"/>
                </a:lnTo>
                <a:lnTo>
                  <a:pt x="106" y="9"/>
                </a:lnTo>
                <a:lnTo>
                  <a:pt x="105" y="9"/>
                </a:lnTo>
                <a:lnTo>
                  <a:pt x="105" y="11"/>
                </a:lnTo>
                <a:lnTo>
                  <a:pt x="102" y="11"/>
                </a:lnTo>
                <a:lnTo>
                  <a:pt x="101" y="9"/>
                </a:lnTo>
                <a:lnTo>
                  <a:pt x="102" y="9"/>
                </a:lnTo>
                <a:lnTo>
                  <a:pt x="102" y="8"/>
                </a:lnTo>
                <a:lnTo>
                  <a:pt x="98" y="6"/>
                </a:lnTo>
                <a:lnTo>
                  <a:pt x="97" y="8"/>
                </a:lnTo>
                <a:lnTo>
                  <a:pt x="94" y="8"/>
                </a:lnTo>
                <a:lnTo>
                  <a:pt x="93" y="9"/>
                </a:lnTo>
                <a:lnTo>
                  <a:pt x="93" y="8"/>
                </a:lnTo>
                <a:lnTo>
                  <a:pt x="94" y="8"/>
                </a:lnTo>
                <a:lnTo>
                  <a:pt x="84" y="4"/>
                </a:lnTo>
                <a:lnTo>
                  <a:pt x="80" y="3"/>
                </a:lnTo>
                <a:lnTo>
                  <a:pt x="77" y="3"/>
                </a:lnTo>
                <a:lnTo>
                  <a:pt x="76" y="1"/>
                </a:lnTo>
                <a:lnTo>
                  <a:pt x="68" y="0"/>
                </a:lnTo>
                <a:lnTo>
                  <a:pt x="64" y="0"/>
                </a:lnTo>
                <a:lnTo>
                  <a:pt x="61" y="1"/>
                </a:lnTo>
                <a:lnTo>
                  <a:pt x="58" y="1"/>
                </a:lnTo>
                <a:lnTo>
                  <a:pt x="54" y="1"/>
                </a:lnTo>
                <a:lnTo>
                  <a:pt x="44" y="1"/>
                </a:lnTo>
                <a:lnTo>
                  <a:pt x="42" y="3"/>
                </a:lnTo>
                <a:lnTo>
                  <a:pt x="44" y="3"/>
                </a:lnTo>
                <a:lnTo>
                  <a:pt x="44" y="4"/>
                </a:lnTo>
                <a:lnTo>
                  <a:pt x="42" y="3"/>
                </a:lnTo>
                <a:lnTo>
                  <a:pt x="41" y="3"/>
                </a:lnTo>
                <a:lnTo>
                  <a:pt x="41" y="1"/>
                </a:lnTo>
                <a:lnTo>
                  <a:pt x="40" y="1"/>
                </a:lnTo>
                <a:lnTo>
                  <a:pt x="38" y="3"/>
                </a:lnTo>
                <a:lnTo>
                  <a:pt x="37" y="1"/>
                </a:lnTo>
                <a:lnTo>
                  <a:pt x="33" y="3"/>
                </a:lnTo>
                <a:lnTo>
                  <a:pt x="29" y="3"/>
                </a:lnTo>
                <a:lnTo>
                  <a:pt x="27" y="3"/>
                </a:lnTo>
                <a:lnTo>
                  <a:pt x="23" y="3"/>
                </a:lnTo>
                <a:lnTo>
                  <a:pt x="20" y="3"/>
                </a:lnTo>
                <a:lnTo>
                  <a:pt x="21" y="4"/>
                </a:lnTo>
                <a:lnTo>
                  <a:pt x="23" y="6"/>
                </a:lnTo>
                <a:lnTo>
                  <a:pt x="25" y="6"/>
                </a:lnTo>
                <a:lnTo>
                  <a:pt x="24" y="8"/>
                </a:lnTo>
                <a:lnTo>
                  <a:pt x="23" y="8"/>
                </a:lnTo>
                <a:lnTo>
                  <a:pt x="25" y="11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45" name="Freeform 645"/>
          <p:cNvSpPr>
            <a:spLocks/>
          </p:cNvSpPr>
          <p:nvPr/>
        </p:nvSpPr>
        <p:spPr bwMode="auto">
          <a:xfrm>
            <a:off x="2250357" y="1756393"/>
            <a:ext cx="522282" cy="169662"/>
          </a:xfrm>
          <a:custGeom>
            <a:avLst/>
            <a:gdLst/>
            <a:ahLst/>
            <a:cxnLst>
              <a:cxn ang="0">
                <a:pos x="34" y="67"/>
              </a:cxn>
              <a:cxn ang="0">
                <a:pos x="30" y="58"/>
              </a:cxn>
              <a:cxn ang="0">
                <a:pos x="87" y="55"/>
              </a:cxn>
              <a:cxn ang="0">
                <a:pos x="103" y="51"/>
              </a:cxn>
              <a:cxn ang="0">
                <a:pos x="82" y="48"/>
              </a:cxn>
              <a:cxn ang="0">
                <a:pos x="45" y="48"/>
              </a:cxn>
              <a:cxn ang="0">
                <a:pos x="18" y="47"/>
              </a:cxn>
              <a:cxn ang="0">
                <a:pos x="33" y="37"/>
              </a:cxn>
              <a:cxn ang="0">
                <a:pos x="50" y="34"/>
              </a:cxn>
              <a:cxn ang="0">
                <a:pos x="30" y="34"/>
              </a:cxn>
              <a:cxn ang="0">
                <a:pos x="18" y="34"/>
              </a:cxn>
              <a:cxn ang="0">
                <a:pos x="20" y="33"/>
              </a:cxn>
              <a:cxn ang="0">
                <a:pos x="2" y="29"/>
              </a:cxn>
              <a:cxn ang="0">
                <a:pos x="14" y="18"/>
              </a:cxn>
              <a:cxn ang="0">
                <a:pos x="24" y="9"/>
              </a:cxn>
              <a:cxn ang="0">
                <a:pos x="66" y="0"/>
              </a:cxn>
              <a:cxn ang="0">
                <a:pos x="75" y="7"/>
              </a:cxn>
              <a:cxn ang="0">
                <a:pos x="65" y="14"/>
              </a:cxn>
              <a:cxn ang="0">
                <a:pos x="81" y="11"/>
              </a:cxn>
              <a:cxn ang="0">
                <a:pos x="98" y="7"/>
              </a:cxn>
              <a:cxn ang="0">
                <a:pos x="113" y="17"/>
              </a:cxn>
              <a:cxn ang="0">
                <a:pos x="119" y="18"/>
              </a:cxn>
              <a:cxn ang="0">
                <a:pos x="134" y="15"/>
              </a:cxn>
              <a:cxn ang="0">
                <a:pos x="134" y="12"/>
              </a:cxn>
              <a:cxn ang="0">
                <a:pos x="129" y="6"/>
              </a:cxn>
              <a:cxn ang="0">
                <a:pos x="145" y="11"/>
              </a:cxn>
              <a:cxn ang="0">
                <a:pos x="154" y="14"/>
              </a:cxn>
              <a:cxn ang="0">
                <a:pos x="163" y="25"/>
              </a:cxn>
              <a:cxn ang="0">
                <a:pos x="168" y="29"/>
              </a:cxn>
              <a:cxn ang="0">
                <a:pos x="171" y="22"/>
              </a:cxn>
              <a:cxn ang="0">
                <a:pos x="168" y="15"/>
              </a:cxn>
              <a:cxn ang="0">
                <a:pos x="164" y="4"/>
              </a:cxn>
              <a:cxn ang="0">
                <a:pos x="167" y="0"/>
              </a:cxn>
              <a:cxn ang="0">
                <a:pos x="183" y="1"/>
              </a:cxn>
              <a:cxn ang="0">
                <a:pos x="198" y="7"/>
              </a:cxn>
              <a:cxn ang="0">
                <a:pos x="206" y="12"/>
              </a:cxn>
              <a:cxn ang="0">
                <a:pos x="211" y="25"/>
              </a:cxn>
              <a:cxn ang="0">
                <a:pos x="222" y="34"/>
              </a:cxn>
              <a:cxn ang="0">
                <a:pos x="224" y="42"/>
              </a:cxn>
              <a:cxn ang="0">
                <a:pos x="242" y="48"/>
              </a:cxn>
              <a:cxn ang="0">
                <a:pos x="263" y="55"/>
              </a:cxn>
              <a:cxn ang="0">
                <a:pos x="273" y="56"/>
              </a:cxn>
              <a:cxn ang="0">
                <a:pos x="265" y="64"/>
              </a:cxn>
              <a:cxn ang="0">
                <a:pos x="258" y="64"/>
              </a:cxn>
              <a:cxn ang="0">
                <a:pos x="251" y="62"/>
              </a:cxn>
              <a:cxn ang="0">
                <a:pos x="240" y="67"/>
              </a:cxn>
              <a:cxn ang="0">
                <a:pos x="255" y="69"/>
              </a:cxn>
              <a:cxn ang="0">
                <a:pos x="254" y="73"/>
              </a:cxn>
              <a:cxn ang="0">
                <a:pos x="263" y="75"/>
              </a:cxn>
              <a:cxn ang="0">
                <a:pos x="252" y="78"/>
              </a:cxn>
              <a:cxn ang="0">
                <a:pos x="236" y="81"/>
              </a:cxn>
              <a:cxn ang="0">
                <a:pos x="211" y="78"/>
              </a:cxn>
              <a:cxn ang="0">
                <a:pos x="199" y="73"/>
              </a:cxn>
              <a:cxn ang="0">
                <a:pos x="184" y="70"/>
              </a:cxn>
              <a:cxn ang="0">
                <a:pos x="159" y="78"/>
              </a:cxn>
              <a:cxn ang="0">
                <a:pos x="133" y="84"/>
              </a:cxn>
              <a:cxn ang="0">
                <a:pos x="118" y="86"/>
              </a:cxn>
              <a:cxn ang="0">
                <a:pos x="91" y="84"/>
              </a:cxn>
              <a:cxn ang="0">
                <a:pos x="79" y="75"/>
              </a:cxn>
            </a:cxnLst>
            <a:rect l="0" t="0" r="r" b="b"/>
            <a:pathLst>
              <a:path w="275" h="86">
                <a:moveTo>
                  <a:pt x="63" y="72"/>
                </a:moveTo>
                <a:lnTo>
                  <a:pt x="62" y="73"/>
                </a:lnTo>
                <a:lnTo>
                  <a:pt x="55" y="73"/>
                </a:lnTo>
                <a:lnTo>
                  <a:pt x="54" y="72"/>
                </a:lnTo>
                <a:lnTo>
                  <a:pt x="47" y="72"/>
                </a:lnTo>
                <a:lnTo>
                  <a:pt x="38" y="69"/>
                </a:lnTo>
                <a:lnTo>
                  <a:pt x="34" y="67"/>
                </a:lnTo>
                <a:lnTo>
                  <a:pt x="33" y="67"/>
                </a:lnTo>
                <a:lnTo>
                  <a:pt x="32" y="64"/>
                </a:lnTo>
                <a:lnTo>
                  <a:pt x="29" y="64"/>
                </a:lnTo>
                <a:lnTo>
                  <a:pt x="28" y="62"/>
                </a:lnTo>
                <a:lnTo>
                  <a:pt x="26" y="61"/>
                </a:lnTo>
                <a:lnTo>
                  <a:pt x="25" y="59"/>
                </a:lnTo>
                <a:lnTo>
                  <a:pt x="30" y="58"/>
                </a:lnTo>
                <a:lnTo>
                  <a:pt x="46" y="56"/>
                </a:lnTo>
                <a:lnTo>
                  <a:pt x="58" y="55"/>
                </a:lnTo>
                <a:lnTo>
                  <a:pt x="63" y="55"/>
                </a:lnTo>
                <a:lnTo>
                  <a:pt x="70" y="53"/>
                </a:lnTo>
                <a:lnTo>
                  <a:pt x="73" y="53"/>
                </a:lnTo>
                <a:lnTo>
                  <a:pt x="77" y="55"/>
                </a:lnTo>
                <a:lnTo>
                  <a:pt x="87" y="55"/>
                </a:lnTo>
                <a:lnTo>
                  <a:pt x="93" y="55"/>
                </a:lnTo>
                <a:lnTo>
                  <a:pt x="98" y="55"/>
                </a:lnTo>
                <a:lnTo>
                  <a:pt x="101" y="55"/>
                </a:lnTo>
                <a:lnTo>
                  <a:pt x="101" y="53"/>
                </a:lnTo>
                <a:lnTo>
                  <a:pt x="103" y="53"/>
                </a:lnTo>
                <a:lnTo>
                  <a:pt x="105" y="53"/>
                </a:lnTo>
                <a:lnTo>
                  <a:pt x="103" y="51"/>
                </a:lnTo>
                <a:lnTo>
                  <a:pt x="101" y="51"/>
                </a:lnTo>
                <a:lnTo>
                  <a:pt x="95" y="50"/>
                </a:lnTo>
                <a:lnTo>
                  <a:pt x="94" y="50"/>
                </a:lnTo>
                <a:lnTo>
                  <a:pt x="91" y="50"/>
                </a:lnTo>
                <a:lnTo>
                  <a:pt x="87" y="48"/>
                </a:lnTo>
                <a:lnTo>
                  <a:pt x="86" y="48"/>
                </a:lnTo>
                <a:lnTo>
                  <a:pt x="82" y="48"/>
                </a:lnTo>
                <a:lnTo>
                  <a:pt x="79" y="48"/>
                </a:lnTo>
                <a:lnTo>
                  <a:pt x="77" y="47"/>
                </a:lnTo>
                <a:lnTo>
                  <a:pt x="69" y="48"/>
                </a:lnTo>
                <a:lnTo>
                  <a:pt x="54" y="50"/>
                </a:lnTo>
                <a:lnTo>
                  <a:pt x="51" y="50"/>
                </a:lnTo>
                <a:lnTo>
                  <a:pt x="47" y="50"/>
                </a:lnTo>
                <a:lnTo>
                  <a:pt x="45" y="48"/>
                </a:lnTo>
                <a:lnTo>
                  <a:pt x="43" y="48"/>
                </a:lnTo>
                <a:lnTo>
                  <a:pt x="33" y="50"/>
                </a:lnTo>
                <a:lnTo>
                  <a:pt x="28" y="48"/>
                </a:lnTo>
                <a:lnTo>
                  <a:pt x="24" y="48"/>
                </a:lnTo>
                <a:lnTo>
                  <a:pt x="22" y="48"/>
                </a:lnTo>
                <a:lnTo>
                  <a:pt x="22" y="47"/>
                </a:lnTo>
                <a:lnTo>
                  <a:pt x="18" y="47"/>
                </a:lnTo>
                <a:lnTo>
                  <a:pt x="16" y="45"/>
                </a:lnTo>
                <a:lnTo>
                  <a:pt x="13" y="44"/>
                </a:lnTo>
                <a:lnTo>
                  <a:pt x="12" y="42"/>
                </a:lnTo>
                <a:lnTo>
                  <a:pt x="17" y="39"/>
                </a:lnTo>
                <a:lnTo>
                  <a:pt x="24" y="39"/>
                </a:lnTo>
                <a:lnTo>
                  <a:pt x="29" y="37"/>
                </a:lnTo>
                <a:lnTo>
                  <a:pt x="33" y="37"/>
                </a:lnTo>
                <a:lnTo>
                  <a:pt x="39" y="36"/>
                </a:lnTo>
                <a:lnTo>
                  <a:pt x="45" y="36"/>
                </a:lnTo>
                <a:lnTo>
                  <a:pt x="43" y="36"/>
                </a:lnTo>
                <a:lnTo>
                  <a:pt x="45" y="36"/>
                </a:lnTo>
                <a:lnTo>
                  <a:pt x="49" y="36"/>
                </a:lnTo>
                <a:lnTo>
                  <a:pt x="51" y="36"/>
                </a:lnTo>
                <a:lnTo>
                  <a:pt x="50" y="34"/>
                </a:lnTo>
                <a:lnTo>
                  <a:pt x="45" y="34"/>
                </a:lnTo>
                <a:lnTo>
                  <a:pt x="47" y="34"/>
                </a:lnTo>
                <a:lnTo>
                  <a:pt x="51" y="34"/>
                </a:lnTo>
                <a:lnTo>
                  <a:pt x="53" y="33"/>
                </a:lnTo>
                <a:lnTo>
                  <a:pt x="37" y="34"/>
                </a:lnTo>
                <a:lnTo>
                  <a:pt x="34" y="34"/>
                </a:lnTo>
                <a:lnTo>
                  <a:pt x="30" y="34"/>
                </a:lnTo>
                <a:lnTo>
                  <a:pt x="29" y="34"/>
                </a:lnTo>
                <a:lnTo>
                  <a:pt x="26" y="34"/>
                </a:lnTo>
                <a:lnTo>
                  <a:pt x="25" y="34"/>
                </a:lnTo>
                <a:lnTo>
                  <a:pt x="22" y="34"/>
                </a:lnTo>
                <a:lnTo>
                  <a:pt x="24" y="34"/>
                </a:lnTo>
                <a:lnTo>
                  <a:pt x="22" y="34"/>
                </a:lnTo>
                <a:lnTo>
                  <a:pt x="18" y="34"/>
                </a:lnTo>
                <a:lnTo>
                  <a:pt x="18" y="36"/>
                </a:lnTo>
                <a:lnTo>
                  <a:pt x="14" y="36"/>
                </a:lnTo>
                <a:lnTo>
                  <a:pt x="13" y="36"/>
                </a:lnTo>
                <a:lnTo>
                  <a:pt x="12" y="34"/>
                </a:lnTo>
                <a:lnTo>
                  <a:pt x="13" y="33"/>
                </a:lnTo>
                <a:lnTo>
                  <a:pt x="14" y="33"/>
                </a:lnTo>
                <a:lnTo>
                  <a:pt x="20" y="33"/>
                </a:lnTo>
                <a:lnTo>
                  <a:pt x="18" y="31"/>
                </a:lnTo>
                <a:lnTo>
                  <a:pt x="14" y="31"/>
                </a:lnTo>
                <a:lnTo>
                  <a:pt x="12" y="31"/>
                </a:lnTo>
                <a:lnTo>
                  <a:pt x="9" y="31"/>
                </a:lnTo>
                <a:lnTo>
                  <a:pt x="8" y="29"/>
                </a:lnTo>
                <a:lnTo>
                  <a:pt x="2" y="31"/>
                </a:lnTo>
                <a:lnTo>
                  <a:pt x="2" y="29"/>
                </a:lnTo>
                <a:lnTo>
                  <a:pt x="1" y="28"/>
                </a:lnTo>
                <a:lnTo>
                  <a:pt x="0" y="26"/>
                </a:lnTo>
                <a:lnTo>
                  <a:pt x="2" y="25"/>
                </a:lnTo>
                <a:lnTo>
                  <a:pt x="6" y="23"/>
                </a:lnTo>
                <a:lnTo>
                  <a:pt x="9" y="22"/>
                </a:lnTo>
                <a:lnTo>
                  <a:pt x="14" y="20"/>
                </a:lnTo>
                <a:lnTo>
                  <a:pt x="14" y="18"/>
                </a:lnTo>
                <a:lnTo>
                  <a:pt x="13" y="18"/>
                </a:lnTo>
                <a:lnTo>
                  <a:pt x="10" y="18"/>
                </a:lnTo>
                <a:lnTo>
                  <a:pt x="9" y="17"/>
                </a:lnTo>
                <a:lnTo>
                  <a:pt x="9" y="15"/>
                </a:lnTo>
                <a:lnTo>
                  <a:pt x="10" y="14"/>
                </a:lnTo>
                <a:lnTo>
                  <a:pt x="13" y="14"/>
                </a:lnTo>
                <a:lnTo>
                  <a:pt x="24" y="9"/>
                </a:lnTo>
                <a:lnTo>
                  <a:pt x="34" y="6"/>
                </a:lnTo>
                <a:lnTo>
                  <a:pt x="36" y="6"/>
                </a:lnTo>
                <a:lnTo>
                  <a:pt x="39" y="6"/>
                </a:lnTo>
                <a:lnTo>
                  <a:pt x="41" y="4"/>
                </a:lnTo>
                <a:lnTo>
                  <a:pt x="45" y="4"/>
                </a:lnTo>
                <a:lnTo>
                  <a:pt x="53" y="3"/>
                </a:lnTo>
                <a:lnTo>
                  <a:pt x="66" y="0"/>
                </a:lnTo>
                <a:lnTo>
                  <a:pt x="69" y="0"/>
                </a:lnTo>
                <a:lnTo>
                  <a:pt x="70" y="1"/>
                </a:lnTo>
                <a:lnTo>
                  <a:pt x="71" y="1"/>
                </a:lnTo>
                <a:lnTo>
                  <a:pt x="71" y="3"/>
                </a:lnTo>
                <a:lnTo>
                  <a:pt x="74" y="3"/>
                </a:lnTo>
                <a:lnTo>
                  <a:pt x="75" y="4"/>
                </a:lnTo>
                <a:lnTo>
                  <a:pt x="75" y="7"/>
                </a:lnTo>
                <a:lnTo>
                  <a:pt x="75" y="9"/>
                </a:lnTo>
                <a:lnTo>
                  <a:pt x="71" y="9"/>
                </a:lnTo>
                <a:lnTo>
                  <a:pt x="70" y="11"/>
                </a:lnTo>
                <a:lnTo>
                  <a:pt x="70" y="12"/>
                </a:lnTo>
                <a:lnTo>
                  <a:pt x="69" y="12"/>
                </a:lnTo>
                <a:lnTo>
                  <a:pt x="66" y="12"/>
                </a:lnTo>
                <a:lnTo>
                  <a:pt x="65" y="14"/>
                </a:lnTo>
                <a:lnTo>
                  <a:pt x="67" y="14"/>
                </a:lnTo>
                <a:lnTo>
                  <a:pt x="74" y="12"/>
                </a:lnTo>
                <a:lnTo>
                  <a:pt x="75" y="12"/>
                </a:lnTo>
                <a:lnTo>
                  <a:pt x="77" y="14"/>
                </a:lnTo>
                <a:lnTo>
                  <a:pt x="81" y="12"/>
                </a:lnTo>
                <a:lnTo>
                  <a:pt x="82" y="11"/>
                </a:lnTo>
                <a:lnTo>
                  <a:pt x="81" y="11"/>
                </a:lnTo>
                <a:lnTo>
                  <a:pt x="81" y="9"/>
                </a:lnTo>
                <a:lnTo>
                  <a:pt x="82" y="7"/>
                </a:lnTo>
                <a:lnTo>
                  <a:pt x="85" y="7"/>
                </a:lnTo>
                <a:lnTo>
                  <a:pt x="85" y="6"/>
                </a:lnTo>
                <a:lnTo>
                  <a:pt x="86" y="6"/>
                </a:lnTo>
                <a:lnTo>
                  <a:pt x="90" y="6"/>
                </a:lnTo>
                <a:lnTo>
                  <a:pt x="98" y="7"/>
                </a:lnTo>
                <a:lnTo>
                  <a:pt x="106" y="9"/>
                </a:lnTo>
                <a:lnTo>
                  <a:pt x="109" y="9"/>
                </a:lnTo>
                <a:lnTo>
                  <a:pt x="111" y="11"/>
                </a:lnTo>
                <a:lnTo>
                  <a:pt x="114" y="11"/>
                </a:lnTo>
                <a:lnTo>
                  <a:pt x="117" y="12"/>
                </a:lnTo>
                <a:lnTo>
                  <a:pt x="117" y="14"/>
                </a:lnTo>
                <a:lnTo>
                  <a:pt x="113" y="17"/>
                </a:lnTo>
                <a:lnTo>
                  <a:pt x="107" y="18"/>
                </a:lnTo>
                <a:lnTo>
                  <a:pt x="111" y="18"/>
                </a:lnTo>
                <a:lnTo>
                  <a:pt x="114" y="17"/>
                </a:lnTo>
                <a:lnTo>
                  <a:pt x="117" y="15"/>
                </a:lnTo>
                <a:lnTo>
                  <a:pt x="117" y="17"/>
                </a:lnTo>
                <a:lnTo>
                  <a:pt x="115" y="18"/>
                </a:lnTo>
                <a:lnTo>
                  <a:pt x="119" y="18"/>
                </a:lnTo>
                <a:lnTo>
                  <a:pt x="121" y="17"/>
                </a:lnTo>
                <a:lnTo>
                  <a:pt x="121" y="15"/>
                </a:lnTo>
                <a:lnTo>
                  <a:pt x="123" y="15"/>
                </a:lnTo>
                <a:lnTo>
                  <a:pt x="125" y="14"/>
                </a:lnTo>
                <a:lnTo>
                  <a:pt x="127" y="14"/>
                </a:lnTo>
                <a:lnTo>
                  <a:pt x="130" y="14"/>
                </a:lnTo>
                <a:lnTo>
                  <a:pt x="134" y="15"/>
                </a:lnTo>
                <a:lnTo>
                  <a:pt x="134" y="14"/>
                </a:lnTo>
                <a:lnTo>
                  <a:pt x="133" y="14"/>
                </a:lnTo>
                <a:lnTo>
                  <a:pt x="134" y="14"/>
                </a:lnTo>
                <a:lnTo>
                  <a:pt x="135" y="15"/>
                </a:lnTo>
                <a:lnTo>
                  <a:pt x="137" y="14"/>
                </a:lnTo>
                <a:lnTo>
                  <a:pt x="133" y="12"/>
                </a:lnTo>
                <a:lnTo>
                  <a:pt x="134" y="12"/>
                </a:lnTo>
                <a:lnTo>
                  <a:pt x="137" y="12"/>
                </a:lnTo>
                <a:lnTo>
                  <a:pt x="138" y="12"/>
                </a:lnTo>
                <a:lnTo>
                  <a:pt x="134" y="11"/>
                </a:lnTo>
                <a:lnTo>
                  <a:pt x="131" y="9"/>
                </a:lnTo>
                <a:lnTo>
                  <a:pt x="130" y="9"/>
                </a:lnTo>
                <a:lnTo>
                  <a:pt x="129" y="7"/>
                </a:lnTo>
                <a:lnTo>
                  <a:pt x="129" y="6"/>
                </a:lnTo>
                <a:lnTo>
                  <a:pt x="131" y="6"/>
                </a:lnTo>
                <a:lnTo>
                  <a:pt x="135" y="7"/>
                </a:lnTo>
                <a:lnTo>
                  <a:pt x="138" y="7"/>
                </a:lnTo>
                <a:lnTo>
                  <a:pt x="139" y="9"/>
                </a:lnTo>
                <a:lnTo>
                  <a:pt x="142" y="7"/>
                </a:lnTo>
                <a:lnTo>
                  <a:pt x="142" y="9"/>
                </a:lnTo>
                <a:lnTo>
                  <a:pt x="145" y="11"/>
                </a:lnTo>
                <a:lnTo>
                  <a:pt x="147" y="11"/>
                </a:lnTo>
                <a:lnTo>
                  <a:pt x="149" y="11"/>
                </a:lnTo>
                <a:lnTo>
                  <a:pt x="150" y="11"/>
                </a:lnTo>
                <a:lnTo>
                  <a:pt x="150" y="12"/>
                </a:lnTo>
                <a:lnTo>
                  <a:pt x="152" y="12"/>
                </a:lnTo>
                <a:lnTo>
                  <a:pt x="151" y="14"/>
                </a:lnTo>
                <a:lnTo>
                  <a:pt x="154" y="14"/>
                </a:lnTo>
                <a:lnTo>
                  <a:pt x="156" y="15"/>
                </a:lnTo>
                <a:lnTo>
                  <a:pt x="155" y="18"/>
                </a:lnTo>
                <a:lnTo>
                  <a:pt x="156" y="18"/>
                </a:lnTo>
                <a:lnTo>
                  <a:pt x="156" y="20"/>
                </a:lnTo>
                <a:lnTo>
                  <a:pt x="158" y="20"/>
                </a:lnTo>
                <a:lnTo>
                  <a:pt x="159" y="23"/>
                </a:lnTo>
                <a:lnTo>
                  <a:pt x="163" y="25"/>
                </a:lnTo>
                <a:lnTo>
                  <a:pt x="160" y="26"/>
                </a:lnTo>
                <a:lnTo>
                  <a:pt x="160" y="29"/>
                </a:lnTo>
                <a:lnTo>
                  <a:pt x="162" y="29"/>
                </a:lnTo>
                <a:lnTo>
                  <a:pt x="164" y="31"/>
                </a:lnTo>
                <a:lnTo>
                  <a:pt x="166" y="31"/>
                </a:lnTo>
                <a:lnTo>
                  <a:pt x="167" y="29"/>
                </a:lnTo>
                <a:lnTo>
                  <a:pt x="168" y="29"/>
                </a:lnTo>
                <a:lnTo>
                  <a:pt x="171" y="29"/>
                </a:lnTo>
                <a:lnTo>
                  <a:pt x="172" y="28"/>
                </a:lnTo>
                <a:lnTo>
                  <a:pt x="174" y="26"/>
                </a:lnTo>
                <a:lnTo>
                  <a:pt x="175" y="26"/>
                </a:lnTo>
                <a:lnTo>
                  <a:pt x="172" y="25"/>
                </a:lnTo>
                <a:lnTo>
                  <a:pt x="171" y="23"/>
                </a:lnTo>
                <a:lnTo>
                  <a:pt x="171" y="22"/>
                </a:lnTo>
                <a:lnTo>
                  <a:pt x="170" y="22"/>
                </a:lnTo>
                <a:lnTo>
                  <a:pt x="170" y="20"/>
                </a:lnTo>
                <a:lnTo>
                  <a:pt x="168" y="18"/>
                </a:lnTo>
                <a:lnTo>
                  <a:pt x="170" y="18"/>
                </a:lnTo>
                <a:lnTo>
                  <a:pt x="170" y="17"/>
                </a:lnTo>
                <a:lnTo>
                  <a:pt x="170" y="15"/>
                </a:lnTo>
                <a:lnTo>
                  <a:pt x="168" y="15"/>
                </a:lnTo>
                <a:lnTo>
                  <a:pt x="168" y="14"/>
                </a:lnTo>
                <a:lnTo>
                  <a:pt x="167" y="12"/>
                </a:lnTo>
                <a:lnTo>
                  <a:pt x="166" y="11"/>
                </a:lnTo>
                <a:lnTo>
                  <a:pt x="164" y="6"/>
                </a:lnTo>
                <a:lnTo>
                  <a:pt x="163" y="6"/>
                </a:lnTo>
                <a:lnTo>
                  <a:pt x="164" y="6"/>
                </a:lnTo>
                <a:lnTo>
                  <a:pt x="164" y="4"/>
                </a:lnTo>
                <a:lnTo>
                  <a:pt x="163" y="4"/>
                </a:lnTo>
                <a:lnTo>
                  <a:pt x="164" y="3"/>
                </a:lnTo>
                <a:lnTo>
                  <a:pt x="167" y="3"/>
                </a:lnTo>
                <a:lnTo>
                  <a:pt x="164" y="1"/>
                </a:lnTo>
                <a:lnTo>
                  <a:pt x="166" y="1"/>
                </a:lnTo>
                <a:lnTo>
                  <a:pt x="166" y="0"/>
                </a:lnTo>
                <a:lnTo>
                  <a:pt x="167" y="0"/>
                </a:lnTo>
                <a:lnTo>
                  <a:pt x="174" y="1"/>
                </a:lnTo>
                <a:lnTo>
                  <a:pt x="179" y="3"/>
                </a:lnTo>
                <a:lnTo>
                  <a:pt x="183" y="4"/>
                </a:lnTo>
                <a:lnTo>
                  <a:pt x="183" y="3"/>
                </a:lnTo>
                <a:lnTo>
                  <a:pt x="182" y="3"/>
                </a:lnTo>
                <a:lnTo>
                  <a:pt x="182" y="1"/>
                </a:lnTo>
                <a:lnTo>
                  <a:pt x="183" y="1"/>
                </a:lnTo>
                <a:lnTo>
                  <a:pt x="186" y="1"/>
                </a:lnTo>
                <a:lnTo>
                  <a:pt x="187" y="3"/>
                </a:lnTo>
                <a:lnTo>
                  <a:pt x="188" y="3"/>
                </a:lnTo>
                <a:lnTo>
                  <a:pt x="190" y="4"/>
                </a:lnTo>
                <a:lnTo>
                  <a:pt x="191" y="4"/>
                </a:lnTo>
                <a:lnTo>
                  <a:pt x="198" y="6"/>
                </a:lnTo>
                <a:lnTo>
                  <a:pt x="198" y="7"/>
                </a:lnTo>
                <a:lnTo>
                  <a:pt x="202" y="7"/>
                </a:lnTo>
                <a:lnTo>
                  <a:pt x="203" y="9"/>
                </a:lnTo>
                <a:lnTo>
                  <a:pt x="204" y="9"/>
                </a:lnTo>
                <a:lnTo>
                  <a:pt x="206" y="9"/>
                </a:lnTo>
                <a:lnTo>
                  <a:pt x="206" y="11"/>
                </a:lnTo>
                <a:lnTo>
                  <a:pt x="204" y="12"/>
                </a:lnTo>
                <a:lnTo>
                  <a:pt x="206" y="12"/>
                </a:lnTo>
                <a:lnTo>
                  <a:pt x="207" y="14"/>
                </a:lnTo>
                <a:lnTo>
                  <a:pt x="207" y="15"/>
                </a:lnTo>
                <a:lnTo>
                  <a:pt x="208" y="15"/>
                </a:lnTo>
                <a:lnTo>
                  <a:pt x="208" y="17"/>
                </a:lnTo>
                <a:lnTo>
                  <a:pt x="210" y="20"/>
                </a:lnTo>
                <a:lnTo>
                  <a:pt x="211" y="23"/>
                </a:lnTo>
                <a:lnTo>
                  <a:pt x="211" y="25"/>
                </a:lnTo>
                <a:lnTo>
                  <a:pt x="212" y="26"/>
                </a:lnTo>
                <a:lnTo>
                  <a:pt x="218" y="29"/>
                </a:lnTo>
                <a:lnTo>
                  <a:pt x="219" y="29"/>
                </a:lnTo>
                <a:lnTo>
                  <a:pt x="220" y="31"/>
                </a:lnTo>
                <a:lnTo>
                  <a:pt x="220" y="33"/>
                </a:lnTo>
                <a:lnTo>
                  <a:pt x="222" y="33"/>
                </a:lnTo>
                <a:lnTo>
                  <a:pt x="222" y="34"/>
                </a:lnTo>
                <a:lnTo>
                  <a:pt x="220" y="34"/>
                </a:lnTo>
                <a:lnTo>
                  <a:pt x="219" y="36"/>
                </a:lnTo>
                <a:lnTo>
                  <a:pt x="219" y="37"/>
                </a:lnTo>
                <a:lnTo>
                  <a:pt x="218" y="39"/>
                </a:lnTo>
                <a:lnTo>
                  <a:pt x="219" y="40"/>
                </a:lnTo>
                <a:lnTo>
                  <a:pt x="223" y="42"/>
                </a:lnTo>
                <a:lnTo>
                  <a:pt x="224" y="42"/>
                </a:lnTo>
                <a:lnTo>
                  <a:pt x="228" y="45"/>
                </a:lnTo>
                <a:lnTo>
                  <a:pt x="232" y="47"/>
                </a:lnTo>
                <a:lnTo>
                  <a:pt x="235" y="48"/>
                </a:lnTo>
                <a:lnTo>
                  <a:pt x="236" y="48"/>
                </a:lnTo>
                <a:lnTo>
                  <a:pt x="239" y="48"/>
                </a:lnTo>
                <a:lnTo>
                  <a:pt x="240" y="50"/>
                </a:lnTo>
                <a:lnTo>
                  <a:pt x="242" y="48"/>
                </a:lnTo>
                <a:lnTo>
                  <a:pt x="243" y="48"/>
                </a:lnTo>
                <a:lnTo>
                  <a:pt x="246" y="48"/>
                </a:lnTo>
                <a:lnTo>
                  <a:pt x="247" y="48"/>
                </a:lnTo>
                <a:lnTo>
                  <a:pt x="247" y="50"/>
                </a:lnTo>
                <a:lnTo>
                  <a:pt x="258" y="53"/>
                </a:lnTo>
                <a:lnTo>
                  <a:pt x="260" y="55"/>
                </a:lnTo>
                <a:lnTo>
                  <a:pt x="263" y="55"/>
                </a:lnTo>
                <a:lnTo>
                  <a:pt x="264" y="55"/>
                </a:lnTo>
                <a:lnTo>
                  <a:pt x="264" y="56"/>
                </a:lnTo>
                <a:lnTo>
                  <a:pt x="267" y="58"/>
                </a:lnTo>
                <a:lnTo>
                  <a:pt x="268" y="56"/>
                </a:lnTo>
                <a:lnTo>
                  <a:pt x="269" y="58"/>
                </a:lnTo>
                <a:lnTo>
                  <a:pt x="272" y="56"/>
                </a:lnTo>
                <a:lnTo>
                  <a:pt x="273" y="56"/>
                </a:lnTo>
                <a:lnTo>
                  <a:pt x="275" y="59"/>
                </a:lnTo>
                <a:lnTo>
                  <a:pt x="273" y="61"/>
                </a:lnTo>
                <a:lnTo>
                  <a:pt x="273" y="64"/>
                </a:lnTo>
                <a:lnTo>
                  <a:pt x="272" y="66"/>
                </a:lnTo>
                <a:lnTo>
                  <a:pt x="271" y="66"/>
                </a:lnTo>
                <a:lnTo>
                  <a:pt x="268" y="66"/>
                </a:lnTo>
                <a:lnTo>
                  <a:pt x="265" y="64"/>
                </a:lnTo>
                <a:lnTo>
                  <a:pt x="265" y="61"/>
                </a:lnTo>
                <a:lnTo>
                  <a:pt x="264" y="62"/>
                </a:lnTo>
                <a:lnTo>
                  <a:pt x="263" y="66"/>
                </a:lnTo>
                <a:lnTo>
                  <a:pt x="262" y="64"/>
                </a:lnTo>
                <a:lnTo>
                  <a:pt x="260" y="64"/>
                </a:lnTo>
                <a:lnTo>
                  <a:pt x="259" y="66"/>
                </a:lnTo>
                <a:lnTo>
                  <a:pt x="258" y="64"/>
                </a:lnTo>
                <a:lnTo>
                  <a:pt x="256" y="62"/>
                </a:lnTo>
                <a:lnTo>
                  <a:pt x="256" y="61"/>
                </a:lnTo>
                <a:lnTo>
                  <a:pt x="256" y="62"/>
                </a:lnTo>
                <a:lnTo>
                  <a:pt x="254" y="62"/>
                </a:lnTo>
                <a:lnTo>
                  <a:pt x="254" y="61"/>
                </a:lnTo>
                <a:lnTo>
                  <a:pt x="252" y="62"/>
                </a:lnTo>
                <a:lnTo>
                  <a:pt x="251" y="62"/>
                </a:lnTo>
                <a:lnTo>
                  <a:pt x="248" y="64"/>
                </a:lnTo>
                <a:lnTo>
                  <a:pt x="248" y="66"/>
                </a:lnTo>
                <a:lnTo>
                  <a:pt x="250" y="67"/>
                </a:lnTo>
                <a:lnTo>
                  <a:pt x="247" y="67"/>
                </a:lnTo>
                <a:lnTo>
                  <a:pt x="246" y="67"/>
                </a:lnTo>
                <a:lnTo>
                  <a:pt x="242" y="67"/>
                </a:lnTo>
                <a:lnTo>
                  <a:pt x="240" y="67"/>
                </a:lnTo>
                <a:lnTo>
                  <a:pt x="242" y="69"/>
                </a:lnTo>
                <a:lnTo>
                  <a:pt x="242" y="70"/>
                </a:lnTo>
                <a:lnTo>
                  <a:pt x="242" y="72"/>
                </a:lnTo>
                <a:lnTo>
                  <a:pt x="242" y="73"/>
                </a:lnTo>
                <a:lnTo>
                  <a:pt x="244" y="70"/>
                </a:lnTo>
                <a:lnTo>
                  <a:pt x="248" y="69"/>
                </a:lnTo>
                <a:lnTo>
                  <a:pt x="255" y="69"/>
                </a:lnTo>
                <a:lnTo>
                  <a:pt x="256" y="69"/>
                </a:lnTo>
                <a:lnTo>
                  <a:pt x="258" y="69"/>
                </a:lnTo>
                <a:lnTo>
                  <a:pt x="258" y="70"/>
                </a:lnTo>
                <a:lnTo>
                  <a:pt x="256" y="70"/>
                </a:lnTo>
                <a:lnTo>
                  <a:pt x="255" y="72"/>
                </a:lnTo>
                <a:lnTo>
                  <a:pt x="254" y="72"/>
                </a:lnTo>
                <a:lnTo>
                  <a:pt x="254" y="73"/>
                </a:lnTo>
                <a:lnTo>
                  <a:pt x="255" y="73"/>
                </a:lnTo>
                <a:lnTo>
                  <a:pt x="256" y="73"/>
                </a:lnTo>
                <a:lnTo>
                  <a:pt x="256" y="72"/>
                </a:lnTo>
                <a:lnTo>
                  <a:pt x="260" y="73"/>
                </a:lnTo>
                <a:lnTo>
                  <a:pt x="263" y="73"/>
                </a:lnTo>
                <a:lnTo>
                  <a:pt x="264" y="75"/>
                </a:lnTo>
                <a:lnTo>
                  <a:pt x="263" y="75"/>
                </a:lnTo>
                <a:lnTo>
                  <a:pt x="262" y="77"/>
                </a:lnTo>
                <a:lnTo>
                  <a:pt x="262" y="75"/>
                </a:lnTo>
                <a:lnTo>
                  <a:pt x="260" y="77"/>
                </a:lnTo>
                <a:lnTo>
                  <a:pt x="259" y="77"/>
                </a:lnTo>
                <a:lnTo>
                  <a:pt x="259" y="78"/>
                </a:lnTo>
                <a:lnTo>
                  <a:pt x="258" y="78"/>
                </a:lnTo>
                <a:lnTo>
                  <a:pt x="252" y="78"/>
                </a:lnTo>
                <a:lnTo>
                  <a:pt x="251" y="80"/>
                </a:lnTo>
                <a:lnTo>
                  <a:pt x="247" y="80"/>
                </a:lnTo>
                <a:lnTo>
                  <a:pt x="246" y="80"/>
                </a:lnTo>
                <a:lnTo>
                  <a:pt x="244" y="81"/>
                </a:lnTo>
                <a:lnTo>
                  <a:pt x="243" y="81"/>
                </a:lnTo>
                <a:lnTo>
                  <a:pt x="240" y="81"/>
                </a:lnTo>
                <a:lnTo>
                  <a:pt x="236" y="81"/>
                </a:lnTo>
                <a:lnTo>
                  <a:pt x="230" y="81"/>
                </a:lnTo>
                <a:lnTo>
                  <a:pt x="228" y="80"/>
                </a:lnTo>
                <a:lnTo>
                  <a:pt x="223" y="80"/>
                </a:lnTo>
                <a:lnTo>
                  <a:pt x="222" y="78"/>
                </a:lnTo>
                <a:lnTo>
                  <a:pt x="219" y="78"/>
                </a:lnTo>
                <a:lnTo>
                  <a:pt x="219" y="80"/>
                </a:lnTo>
                <a:lnTo>
                  <a:pt x="211" y="78"/>
                </a:lnTo>
                <a:lnTo>
                  <a:pt x="208" y="78"/>
                </a:lnTo>
                <a:lnTo>
                  <a:pt x="212" y="75"/>
                </a:lnTo>
                <a:lnTo>
                  <a:pt x="211" y="75"/>
                </a:lnTo>
                <a:lnTo>
                  <a:pt x="208" y="75"/>
                </a:lnTo>
                <a:lnTo>
                  <a:pt x="204" y="75"/>
                </a:lnTo>
                <a:lnTo>
                  <a:pt x="203" y="75"/>
                </a:lnTo>
                <a:lnTo>
                  <a:pt x="199" y="73"/>
                </a:lnTo>
                <a:lnTo>
                  <a:pt x="198" y="75"/>
                </a:lnTo>
                <a:lnTo>
                  <a:pt x="191" y="73"/>
                </a:lnTo>
                <a:lnTo>
                  <a:pt x="192" y="72"/>
                </a:lnTo>
                <a:lnTo>
                  <a:pt x="191" y="70"/>
                </a:lnTo>
                <a:lnTo>
                  <a:pt x="190" y="69"/>
                </a:lnTo>
                <a:lnTo>
                  <a:pt x="187" y="69"/>
                </a:lnTo>
                <a:lnTo>
                  <a:pt x="184" y="70"/>
                </a:lnTo>
                <a:lnTo>
                  <a:pt x="182" y="70"/>
                </a:lnTo>
                <a:lnTo>
                  <a:pt x="183" y="73"/>
                </a:lnTo>
                <a:lnTo>
                  <a:pt x="180" y="75"/>
                </a:lnTo>
                <a:lnTo>
                  <a:pt x="175" y="78"/>
                </a:lnTo>
                <a:lnTo>
                  <a:pt x="168" y="78"/>
                </a:lnTo>
                <a:lnTo>
                  <a:pt x="156" y="78"/>
                </a:lnTo>
                <a:lnTo>
                  <a:pt x="159" y="78"/>
                </a:lnTo>
                <a:lnTo>
                  <a:pt x="155" y="81"/>
                </a:lnTo>
                <a:lnTo>
                  <a:pt x="151" y="83"/>
                </a:lnTo>
                <a:lnTo>
                  <a:pt x="147" y="83"/>
                </a:lnTo>
                <a:lnTo>
                  <a:pt x="143" y="84"/>
                </a:lnTo>
                <a:lnTo>
                  <a:pt x="138" y="84"/>
                </a:lnTo>
                <a:lnTo>
                  <a:pt x="137" y="84"/>
                </a:lnTo>
                <a:lnTo>
                  <a:pt x="133" y="84"/>
                </a:lnTo>
                <a:lnTo>
                  <a:pt x="129" y="84"/>
                </a:lnTo>
                <a:lnTo>
                  <a:pt x="126" y="84"/>
                </a:lnTo>
                <a:lnTo>
                  <a:pt x="125" y="84"/>
                </a:lnTo>
                <a:lnTo>
                  <a:pt x="121" y="84"/>
                </a:lnTo>
                <a:lnTo>
                  <a:pt x="117" y="84"/>
                </a:lnTo>
                <a:lnTo>
                  <a:pt x="118" y="84"/>
                </a:lnTo>
                <a:lnTo>
                  <a:pt x="118" y="86"/>
                </a:lnTo>
                <a:lnTo>
                  <a:pt x="114" y="86"/>
                </a:lnTo>
                <a:lnTo>
                  <a:pt x="107" y="86"/>
                </a:lnTo>
                <a:lnTo>
                  <a:pt x="106" y="86"/>
                </a:lnTo>
                <a:lnTo>
                  <a:pt x="101" y="86"/>
                </a:lnTo>
                <a:lnTo>
                  <a:pt x="87" y="86"/>
                </a:lnTo>
                <a:lnTo>
                  <a:pt x="89" y="86"/>
                </a:lnTo>
                <a:lnTo>
                  <a:pt x="91" y="84"/>
                </a:lnTo>
                <a:lnTo>
                  <a:pt x="86" y="84"/>
                </a:lnTo>
                <a:lnTo>
                  <a:pt x="83" y="83"/>
                </a:lnTo>
                <a:lnTo>
                  <a:pt x="83" y="81"/>
                </a:lnTo>
                <a:lnTo>
                  <a:pt x="81" y="80"/>
                </a:lnTo>
                <a:lnTo>
                  <a:pt x="81" y="78"/>
                </a:lnTo>
                <a:lnTo>
                  <a:pt x="82" y="77"/>
                </a:lnTo>
                <a:lnTo>
                  <a:pt x="79" y="75"/>
                </a:lnTo>
                <a:lnTo>
                  <a:pt x="78" y="73"/>
                </a:lnTo>
                <a:lnTo>
                  <a:pt x="77" y="73"/>
                </a:lnTo>
                <a:lnTo>
                  <a:pt x="71" y="72"/>
                </a:lnTo>
                <a:lnTo>
                  <a:pt x="63" y="72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46" name="Freeform 646"/>
          <p:cNvSpPr>
            <a:spLocks/>
          </p:cNvSpPr>
          <p:nvPr/>
        </p:nvSpPr>
        <p:spPr bwMode="auto">
          <a:xfrm>
            <a:off x="2250358" y="1756393"/>
            <a:ext cx="309862" cy="143890"/>
          </a:xfrm>
          <a:custGeom>
            <a:avLst/>
            <a:gdLst/>
            <a:ahLst/>
            <a:cxnLst>
              <a:cxn ang="0">
                <a:pos x="54" y="72"/>
              </a:cxn>
              <a:cxn ang="0">
                <a:pos x="33" y="67"/>
              </a:cxn>
              <a:cxn ang="0">
                <a:pos x="26" y="61"/>
              </a:cxn>
              <a:cxn ang="0">
                <a:pos x="58" y="55"/>
              </a:cxn>
              <a:cxn ang="0">
                <a:pos x="77" y="55"/>
              </a:cxn>
              <a:cxn ang="0">
                <a:pos x="101" y="55"/>
              </a:cxn>
              <a:cxn ang="0">
                <a:pos x="103" y="51"/>
              </a:cxn>
              <a:cxn ang="0">
                <a:pos x="91" y="50"/>
              </a:cxn>
              <a:cxn ang="0">
                <a:pos x="79" y="48"/>
              </a:cxn>
              <a:cxn ang="0">
                <a:pos x="51" y="50"/>
              </a:cxn>
              <a:cxn ang="0">
                <a:pos x="33" y="50"/>
              </a:cxn>
              <a:cxn ang="0">
                <a:pos x="22" y="47"/>
              </a:cxn>
              <a:cxn ang="0">
                <a:pos x="12" y="42"/>
              </a:cxn>
              <a:cxn ang="0">
                <a:pos x="33" y="37"/>
              </a:cxn>
              <a:cxn ang="0">
                <a:pos x="45" y="36"/>
              </a:cxn>
              <a:cxn ang="0">
                <a:pos x="45" y="34"/>
              </a:cxn>
              <a:cxn ang="0">
                <a:pos x="37" y="34"/>
              </a:cxn>
              <a:cxn ang="0">
                <a:pos x="26" y="34"/>
              </a:cxn>
              <a:cxn ang="0">
                <a:pos x="22" y="34"/>
              </a:cxn>
              <a:cxn ang="0">
                <a:pos x="13" y="36"/>
              </a:cxn>
              <a:cxn ang="0">
                <a:pos x="20" y="33"/>
              </a:cxn>
              <a:cxn ang="0">
                <a:pos x="9" y="31"/>
              </a:cxn>
              <a:cxn ang="0">
                <a:pos x="1" y="28"/>
              </a:cxn>
              <a:cxn ang="0">
                <a:pos x="9" y="22"/>
              </a:cxn>
              <a:cxn ang="0">
                <a:pos x="10" y="18"/>
              </a:cxn>
              <a:cxn ang="0">
                <a:pos x="13" y="14"/>
              </a:cxn>
              <a:cxn ang="0">
                <a:pos x="39" y="6"/>
              </a:cxn>
              <a:cxn ang="0">
                <a:pos x="66" y="0"/>
              </a:cxn>
              <a:cxn ang="0">
                <a:pos x="71" y="3"/>
              </a:cxn>
              <a:cxn ang="0">
                <a:pos x="75" y="9"/>
              </a:cxn>
              <a:cxn ang="0">
                <a:pos x="69" y="12"/>
              </a:cxn>
              <a:cxn ang="0">
                <a:pos x="74" y="12"/>
              </a:cxn>
              <a:cxn ang="0">
                <a:pos x="82" y="11"/>
              </a:cxn>
              <a:cxn ang="0">
                <a:pos x="85" y="7"/>
              </a:cxn>
              <a:cxn ang="0">
                <a:pos x="98" y="7"/>
              </a:cxn>
              <a:cxn ang="0">
                <a:pos x="114" y="11"/>
              </a:cxn>
              <a:cxn ang="0">
                <a:pos x="107" y="18"/>
              </a:cxn>
              <a:cxn ang="0">
                <a:pos x="117" y="17"/>
              </a:cxn>
              <a:cxn ang="0">
                <a:pos x="121" y="15"/>
              </a:cxn>
              <a:cxn ang="0">
                <a:pos x="130" y="14"/>
              </a:cxn>
              <a:cxn ang="0">
                <a:pos x="134" y="14"/>
              </a:cxn>
              <a:cxn ang="0">
                <a:pos x="134" y="12"/>
              </a:cxn>
              <a:cxn ang="0">
                <a:pos x="131" y="9"/>
              </a:cxn>
              <a:cxn ang="0">
                <a:pos x="131" y="6"/>
              </a:cxn>
              <a:cxn ang="0">
                <a:pos x="142" y="7"/>
              </a:cxn>
              <a:cxn ang="0">
                <a:pos x="149" y="11"/>
              </a:cxn>
              <a:cxn ang="0">
                <a:pos x="151" y="14"/>
              </a:cxn>
              <a:cxn ang="0">
                <a:pos x="156" y="18"/>
              </a:cxn>
              <a:cxn ang="0">
                <a:pos x="163" y="25"/>
              </a:cxn>
            </a:cxnLst>
            <a:rect l="0" t="0" r="r" b="b"/>
            <a:pathLst>
              <a:path w="163" h="73">
                <a:moveTo>
                  <a:pt x="63" y="72"/>
                </a:moveTo>
                <a:lnTo>
                  <a:pt x="62" y="73"/>
                </a:lnTo>
                <a:lnTo>
                  <a:pt x="55" y="73"/>
                </a:lnTo>
                <a:lnTo>
                  <a:pt x="54" y="72"/>
                </a:lnTo>
                <a:lnTo>
                  <a:pt x="47" y="72"/>
                </a:lnTo>
                <a:lnTo>
                  <a:pt x="38" y="69"/>
                </a:lnTo>
                <a:lnTo>
                  <a:pt x="34" y="67"/>
                </a:lnTo>
                <a:lnTo>
                  <a:pt x="33" y="67"/>
                </a:lnTo>
                <a:lnTo>
                  <a:pt x="32" y="64"/>
                </a:lnTo>
                <a:lnTo>
                  <a:pt x="29" y="64"/>
                </a:lnTo>
                <a:lnTo>
                  <a:pt x="28" y="62"/>
                </a:lnTo>
                <a:lnTo>
                  <a:pt x="26" y="61"/>
                </a:lnTo>
                <a:lnTo>
                  <a:pt x="25" y="59"/>
                </a:lnTo>
                <a:lnTo>
                  <a:pt x="30" y="58"/>
                </a:lnTo>
                <a:lnTo>
                  <a:pt x="46" y="56"/>
                </a:lnTo>
                <a:lnTo>
                  <a:pt x="58" y="55"/>
                </a:lnTo>
                <a:lnTo>
                  <a:pt x="63" y="55"/>
                </a:lnTo>
                <a:lnTo>
                  <a:pt x="70" y="53"/>
                </a:lnTo>
                <a:lnTo>
                  <a:pt x="73" y="53"/>
                </a:lnTo>
                <a:lnTo>
                  <a:pt x="77" y="55"/>
                </a:lnTo>
                <a:lnTo>
                  <a:pt x="87" y="55"/>
                </a:lnTo>
                <a:lnTo>
                  <a:pt x="93" y="55"/>
                </a:lnTo>
                <a:lnTo>
                  <a:pt x="98" y="55"/>
                </a:lnTo>
                <a:lnTo>
                  <a:pt x="101" y="55"/>
                </a:lnTo>
                <a:lnTo>
                  <a:pt x="101" y="53"/>
                </a:lnTo>
                <a:lnTo>
                  <a:pt x="103" y="53"/>
                </a:lnTo>
                <a:lnTo>
                  <a:pt x="105" y="53"/>
                </a:lnTo>
                <a:lnTo>
                  <a:pt x="103" y="51"/>
                </a:lnTo>
                <a:lnTo>
                  <a:pt x="101" y="51"/>
                </a:lnTo>
                <a:lnTo>
                  <a:pt x="95" y="50"/>
                </a:lnTo>
                <a:lnTo>
                  <a:pt x="94" y="50"/>
                </a:lnTo>
                <a:lnTo>
                  <a:pt x="91" y="50"/>
                </a:lnTo>
                <a:lnTo>
                  <a:pt x="87" y="48"/>
                </a:lnTo>
                <a:lnTo>
                  <a:pt x="86" y="48"/>
                </a:lnTo>
                <a:lnTo>
                  <a:pt x="82" y="48"/>
                </a:lnTo>
                <a:lnTo>
                  <a:pt x="79" y="48"/>
                </a:lnTo>
                <a:lnTo>
                  <a:pt x="77" y="47"/>
                </a:lnTo>
                <a:lnTo>
                  <a:pt x="69" y="48"/>
                </a:lnTo>
                <a:lnTo>
                  <a:pt x="54" y="50"/>
                </a:lnTo>
                <a:lnTo>
                  <a:pt x="51" y="50"/>
                </a:lnTo>
                <a:lnTo>
                  <a:pt x="47" y="50"/>
                </a:lnTo>
                <a:lnTo>
                  <a:pt x="45" y="48"/>
                </a:lnTo>
                <a:lnTo>
                  <a:pt x="43" y="48"/>
                </a:lnTo>
                <a:lnTo>
                  <a:pt x="33" y="50"/>
                </a:lnTo>
                <a:lnTo>
                  <a:pt x="28" y="48"/>
                </a:lnTo>
                <a:lnTo>
                  <a:pt x="24" y="48"/>
                </a:lnTo>
                <a:lnTo>
                  <a:pt x="22" y="48"/>
                </a:lnTo>
                <a:lnTo>
                  <a:pt x="22" y="47"/>
                </a:lnTo>
                <a:lnTo>
                  <a:pt x="18" y="47"/>
                </a:lnTo>
                <a:lnTo>
                  <a:pt x="16" y="45"/>
                </a:lnTo>
                <a:lnTo>
                  <a:pt x="13" y="44"/>
                </a:lnTo>
                <a:lnTo>
                  <a:pt x="12" y="42"/>
                </a:lnTo>
                <a:lnTo>
                  <a:pt x="17" y="39"/>
                </a:lnTo>
                <a:lnTo>
                  <a:pt x="24" y="39"/>
                </a:lnTo>
                <a:lnTo>
                  <a:pt x="29" y="37"/>
                </a:lnTo>
                <a:lnTo>
                  <a:pt x="33" y="37"/>
                </a:lnTo>
                <a:lnTo>
                  <a:pt x="39" y="36"/>
                </a:lnTo>
                <a:lnTo>
                  <a:pt x="45" y="36"/>
                </a:lnTo>
                <a:lnTo>
                  <a:pt x="43" y="36"/>
                </a:lnTo>
                <a:lnTo>
                  <a:pt x="45" y="36"/>
                </a:lnTo>
                <a:lnTo>
                  <a:pt x="49" y="36"/>
                </a:lnTo>
                <a:lnTo>
                  <a:pt x="51" y="36"/>
                </a:lnTo>
                <a:lnTo>
                  <a:pt x="50" y="34"/>
                </a:lnTo>
                <a:lnTo>
                  <a:pt x="45" y="34"/>
                </a:lnTo>
                <a:lnTo>
                  <a:pt x="47" y="34"/>
                </a:lnTo>
                <a:lnTo>
                  <a:pt x="51" y="34"/>
                </a:lnTo>
                <a:lnTo>
                  <a:pt x="53" y="33"/>
                </a:lnTo>
                <a:lnTo>
                  <a:pt x="37" y="34"/>
                </a:lnTo>
                <a:lnTo>
                  <a:pt x="34" y="34"/>
                </a:lnTo>
                <a:lnTo>
                  <a:pt x="30" y="34"/>
                </a:lnTo>
                <a:lnTo>
                  <a:pt x="29" y="34"/>
                </a:lnTo>
                <a:lnTo>
                  <a:pt x="26" y="34"/>
                </a:lnTo>
                <a:lnTo>
                  <a:pt x="25" y="34"/>
                </a:lnTo>
                <a:lnTo>
                  <a:pt x="22" y="34"/>
                </a:lnTo>
                <a:lnTo>
                  <a:pt x="24" y="34"/>
                </a:lnTo>
                <a:lnTo>
                  <a:pt x="22" y="34"/>
                </a:lnTo>
                <a:lnTo>
                  <a:pt x="18" y="34"/>
                </a:lnTo>
                <a:lnTo>
                  <a:pt x="18" y="36"/>
                </a:lnTo>
                <a:lnTo>
                  <a:pt x="14" y="36"/>
                </a:lnTo>
                <a:lnTo>
                  <a:pt x="13" y="36"/>
                </a:lnTo>
                <a:lnTo>
                  <a:pt x="12" y="34"/>
                </a:lnTo>
                <a:lnTo>
                  <a:pt x="13" y="33"/>
                </a:lnTo>
                <a:lnTo>
                  <a:pt x="14" y="33"/>
                </a:lnTo>
                <a:lnTo>
                  <a:pt x="20" y="33"/>
                </a:lnTo>
                <a:lnTo>
                  <a:pt x="18" y="31"/>
                </a:lnTo>
                <a:lnTo>
                  <a:pt x="14" y="31"/>
                </a:lnTo>
                <a:lnTo>
                  <a:pt x="12" y="31"/>
                </a:lnTo>
                <a:lnTo>
                  <a:pt x="9" y="31"/>
                </a:lnTo>
                <a:lnTo>
                  <a:pt x="8" y="29"/>
                </a:lnTo>
                <a:lnTo>
                  <a:pt x="2" y="31"/>
                </a:lnTo>
                <a:lnTo>
                  <a:pt x="2" y="29"/>
                </a:lnTo>
                <a:lnTo>
                  <a:pt x="1" y="28"/>
                </a:lnTo>
                <a:lnTo>
                  <a:pt x="0" y="26"/>
                </a:lnTo>
                <a:lnTo>
                  <a:pt x="2" y="25"/>
                </a:lnTo>
                <a:lnTo>
                  <a:pt x="6" y="23"/>
                </a:lnTo>
                <a:lnTo>
                  <a:pt x="9" y="22"/>
                </a:lnTo>
                <a:lnTo>
                  <a:pt x="14" y="20"/>
                </a:lnTo>
                <a:lnTo>
                  <a:pt x="14" y="18"/>
                </a:lnTo>
                <a:lnTo>
                  <a:pt x="13" y="18"/>
                </a:lnTo>
                <a:lnTo>
                  <a:pt x="10" y="18"/>
                </a:lnTo>
                <a:lnTo>
                  <a:pt x="9" y="17"/>
                </a:lnTo>
                <a:lnTo>
                  <a:pt x="9" y="15"/>
                </a:lnTo>
                <a:lnTo>
                  <a:pt x="10" y="14"/>
                </a:lnTo>
                <a:lnTo>
                  <a:pt x="13" y="14"/>
                </a:lnTo>
                <a:lnTo>
                  <a:pt x="24" y="9"/>
                </a:lnTo>
                <a:lnTo>
                  <a:pt x="34" y="6"/>
                </a:lnTo>
                <a:lnTo>
                  <a:pt x="36" y="6"/>
                </a:lnTo>
                <a:lnTo>
                  <a:pt x="39" y="6"/>
                </a:lnTo>
                <a:lnTo>
                  <a:pt x="41" y="4"/>
                </a:lnTo>
                <a:lnTo>
                  <a:pt x="45" y="4"/>
                </a:lnTo>
                <a:lnTo>
                  <a:pt x="53" y="3"/>
                </a:lnTo>
                <a:lnTo>
                  <a:pt x="66" y="0"/>
                </a:lnTo>
                <a:lnTo>
                  <a:pt x="69" y="0"/>
                </a:lnTo>
                <a:lnTo>
                  <a:pt x="70" y="1"/>
                </a:lnTo>
                <a:lnTo>
                  <a:pt x="71" y="1"/>
                </a:lnTo>
                <a:lnTo>
                  <a:pt x="71" y="3"/>
                </a:lnTo>
                <a:lnTo>
                  <a:pt x="74" y="3"/>
                </a:lnTo>
                <a:lnTo>
                  <a:pt x="75" y="4"/>
                </a:lnTo>
                <a:lnTo>
                  <a:pt x="75" y="7"/>
                </a:lnTo>
                <a:lnTo>
                  <a:pt x="75" y="9"/>
                </a:lnTo>
                <a:lnTo>
                  <a:pt x="71" y="9"/>
                </a:lnTo>
                <a:lnTo>
                  <a:pt x="70" y="11"/>
                </a:lnTo>
                <a:lnTo>
                  <a:pt x="70" y="12"/>
                </a:lnTo>
                <a:lnTo>
                  <a:pt x="69" y="12"/>
                </a:lnTo>
                <a:lnTo>
                  <a:pt x="66" y="12"/>
                </a:lnTo>
                <a:lnTo>
                  <a:pt x="65" y="14"/>
                </a:lnTo>
                <a:lnTo>
                  <a:pt x="67" y="14"/>
                </a:lnTo>
                <a:lnTo>
                  <a:pt x="74" y="12"/>
                </a:lnTo>
                <a:lnTo>
                  <a:pt x="75" y="12"/>
                </a:lnTo>
                <a:lnTo>
                  <a:pt x="77" y="14"/>
                </a:lnTo>
                <a:lnTo>
                  <a:pt x="81" y="12"/>
                </a:lnTo>
                <a:lnTo>
                  <a:pt x="82" y="11"/>
                </a:lnTo>
                <a:lnTo>
                  <a:pt x="81" y="11"/>
                </a:lnTo>
                <a:lnTo>
                  <a:pt x="81" y="9"/>
                </a:lnTo>
                <a:lnTo>
                  <a:pt x="82" y="7"/>
                </a:lnTo>
                <a:lnTo>
                  <a:pt x="85" y="7"/>
                </a:lnTo>
                <a:lnTo>
                  <a:pt x="85" y="6"/>
                </a:lnTo>
                <a:lnTo>
                  <a:pt x="86" y="6"/>
                </a:lnTo>
                <a:lnTo>
                  <a:pt x="90" y="6"/>
                </a:lnTo>
                <a:lnTo>
                  <a:pt x="98" y="7"/>
                </a:lnTo>
                <a:lnTo>
                  <a:pt x="106" y="9"/>
                </a:lnTo>
                <a:lnTo>
                  <a:pt x="109" y="9"/>
                </a:lnTo>
                <a:lnTo>
                  <a:pt x="111" y="11"/>
                </a:lnTo>
                <a:lnTo>
                  <a:pt x="114" y="11"/>
                </a:lnTo>
                <a:lnTo>
                  <a:pt x="117" y="12"/>
                </a:lnTo>
                <a:lnTo>
                  <a:pt x="117" y="14"/>
                </a:lnTo>
                <a:lnTo>
                  <a:pt x="113" y="17"/>
                </a:lnTo>
                <a:lnTo>
                  <a:pt x="107" y="18"/>
                </a:lnTo>
                <a:lnTo>
                  <a:pt x="111" y="18"/>
                </a:lnTo>
                <a:lnTo>
                  <a:pt x="114" y="17"/>
                </a:lnTo>
                <a:lnTo>
                  <a:pt x="117" y="15"/>
                </a:lnTo>
                <a:lnTo>
                  <a:pt x="117" y="17"/>
                </a:lnTo>
                <a:lnTo>
                  <a:pt x="115" y="18"/>
                </a:lnTo>
                <a:lnTo>
                  <a:pt x="119" y="18"/>
                </a:lnTo>
                <a:lnTo>
                  <a:pt x="121" y="17"/>
                </a:lnTo>
                <a:lnTo>
                  <a:pt x="121" y="15"/>
                </a:lnTo>
                <a:lnTo>
                  <a:pt x="123" y="15"/>
                </a:lnTo>
                <a:lnTo>
                  <a:pt x="125" y="14"/>
                </a:lnTo>
                <a:lnTo>
                  <a:pt x="127" y="14"/>
                </a:lnTo>
                <a:lnTo>
                  <a:pt x="130" y="14"/>
                </a:lnTo>
                <a:lnTo>
                  <a:pt x="134" y="15"/>
                </a:lnTo>
                <a:lnTo>
                  <a:pt x="134" y="14"/>
                </a:lnTo>
                <a:lnTo>
                  <a:pt x="133" y="14"/>
                </a:lnTo>
                <a:lnTo>
                  <a:pt x="134" y="14"/>
                </a:lnTo>
                <a:lnTo>
                  <a:pt x="135" y="15"/>
                </a:lnTo>
                <a:lnTo>
                  <a:pt x="137" y="14"/>
                </a:lnTo>
                <a:lnTo>
                  <a:pt x="133" y="12"/>
                </a:lnTo>
                <a:lnTo>
                  <a:pt x="134" y="12"/>
                </a:lnTo>
                <a:lnTo>
                  <a:pt x="137" y="12"/>
                </a:lnTo>
                <a:lnTo>
                  <a:pt x="138" y="12"/>
                </a:lnTo>
                <a:lnTo>
                  <a:pt x="134" y="11"/>
                </a:lnTo>
                <a:lnTo>
                  <a:pt x="131" y="9"/>
                </a:lnTo>
                <a:lnTo>
                  <a:pt x="130" y="9"/>
                </a:lnTo>
                <a:lnTo>
                  <a:pt x="129" y="7"/>
                </a:lnTo>
                <a:lnTo>
                  <a:pt x="129" y="6"/>
                </a:lnTo>
                <a:lnTo>
                  <a:pt x="131" y="6"/>
                </a:lnTo>
                <a:lnTo>
                  <a:pt x="135" y="7"/>
                </a:lnTo>
                <a:lnTo>
                  <a:pt x="138" y="7"/>
                </a:lnTo>
                <a:lnTo>
                  <a:pt x="139" y="9"/>
                </a:lnTo>
                <a:lnTo>
                  <a:pt x="142" y="7"/>
                </a:lnTo>
                <a:lnTo>
                  <a:pt x="142" y="9"/>
                </a:lnTo>
                <a:lnTo>
                  <a:pt x="145" y="11"/>
                </a:lnTo>
                <a:lnTo>
                  <a:pt x="147" y="11"/>
                </a:lnTo>
                <a:lnTo>
                  <a:pt x="149" y="11"/>
                </a:lnTo>
                <a:lnTo>
                  <a:pt x="150" y="11"/>
                </a:lnTo>
                <a:lnTo>
                  <a:pt x="150" y="12"/>
                </a:lnTo>
                <a:lnTo>
                  <a:pt x="152" y="12"/>
                </a:lnTo>
                <a:lnTo>
                  <a:pt x="151" y="14"/>
                </a:lnTo>
                <a:lnTo>
                  <a:pt x="154" y="14"/>
                </a:lnTo>
                <a:lnTo>
                  <a:pt x="156" y="15"/>
                </a:lnTo>
                <a:lnTo>
                  <a:pt x="155" y="18"/>
                </a:lnTo>
                <a:lnTo>
                  <a:pt x="156" y="18"/>
                </a:lnTo>
                <a:lnTo>
                  <a:pt x="156" y="20"/>
                </a:lnTo>
                <a:lnTo>
                  <a:pt x="158" y="20"/>
                </a:lnTo>
                <a:lnTo>
                  <a:pt x="159" y="23"/>
                </a:lnTo>
                <a:lnTo>
                  <a:pt x="163" y="25"/>
                </a:lnTo>
                <a:lnTo>
                  <a:pt x="160" y="26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47" name="Freeform 647"/>
          <p:cNvSpPr>
            <a:spLocks/>
          </p:cNvSpPr>
          <p:nvPr/>
        </p:nvSpPr>
        <p:spPr bwMode="auto">
          <a:xfrm>
            <a:off x="2493959" y="1756393"/>
            <a:ext cx="278680" cy="165366"/>
          </a:xfrm>
          <a:custGeom>
            <a:avLst/>
            <a:gdLst/>
            <a:ahLst/>
            <a:cxnLst>
              <a:cxn ang="0">
                <a:pos x="35" y="31"/>
              </a:cxn>
              <a:cxn ang="0">
                <a:pos x="42" y="29"/>
              </a:cxn>
              <a:cxn ang="0">
                <a:pos x="43" y="25"/>
              </a:cxn>
              <a:cxn ang="0">
                <a:pos x="41" y="20"/>
              </a:cxn>
              <a:cxn ang="0">
                <a:pos x="41" y="15"/>
              </a:cxn>
              <a:cxn ang="0">
                <a:pos x="37" y="11"/>
              </a:cxn>
              <a:cxn ang="0">
                <a:pos x="35" y="4"/>
              </a:cxn>
              <a:cxn ang="0">
                <a:pos x="35" y="1"/>
              </a:cxn>
              <a:cxn ang="0">
                <a:pos x="45" y="1"/>
              </a:cxn>
              <a:cxn ang="0">
                <a:pos x="53" y="3"/>
              </a:cxn>
              <a:cxn ang="0">
                <a:pos x="58" y="3"/>
              </a:cxn>
              <a:cxn ang="0">
                <a:pos x="69" y="6"/>
              </a:cxn>
              <a:cxn ang="0">
                <a:pos x="75" y="9"/>
              </a:cxn>
              <a:cxn ang="0">
                <a:pos x="77" y="12"/>
              </a:cxn>
              <a:cxn ang="0">
                <a:pos x="79" y="17"/>
              </a:cxn>
              <a:cxn ang="0">
                <a:pos x="83" y="26"/>
              </a:cxn>
              <a:cxn ang="0">
                <a:pos x="91" y="33"/>
              </a:cxn>
              <a:cxn ang="0">
                <a:pos x="90" y="36"/>
              </a:cxn>
              <a:cxn ang="0">
                <a:pos x="94" y="42"/>
              </a:cxn>
              <a:cxn ang="0">
                <a:pos x="106" y="48"/>
              </a:cxn>
              <a:cxn ang="0">
                <a:pos x="113" y="48"/>
              </a:cxn>
              <a:cxn ang="0">
                <a:pos x="118" y="50"/>
              </a:cxn>
              <a:cxn ang="0">
                <a:pos x="135" y="55"/>
              </a:cxn>
              <a:cxn ang="0">
                <a:pos x="140" y="58"/>
              </a:cxn>
              <a:cxn ang="0">
                <a:pos x="144" y="61"/>
              </a:cxn>
              <a:cxn ang="0">
                <a:pos x="139" y="66"/>
              </a:cxn>
              <a:cxn ang="0">
                <a:pos x="134" y="66"/>
              </a:cxn>
              <a:cxn ang="0">
                <a:pos x="129" y="64"/>
              </a:cxn>
              <a:cxn ang="0">
                <a:pos x="125" y="62"/>
              </a:cxn>
              <a:cxn ang="0">
                <a:pos x="119" y="64"/>
              </a:cxn>
              <a:cxn ang="0">
                <a:pos x="117" y="67"/>
              </a:cxn>
              <a:cxn ang="0">
                <a:pos x="113" y="70"/>
              </a:cxn>
              <a:cxn ang="0">
                <a:pos x="119" y="69"/>
              </a:cxn>
              <a:cxn ang="0">
                <a:pos x="129" y="70"/>
              </a:cxn>
              <a:cxn ang="0">
                <a:pos x="125" y="73"/>
              </a:cxn>
              <a:cxn ang="0">
                <a:pos x="131" y="73"/>
              </a:cxn>
              <a:cxn ang="0">
                <a:pos x="133" y="77"/>
              </a:cxn>
              <a:cxn ang="0">
                <a:pos x="130" y="78"/>
              </a:cxn>
              <a:cxn ang="0">
                <a:pos x="118" y="80"/>
              </a:cxn>
              <a:cxn ang="0">
                <a:pos x="111" y="81"/>
              </a:cxn>
              <a:cxn ang="0">
                <a:pos x="94" y="80"/>
              </a:cxn>
              <a:cxn ang="0">
                <a:pos x="82" y="78"/>
              </a:cxn>
              <a:cxn ang="0">
                <a:pos x="79" y="75"/>
              </a:cxn>
              <a:cxn ang="0">
                <a:pos x="69" y="75"/>
              </a:cxn>
              <a:cxn ang="0">
                <a:pos x="61" y="69"/>
              </a:cxn>
              <a:cxn ang="0">
                <a:pos x="54" y="73"/>
              </a:cxn>
              <a:cxn ang="0">
                <a:pos x="27" y="78"/>
              </a:cxn>
              <a:cxn ang="0">
                <a:pos x="18" y="83"/>
              </a:cxn>
              <a:cxn ang="0">
                <a:pos x="4" y="84"/>
              </a:cxn>
            </a:cxnLst>
            <a:rect l="0" t="0" r="r" b="b"/>
            <a:pathLst>
              <a:path w="146" h="84">
                <a:moveTo>
                  <a:pt x="31" y="26"/>
                </a:moveTo>
                <a:lnTo>
                  <a:pt x="31" y="29"/>
                </a:lnTo>
                <a:lnTo>
                  <a:pt x="33" y="29"/>
                </a:lnTo>
                <a:lnTo>
                  <a:pt x="35" y="31"/>
                </a:lnTo>
                <a:lnTo>
                  <a:pt x="37" y="31"/>
                </a:lnTo>
                <a:lnTo>
                  <a:pt x="38" y="29"/>
                </a:lnTo>
                <a:lnTo>
                  <a:pt x="39" y="29"/>
                </a:lnTo>
                <a:lnTo>
                  <a:pt x="42" y="29"/>
                </a:lnTo>
                <a:lnTo>
                  <a:pt x="43" y="28"/>
                </a:lnTo>
                <a:lnTo>
                  <a:pt x="45" y="26"/>
                </a:lnTo>
                <a:lnTo>
                  <a:pt x="46" y="26"/>
                </a:lnTo>
                <a:lnTo>
                  <a:pt x="43" y="25"/>
                </a:lnTo>
                <a:lnTo>
                  <a:pt x="42" y="23"/>
                </a:lnTo>
                <a:lnTo>
                  <a:pt x="42" y="22"/>
                </a:lnTo>
                <a:lnTo>
                  <a:pt x="41" y="22"/>
                </a:lnTo>
                <a:lnTo>
                  <a:pt x="41" y="20"/>
                </a:lnTo>
                <a:lnTo>
                  <a:pt x="39" y="18"/>
                </a:lnTo>
                <a:lnTo>
                  <a:pt x="41" y="18"/>
                </a:lnTo>
                <a:lnTo>
                  <a:pt x="41" y="17"/>
                </a:lnTo>
                <a:lnTo>
                  <a:pt x="41" y="15"/>
                </a:lnTo>
                <a:lnTo>
                  <a:pt x="39" y="15"/>
                </a:lnTo>
                <a:lnTo>
                  <a:pt x="39" y="14"/>
                </a:lnTo>
                <a:lnTo>
                  <a:pt x="38" y="12"/>
                </a:lnTo>
                <a:lnTo>
                  <a:pt x="37" y="11"/>
                </a:lnTo>
                <a:lnTo>
                  <a:pt x="35" y="6"/>
                </a:lnTo>
                <a:lnTo>
                  <a:pt x="34" y="6"/>
                </a:lnTo>
                <a:lnTo>
                  <a:pt x="35" y="6"/>
                </a:lnTo>
                <a:lnTo>
                  <a:pt x="35" y="4"/>
                </a:lnTo>
                <a:lnTo>
                  <a:pt x="34" y="4"/>
                </a:lnTo>
                <a:lnTo>
                  <a:pt x="35" y="3"/>
                </a:lnTo>
                <a:lnTo>
                  <a:pt x="38" y="3"/>
                </a:lnTo>
                <a:lnTo>
                  <a:pt x="35" y="1"/>
                </a:lnTo>
                <a:lnTo>
                  <a:pt x="37" y="1"/>
                </a:lnTo>
                <a:lnTo>
                  <a:pt x="37" y="0"/>
                </a:lnTo>
                <a:lnTo>
                  <a:pt x="38" y="0"/>
                </a:lnTo>
                <a:lnTo>
                  <a:pt x="45" y="1"/>
                </a:lnTo>
                <a:lnTo>
                  <a:pt x="50" y="3"/>
                </a:lnTo>
                <a:lnTo>
                  <a:pt x="54" y="4"/>
                </a:lnTo>
                <a:lnTo>
                  <a:pt x="54" y="3"/>
                </a:lnTo>
                <a:lnTo>
                  <a:pt x="53" y="3"/>
                </a:lnTo>
                <a:lnTo>
                  <a:pt x="53" y="1"/>
                </a:lnTo>
                <a:lnTo>
                  <a:pt x="54" y="1"/>
                </a:lnTo>
                <a:lnTo>
                  <a:pt x="57" y="1"/>
                </a:lnTo>
                <a:lnTo>
                  <a:pt x="58" y="3"/>
                </a:lnTo>
                <a:lnTo>
                  <a:pt x="59" y="3"/>
                </a:lnTo>
                <a:lnTo>
                  <a:pt x="61" y="4"/>
                </a:lnTo>
                <a:lnTo>
                  <a:pt x="62" y="4"/>
                </a:lnTo>
                <a:lnTo>
                  <a:pt x="69" y="6"/>
                </a:lnTo>
                <a:lnTo>
                  <a:pt x="69" y="7"/>
                </a:lnTo>
                <a:lnTo>
                  <a:pt x="73" y="7"/>
                </a:lnTo>
                <a:lnTo>
                  <a:pt x="74" y="9"/>
                </a:lnTo>
                <a:lnTo>
                  <a:pt x="75" y="9"/>
                </a:lnTo>
                <a:lnTo>
                  <a:pt x="77" y="9"/>
                </a:lnTo>
                <a:lnTo>
                  <a:pt x="77" y="11"/>
                </a:lnTo>
                <a:lnTo>
                  <a:pt x="75" y="12"/>
                </a:lnTo>
                <a:lnTo>
                  <a:pt x="77" y="12"/>
                </a:lnTo>
                <a:lnTo>
                  <a:pt x="78" y="14"/>
                </a:lnTo>
                <a:lnTo>
                  <a:pt x="78" y="15"/>
                </a:lnTo>
                <a:lnTo>
                  <a:pt x="79" y="15"/>
                </a:lnTo>
                <a:lnTo>
                  <a:pt x="79" y="17"/>
                </a:lnTo>
                <a:lnTo>
                  <a:pt x="81" y="20"/>
                </a:lnTo>
                <a:lnTo>
                  <a:pt x="82" y="23"/>
                </a:lnTo>
                <a:lnTo>
                  <a:pt x="82" y="25"/>
                </a:lnTo>
                <a:lnTo>
                  <a:pt x="83" y="26"/>
                </a:lnTo>
                <a:lnTo>
                  <a:pt x="89" y="29"/>
                </a:lnTo>
                <a:lnTo>
                  <a:pt x="90" y="29"/>
                </a:lnTo>
                <a:lnTo>
                  <a:pt x="91" y="31"/>
                </a:lnTo>
                <a:lnTo>
                  <a:pt x="91" y="33"/>
                </a:lnTo>
                <a:lnTo>
                  <a:pt x="93" y="33"/>
                </a:lnTo>
                <a:lnTo>
                  <a:pt x="93" y="34"/>
                </a:lnTo>
                <a:lnTo>
                  <a:pt x="91" y="34"/>
                </a:lnTo>
                <a:lnTo>
                  <a:pt x="90" y="36"/>
                </a:lnTo>
                <a:lnTo>
                  <a:pt x="90" y="37"/>
                </a:lnTo>
                <a:lnTo>
                  <a:pt x="89" y="39"/>
                </a:lnTo>
                <a:lnTo>
                  <a:pt x="90" y="40"/>
                </a:lnTo>
                <a:lnTo>
                  <a:pt x="94" y="42"/>
                </a:lnTo>
                <a:lnTo>
                  <a:pt x="95" y="42"/>
                </a:lnTo>
                <a:lnTo>
                  <a:pt x="99" y="45"/>
                </a:lnTo>
                <a:lnTo>
                  <a:pt x="103" y="47"/>
                </a:lnTo>
                <a:lnTo>
                  <a:pt x="106" y="48"/>
                </a:lnTo>
                <a:lnTo>
                  <a:pt x="107" y="48"/>
                </a:lnTo>
                <a:lnTo>
                  <a:pt x="110" y="48"/>
                </a:lnTo>
                <a:lnTo>
                  <a:pt x="111" y="50"/>
                </a:lnTo>
                <a:lnTo>
                  <a:pt x="113" y="48"/>
                </a:lnTo>
                <a:lnTo>
                  <a:pt x="114" y="48"/>
                </a:lnTo>
                <a:lnTo>
                  <a:pt x="117" y="48"/>
                </a:lnTo>
                <a:lnTo>
                  <a:pt x="118" y="48"/>
                </a:lnTo>
                <a:lnTo>
                  <a:pt x="118" y="50"/>
                </a:lnTo>
                <a:lnTo>
                  <a:pt x="129" y="53"/>
                </a:lnTo>
                <a:lnTo>
                  <a:pt x="131" y="55"/>
                </a:lnTo>
                <a:lnTo>
                  <a:pt x="134" y="55"/>
                </a:lnTo>
                <a:lnTo>
                  <a:pt x="135" y="55"/>
                </a:lnTo>
                <a:lnTo>
                  <a:pt x="135" y="56"/>
                </a:lnTo>
                <a:lnTo>
                  <a:pt x="138" y="58"/>
                </a:lnTo>
                <a:lnTo>
                  <a:pt x="139" y="56"/>
                </a:lnTo>
                <a:lnTo>
                  <a:pt x="140" y="58"/>
                </a:lnTo>
                <a:lnTo>
                  <a:pt x="143" y="56"/>
                </a:lnTo>
                <a:lnTo>
                  <a:pt x="144" y="56"/>
                </a:lnTo>
                <a:lnTo>
                  <a:pt x="146" y="59"/>
                </a:lnTo>
                <a:lnTo>
                  <a:pt x="144" y="61"/>
                </a:lnTo>
                <a:lnTo>
                  <a:pt x="144" y="64"/>
                </a:lnTo>
                <a:lnTo>
                  <a:pt x="143" y="66"/>
                </a:lnTo>
                <a:lnTo>
                  <a:pt x="142" y="66"/>
                </a:lnTo>
                <a:lnTo>
                  <a:pt x="139" y="66"/>
                </a:lnTo>
                <a:lnTo>
                  <a:pt x="136" y="64"/>
                </a:lnTo>
                <a:lnTo>
                  <a:pt x="136" y="61"/>
                </a:lnTo>
                <a:lnTo>
                  <a:pt x="135" y="62"/>
                </a:lnTo>
                <a:lnTo>
                  <a:pt x="134" y="66"/>
                </a:lnTo>
                <a:lnTo>
                  <a:pt x="133" y="64"/>
                </a:lnTo>
                <a:lnTo>
                  <a:pt x="131" y="64"/>
                </a:lnTo>
                <a:lnTo>
                  <a:pt x="130" y="66"/>
                </a:lnTo>
                <a:lnTo>
                  <a:pt x="129" y="64"/>
                </a:lnTo>
                <a:lnTo>
                  <a:pt x="127" y="62"/>
                </a:lnTo>
                <a:lnTo>
                  <a:pt x="127" y="61"/>
                </a:lnTo>
                <a:lnTo>
                  <a:pt x="127" y="62"/>
                </a:lnTo>
                <a:lnTo>
                  <a:pt x="125" y="62"/>
                </a:lnTo>
                <a:lnTo>
                  <a:pt x="125" y="61"/>
                </a:lnTo>
                <a:lnTo>
                  <a:pt x="123" y="62"/>
                </a:lnTo>
                <a:lnTo>
                  <a:pt x="122" y="62"/>
                </a:lnTo>
                <a:lnTo>
                  <a:pt x="119" y="64"/>
                </a:lnTo>
                <a:lnTo>
                  <a:pt x="119" y="66"/>
                </a:lnTo>
                <a:lnTo>
                  <a:pt x="121" y="67"/>
                </a:lnTo>
                <a:lnTo>
                  <a:pt x="118" y="67"/>
                </a:lnTo>
                <a:lnTo>
                  <a:pt x="117" y="67"/>
                </a:lnTo>
                <a:lnTo>
                  <a:pt x="113" y="67"/>
                </a:lnTo>
                <a:lnTo>
                  <a:pt x="111" y="67"/>
                </a:lnTo>
                <a:lnTo>
                  <a:pt x="113" y="69"/>
                </a:lnTo>
                <a:lnTo>
                  <a:pt x="113" y="70"/>
                </a:lnTo>
                <a:lnTo>
                  <a:pt x="113" y="72"/>
                </a:lnTo>
                <a:lnTo>
                  <a:pt x="113" y="73"/>
                </a:lnTo>
                <a:lnTo>
                  <a:pt x="115" y="70"/>
                </a:lnTo>
                <a:lnTo>
                  <a:pt x="119" y="69"/>
                </a:lnTo>
                <a:lnTo>
                  <a:pt x="126" y="69"/>
                </a:lnTo>
                <a:lnTo>
                  <a:pt x="127" y="69"/>
                </a:lnTo>
                <a:lnTo>
                  <a:pt x="129" y="69"/>
                </a:lnTo>
                <a:lnTo>
                  <a:pt x="129" y="70"/>
                </a:lnTo>
                <a:lnTo>
                  <a:pt x="127" y="70"/>
                </a:lnTo>
                <a:lnTo>
                  <a:pt x="126" y="72"/>
                </a:lnTo>
                <a:lnTo>
                  <a:pt x="125" y="72"/>
                </a:lnTo>
                <a:lnTo>
                  <a:pt x="125" y="73"/>
                </a:lnTo>
                <a:lnTo>
                  <a:pt x="126" y="73"/>
                </a:lnTo>
                <a:lnTo>
                  <a:pt x="127" y="73"/>
                </a:lnTo>
                <a:lnTo>
                  <a:pt x="127" y="72"/>
                </a:lnTo>
                <a:lnTo>
                  <a:pt x="131" y="73"/>
                </a:lnTo>
                <a:lnTo>
                  <a:pt x="134" y="73"/>
                </a:lnTo>
                <a:lnTo>
                  <a:pt x="135" y="75"/>
                </a:lnTo>
                <a:lnTo>
                  <a:pt x="134" y="75"/>
                </a:lnTo>
                <a:lnTo>
                  <a:pt x="133" y="77"/>
                </a:lnTo>
                <a:lnTo>
                  <a:pt x="133" y="75"/>
                </a:lnTo>
                <a:lnTo>
                  <a:pt x="131" y="77"/>
                </a:lnTo>
                <a:lnTo>
                  <a:pt x="130" y="77"/>
                </a:lnTo>
                <a:lnTo>
                  <a:pt x="130" y="78"/>
                </a:lnTo>
                <a:lnTo>
                  <a:pt x="129" y="78"/>
                </a:lnTo>
                <a:lnTo>
                  <a:pt x="123" y="78"/>
                </a:lnTo>
                <a:lnTo>
                  <a:pt x="122" y="80"/>
                </a:lnTo>
                <a:lnTo>
                  <a:pt x="118" y="80"/>
                </a:lnTo>
                <a:lnTo>
                  <a:pt x="117" y="80"/>
                </a:lnTo>
                <a:lnTo>
                  <a:pt x="115" y="81"/>
                </a:lnTo>
                <a:lnTo>
                  <a:pt x="114" y="81"/>
                </a:lnTo>
                <a:lnTo>
                  <a:pt x="111" y="81"/>
                </a:lnTo>
                <a:lnTo>
                  <a:pt x="107" y="81"/>
                </a:lnTo>
                <a:lnTo>
                  <a:pt x="101" y="81"/>
                </a:lnTo>
                <a:lnTo>
                  <a:pt x="99" y="80"/>
                </a:lnTo>
                <a:lnTo>
                  <a:pt x="94" y="80"/>
                </a:lnTo>
                <a:lnTo>
                  <a:pt x="93" y="78"/>
                </a:lnTo>
                <a:lnTo>
                  <a:pt x="90" y="78"/>
                </a:lnTo>
                <a:lnTo>
                  <a:pt x="90" y="80"/>
                </a:lnTo>
                <a:lnTo>
                  <a:pt x="82" y="78"/>
                </a:lnTo>
                <a:lnTo>
                  <a:pt x="79" y="78"/>
                </a:lnTo>
                <a:lnTo>
                  <a:pt x="83" y="75"/>
                </a:lnTo>
                <a:lnTo>
                  <a:pt x="82" y="75"/>
                </a:lnTo>
                <a:lnTo>
                  <a:pt x="79" y="75"/>
                </a:lnTo>
                <a:lnTo>
                  <a:pt x="75" y="75"/>
                </a:lnTo>
                <a:lnTo>
                  <a:pt x="74" y="75"/>
                </a:lnTo>
                <a:lnTo>
                  <a:pt x="70" y="73"/>
                </a:lnTo>
                <a:lnTo>
                  <a:pt x="69" y="75"/>
                </a:lnTo>
                <a:lnTo>
                  <a:pt x="62" y="73"/>
                </a:lnTo>
                <a:lnTo>
                  <a:pt x="63" y="72"/>
                </a:lnTo>
                <a:lnTo>
                  <a:pt x="62" y="70"/>
                </a:lnTo>
                <a:lnTo>
                  <a:pt x="61" y="69"/>
                </a:lnTo>
                <a:lnTo>
                  <a:pt x="58" y="69"/>
                </a:lnTo>
                <a:lnTo>
                  <a:pt x="55" y="70"/>
                </a:lnTo>
                <a:lnTo>
                  <a:pt x="53" y="70"/>
                </a:lnTo>
                <a:lnTo>
                  <a:pt x="54" y="73"/>
                </a:lnTo>
                <a:lnTo>
                  <a:pt x="51" y="75"/>
                </a:lnTo>
                <a:lnTo>
                  <a:pt x="46" y="78"/>
                </a:lnTo>
                <a:lnTo>
                  <a:pt x="39" y="78"/>
                </a:lnTo>
                <a:lnTo>
                  <a:pt x="27" y="78"/>
                </a:lnTo>
                <a:lnTo>
                  <a:pt x="30" y="78"/>
                </a:lnTo>
                <a:lnTo>
                  <a:pt x="26" y="81"/>
                </a:lnTo>
                <a:lnTo>
                  <a:pt x="22" y="83"/>
                </a:lnTo>
                <a:lnTo>
                  <a:pt x="18" y="83"/>
                </a:lnTo>
                <a:lnTo>
                  <a:pt x="14" y="84"/>
                </a:lnTo>
                <a:lnTo>
                  <a:pt x="9" y="84"/>
                </a:lnTo>
                <a:lnTo>
                  <a:pt x="8" y="84"/>
                </a:lnTo>
                <a:lnTo>
                  <a:pt x="4" y="84"/>
                </a:lnTo>
                <a:lnTo>
                  <a:pt x="0" y="84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48" name="Freeform 648"/>
          <p:cNvSpPr>
            <a:spLocks/>
          </p:cNvSpPr>
          <p:nvPr/>
        </p:nvSpPr>
        <p:spPr bwMode="auto">
          <a:xfrm>
            <a:off x="2369235" y="1898135"/>
            <a:ext cx="124724" cy="27920"/>
          </a:xfrm>
          <a:custGeom>
            <a:avLst/>
            <a:gdLst/>
            <a:ahLst/>
            <a:cxnLst>
              <a:cxn ang="0">
                <a:pos x="66" y="12"/>
              </a:cxn>
              <a:cxn ang="0">
                <a:pos x="63" y="12"/>
              </a:cxn>
              <a:cxn ang="0">
                <a:pos x="62" y="12"/>
              </a:cxn>
              <a:cxn ang="0">
                <a:pos x="58" y="12"/>
              </a:cxn>
              <a:cxn ang="0">
                <a:pos x="54" y="12"/>
              </a:cxn>
              <a:cxn ang="0">
                <a:pos x="55" y="12"/>
              </a:cxn>
              <a:cxn ang="0">
                <a:pos x="55" y="14"/>
              </a:cxn>
              <a:cxn ang="0">
                <a:pos x="51" y="14"/>
              </a:cxn>
              <a:cxn ang="0">
                <a:pos x="44" y="14"/>
              </a:cxn>
              <a:cxn ang="0">
                <a:pos x="43" y="14"/>
              </a:cxn>
              <a:cxn ang="0">
                <a:pos x="38" y="14"/>
              </a:cxn>
              <a:cxn ang="0">
                <a:pos x="24" y="14"/>
              </a:cxn>
              <a:cxn ang="0">
                <a:pos x="26" y="14"/>
              </a:cxn>
              <a:cxn ang="0">
                <a:pos x="28" y="12"/>
              </a:cxn>
              <a:cxn ang="0">
                <a:pos x="23" y="12"/>
              </a:cxn>
              <a:cxn ang="0">
                <a:pos x="20" y="11"/>
              </a:cxn>
              <a:cxn ang="0">
                <a:pos x="20" y="9"/>
              </a:cxn>
              <a:cxn ang="0">
                <a:pos x="18" y="8"/>
              </a:cxn>
              <a:cxn ang="0">
                <a:pos x="18" y="6"/>
              </a:cxn>
              <a:cxn ang="0">
                <a:pos x="19" y="5"/>
              </a:cxn>
              <a:cxn ang="0">
                <a:pos x="16" y="3"/>
              </a:cxn>
              <a:cxn ang="0">
                <a:pos x="15" y="1"/>
              </a:cxn>
              <a:cxn ang="0">
                <a:pos x="14" y="1"/>
              </a:cxn>
              <a:cxn ang="0">
                <a:pos x="8" y="0"/>
              </a:cxn>
              <a:cxn ang="0">
                <a:pos x="0" y="0"/>
              </a:cxn>
            </a:cxnLst>
            <a:rect l="0" t="0" r="r" b="b"/>
            <a:pathLst>
              <a:path w="66" h="14">
                <a:moveTo>
                  <a:pt x="66" y="12"/>
                </a:moveTo>
                <a:lnTo>
                  <a:pt x="63" y="12"/>
                </a:lnTo>
                <a:lnTo>
                  <a:pt x="62" y="12"/>
                </a:lnTo>
                <a:lnTo>
                  <a:pt x="58" y="12"/>
                </a:lnTo>
                <a:lnTo>
                  <a:pt x="54" y="12"/>
                </a:lnTo>
                <a:lnTo>
                  <a:pt x="55" y="12"/>
                </a:lnTo>
                <a:lnTo>
                  <a:pt x="55" y="14"/>
                </a:lnTo>
                <a:lnTo>
                  <a:pt x="51" y="14"/>
                </a:lnTo>
                <a:lnTo>
                  <a:pt x="44" y="14"/>
                </a:lnTo>
                <a:lnTo>
                  <a:pt x="43" y="14"/>
                </a:lnTo>
                <a:lnTo>
                  <a:pt x="38" y="14"/>
                </a:lnTo>
                <a:lnTo>
                  <a:pt x="24" y="14"/>
                </a:lnTo>
                <a:lnTo>
                  <a:pt x="26" y="14"/>
                </a:lnTo>
                <a:lnTo>
                  <a:pt x="28" y="12"/>
                </a:lnTo>
                <a:lnTo>
                  <a:pt x="23" y="12"/>
                </a:lnTo>
                <a:lnTo>
                  <a:pt x="20" y="11"/>
                </a:lnTo>
                <a:lnTo>
                  <a:pt x="20" y="9"/>
                </a:lnTo>
                <a:lnTo>
                  <a:pt x="18" y="8"/>
                </a:lnTo>
                <a:lnTo>
                  <a:pt x="18" y="6"/>
                </a:lnTo>
                <a:lnTo>
                  <a:pt x="19" y="5"/>
                </a:lnTo>
                <a:lnTo>
                  <a:pt x="16" y="3"/>
                </a:lnTo>
                <a:lnTo>
                  <a:pt x="15" y="1"/>
                </a:lnTo>
                <a:lnTo>
                  <a:pt x="14" y="1"/>
                </a:lnTo>
                <a:lnTo>
                  <a:pt x="8" y="0"/>
                </a:lnTo>
                <a:lnTo>
                  <a:pt x="0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49" name="Freeform 649"/>
          <p:cNvSpPr>
            <a:spLocks/>
          </p:cNvSpPr>
          <p:nvPr/>
        </p:nvSpPr>
        <p:spPr bwMode="auto">
          <a:xfrm>
            <a:off x="2593350" y="1743508"/>
            <a:ext cx="74054" cy="30067"/>
          </a:xfrm>
          <a:custGeom>
            <a:avLst/>
            <a:gdLst/>
            <a:ahLst/>
            <a:cxnLst>
              <a:cxn ang="0">
                <a:pos x="32" y="11"/>
              </a:cxn>
              <a:cxn ang="0">
                <a:pos x="34" y="10"/>
              </a:cxn>
              <a:cxn ang="0">
                <a:pos x="36" y="8"/>
              </a:cxn>
              <a:cxn ang="0">
                <a:pos x="38" y="7"/>
              </a:cxn>
              <a:cxn ang="0">
                <a:pos x="38" y="5"/>
              </a:cxn>
              <a:cxn ang="0">
                <a:pos x="38" y="4"/>
              </a:cxn>
              <a:cxn ang="0">
                <a:pos x="39" y="4"/>
              </a:cxn>
              <a:cxn ang="0">
                <a:pos x="38" y="2"/>
              </a:cxn>
              <a:cxn ang="0">
                <a:pos x="35" y="2"/>
              </a:cxn>
              <a:cxn ang="0">
                <a:pos x="34" y="2"/>
              </a:cxn>
              <a:cxn ang="0">
                <a:pos x="28" y="0"/>
              </a:cxn>
              <a:cxn ang="0">
                <a:pos x="26" y="0"/>
              </a:cxn>
              <a:cxn ang="0">
                <a:pos x="20" y="0"/>
              </a:cxn>
              <a:cxn ang="0">
                <a:pos x="11" y="0"/>
              </a:cxn>
              <a:cxn ang="0">
                <a:pos x="7" y="0"/>
              </a:cxn>
              <a:cxn ang="0">
                <a:pos x="4" y="4"/>
              </a:cxn>
              <a:cxn ang="0">
                <a:pos x="2" y="5"/>
              </a:cxn>
              <a:cxn ang="0">
                <a:pos x="0" y="5"/>
              </a:cxn>
              <a:cxn ang="0">
                <a:pos x="8" y="7"/>
              </a:cxn>
              <a:cxn ang="0">
                <a:pos x="10" y="7"/>
              </a:cxn>
              <a:cxn ang="0">
                <a:pos x="14" y="8"/>
              </a:cxn>
              <a:cxn ang="0">
                <a:pos x="15" y="10"/>
              </a:cxn>
              <a:cxn ang="0">
                <a:pos x="18" y="11"/>
              </a:cxn>
              <a:cxn ang="0">
                <a:pos x="20" y="13"/>
              </a:cxn>
              <a:cxn ang="0">
                <a:pos x="27" y="16"/>
              </a:cxn>
              <a:cxn ang="0">
                <a:pos x="27" y="14"/>
              </a:cxn>
              <a:cxn ang="0">
                <a:pos x="28" y="14"/>
              </a:cxn>
              <a:cxn ang="0">
                <a:pos x="31" y="13"/>
              </a:cxn>
              <a:cxn ang="0">
                <a:pos x="32" y="13"/>
              </a:cxn>
              <a:cxn ang="0">
                <a:pos x="32" y="11"/>
              </a:cxn>
            </a:cxnLst>
            <a:rect l="0" t="0" r="r" b="b"/>
            <a:pathLst>
              <a:path w="39" h="16">
                <a:moveTo>
                  <a:pt x="32" y="11"/>
                </a:moveTo>
                <a:lnTo>
                  <a:pt x="34" y="10"/>
                </a:lnTo>
                <a:lnTo>
                  <a:pt x="36" y="8"/>
                </a:lnTo>
                <a:lnTo>
                  <a:pt x="38" y="7"/>
                </a:lnTo>
                <a:lnTo>
                  <a:pt x="38" y="5"/>
                </a:lnTo>
                <a:lnTo>
                  <a:pt x="38" y="4"/>
                </a:lnTo>
                <a:lnTo>
                  <a:pt x="39" y="4"/>
                </a:lnTo>
                <a:lnTo>
                  <a:pt x="38" y="2"/>
                </a:lnTo>
                <a:lnTo>
                  <a:pt x="35" y="2"/>
                </a:lnTo>
                <a:lnTo>
                  <a:pt x="34" y="2"/>
                </a:lnTo>
                <a:lnTo>
                  <a:pt x="28" y="0"/>
                </a:lnTo>
                <a:lnTo>
                  <a:pt x="26" y="0"/>
                </a:lnTo>
                <a:lnTo>
                  <a:pt x="20" y="0"/>
                </a:lnTo>
                <a:lnTo>
                  <a:pt x="11" y="0"/>
                </a:lnTo>
                <a:lnTo>
                  <a:pt x="7" y="0"/>
                </a:lnTo>
                <a:lnTo>
                  <a:pt x="4" y="4"/>
                </a:lnTo>
                <a:lnTo>
                  <a:pt x="2" y="5"/>
                </a:lnTo>
                <a:lnTo>
                  <a:pt x="0" y="5"/>
                </a:lnTo>
                <a:lnTo>
                  <a:pt x="8" y="7"/>
                </a:lnTo>
                <a:lnTo>
                  <a:pt x="10" y="7"/>
                </a:lnTo>
                <a:lnTo>
                  <a:pt x="14" y="8"/>
                </a:lnTo>
                <a:lnTo>
                  <a:pt x="15" y="10"/>
                </a:lnTo>
                <a:lnTo>
                  <a:pt x="18" y="11"/>
                </a:lnTo>
                <a:lnTo>
                  <a:pt x="20" y="13"/>
                </a:lnTo>
                <a:lnTo>
                  <a:pt x="27" y="16"/>
                </a:lnTo>
                <a:lnTo>
                  <a:pt x="27" y="14"/>
                </a:lnTo>
                <a:lnTo>
                  <a:pt x="28" y="14"/>
                </a:lnTo>
                <a:lnTo>
                  <a:pt x="31" y="13"/>
                </a:lnTo>
                <a:lnTo>
                  <a:pt x="32" y="13"/>
                </a:lnTo>
                <a:lnTo>
                  <a:pt x="32" y="11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50" name="Freeform 650"/>
          <p:cNvSpPr>
            <a:spLocks/>
          </p:cNvSpPr>
          <p:nvPr/>
        </p:nvSpPr>
        <p:spPr bwMode="auto">
          <a:xfrm>
            <a:off x="2593350" y="1743508"/>
            <a:ext cx="74054" cy="30067"/>
          </a:xfrm>
          <a:custGeom>
            <a:avLst/>
            <a:gdLst/>
            <a:ahLst/>
            <a:cxnLst>
              <a:cxn ang="0">
                <a:pos x="32" y="11"/>
              </a:cxn>
              <a:cxn ang="0">
                <a:pos x="34" y="10"/>
              </a:cxn>
              <a:cxn ang="0">
                <a:pos x="36" y="8"/>
              </a:cxn>
              <a:cxn ang="0">
                <a:pos x="38" y="7"/>
              </a:cxn>
              <a:cxn ang="0">
                <a:pos x="38" y="5"/>
              </a:cxn>
              <a:cxn ang="0">
                <a:pos x="38" y="4"/>
              </a:cxn>
              <a:cxn ang="0">
                <a:pos x="39" y="4"/>
              </a:cxn>
              <a:cxn ang="0">
                <a:pos x="38" y="2"/>
              </a:cxn>
              <a:cxn ang="0">
                <a:pos x="35" y="2"/>
              </a:cxn>
              <a:cxn ang="0">
                <a:pos x="34" y="2"/>
              </a:cxn>
              <a:cxn ang="0">
                <a:pos x="28" y="0"/>
              </a:cxn>
              <a:cxn ang="0">
                <a:pos x="26" y="0"/>
              </a:cxn>
              <a:cxn ang="0">
                <a:pos x="20" y="0"/>
              </a:cxn>
              <a:cxn ang="0">
                <a:pos x="11" y="0"/>
              </a:cxn>
              <a:cxn ang="0">
                <a:pos x="7" y="0"/>
              </a:cxn>
              <a:cxn ang="0">
                <a:pos x="4" y="4"/>
              </a:cxn>
              <a:cxn ang="0">
                <a:pos x="2" y="5"/>
              </a:cxn>
              <a:cxn ang="0">
                <a:pos x="0" y="5"/>
              </a:cxn>
              <a:cxn ang="0">
                <a:pos x="8" y="7"/>
              </a:cxn>
              <a:cxn ang="0">
                <a:pos x="10" y="7"/>
              </a:cxn>
              <a:cxn ang="0">
                <a:pos x="14" y="8"/>
              </a:cxn>
              <a:cxn ang="0">
                <a:pos x="15" y="10"/>
              </a:cxn>
              <a:cxn ang="0">
                <a:pos x="18" y="11"/>
              </a:cxn>
              <a:cxn ang="0">
                <a:pos x="20" y="13"/>
              </a:cxn>
              <a:cxn ang="0">
                <a:pos x="27" y="16"/>
              </a:cxn>
              <a:cxn ang="0">
                <a:pos x="27" y="14"/>
              </a:cxn>
              <a:cxn ang="0">
                <a:pos x="28" y="14"/>
              </a:cxn>
              <a:cxn ang="0">
                <a:pos x="31" y="13"/>
              </a:cxn>
              <a:cxn ang="0">
                <a:pos x="32" y="13"/>
              </a:cxn>
              <a:cxn ang="0">
                <a:pos x="32" y="11"/>
              </a:cxn>
            </a:cxnLst>
            <a:rect l="0" t="0" r="r" b="b"/>
            <a:pathLst>
              <a:path w="39" h="16">
                <a:moveTo>
                  <a:pt x="32" y="11"/>
                </a:moveTo>
                <a:lnTo>
                  <a:pt x="34" y="10"/>
                </a:lnTo>
                <a:lnTo>
                  <a:pt x="36" y="8"/>
                </a:lnTo>
                <a:lnTo>
                  <a:pt x="38" y="7"/>
                </a:lnTo>
                <a:lnTo>
                  <a:pt x="38" y="5"/>
                </a:lnTo>
                <a:lnTo>
                  <a:pt x="38" y="4"/>
                </a:lnTo>
                <a:lnTo>
                  <a:pt x="39" y="4"/>
                </a:lnTo>
                <a:lnTo>
                  <a:pt x="38" y="2"/>
                </a:lnTo>
                <a:lnTo>
                  <a:pt x="35" y="2"/>
                </a:lnTo>
                <a:lnTo>
                  <a:pt x="34" y="2"/>
                </a:lnTo>
                <a:lnTo>
                  <a:pt x="28" y="0"/>
                </a:lnTo>
                <a:lnTo>
                  <a:pt x="26" y="0"/>
                </a:lnTo>
                <a:lnTo>
                  <a:pt x="20" y="0"/>
                </a:lnTo>
                <a:lnTo>
                  <a:pt x="11" y="0"/>
                </a:lnTo>
                <a:lnTo>
                  <a:pt x="7" y="0"/>
                </a:lnTo>
                <a:lnTo>
                  <a:pt x="4" y="4"/>
                </a:lnTo>
                <a:lnTo>
                  <a:pt x="2" y="5"/>
                </a:lnTo>
                <a:lnTo>
                  <a:pt x="0" y="5"/>
                </a:lnTo>
                <a:lnTo>
                  <a:pt x="8" y="7"/>
                </a:lnTo>
                <a:lnTo>
                  <a:pt x="10" y="7"/>
                </a:lnTo>
                <a:lnTo>
                  <a:pt x="14" y="8"/>
                </a:lnTo>
                <a:lnTo>
                  <a:pt x="15" y="10"/>
                </a:lnTo>
                <a:lnTo>
                  <a:pt x="18" y="11"/>
                </a:lnTo>
                <a:lnTo>
                  <a:pt x="20" y="13"/>
                </a:lnTo>
                <a:lnTo>
                  <a:pt x="27" y="16"/>
                </a:lnTo>
                <a:lnTo>
                  <a:pt x="27" y="14"/>
                </a:lnTo>
                <a:lnTo>
                  <a:pt x="28" y="14"/>
                </a:lnTo>
                <a:lnTo>
                  <a:pt x="31" y="13"/>
                </a:lnTo>
                <a:lnTo>
                  <a:pt x="32" y="13"/>
                </a:lnTo>
                <a:lnTo>
                  <a:pt x="32" y="11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51" name="Freeform 651"/>
          <p:cNvSpPr>
            <a:spLocks/>
          </p:cNvSpPr>
          <p:nvPr/>
        </p:nvSpPr>
        <p:spPr bwMode="auto">
          <a:xfrm>
            <a:off x="2727818" y="1737065"/>
            <a:ext cx="171496" cy="92346"/>
          </a:xfrm>
          <a:custGeom>
            <a:avLst/>
            <a:gdLst/>
            <a:ahLst/>
            <a:cxnLst>
              <a:cxn ang="0">
                <a:pos x="33" y="35"/>
              </a:cxn>
              <a:cxn ang="0">
                <a:pos x="29" y="32"/>
              </a:cxn>
              <a:cxn ang="0">
                <a:pos x="24" y="30"/>
              </a:cxn>
              <a:cxn ang="0">
                <a:pos x="14" y="32"/>
              </a:cxn>
              <a:cxn ang="0">
                <a:pos x="5" y="27"/>
              </a:cxn>
              <a:cxn ang="0">
                <a:pos x="0" y="22"/>
              </a:cxn>
              <a:cxn ang="0">
                <a:pos x="4" y="17"/>
              </a:cxn>
              <a:cxn ang="0">
                <a:pos x="12" y="19"/>
              </a:cxn>
              <a:cxn ang="0">
                <a:pos x="16" y="21"/>
              </a:cxn>
              <a:cxn ang="0">
                <a:pos x="18" y="22"/>
              </a:cxn>
              <a:cxn ang="0">
                <a:pos x="26" y="24"/>
              </a:cxn>
              <a:cxn ang="0">
                <a:pos x="30" y="22"/>
              </a:cxn>
              <a:cxn ang="0">
                <a:pos x="32" y="19"/>
              </a:cxn>
              <a:cxn ang="0">
                <a:pos x="36" y="19"/>
              </a:cxn>
              <a:cxn ang="0">
                <a:pos x="32" y="17"/>
              </a:cxn>
              <a:cxn ang="0">
                <a:pos x="30" y="14"/>
              </a:cxn>
              <a:cxn ang="0">
                <a:pos x="33" y="13"/>
              </a:cxn>
              <a:cxn ang="0">
                <a:pos x="32" y="11"/>
              </a:cxn>
              <a:cxn ang="0">
                <a:pos x="28" y="13"/>
              </a:cxn>
              <a:cxn ang="0">
                <a:pos x="18" y="10"/>
              </a:cxn>
              <a:cxn ang="0">
                <a:pos x="21" y="8"/>
              </a:cxn>
              <a:cxn ang="0">
                <a:pos x="26" y="10"/>
              </a:cxn>
              <a:cxn ang="0">
                <a:pos x="26" y="7"/>
              </a:cxn>
              <a:cxn ang="0">
                <a:pos x="18" y="7"/>
              </a:cxn>
              <a:cxn ang="0">
                <a:pos x="25" y="2"/>
              </a:cxn>
              <a:cxn ang="0">
                <a:pos x="33" y="5"/>
              </a:cxn>
              <a:cxn ang="0">
                <a:pos x="29" y="2"/>
              </a:cxn>
              <a:cxn ang="0">
                <a:pos x="36" y="2"/>
              </a:cxn>
              <a:cxn ang="0">
                <a:pos x="45" y="3"/>
              </a:cxn>
              <a:cxn ang="0">
                <a:pos x="52" y="3"/>
              </a:cxn>
              <a:cxn ang="0">
                <a:pos x="74" y="0"/>
              </a:cxn>
              <a:cxn ang="0">
                <a:pos x="81" y="3"/>
              </a:cxn>
              <a:cxn ang="0">
                <a:pos x="73" y="7"/>
              </a:cxn>
              <a:cxn ang="0">
                <a:pos x="77" y="10"/>
              </a:cxn>
              <a:cxn ang="0">
                <a:pos x="73" y="11"/>
              </a:cxn>
              <a:cxn ang="0">
                <a:pos x="64" y="14"/>
              </a:cxn>
              <a:cxn ang="0">
                <a:pos x="60" y="17"/>
              </a:cxn>
              <a:cxn ang="0">
                <a:pos x="70" y="16"/>
              </a:cxn>
              <a:cxn ang="0">
                <a:pos x="76" y="19"/>
              </a:cxn>
              <a:cxn ang="0">
                <a:pos x="78" y="21"/>
              </a:cxn>
              <a:cxn ang="0">
                <a:pos x="80" y="24"/>
              </a:cxn>
              <a:cxn ang="0">
                <a:pos x="86" y="21"/>
              </a:cxn>
              <a:cxn ang="0">
                <a:pos x="89" y="24"/>
              </a:cxn>
              <a:cxn ang="0">
                <a:pos x="88" y="28"/>
              </a:cxn>
              <a:cxn ang="0">
                <a:pos x="88" y="32"/>
              </a:cxn>
              <a:cxn ang="0">
                <a:pos x="86" y="35"/>
              </a:cxn>
              <a:cxn ang="0">
                <a:pos x="89" y="36"/>
              </a:cxn>
              <a:cxn ang="0">
                <a:pos x="86" y="38"/>
              </a:cxn>
              <a:cxn ang="0">
                <a:pos x="77" y="43"/>
              </a:cxn>
              <a:cxn ang="0">
                <a:pos x="65" y="41"/>
              </a:cxn>
              <a:cxn ang="0">
                <a:pos x="62" y="46"/>
              </a:cxn>
              <a:cxn ang="0">
                <a:pos x="58" y="47"/>
              </a:cxn>
              <a:cxn ang="0">
                <a:pos x="53" y="46"/>
              </a:cxn>
              <a:cxn ang="0">
                <a:pos x="48" y="43"/>
              </a:cxn>
              <a:cxn ang="0">
                <a:pos x="42" y="38"/>
              </a:cxn>
            </a:cxnLst>
            <a:rect l="0" t="0" r="r" b="b"/>
            <a:pathLst>
              <a:path w="90" h="47">
                <a:moveTo>
                  <a:pt x="37" y="36"/>
                </a:moveTo>
                <a:lnTo>
                  <a:pt x="36" y="36"/>
                </a:lnTo>
                <a:lnTo>
                  <a:pt x="33" y="35"/>
                </a:lnTo>
                <a:lnTo>
                  <a:pt x="33" y="33"/>
                </a:lnTo>
                <a:lnTo>
                  <a:pt x="32" y="33"/>
                </a:lnTo>
                <a:lnTo>
                  <a:pt x="29" y="32"/>
                </a:lnTo>
                <a:lnTo>
                  <a:pt x="26" y="33"/>
                </a:lnTo>
                <a:lnTo>
                  <a:pt x="25" y="32"/>
                </a:lnTo>
                <a:lnTo>
                  <a:pt x="24" y="30"/>
                </a:lnTo>
                <a:lnTo>
                  <a:pt x="21" y="30"/>
                </a:lnTo>
                <a:lnTo>
                  <a:pt x="21" y="32"/>
                </a:lnTo>
                <a:lnTo>
                  <a:pt x="14" y="32"/>
                </a:lnTo>
                <a:lnTo>
                  <a:pt x="13" y="30"/>
                </a:lnTo>
                <a:lnTo>
                  <a:pt x="11" y="28"/>
                </a:lnTo>
                <a:lnTo>
                  <a:pt x="5" y="27"/>
                </a:lnTo>
                <a:lnTo>
                  <a:pt x="4" y="25"/>
                </a:lnTo>
                <a:lnTo>
                  <a:pt x="0" y="24"/>
                </a:lnTo>
                <a:lnTo>
                  <a:pt x="0" y="22"/>
                </a:lnTo>
                <a:lnTo>
                  <a:pt x="0" y="19"/>
                </a:lnTo>
                <a:lnTo>
                  <a:pt x="1" y="17"/>
                </a:lnTo>
                <a:lnTo>
                  <a:pt x="4" y="17"/>
                </a:lnTo>
                <a:lnTo>
                  <a:pt x="7" y="17"/>
                </a:lnTo>
                <a:lnTo>
                  <a:pt x="9" y="17"/>
                </a:lnTo>
                <a:lnTo>
                  <a:pt x="12" y="19"/>
                </a:lnTo>
                <a:lnTo>
                  <a:pt x="11" y="19"/>
                </a:lnTo>
                <a:lnTo>
                  <a:pt x="12" y="21"/>
                </a:lnTo>
                <a:lnTo>
                  <a:pt x="16" y="21"/>
                </a:lnTo>
                <a:lnTo>
                  <a:pt x="17" y="21"/>
                </a:lnTo>
                <a:lnTo>
                  <a:pt x="17" y="22"/>
                </a:lnTo>
                <a:lnTo>
                  <a:pt x="18" y="22"/>
                </a:lnTo>
                <a:lnTo>
                  <a:pt x="18" y="24"/>
                </a:lnTo>
                <a:lnTo>
                  <a:pt x="24" y="24"/>
                </a:lnTo>
                <a:lnTo>
                  <a:pt x="26" y="24"/>
                </a:lnTo>
                <a:lnTo>
                  <a:pt x="26" y="22"/>
                </a:lnTo>
                <a:lnTo>
                  <a:pt x="28" y="22"/>
                </a:lnTo>
                <a:lnTo>
                  <a:pt x="30" y="22"/>
                </a:lnTo>
                <a:lnTo>
                  <a:pt x="33" y="21"/>
                </a:lnTo>
                <a:lnTo>
                  <a:pt x="32" y="21"/>
                </a:lnTo>
                <a:lnTo>
                  <a:pt x="32" y="19"/>
                </a:lnTo>
                <a:lnTo>
                  <a:pt x="33" y="19"/>
                </a:lnTo>
                <a:lnTo>
                  <a:pt x="34" y="19"/>
                </a:lnTo>
                <a:lnTo>
                  <a:pt x="36" y="19"/>
                </a:lnTo>
                <a:lnTo>
                  <a:pt x="36" y="17"/>
                </a:lnTo>
                <a:lnTo>
                  <a:pt x="34" y="17"/>
                </a:lnTo>
                <a:lnTo>
                  <a:pt x="32" y="17"/>
                </a:lnTo>
                <a:lnTo>
                  <a:pt x="32" y="16"/>
                </a:lnTo>
                <a:lnTo>
                  <a:pt x="30" y="16"/>
                </a:lnTo>
                <a:lnTo>
                  <a:pt x="30" y="14"/>
                </a:lnTo>
                <a:lnTo>
                  <a:pt x="29" y="14"/>
                </a:lnTo>
                <a:lnTo>
                  <a:pt x="30" y="13"/>
                </a:lnTo>
                <a:lnTo>
                  <a:pt x="33" y="13"/>
                </a:lnTo>
                <a:lnTo>
                  <a:pt x="37" y="14"/>
                </a:lnTo>
                <a:lnTo>
                  <a:pt x="38" y="14"/>
                </a:lnTo>
                <a:lnTo>
                  <a:pt x="32" y="11"/>
                </a:lnTo>
                <a:lnTo>
                  <a:pt x="30" y="11"/>
                </a:lnTo>
                <a:lnTo>
                  <a:pt x="30" y="13"/>
                </a:lnTo>
                <a:lnTo>
                  <a:pt x="28" y="13"/>
                </a:lnTo>
                <a:lnTo>
                  <a:pt x="25" y="13"/>
                </a:lnTo>
                <a:lnTo>
                  <a:pt x="21" y="11"/>
                </a:lnTo>
                <a:lnTo>
                  <a:pt x="18" y="10"/>
                </a:lnTo>
                <a:lnTo>
                  <a:pt x="16" y="10"/>
                </a:lnTo>
                <a:lnTo>
                  <a:pt x="16" y="8"/>
                </a:lnTo>
                <a:lnTo>
                  <a:pt x="21" y="8"/>
                </a:lnTo>
                <a:lnTo>
                  <a:pt x="24" y="8"/>
                </a:lnTo>
                <a:lnTo>
                  <a:pt x="24" y="10"/>
                </a:lnTo>
                <a:lnTo>
                  <a:pt x="26" y="10"/>
                </a:lnTo>
                <a:lnTo>
                  <a:pt x="28" y="10"/>
                </a:lnTo>
                <a:lnTo>
                  <a:pt x="26" y="8"/>
                </a:lnTo>
                <a:lnTo>
                  <a:pt x="26" y="7"/>
                </a:lnTo>
                <a:lnTo>
                  <a:pt x="22" y="7"/>
                </a:lnTo>
                <a:lnTo>
                  <a:pt x="21" y="7"/>
                </a:lnTo>
                <a:lnTo>
                  <a:pt x="18" y="7"/>
                </a:lnTo>
                <a:lnTo>
                  <a:pt x="17" y="5"/>
                </a:lnTo>
                <a:lnTo>
                  <a:pt x="21" y="3"/>
                </a:lnTo>
                <a:lnTo>
                  <a:pt x="25" y="2"/>
                </a:lnTo>
                <a:lnTo>
                  <a:pt x="26" y="3"/>
                </a:lnTo>
                <a:lnTo>
                  <a:pt x="30" y="3"/>
                </a:lnTo>
                <a:lnTo>
                  <a:pt x="33" y="5"/>
                </a:lnTo>
                <a:lnTo>
                  <a:pt x="34" y="3"/>
                </a:lnTo>
                <a:lnTo>
                  <a:pt x="30" y="2"/>
                </a:lnTo>
                <a:lnTo>
                  <a:pt x="29" y="2"/>
                </a:lnTo>
                <a:lnTo>
                  <a:pt x="32" y="2"/>
                </a:lnTo>
                <a:lnTo>
                  <a:pt x="34" y="0"/>
                </a:lnTo>
                <a:lnTo>
                  <a:pt x="36" y="2"/>
                </a:lnTo>
                <a:lnTo>
                  <a:pt x="38" y="2"/>
                </a:lnTo>
                <a:lnTo>
                  <a:pt x="41" y="3"/>
                </a:lnTo>
                <a:lnTo>
                  <a:pt x="45" y="3"/>
                </a:lnTo>
                <a:lnTo>
                  <a:pt x="48" y="3"/>
                </a:lnTo>
                <a:lnTo>
                  <a:pt x="50" y="3"/>
                </a:lnTo>
                <a:lnTo>
                  <a:pt x="52" y="3"/>
                </a:lnTo>
                <a:lnTo>
                  <a:pt x="58" y="3"/>
                </a:lnTo>
                <a:lnTo>
                  <a:pt x="68" y="2"/>
                </a:lnTo>
                <a:lnTo>
                  <a:pt x="74" y="0"/>
                </a:lnTo>
                <a:lnTo>
                  <a:pt x="76" y="2"/>
                </a:lnTo>
                <a:lnTo>
                  <a:pt x="78" y="3"/>
                </a:lnTo>
                <a:lnTo>
                  <a:pt x="81" y="3"/>
                </a:lnTo>
                <a:lnTo>
                  <a:pt x="80" y="5"/>
                </a:lnTo>
                <a:lnTo>
                  <a:pt x="77" y="7"/>
                </a:lnTo>
                <a:lnTo>
                  <a:pt x="73" y="7"/>
                </a:lnTo>
                <a:lnTo>
                  <a:pt x="73" y="8"/>
                </a:lnTo>
                <a:lnTo>
                  <a:pt x="77" y="8"/>
                </a:lnTo>
                <a:lnTo>
                  <a:pt x="77" y="10"/>
                </a:lnTo>
                <a:lnTo>
                  <a:pt x="77" y="11"/>
                </a:lnTo>
                <a:lnTo>
                  <a:pt x="76" y="11"/>
                </a:lnTo>
                <a:lnTo>
                  <a:pt x="73" y="11"/>
                </a:lnTo>
                <a:lnTo>
                  <a:pt x="68" y="13"/>
                </a:lnTo>
                <a:lnTo>
                  <a:pt x="65" y="14"/>
                </a:lnTo>
                <a:lnTo>
                  <a:pt x="64" y="14"/>
                </a:lnTo>
                <a:lnTo>
                  <a:pt x="62" y="16"/>
                </a:lnTo>
                <a:lnTo>
                  <a:pt x="60" y="16"/>
                </a:lnTo>
                <a:lnTo>
                  <a:pt x="60" y="17"/>
                </a:lnTo>
                <a:lnTo>
                  <a:pt x="60" y="19"/>
                </a:lnTo>
                <a:lnTo>
                  <a:pt x="66" y="16"/>
                </a:lnTo>
                <a:lnTo>
                  <a:pt x="70" y="16"/>
                </a:lnTo>
                <a:lnTo>
                  <a:pt x="73" y="16"/>
                </a:lnTo>
                <a:lnTo>
                  <a:pt x="76" y="17"/>
                </a:lnTo>
                <a:lnTo>
                  <a:pt x="76" y="19"/>
                </a:lnTo>
                <a:lnTo>
                  <a:pt x="77" y="19"/>
                </a:lnTo>
                <a:lnTo>
                  <a:pt x="77" y="21"/>
                </a:lnTo>
                <a:lnTo>
                  <a:pt x="78" y="21"/>
                </a:lnTo>
                <a:lnTo>
                  <a:pt x="80" y="21"/>
                </a:lnTo>
                <a:lnTo>
                  <a:pt x="80" y="22"/>
                </a:lnTo>
                <a:lnTo>
                  <a:pt x="80" y="24"/>
                </a:lnTo>
                <a:lnTo>
                  <a:pt x="82" y="22"/>
                </a:lnTo>
                <a:lnTo>
                  <a:pt x="86" y="22"/>
                </a:lnTo>
                <a:lnTo>
                  <a:pt x="86" y="21"/>
                </a:lnTo>
                <a:lnTo>
                  <a:pt x="88" y="22"/>
                </a:lnTo>
                <a:lnTo>
                  <a:pt x="88" y="24"/>
                </a:lnTo>
                <a:lnTo>
                  <a:pt x="89" y="24"/>
                </a:lnTo>
                <a:lnTo>
                  <a:pt x="90" y="27"/>
                </a:lnTo>
                <a:lnTo>
                  <a:pt x="90" y="28"/>
                </a:lnTo>
                <a:lnTo>
                  <a:pt x="88" y="28"/>
                </a:lnTo>
                <a:lnTo>
                  <a:pt x="86" y="28"/>
                </a:lnTo>
                <a:lnTo>
                  <a:pt x="88" y="30"/>
                </a:lnTo>
                <a:lnTo>
                  <a:pt x="88" y="32"/>
                </a:lnTo>
                <a:lnTo>
                  <a:pt x="89" y="33"/>
                </a:lnTo>
                <a:lnTo>
                  <a:pt x="88" y="33"/>
                </a:lnTo>
                <a:lnTo>
                  <a:pt x="86" y="35"/>
                </a:lnTo>
                <a:lnTo>
                  <a:pt x="88" y="35"/>
                </a:lnTo>
                <a:lnTo>
                  <a:pt x="89" y="35"/>
                </a:lnTo>
                <a:lnTo>
                  <a:pt x="89" y="36"/>
                </a:lnTo>
                <a:lnTo>
                  <a:pt x="89" y="38"/>
                </a:lnTo>
                <a:lnTo>
                  <a:pt x="88" y="38"/>
                </a:lnTo>
                <a:lnTo>
                  <a:pt x="86" y="38"/>
                </a:lnTo>
                <a:lnTo>
                  <a:pt x="84" y="38"/>
                </a:lnTo>
                <a:lnTo>
                  <a:pt x="82" y="39"/>
                </a:lnTo>
                <a:lnTo>
                  <a:pt x="77" y="43"/>
                </a:lnTo>
                <a:lnTo>
                  <a:pt x="73" y="41"/>
                </a:lnTo>
                <a:lnTo>
                  <a:pt x="68" y="41"/>
                </a:lnTo>
                <a:lnTo>
                  <a:pt x="65" y="41"/>
                </a:lnTo>
                <a:lnTo>
                  <a:pt x="64" y="43"/>
                </a:lnTo>
                <a:lnTo>
                  <a:pt x="68" y="44"/>
                </a:lnTo>
                <a:lnTo>
                  <a:pt x="62" y="46"/>
                </a:lnTo>
                <a:lnTo>
                  <a:pt x="62" y="47"/>
                </a:lnTo>
                <a:lnTo>
                  <a:pt x="60" y="47"/>
                </a:lnTo>
                <a:lnTo>
                  <a:pt x="58" y="47"/>
                </a:lnTo>
                <a:lnTo>
                  <a:pt x="56" y="46"/>
                </a:lnTo>
                <a:lnTo>
                  <a:pt x="54" y="46"/>
                </a:lnTo>
                <a:lnTo>
                  <a:pt x="53" y="46"/>
                </a:lnTo>
                <a:lnTo>
                  <a:pt x="50" y="46"/>
                </a:lnTo>
                <a:lnTo>
                  <a:pt x="49" y="44"/>
                </a:lnTo>
                <a:lnTo>
                  <a:pt x="48" y="43"/>
                </a:lnTo>
                <a:lnTo>
                  <a:pt x="46" y="41"/>
                </a:lnTo>
                <a:lnTo>
                  <a:pt x="45" y="39"/>
                </a:lnTo>
                <a:lnTo>
                  <a:pt x="42" y="38"/>
                </a:lnTo>
                <a:lnTo>
                  <a:pt x="38" y="38"/>
                </a:lnTo>
                <a:lnTo>
                  <a:pt x="37" y="36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52" name="Freeform 652"/>
          <p:cNvSpPr>
            <a:spLocks/>
          </p:cNvSpPr>
          <p:nvPr/>
        </p:nvSpPr>
        <p:spPr bwMode="auto">
          <a:xfrm>
            <a:off x="2727818" y="1737065"/>
            <a:ext cx="171496" cy="92346"/>
          </a:xfrm>
          <a:custGeom>
            <a:avLst/>
            <a:gdLst/>
            <a:ahLst/>
            <a:cxnLst>
              <a:cxn ang="0">
                <a:pos x="33" y="35"/>
              </a:cxn>
              <a:cxn ang="0">
                <a:pos x="29" y="32"/>
              </a:cxn>
              <a:cxn ang="0">
                <a:pos x="24" y="30"/>
              </a:cxn>
              <a:cxn ang="0">
                <a:pos x="14" y="32"/>
              </a:cxn>
              <a:cxn ang="0">
                <a:pos x="5" y="27"/>
              </a:cxn>
              <a:cxn ang="0">
                <a:pos x="0" y="22"/>
              </a:cxn>
              <a:cxn ang="0">
                <a:pos x="4" y="17"/>
              </a:cxn>
              <a:cxn ang="0">
                <a:pos x="12" y="19"/>
              </a:cxn>
              <a:cxn ang="0">
                <a:pos x="16" y="21"/>
              </a:cxn>
              <a:cxn ang="0">
                <a:pos x="18" y="22"/>
              </a:cxn>
              <a:cxn ang="0">
                <a:pos x="26" y="24"/>
              </a:cxn>
              <a:cxn ang="0">
                <a:pos x="30" y="22"/>
              </a:cxn>
              <a:cxn ang="0">
                <a:pos x="32" y="19"/>
              </a:cxn>
              <a:cxn ang="0">
                <a:pos x="36" y="19"/>
              </a:cxn>
              <a:cxn ang="0">
                <a:pos x="32" y="17"/>
              </a:cxn>
              <a:cxn ang="0">
                <a:pos x="30" y="14"/>
              </a:cxn>
              <a:cxn ang="0">
                <a:pos x="33" y="13"/>
              </a:cxn>
              <a:cxn ang="0">
                <a:pos x="32" y="11"/>
              </a:cxn>
              <a:cxn ang="0">
                <a:pos x="28" y="13"/>
              </a:cxn>
              <a:cxn ang="0">
                <a:pos x="18" y="10"/>
              </a:cxn>
              <a:cxn ang="0">
                <a:pos x="21" y="8"/>
              </a:cxn>
              <a:cxn ang="0">
                <a:pos x="26" y="10"/>
              </a:cxn>
              <a:cxn ang="0">
                <a:pos x="26" y="7"/>
              </a:cxn>
              <a:cxn ang="0">
                <a:pos x="18" y="7"/>
              </a:cxn>
              <a:cxn ang="0">
                <a:pos x="25" y="2"/>
              </a:cxn>
              <a:cxn ang="0">
                <a:pos x="33" y="5"/>
              </a:cxn>
              <a:cxn ang="0">
                <a:pos x="29" y="2"/>
              </a:cxn>
              <a:cxn ang="0">
                <a:pos x="36" y="2"/>
              </a:cxn>
              <a:cxn ang="0">
                <a:pos x="45" y="3"/>
              </a:cxn>
              <a:cxn ang="0">
                <a:pos x="52" y="3"/>
              </a:cxn>
              <a:cxn ang="0">
                <a:pos x="74" y="0"/>
              </a:cxn>
              <a:cxn ang="0">
                <a:pos x="81" y="3"/>
              </a:cxn>
              <a:cxn ang="0">
                <a:pos x="73" y="7"/>
              </a:cxn>
              <a:cxn ang="0">
                <a:pos x="77" y="10"/>
              </a:cxn>
              <a:cxn ang="0">
                <a:pos x="73" y="11"/>
              </a:cxn>
              <a:cxn ang="0">
                <a:pos x="64" y="14"/>
              </a:cxn>
              <a:cxn ang="0">
                <a:pos x="60" y="17"/>
              </a:cxn>
              <a:cxn ang="0">
                <a:pos x="70" y="16"/>
              </a:cxn>
              <a:cxn ang="0">
                <a:pos x="76" y="19"/>
              </a:cxn>
              <a:cxn ang="0">
                <a:pos x="78" y="21"/>
              </a:cxn>
              <a:cxn ang="0">
                <a:pos x="80" y="24"/>
              </a:cxn>
              <a:cxn ang="0">
                <a:pos x="86" y="21"/>
              </a:cxn>
              <a:cxn ang="0">
                <a:pos x="89" y="24"/>
              </a:cxn>
              <a:cxn ang="0">
                <a:pos x="88" y="28"/>
              </a:cxn>
              <a:cxn ang="0">
                <a:pos x="88" y="32"/>
              </a:cxn>
              <a:cxn ang="0">
                <a:pos x="86" y="35"/>
              </a:cxn>
              <a:cxn ang="0">
                <a:pos x="89" y="36"/>
              </a:cxn>
              <a:cxn ang="0">
                <a:pos x="86" y="38"/>
              </a:cxn>
              <a:cxn ang="0">
                <a:pos x="77" y="43"/>
              </a:cxn>
              <a:cxn ang="0">
                <a:pos x="65" y="41"/>
              </a:cxn>
              <a:cxn ang="0">
                <a:pos x="62" y="46"/>
              </a:cxn>
              <a:cxn ang="0">
                <a:pos x="58" y="47"/>
              </a:cxn>
              <a:cxn ang="0">
                <a:pos x="53" y="46"/>
              </a:cxn>
              <a:cxn ang="0">
                <a:pos x="48" y="43"/>
              </a:cxn>
              <a:cxn ang="0">
                <a:pos x="42" y="38"/>
              </a:cxn>
            </a:cxnLst>
            <a:rect l="0" t="0" r="r" b="b"/>
            <a:pathLst>
              <a:path w="90" h="47">
                <a:moveTo>
                  <a:pt x="37" y="36"/>
                </a:moveTo>
                <a:lnTo>
                  <a:pt x="36" y="36"/>
                </a:lnTo>
                <a:lnTo>
                  <a:pt x="33" y="35"/>
                </a:lnTo>
                <a:lnTo>
                  <a:pt x="33" y="33"/>
                </a:lnTo>
                <a:lnTo>
                  <a:pt x="32" y="33"/>
                </a:lnTo>
                <a:lnTo>
                  <a:pt x="29" y="32"/>
                </a:lnTo>
                <a:lnTo>
                  <a:pt x="26" y="33"/>
                </a:lnTo>
                <a:lnTo>
                  <a:pt x="25" y="32"/>
                </a:lnTo>
                <a:lnTo>
                  <a:pt x="24" y="30"/>
                </a:lnTo>
                <a:lnTo>
                  <a:pt x="21" y="30"/>
                </a:lnTo>
                <a:lnTo>
                  <a:pt x="21" y="32"/>
                </a:lnTo>
                <a:lnTo>
                  <a:pt x="14" y="32"/>
                </a:lnTo>
                <a:lnTo>
                  <a:pt x="13" y="30"/>
                </a:lnTo>
                <a:lnTo>
                  <a:pt x="11" y="28"/>
                </a:lnTo>
                <a:lnTo>
                  <a:pt x="5" y="27"/>
                </a:lnTo>
                <a:lnTo>
                  <a:pt x="4" y="25"/>
                </a:lnTo>
                <a:lnTo>
                  <a:pt x="0" y="24"/>
                </a:lnTo>
                <a:lnTo>
                  <a:pt x="0" y="22"/>
                </a:lnTo>
                <a:lnTo>
                  <a:pt x="0" y="19"/>
                </a:lnTo>
                <a:lnTo>
                  <a:pt x="1" y="17"/>
                </a:lnTo>
                <a:lnTo>
                  <a:pt x="4" y="17"/>
                </a:lnTo>
                <a:lnTo>
                  <a:pt x="7" y="17"/>
                </a:lnTo>
                <a:lnTo>
                  <a:pt x="9" y="17"/>
                </a:lnTo>
                <a:lnTo>
                  <a:pt x="12" y="19"/>
                </a:lnTo>
                <a:lnTo>
                  <a:pt x="11" y="19"/>
                </a:lnTo>
                <a:lnTo>
                  <a:pt x="12" y="21"/>
                </a:lnTo>
                <a:lnTo>
                  <a:pt x="16" y="21"/>
                </a:lnTo>
                <a:lnTo>
                  <a:pt x="17" y="21"/>
                </a:lnTo>
                <a:lnTo>
                  <a:pt x="17" y="22"/>
                </a:lnTo>
                <a:lnTo>
                  <a:pt x="18" y="22"/>
                </a:lnTo>
                <a:lnTo>
                  <a:pt x="18" y="24"/>
                </a:lnTo>
                <a:lnTo>
                  <a:pt x="24" y="24"/>
                </a:lnTo>
                <a:lnTo>
                  <a:pt x="26" y="24"/>
                </a:lnTo>
                <a:lnTo>
                  <a:pt x="26" y="22"/>
                </a:lnTo>
                <a:lnTo>
                  <a:pt x="28" y="22"/>
                </a:lnTo>
                <a:lnTo>
                  <a:pt x="30" y="22"/>
                </a:lnTo>
                <a:lnTo>
                  <a:pt x="33" y="21"/>
                </a:lnTo>
                <a:lnTo>
                  <a:pt x="32" y="21"/>
                </a:lnTo>
                <a:lnTo>
                  <a:pt x="32" y="19"/>
                </a:lnTo>
                <a:lnTo>
                  <a:pt x="33" y="19"/>
                </a:lnTo>
                <a:lnTo>
                  <a:pt x="34" y="19"/>
                </a:lnTo>
                <a:lnTo>
                  <a:pt x="36" y="19"/>
                </a:lnTo>
                <a:lnTo>
                  <a:pt x="36" y="17"/>
                </a:lnTo>
                <a:lnTo>
                  <a:pt x="34" y="17"/>
                </a:lnTo>
                <a:lnTo>
                  <a:pt x="32" y="17"/>
                </a:lnTo>
                <a:lnTo>
                  <a:pt x="32" y="16"/>
                </a:lnTo>
                <a:lnTo>
                  <a:pt x="30" y="16"/>
                </a:lnTo>
                <a:lnTo>
                  <a:pt x="30" y="14"/>
                </a:lnTo>
                <a:lnTo>
                  <a:pt x="29" y="14"/>
                </a:lnTo>
                <a:lnTo>
                  <a:pt x="30" y="13"/>
                </a:lnTo>
                <a:lnTo>
                  <a:pt x="33" y="13"/>
                </a:lnTo>
                <a:lnTo>
                  <a:pt x="37" y="14"/>
                </a:lnTo>
                <a:lnTo>
                  <a:pt x="38" y="14"/>
                </a:lnTo>
                <a:lnTo>
                  <a:pt x="32" y="11"/>
                </a:lnTo>
                <a:lnTo>
                  <a:pt x="30" y="11"/>
                </a:lnTo>
                <a:lnTo>
                  <a:pt x="30" y="13"/>
                </a:lnTo>
                <a:lnTo>
                  <a:pt x="28" y="13"/>
                </a:lnTo>
                <a:lnTo>
                  <a:pt x="25" y="13"/>
                </a:lnTo>
                <a:lnTo>
                  <a:pt x="21" y="11"/>
                </a:lnTo>
                <a:lnTo>
                  <a:pt x="18" y="10"/>
                </a:lnTo>
                <a:lnTo>
                  <a:pt x="16" y="10"/>
                </a:lnTo>
                <a:lnTo>
                  <a:pt x="16" y="8"/>
                </a:lnTo>
                <a:lnTo>
                  <a:pt x="21" y="8"/>
                </a:lnTo>
                <a:lnTo>
                  <a:pt x="24" y="8"/>
                </a:lnTo>
                <a:lnTo>
                  <a:pt x="24" y="10"/>
                </a:lnTo>
                <a:lnTo>
                  <a:pt x="26" y="10"/>
                </a:lnTo>
                <a:lnTo>
                  <a:pt x="28" y="10"/>
                </a:lnTo>
                <a:lnTo>
                  <a:pt x="26" y="8"/>
                </a:lnTo>
                <a:lnTo>
                  <a:pt x="26" y="7"/>
                </a:lnTo>
                <a:lnTo>
                  <a:pt x="22" y="7"/>
                </a:lnTo>
                <a:lnTo>
                  <a:pt x="21" y="7"/>
                </a:lnTo>
                <a:lnTo>
                  <a:pt x="18" y="7"/>
                </a:lnTo>
                <a:lnTo>
                  <a:pt x="17" y="5"/>
                </a:lnTo>
                <a:lnTo>
                  <a:pt x="21" y="3"/>
                </a:lnTo>
                <a:lnTo>
                  <a:pt x="25" y="2"/>
                </a:lnTo>
                <a:lnTo>
                  <a:pt x="26" y="3"/>
                </a:lnTo>
                <a:lnTo>
                  <a:pt x="30" y="3"/>
                </a:lnTo>
                <a:lnTo>
                  <a:pt x="33" y="5"/>
                </a:lnTo>
                <a:lnTo>
                  <a:pt x="34" y="3"/>
                </a:lnTo>
                <a:lnTo>
                  <a:pt x="30" y="2"/>
                </a:lnTo>
                <a:lnTo>
                  <a:pt x="29" y="2"/>
                </a:lnTo>
                <a:lnTo>
                  <a:pt x="32" y="2"/>
                </a:lnTo>
                <a:lnTo>
                  <a:pt x="34" y="0"/>
                </a:lnTo>
                <a:lnTo>
                  <a:pt x="36" y="2"/>
                </a:lnTo>
                <a:lnTo>
                  <a:pt x="38" y="2"/>
                </a:lnTo>
                <a:lnTo>
                  <a:pt x="41" y="3"/>
                </a:lnTo>
                <a:lnTo>
                  <a:pt x="45" y="3"/>
                </a:lnTo>
                <a:lnTo>
                  <a:pt x="48" y="3"/>
                </a:lnTo>
                <a:lnTo>
                  <a:pt x="50" y="3"/>
                </a:lnTo>
                <a:lnTo>
                  <a:pt x="52" y="3"/>
                </a:lnTo>
                <a:lnTo>
                  <a:pt x="58" y="3"/>
                </a:lnTo>
                <a:lnTo>
                  <a:pt x="68" y="2"/>
                </a:lnTo>
                <a:lnTo>
                  <a:pt x="74" y="0"/>
                </a:lnTo>
                <a:lnTo>
                  <a:pt x="76" y="2"/>
                </a:lnTo>
                <a:lnTo>
                  <a:pt x="78" y="3"/>
                </a:lnTo>
                <a:lnTo>
                  <a:pt x="81" y="3"/>
                </a:lnTo>
                <a:lnTo>
                  <a:pt x="80" y="5"/>
                </a:lnTo>
                <a:lnTo>
                  <a:pt x="77" y="7"/>
                </a:lnTo>
                <a:lnTo>
                  <a:pt x="73" y="7"/>
                </a:lnTo>
                <a:lnTo>
                  <a:pt x="73" y="8"/>
                </a:lnTo>
                <a:lnTo>
                  <a:pt x="77" y="8"/>
                </a:lnTo>
                <a:lnTo>
                  <a:pt x="77" y="10"/>
                </a:lnTo>
                <a:lnTo>
                  <a:pt x="77" y="11"/>
                </a:lnTo>
                <a:lnTo>
                  <a:pt x="76" y="11"/>
                </a:lnTo>
                <a:lnTo>
                  <a:pt x="73" y="11"/>
                </a:lnTo>
                <a:lnTo>
                  <a:pt x="68" y="13"/>
                </a:lnTo>
                <a:lnTo>
                  <a:pt x="65" y="14"/>
                </a:lnTo>
                <a:lnTo>
                  <a:pt x="64" y="14"/>
                </a:lnTo>
                <a:lnTo>
                  <a:pt x="62" y="16"/>
                </a:lnTo>
                <a:lnTo>
                  <a:pt x="60" y="16"/>
                </a:lnTo>
                <a:lnTo>
                  <a:pt x="60" y="17"/>
                </a:lnTo>
                <a:lnTo>
                  <a:pt x="60" y="19"/>
                </a:lnTo>
                <a:lnTo>
                  <a:pt x="66" y="16"/>
                </a:lnTo>
                <a:lnTo>
                  <a:pt x="70" y="16"/>
                </a:lnTo>
                <a:lnTo>
                  <a:pt x="73" y="16"/>
                </a:lnTo>
                <a:lnTo>
                  <a:pt x="76" y="17"/>
                </a:lnTo>
                <a:lnTo>
                  <a:pt x="76" y="19"/>
                </a:lnTo>
                <a:lnTo>
                  <a:pt x="77" y="19"/>
                </a:lnTo>
                <a:lnTo>
                  <a:pt x="77" y="21"/>
                </a:lnTo>
                <a:lnTo>
                  <a:pt x="78" y="21"/>
                </a:lnTo>
                <a:lnTo>
                  <a:pt x="80" y="21"/>
                </a:lnTo>
                <a:lnTo>
                  <a:pt x="80" y="22"/>
                </a:lnTo>
                <a:lnTo>
                  <a:pt x="80" y="24"/>
                </a:lnTo>
                <a:lnTo>
                  <a:pt x="82" y="22"/>
                </a:lnTo>
                <a:lnTo>
                  <a:pt x="86" y="22"/>
                </a:lnTo>
                <a:lnTo>
                  <a:pt x="86" y="21"/>
                </a:lnTo>
                <a:lnTo>
                  <a:pt x="88" y="22"/>
                </a:lnTo>
                <a:lnTo>
                  <a:pt x="88" y="24"/>
                </a:lnTo>
                <a:lnTo>
                  <a:pt x="89" y="24"/>
                </a:lnTo>
                <a:lnTo>
                  <a:pt x="90" y="27"/>
                </a:lnTo>
                <a:lnTo>
                  <a:pt x="90" y="28"/>
                </a:lnTo>
                <a:lnTo>
                  <a:pt x="88" y="28"/>
                </a:lnTo>
                <a:lnTo>
                  <a:pt x="86" y="28"/>
                </a:lnTo>
                <a:lnTo>
                  <a:pt x="88" y="30"/>
                </a:lnTo>
                <a:lnTo>
                  <a:pt x="88" y="32"/>
                </a:lnTo>
                <a:lnTo>
                  <a:pt x="89" y="33"/>
                </a:lnTo>
                <a:lnTo>
                  <a:pt x="88" y="33"/>
                </a:lnTo>
                <a:lnTo>
                  <a:pt x="86" y="35"/>
                </a:lnTo>
                <a:lnTo>
                  <a:pt x="88" y="35"/>
                </a:lnTo>
                <a:lnTo>
                  <a:pt x="89" y="35"/>
                </a:lnTo>
                <a:lnTo>
                  <a:pt x="89" y="36"/>
                </a:lnTo>
                <a:lnTo>
                  <a:pt x="89" y="38"/>
                </a:lnTo>
                <a:lnTo>
                  <a:pt x="88" y="38"/>
                </a:lnTo>
                <a:lnTo>
                  <a:pt x="86" y="38"/>
                </a:lnTo>
                <a:lnTo>
                  <a:pt x="84" y="38"/>
                </a:lnTo>
                <a:lnTo>
                  <a:pt x="82" y="39"/>
                </a:lnTo>
                <a:lnTo>
                  <a:pt x="77" y="43"/>
                </a:lnTo>
                <a:lnTo>
                  <a:pt x="73" y="41"/>
                </a:lnTo>
                <a:lnTo>
                  <a:pt x="68" y="41"/>
                </a:lnTo>
                <a:lnTo>
                  <a:pt x="65" y="41"/>
                </a:lnTo>
                <a:lnTo>
                  <a:pt x="64" y="43"/>
                </a:lnTo>
                <a:lnTo>
                  <a:pt x="68" y="44"/>
                </a:lnTo>
                <a:lnTo>
                  <a:pt x="62" y="46"/>
                </a:lnTo>
                <a:lnTo>
                  <a:pt x="62" y="47"/>
                </a:lnTo>
                <a:lnTo>
                  <a:pt x="60" y="47"/>
                </a:lnTo>
                <a:lnTo>
                  <a:pt x="58" y="47"/>
                </a:lnTo>
                <a:lnTo>
                  <a:pt x="56" y="46"/>
                </a:lnTo>
                <a:lnTo>
                  <a:pt x="54" y="46"/>
                </a:lnTo>
                <a:lnTo>
                  <a:pt x="53" y="46"/>
                </a:lnTo>
                <a:lnTo>
                  <a:pt x="50" y="46"/>
                </a:lnTo>
                <a:lnTo>
                  <a:pt x="49" y="44"/>
                </a:lnTo>
                <a:lnTo>
                  <a:pt x="48" y="43"/>
                </a:lnTo>
                <a:lnTo>
                  <a:pt x="46" y="41"/>
                </a:lnTo>
                <a:lnTo>
                  <a:pt x="45" y="39"/>
                </a:lnTo>
                <a:lnTo>
                  <a:pt x="42" y="38"/>
                </a:lnTo>
                <a:lnTo>
                  <a:pt x="38" y="38"/>
                </a:lnTo>
                <a:lnTo>
                  <a:pt x="37" y="36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53" name="Freeform 653"/>
          <p:cNvSpPr>
            <a:spLocks/>
          </p:cNvSpPr>
          <p:nvPr/>
        </p:nvSpPr>
        <p:spPr bwMode="auto">
          <a:xfrm>
            <a:off x="2877877" y="1764983"/>
            <a:ext cx="19488" cy="8591"/>
          </a:xfrm>
          <a:custGeom>
            <a:avLst/>
            <a:gdLst/>
            <a:ahLst/>
            <a:cxnLst>
              <a:cxn ang="0">
                <a:pos x="8" y="2"/>
              </a:cxn>
              <a:cxn ang="0">
                <a:pos x="10" y="2"/>
              </a:cxn>
              <a:cxn ang="0">
                <a:pos x="8" y="0"/>
              </a:cxn>
              <a:cxn ang="0">
                <a:pos x="7" y="0"/>
              </a:cxn>
              <a:cxn ang="0">
                <a:pos x="6" y="0"/>
              </a:cxn>
              <a:cxn ang="0">
                <a:pos x="0" y="2"/>
              </a:cxn>
              <a:cxn ang="0">
                <a:pos x="3" y="5"/>
              </a:cxn>
              <a:cxn ang="0">
                <a:pos x="6" y="3"/>
              </a:cxn>
              <a:cxn ang="0">
                <a:pos x="7" y="3"/>
              </a:cxn>
              <a:cxn ang="0">
                <a:pos x="8" y="3"/>
              </a:cxn>
              <a:cxn ang="0">
                <a:pos x="8" y="2"/>
              </a:cxn>
            </a:cxnLst>
            <a:rect l="0" t="0" r="r" b="b"/>
            <a:pathLst>
              <a:path w="10" h="5">
                <a:moveTo>
                  <a:pt x="8" y="2"/>
                </a:moveTo>
                <a:lnTo>
                  <a:pt x="10" y="2"/>
                </a:lnTo>
                <a:lnTo>
                  <a:pt x="8" y="0"/>
                </a:lnTo>
                <a:lnTo>
                  <a:pt x="7" y="0"/>
                </a:lnTo>
                <a:lnTo>
                  <a:pt x="6" y="0"/>
                </a:lnTo>
                <a:lnTo>
                  <a:pt x="0" y="2"/>
                </a:lnTo>
                <a:lnTo>
                  <a:pt x="3" y="5"/>
                </a:lnTo>
                <a:lnTo>
                  <a:pt x="6" y="3"/>
                </a:lnTo>
                <a:lnTo>
                  <a:pt x="7" y="3"/>
                </a:lnTo>
                <a:lnTo>
                  <a:pt x="8" y="3"/>
                </a:lnTo>
                <a:lnTo>
                  <a:pt x="8" y="2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54" name="Freeform 654"/>
          <p:cNvSpPr>
            <a:spLocks/>
          </p:cNvSpPr>
          <p:nvPr/>
        </p:nvSpPr>
        <p:spPr bwMode="auto">
          <a:xfrm>
            <a:off x="2877877" y="1764983"/>
            <a:ext cx="19488" cy="8591"/>
          </a:xfrm>
          <a:custGeom>
            <a:avLst/>
            <a:gdLst/>
            <a:ahLst/>
            <a:cxnLst>
              <a:cxn ang="0">
                <a:pos x="8" y="2"/>
              </a:cxn>
              <a:cxn ang="0">
                <a:pos x="10" y="2"/>
              </a:cxn>
              <a:cxn ang="0">
                <a:pos x="8" y="0"/>
              </a:cxn>
              <a:cxn ang="0">
                <a:pos x="7" y="0"/>
              </a:cxn>
              <a:cxn ang="0">
                <a:pos x="6" y="0"/>
              </a:cxn>
              <a:cxn ang="0">
                <a:pos x="0" y="2"/>
              </a:cxn>
              <a:cxn ang="0">
                <a:pos x="3" y="5"/>
              </a:cxn>
              <a:cxn ang="0">
                <a:pos x="6" y="3"/>
              </a:cxn>
              <a:cxn ang="0">
                <a:pos x="7" y="3"/>
              </a:cxn>
              <a:cxn ang="0">
                <a:pos x="8" y="3"/>
              </a:cxn>
            </a:cxnLst>
            <a:rect l="0" t="0" r="r" b="b"/>
            <a:pathLst>
              <a:path w="10" h="5">
                <a:moveTo>
                  <a:pt x="8" y="2"/>
                </a:moveTo>
                <a:lnTo>
                  <a:pt x="10" y="2"/>
                </a:lnTo>
                <a:lnTo>
                  <a:pt x="8" y="0"/>
                </a:lnTo>
                <a:lnTo>
                  <a:pt x="7" y="0"/>
                </a:lnTo>
                <a:lnTo>
                  <a:pt x="6" y="0"/>
                </a:lnTo>
                <a:lnTo>
                  <a:pt x="0" y="2"/>
                </a:lnTo>
                <a:lnTo>
                  <a:pt x="3" y="5"/>
                </a:lnTo>
                <a:lnTo>
                  <a:pt x="6" y="3"/>
                </a:lnTo>
                <a:lnTo>
                  <a:pt x="7" y="3"/>
                </a:lnTo>
                <a:lnTo>
                  <a:pt x="8" y="3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55" name="Freeform 655"/>
          <p:cNvSpPr>
            <a:spLocks/>
          </p:cNvSpPr>
          <p:nvPr/>
        </p:nvSpPr>
        <p:spPr bwMode="auto">
          <a:xfrm>
            <a:off x="2815514" y="1730622"/>
            <a:ext cx="46772" cy="12885"/>
          </a:xfrm>
          <a:custGeom>
            <a:avLst/>
            <a:gdLst/>
            <a:ahLst/>
            <a:cxnLst>
              <a:cxn ang="0">
                <a:pos x="11" y="5"/>
              </a:cxn>
              <a:cxn ang="0">
                <a:pos x="16" y="5"/>
              </a:cxn>
              <a:cxn ang="0">
                <a:pos x="20" y="3"/>
              </a:cxn>
              <a:cxn ang="0">
                <a:pos x="23" y="2"/>
              </a:cxn>
              <a:cxn ang="0">
                <a:pos x="24" y="2"/>
              </a:cxn>
              <a:cxn ang="0">
                <a:pos x="23" y="0"/>
              </a:cxn>
              <a:cxn ang="0">
                <a:pos x="20" y="0"/>
              </a:cxn>
              <a:cxn ang="0">
                <a:pos x="12" y="2"/>
              </a:cxn>
              <a:cxn ang="0">
                <a:pos x="8" y="2"/>
              </a:cxn>
              <a:cxn ang="0">
                <a:pos x="5" y="3"/>
              </a:cxn>
              <a:cxn ang="0">
                <a:pos x="0" y="5"/>
              </a:cxn>
              <a:cxn ang="0">
                <a:pos x="4" y="5"/>
              </a:cxn>
              <a:cxn ang="0">
                <a:pos x="5" y="5"/>
              </a:cxn>
              <a:cxn ang="0">
                <a:pos x="7" y="5"/>
              </a:cxn>
              <a:cxn ang="0">
                <a:pos x="7" y="6"/>
              </a:cxn>
              <a:cxn ang="0">
                <a:pos x="9" y="5"/>
              </a:cxn>
              <a:cxn ang="0">
                <a:pos x="11" y="5"/>
              </a:cxn>
            </a:cxnLst>
            <a:rect l="0" t="0" r="r" b="b"/>
            <a:pathLst>
              <a:path w="24" h="6">
                <a:moveTo>
                  <a:pt x="11" y="5"/>
                </a:moveTo>
                <a:lnTo>
                  <a:pt x="16" y="5"/>
                </a:lnTo>
                <a:lnTo>
                  <a:pt x="20" y="3"/>
                </a:lnTo>
                <a:lnTo>
                  <a:pt x="23" y="2"/>
                </a:lnTo>
                <a:lnTo>
                  <a:pt x="24" y="2"/>
                </a:lnTo>
                <a:lnTo>
                  <a:pt x="23" y="0"/>
                </a:lnTo>
                <a:lnTo>
                  <a:pt x="20" y="0"/>
                </a:lnTo>
                <a:lnTo>
                  <a:pt x="12" y="2"/>
                </a:lnTo>
                <a:lnTo>
                  <a:pt x="8" y="2"/>
                </a:lnTo>
                <a:lnTo>
                  <a:pt x="5" y="3"/>
                </a:lnTo>
                <a:lnTo>
                  <a:pt x="0" y="5"/>
                </a:lnTo>
                <a:lnTo>
                  <a:pt x="4" y="5"/>
                </a:lnTo>
                <a:lnTo>
                  <a:pt x="5" y="5"/>
                </a:lnTo>
                <a:lnTo>
                  <a:pt x="7" y="5"/>
                </a:lnTo>
                <a:lnTo>
                  <a:pt x="7" y="6"/>
                </a:lnTo>
                <a:lnTo>
                  <a:pt x="9" y="5"/>
                </a:lnTo>
                <a:lnTo>
                  <a:pt x="11" y="5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56" name="Freeform 656"/>
          <p:cNvSpPr>
            <a:spLocks/>
          </p:cNvSpPr>
          <p:nvPr/>
        </p:nvSpPr>
        <p:spPr bwMode="auto">
          <a:xfrm>
            <a:off x="2815514" y="1730622"/>
            <a:ext cx="46772" cy="12885"/>
          </a:xfrm>
          <a:custGeom>
            <a:avLst/>
            <a:gdLst/>
            <a:ahLst/>
            <a:cxnLst>
              <a:cxn ang="0">
                <a:pos x="11" y="5"/>
              </a:cxn>
              <a:cxn ang="0">
                <a:pos x="16" y="5"/>
              </a:cxn>
              <a:cxn ang="0">
                <a:pos x="20" y="3"/>
              </a:cxn>
              <a:cxn ang="0">
                <a:pos x="23" y="2"/>
              </a:cxn>
              <a:cxn ang="0">
                <a:pos x="24" y="2"/>
              </a:cxn>
              <a:cxn ang="0">
                <a:pos x="23" y="0"/>
              </a:cxn>
              <a:cxn ang="0">
                <a:pos x="20" y="0"/>
              </a:cxn>
              <a:cxn ang="0">
                <a:pos x="12" y="2"/>
              </a:cxn>
              <a:cxn ang="0">
                <a:pos x="8" y="2"/>
              </a:cxn>
              <a:cxn ang="0">
                <a:pos x="5" y="3"/>
              </a:cxn>
              <a:cxn ang="0">
                <a:pos x="0" y="5"/>
              </a:cxn>
              <a:cxn ang="0">
                <a:pos x="4" y="5"/>
              </a:cxn>
              <a:cxn ang="0">
                <a:pos x="5" y="5"/>
              </a:cxn>
              <a:cxn ang="0">
                <a:pos x="7" y="5"/>
              </a:cxn>
              <a:cxn ang="0">
                <a:pos x="7" y="6"/>
              </a:cxn>
              <a:cxn ang="0">
                <a:pos x="9" y="5"/>
              </a:cxn>
              <a:cxn ang="0">
                <a:pos x="11" y="5"/>
              </a:cxn>
            </a:cxnLst>
            <a:rect l="0" t="0" r="r" b="b"/>
            <a:pathLst>
              <a:path w="24" h="6">
                <a:moveTo>
                  <a:pt x="11" y="5"/>
                </a:moveTo>
                <a:lnTo>
                  <a:pt x="16" y="5"/>
                </a:lnTo>
                <a:lnTo>
                  <a:pt x="20" y="3"/>
                </a:lnTo>
                <a:lnTo>
                  <a:pt x="23" y="2"/>
                </a:lnTo>
                <a:lnTo>
                  <a:pt x="24" y="2"/>
                </a:lnTo>
                <a:lnTo>
                  <a:pt x="23" y="0"/>
                </a:lnTo>
                <a:lnTo>
                  <a:pt x="20" y="0"/>
                </a:lnTo>
                <a:lnTo>
                  <a:pt x="12" y="2"/>
                </a:lnTo>
                <a:lnTo>
                  <a:pt x="8" y="2"/>
                </a:lnTo>
                <a:lnTo>
                  <a:pt x="5" y="3"/>
                </a:lnTo>
                <a:lnTo>
                  <a:pt x="0" y="5"/>
                </a:lnTo>
                <a:lnTo>
                  <a:pt x="4" y="5"/>
                </a:lnTo>
                <a:lnTo>
                  <a:pt x="5" y="5"/>
                </a:lnTo>
                <a:lnTo>
                  <a:pt x="7" y="5"/>
                </a:lnTo>
                <a:lnTo>
                  <a:pt x="7" y="6"/>
                </a:lnTo>
                <a:lnTo>
                  <a:pt x="9" y="5"/>
                </a:lnTo>
                <a:lnTo>
                  <a:pt x="11" y="5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57" name="Freeform 657"/>
          <p:cNvSpPr>
            <a:spLocks/>
          </p:cNvSpPr>
          <p:nvPr/>
        </p:nvSpPr>
        <p:spPr bwMode="auto">
          <a:xfrm>
            <a:off x="2881774" y="1674784"/>
            <a:ext cx="31181" cy="8591"/>
          </a:xfrm>
          <a:custGeom>
            <a:avLst/>
            <a:gdLst/>
            <a:ahLst/>
            <a:cxnLst>
              <a:cxn ang="0">
                <a:pos x="10" y="0"/>
              </a:cxn>
              <a:cxn ang="0">
                <a:pos x="8" y="1"/>
              </a:cxn>
              <a:cxn ang="0">
                <a:pos x="8" y="3"/>
              </a:cxn>
              <a:cxn ang="0">
                <a:pos x="6" y="3"/>
              </a:cxn>
              <a:cxn ang="0">
                <a:pos x="5" y="3"/>
              </a:cxn>
              <a:cxn ang="0">
                <a:pos x="6" y="5"/>
              </a:cxn>
              <a:cxn ang="0">
                <a:pos x="5" y="5"/>
              </a:cxn>
              <a:cxn ang="0">
                <a:pos x="2" y="5"/>
              </a:cxn>
              <a:cxn ang="0">
                <a:pos x="1" y="5"/>
              </a:cxn>
              <a:cxn ang="0">
                <a:pos x="1" y="3"/>
              </a:cxn>
              <a:cxn ang="0">
                <a:pos x="0" y="3"/>
              </a:cxn>
              <a:cxn ang="0">
                <a:pos x="0" y="1"/>
              </a:cxn>
              <a:cxn ang="0">
                <a:pos x="4" y="1"/>
              </a:cxn>
              <a:cxn ang="0">
                <a:pos x="5" y="1"/>
              </a:cxn>
              <a:cxn ang="0">
                <a:pos x="6" y="0"/>
              </a:cxn>
              <a:cxn ang="0">
                <a:pos x="9" y="0"/>
              </a:cxn>
              <a:cxn ang="0">
                <a:pos x="10" y="0"/>
              </a:cxn>
              <a:cxn ang="0">
                <a:pos x="16" y="0"/>
              </a:cxn>
              <a:cxn ang="0">
                <a:pos x="16" y="1"/>
              </a:cxn>
              <a:cxn ang="0">
                <a:pos x="13" y="3"/>
              </a:cxn>
              <a:cxn ang="0">
                <a:pos x="10" y="1"/>
              </a:cxn>
              <a:cxn ang="0">
                <a:pos x="10" y="0"/>
              </a:cxn>
            </a:cxnLst>
            <a:rect l="0" t="0" r="r" b="b"/>
            <a:pathLst>
              <a:path w="16" h="5">
                <a:moveTo>
                  <a:pt x="10" y="0"/>
                </a:moveTo>
                <a:lnTo>
                  <a:pt x="8" y="1"/>
                </a:lnTo>
                <a:lnTo>
                  <a:pt x="8" y="3"/>
                </a:lnTo>
                <a:lnTo>
                  <a:pt x="6" y="3"/>
                </a:lnTo>
                <a:lnTo>
                  <a:pt x="5" y="3"/>
                </a:lnTo>
                <a:lnTo>
                  <a:pt x="6" y="5"/>
                </a:lnTo>
                <a:lnTo>
                  <a:pt x="5" y="5"/>
                </a:lnTo>
                <a:lnTo>
                  <a:pt x="2" y="5"/>
                </a:lnTo>
                <a:lnTo>
                  <a:pt x="1" y="5"/>
                </a:lnTo>
                <a:lnTo>
                  <a:pt x="1" y="3"/>
                </a:lnTo>
                <a:lnTo>
                  <a:pt x="0" y="3"/>
                </a:lnTo>
                <a:lnTo>
                  <a:pt x="0" y="1"/>
                </a:lnTo>
                <a:lnTo>
                  <a:pt x="4" y="1"/>
                </a:lnTo>
                <a:lnTo>
                  <a:pt x="5" y="1"/>
                </a:lnTo>
                <a:lnTo>
                  <a:pt x="6" y="0"/>
                </a:lnTo>
                <a:lnTo>
                  <a:pt x="9" y="0"/>
                </a:lnTo>
                <a:lnTo>
                  <a:pt x="10" y="0"/>
                </a:lnTo>
                <a:lnTo>
                  <a:pt x="16" y="0"/>
                </a:lnTo>
                <a:lnTo>
                  <a:pt x="16" y="1"/>
                </a:lnTo>
                <a:lnTo>
                  <a:pt x="13" y="3"/>
                </a:lnTo>
                <a:lnTo>
                  <a:pt x="10" y="1"/>
                </a:lnTo>
                <a:lnTo>
                  <a:pt x="10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58" name="Freeform 658"/>
          <p:cNvSpPr>
            <a:spLocks/>
          </p:cNvSpPr>
          <p:nvPr/>
        </p:nvSpPr>
        <p:spPr bwMode="auto">
          <a:xfrm>
            <a:off x="2881774" y="1674784"/>
            <a:ext cx="31181" cy="8591"/>
          </a:xfrm>
          <a:custGeom>
            <a:avLst/>
            <a:gdLst/>
            <a:ahLst/>
            <a:cxnLst>
              <a:cxn ang="0">
                <a:pos x="10" y="0"/>
              </a:cxn>
              <a:cxn ang="0">
                <a:pos x="8" y="1"/>
              </a:cxn>
              <a:cxn ang="0">
                <a:pos x="8" y="3"/>
              </a:cxn>
              <a:cxn ang="0">
                <a:pos x="6" y="3"/>
              </a:cxn>
              <a:cxn ang="0">
                <a:pos x="5" y="3"/>
              </a:cxn>
              <a:cxn ang="0">
                <a:pos x="6" y="5"/>
              </a:cxn>
              <a:cxn ang="0">
                <a:pos x="5" y="5"/>
              </a:cxn>
              <a:cxn ang="0">
                <a:pos x="2" y="5"/>
              </a:cxn>
              <a:cxn ang="0">
                <a:pos x="1" y="5"/>
              </a:cxn>
              <a:cxn ang="0">
                <a:pos x="1" y="3"/>
              </a:cxn>
              <a:cxn ang="0">
                <a:pos x="0" y="3"/>
              </a:cxn>
              <a:cxn ang="0">
                <a:pos x="0" y="1"/>
              </a:cxn>
              <a:cxn ang="0">
                <a:pos x="4" y="1"/>
              </a:cxn>
              <a:cxn ang="0">
                <a:pos x="5" y="1"/>
              </a:cxn>
              <a:cxn ang="0">
                <a:pos x="6" y="0"/>
              </a:cxn>
              <a:cxn ang="0">
                <a:pos x="9" y="0"/>
              </a:cxn>
              <a:cxn ang="0">
                <a:pos x="10" y="0"/>
              </a:cxn>
              <a:cxn ang="0">
                <a:pos x="16" y="0"/>
              </a:cxn>
              <a:cxn ang="0">
                <a:pos x="16" y="1"/>
              </a:cxn>
              <a:cxn ang="0">
                <a:pos x="13" y="3"/>
              </a:cxn>
              <a:cxn ang="0">
                <a:pos x="10" y="1"/>
              </a:cxn>
              <a:cxn ang="0">
                <a:pos x="10" y="0"/>
              </a:cxn>
            </a:cxnLst>
            <a:rect l="0" t="0" r="r" b="b"/>
            <a:pathLst>
              <a:path w="16" h="5">
                <a:moveTo>
                  <a:pt x="10" y="0"/>
                </a:moveTo>
                <a:lnTo>
                  <a:pt x="8" y="1"/>
                </a:lnTo>
                <a:lnTo>
                  <a:pt x="8" y="3"/>
                </a:lnTo>
                <a:lnTo>
                  <a:pt x="6" y="3"/>
                </a:lnTo>
                <a:lnTo>
                  <a:pt x="5" y="3"/>
                </a:lnTo>
                <a:lnTo>
                  <a:pt x="6" y="5"/>
                </a:lnTo>
                <a:lnTo>
                  <a:pt x="5" y="5"/>
                </a:lnTo>
                <a:lnTo>
                  <a:pt x="2" y="5"/>
                </a:lnTo>
                <a:lnTo>
                  <a:pt x="1" y="5"/>
                </a:lnTo>
                <a:lnTo>
                  <a:pt x="1" y="3"/>
                </a:lnTo>
                <a:lnTo>
                  <a:pt x="0" y="3"/>
                </a:lnTo>
                <a:lnTo>
                  <a:pt x="0" y="1"/>
                </a:lnTo>
                <a:lnTo>
                  <a:pt x="4" y="1"/>
                </a:lnTo>
                <a:lnTo>
                  <a:pt x="5" y="1"/>
                </a:lnTo>
                <a:lnTo>
                  <a:pt x="6" y="0"/>
                </a:lnTo>
                <a:lnTo>
                  <a:pt x="9" y="0"/>
                </a:lnTo>
                <a:lnTo>
                  <a:pt x="10" y="0"/>
                </a:lnTo>
                <a:lnTo>
                  <a:pt x="16" y="0"/>
                </a:lnTo>
                <a:lnTo>
                  <a:pt x="16" y="1"/>
                </a:lnTo>
                <a:lnTo>
                  <a:pt x="13" y="3"/>
                </a:lnTo>
                <a:lnTo>
                  <a:pt x="10" y="1"/>
                </a:lnTo>
                <a:lnTo>
                  <a:pt x="10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59" name="Freeform 659"/>
          <p:cNvSpPr>
            <a:spLocks/>
          </p:cNvSpPr>
          <p:nvPr/>
        </p:nvSpPr>
        <p:spPr bwMode="auto">
          <a:xfrm>
            <a:off x="2716125" y="1640421"/>
            <a:ext cx="153956" cy="57987"/>
          </a:xfrm>
          <a:custGeom>
            <a:avLst/>
            <a:gdLst/>
            <a:ahLst/>
            <a:cxnLst>
              <a:cxn ang="0">
                <a:pos x="77" y="12"/>
              </a:cxn>
              <a:cxn ang="0">
                <a:pos x="75" y="14"/>
              </a:cxn>
              <a:cxn ang="0">
                <a:pos x="80" y="15"/>
              </a:cxn>
              <a:cxn ang="0">
                <a:pos x="80" y="20"/>
              </a:cxn>
              <a:cxn ang="0">
                <a:pos x="77" y="18"/>
              </a:cxn>
              <a:cxn ang="0">
                <a:pos x="73" y="17"/>
              </a:cxn>
              <a:cxn ang="0">
                <a:pos x="75" y="20"/>
              </a:cxn>
              <a:cxn ang="0">
                <a:pos x="71" y="20"/>
              </a:cxn>
              <a:cxn ang="0">
                <a:pos x="71" y="22"/>
              </a:cxn>
              <a:cxn ang="0">
                <a:pos x="68" y="23"/>
              </a:cxn>
              <a:cxn ang="0">
                <a:pos x="75" y="25"/>
              </a:cxn>
              <a:cxn ang="0">
                <a:pos x="73" y="26"/>
              </a:cxn>
              <a:cxn ang="0">
                <a:pos x="69" y="25"/>
              </a:cxn>
              <a:cxn ang="0">
                <a:pos x="64" y="28"/>
              </a:cxn>
              <a:cxn ang="0">
                <a:pos x="59" y="28"/>
              </a:cxn>
              <a:cxn ang="0">
                <a:pos x="53" y="28"/>
              </a:cxn>
              <a:cxn ang="0">
                <a:pos x="49" y="26"/>
              </a:cxn>
              <a:cxn ang="0">
                <a:pos x="36" y="28"/>
              </a:cxn>
              <a:cxn ang="0">
                <a:pos x="33" y="25"/>
              </a:cxn>
              <a:cxn ang="0">
                <a:pos x="37" y="23"/>
              </a:cxn>
              <a:cxn ang="0">
                <a:pos x="36" y="22"/>
              </a:cxn>
              <a:cxn ang="0">
                <a:pos x="39" y="20"/>
              </a:cxn>
              <a:cxn ang="0">
                <a:pos x="45" y="20"/>
              </a:cxn>
              <a:cxn ang="0">
                <a:pos x="43" y="18"/>
              </a:cxn>
              <a:cxn ang="0">
                <a:pos x="45" y="17"/>
              </a:cxn>
              <a:cxn ang="0">
                <a:pos x="56" y="15"/>
              </a:cxn>
              <a:cxn ang="0">
                <a:pos x="43" y="15"/>
              </a:cxn>
              <a:cxn ang="0">
                <a:pos x="25" y="17"/>
              </a:cxn>
              <a:cxn ang="0">
                <a:pos x="18" y="17"/>
              </a:cxn>
              <a:cxn ang="0">
                <a:pos x="6" y="20"/>
              </a:cxn>
              <a:cxn ang="0">
                <a:pos x="3" y="17"/>
              </a:cxn>
              <a:cxn ang="0">
                <a:pos x="11" y="17"/>
              </a:cxn>
              <a:cxn ang="0">
                <a:pos x="8" y="15"/>
              </a:cxn>
              <a:cxn ang="0">
                <a:pos x="14" y="12"/>
              </a:cxn>
              <a:cxn ang="0">
                <a:pos x="24" y="15"/>
              </a:cxn>
              <a:cxn ang="0">
                <a:pos x="20" y="12"/>
              </a:cxn>
              <a:cxn ang="0">
                <a:pos x="14" y="9"/>
              </a:cxn>
              <a:cxn ang="0">
                <a:pos x="10" y="6"/>
              </a:cxn>
              <a:cxn ang="0">
                <a:pos x="14" y="3"/>
              </a:cxn>
              <a:cxn ang="0">
                <a:pos x="23" y="4"/>
              </a:cxn>
              <a:cxn ang="0">
                <a:pos x="25" y="6"/>
              </a:cxn>
              <a:cxn ang="0">
                <a:pos x="32" y="9"/>
              </a:cxn>
              <a:cxn ang="0">
                <a:pos x="33" y="9"/>
              </a:cxn>
              <a:cxn ang="0">
                <a:pos x="45" y="12"/>
              </a:cxn>
              <a:cxn ang="0">
                <a:pos x="43" y="9"/>
              </a:cxn>
              <a:cxn ang="0">
                <a:pos x="43" y="7"/>
              </a:cxn>
              <a:cxn ang="0">
                <a:pos x="35" y="6"/>
              </a:cxn>
              <a:cxn ang="0">
                <a:pos x="39" y="4"/>
              </a:cxn>
              <a:cxn ang="0">
                <a:pos x="29" y="4"/>
              </a:cxn>
              <a:cxn ang="0">
                <a:pos x="31" y="1"/>
              </a:cxn>
              <a:cxn ang="0">
                <a:pos x="47" y="0"/>
              </a:cxn>
              <a:cxn ang="0">
                <a:pos x="56" y="1"/>
              </a:cxn>
              <a:cxn ang="0">
                <a:pos x="60" y="3"/>
              </a:cxn>
              <a:cxn ang="0">
                <a:pos x="60" y="0"/>
              </a:cxn>
              <a:cxn ang="0">
                <a:pos x="60" y="0"/>
              </a:cxn>
              <a:cxn ang="0">
                <a:pos x="71" y="1"/>
              </a:cxn>
              <a:cxn ang="0">
                <a:pos x="73" y="1"/>
              </a:cxn>
              <a:cxn ang="0">
                <a:pos x="76" y="4"/>
              </a:cxn>
              <a:cxn ang="0">
                <a:pos x="77" y="9"/>
              </a:cxn>
            </a:cxnLst>
            <a:rect l="0" t="0" r="r" b="b"/>
            <a:pathLst>
              <a:path w="81" h="29">
                <a:moveTo>
                  <a:pt x="77" y="11"/>
                </a:moveTo>
                <a:lnTo>
                  <a:pt x="79" y="11"/>
                </a:lnTo>
                <a:lnTo>
                  <a:pt x="77" y="12"/>
                </a:lnTo>
                <a:lnTo>
                  <a:pt x="79" y="12"/>
                </a:lnTo>
                <a:lnTo>
                  <a:pt x="77" y="14"/>
                </a:lnTo>
                <a:lnTo>
                  <a:pt x="75" y="14"/>
                </a:lnTo>
                <a:lnTo>
                  <a:pt x="73" y="15"/>
                </a:lnTo>
                <a:lnTo>
                  <a:pt x="79" y="15"/>
                </a:lnTo>
                <a:lnTo>
                  <a:pt x="80" y="15"/>
                </a:lnTo>
                <a:lnTo>
                  <a:pt x="81" y="17"/>
                </a:lnTo>
                <a:lnTo>
                  <a:pt x="80" y="17"/>
                </a:lnTo>
                <a:lnTo>
                  <a:pt x="80" y="20"/>
                </a:lnTo>
                <a:lnTo>
                  <a:pt x="81" y="22"/>
                </a:lnTo>
                <a:lnTo>
                  <a:pt x="79" y="18"/>
                </a:lnTo>
                <a:lnTo>
                  <a:pt x="77" y="18"/>
                </a:lnTo>
                <a:lnTo>
                  <a:pt x="76" y="17"/>
                </a:lnTo>
                <a:lnTo>
                  <a:pt x="75" y="18"/>
                </a:lnTo>
                <a:lnTo>
                  <a:pt x="73" y="17"/>
                </a:lnTo>
                <a:lnTo>
                  <a:pt x="72" y="18"/>
                </a:lnTo>
                <a:lnTo>
                  <a:pt x="75" y="18"/>
                </a:lnTo>
                <a:lnTo>
                  <a:pt x="75" y="20"/>
                </a:lnTo>
                <a:lnTo>
                  <a:pt x="73" y="18"/>
                </a:lnTo>
                <a:lnTo>
                  <a:pt x="72" y="20"/>
                </a:lnTo>
                <a:lnTo>
                  <a:pt x="71" y="20"/>
                </a:lnTo>
                <a:lnTo>
                  <a:pt x="73" y="20"/>
                </a:lnTo>
                <a:lnTo>
                  <a:pt x="72" y="20"/>
                </a:lnTo>
                <a:lnTo>
                  <a:pt x="71" y="22"/>
                </a:lnTo>
                <a:lnTo>
                  <a:pt x="72" y="22"/>
                </a:lnTo>
                <a:lnTo>
                  <a:pt x="69" y="22"/>
                </a:lnTo>
                <a:lnTo>
                  <a:pt x="68" y="23"/>
                </a:lnTo>
                <a:lnTo>
                  <a:pt x="69" y="23"/>
                </a:lnTo>
                <a:lnTo>
                  <a:pt x="71" y="23"/>
                </a:lnTo>
                <a:lnTo>
                  <a:pt x="75" y="25"/>
                </a:lnTo>
                <a:lnTo>
                  <a:pt x="76" y="26"/>
                </a:lnTo>
                <a:lnTo>
                  <a:pt x="75" y="26"/>
                </a:lnTo>
                <a:lnTo>
                  <a:pt x="73" y="26"/>
                </a:lnTo>
                <a:lnTo>
                  <a:pt x="72" y="25"/>
                </a:lnTo>
                <a:lnTo>
                  <a:pt x="71" y="25"/>
                </a:lnTo>
                <a:lnTo>
                  <a:pt x="69" y="25"/>
                </a:lnTo>
                <a:lnTo>
                  <a:pt x="69" y="26"/>
                </a:lnTo>
                <a:lnTo>
                  <a:pt x="71" y="28"/>
                </a:lnTo>
                <a:lnTo>
                  <a:pt x="64" y="28"/>
                </a:lnTo>
                <a:lnTo>
                  <a:pt x="63" y="28"/>
                </a:lnTo>
                <a:lnTo>
                  <a:pt x="60" y="28"/>
                </a:lnTo>
                <a:lnTo>
                  <a:pt x="59" y="28"/>
                </a:lnTo>
                <a:lnTo>
                  <a:pt x="57" y="28"/>
                </a:lnTo>
                <a:lnTo>
                  <a:pt x="56" y="28"/>
                </a:lnTo>
                <a:lnTo>
                  <a:pt x="53" y="28"/>
                </a:lnTo>
                <a:lnTo>
                  <a:pt x="52" y="28"/>
                </a:lnTo>
                <a:lnTo>
                  <a:pt x="49" y="28"/>
                </a:lnTo>
                <a:lnTo>
                  <a:pt x="49" y="26"/>
                </a:lnTo>
                <a:lnTo>
                  <a:pt x="47" y="29"/>
                </a:lnTo>
                <a:lnTo>
                  <a:pt x="40" y="29"/>
                </a:lnTo>
                <a:lnTo>
                  <a:pt x="36" y="28"/>
                </a:lnTo>
                <a:lnTo>
                  <a:pt x="35" y="28"/>
                </a:lnTo>
                <a:lnTo>
                  <a:pt x="33" y="26"/>
                </a:lnTo>
                <a:lnTo>
                  <a:pt x="33" y="25"/>
                </a:lnTo>
                <a:lnTo>
                  <a:pt x="40" y="25"/>
                </a:lnTo>
                <a:lnTo>
                  <a:pt x="41" y="25"/>
                </a:lnTo>
                <a:lnTo>
                  <a:pt x="37" y="23"/>
                </a:lnTo>
                <a:lnTo>
                  <a:pt x="33" y="23"/>
                </a:lnTo>
                <a:lnTo>
                  <a:pt x="32" y="22"/>
                </a:lnTo>
                <a:lnTo>
                  <a:pt x="36" y="22"/>
                </a:lnTo>
                <a:lnTo>
                  <a:pt x="32" y="20"/>
                </a:lnTo>
                <a:lnTo>
                  <a:pt x="37" y="20"/>
                </a:lnTo>
                <a:lnTo>
                  <a:pt x="39" y="20"/>
                </a:lnTo>
                <a:lnTo>
                  <a:pt x="40" y="20"/>
                </a:lnTo>
                <a:lnTo>
                  <a:pt x="39" y="20"/>
                </a:lnTo>
                <a:lnTo>
                  <a:pt x="45" y="20"/>
                </a:lnTo>
                <a:lnTo>
                  <a:pt x="45" y="18"/>
                </a:lnTo>
                <a:lnTo>
                  <a:pt x="39" y="20"/>
                </a:lnTo>
                <a:lnTo>
                  <a:pt x="43" y="18"/>
                </a:lnTo>
                <a:lnTo>
                  <a:pt x="44" y="18"/>
                </a:lnTo>
                <a:lnTo>
                  <a:pt x="47" y="17"/>
                </a:lnTo>
                <a:lnTo>
                  <a:pt x="45" y="17"/>
                </a:lnTo>
                <a:lnTo>
                  <a:pt x="56" y="15"/>
                </a:lnTo>
                <a:lnTo>
                  <a:pt x="59" y="15"/>
                </a:lnTo>
                <a:lnTo>
                  <a:pt x="56" y="15"/>
                </a:lnTo>
                <a:lnTo>
                  <a:pt x="48" y="15"/>
                </a:lnTo>
                <a:lnTo>
                  <a:pt x="45" y="15"/>
                </a:lnTo>
                <a:lnTo>
                  <a:pt x="43" y="15"/>
                </a:lnTo>
                <a:lnTo>
                  <a:pt x="37" y="17"/>
                </a:lnTo>
                <a:lnTo>
                  <a:pt x="36" y="17"/>
                </a:lnTo>
                <a:lnTo>
                  <a:pt x="25" y="17"/>
                </a:lnTo>
                <a:lnTo>
                  <a:pt x="20" y="17"/>
                </a:lnTo>
                <a:lnTo>
                  <a:pt x="19" y="18"/>
                </a:lnTo>
                <a:lnTo>
                  <a:pt x="18" y="17"/>
                </a:lnTo>
                <a:lnTo>
                  <a:pt x="15" y="18"/>
                </a:lnTo>
                <a:lnTo>
                  <a:pt x="8" y="18"/>
                </a:lnTo>
                <a:lnTo>
                  <a:pt x="6" y="20"/>
                </a:lnTo>
                <a:lnTo>
                  <a:pt x="2" y="18"/>
                </a:lnTo>
                <a:lnTo>
                  <a:pt x="0" y="17"/>
                </a:lnTo>
                <a:lnTo>
                  <a:pt x="3" y="17"/>
                </a:lnTo>
                <a:lnTo>
                  <a:pt x="3" y="15"/>
                </a:lnTo>
                <a:lnTo>
                  <a:pt x="6" y="15"/>
                </a:lnTo>
                <a:lnTo>
                  <a:pt x="11" y="17"/>
                </a:lnTo>
                <a:lnTo>
                  <a:pt x="11" y="15"/>
                </a:lnTo>
                <a:lnTo>
                  <a:pt x="10" y="15"/>
                </a:lnTo>
                <a:lnTo>
                  <a:pt x="8" y="15"/>
                </a:lnTo>
                <a:lnTo>
                  <a:pt x="8" y="14"/>
                </a:lnTo>
                <a:lnTo>
                  <a:pt x="12" y="14"/>
                </a:lnTo>
                <a:lnTo>
                  <a:pt x="14" y="12"/>
                </a:lnTo>
                <a:lnTo>
                  <a:pt x="19" y="14"/>
                </a:lnTo>
                <a:lnTo>
                  <a:pt x="20" y="15"/>
                </a:lnTo>
                <a:lnTo>
                  <a:pt x="24" y="15"/>
                </a:lnTo>
                <a:lnTo>
                  <a:pt x="23" y="14"/>
                </a:lnTo>
                <a:lnTo>
                  <a:pt x="19" y="12"/>
                </a:lnTo>
                <a:lnTo>
                  <a:pt x="20" y="12"/>
                </a:lnTo>
                <a:lnTo>
                  <a:pt x="21" y="11"/>
                </a:lnTo>
                <a:lnTo>
                  <a:pt x="15" y="11"/>
                </a:lnTo>
                <a:lnTo>
                  <a:pt x="14" y="9"/>
                </a:lnTo>
                <a:lnTo>
                  <a:pt x="14" y="7"/>
                </a:lnTo>
                <a:lnTo>
                  <a:pt x="10" y="7"/>
                </a:lnTo>
                <a:lnTo>
                  <a:pt x="10" y="6"/>
                </a:lnTo>
                <a:lnTo>
                  <a:pt x="14" y="4"/>
                </a:lnTo>
                <a:lnTo>
                  <a:pt x="12" y="4"/>
                </a:lnTo>
                <a:lnTo>
                  <a:pt x="14" y="3"/>
                </a:lnTo>
                <a:lnTo>
                  <a:pt x="15" y="3"/>
                </a:lnTo>
                <a:lnTo>
                  <a:pt x="21" y="3"/>
                </a:lnTo>
                <a:lnTo>
                  <a:pt x="23" y="4"/>
                </a:lnTo>
                <a:lnTo>
                  <a:pt x="24" y="4"/>
                </a:lnTo>
                <a:lnTo>
                  <a:pt x="27" y="4"/>
                </a:lnTo>
                <a:lnTo>
                  <a:pt x="25" y="6"/>
                </a:lnTo>
                <a:lnTo>
                  <a:pt x="31" y="7"/>
                </a:lnTo>
                <a:lnTo>
                  <a:pt x="31" y="9"/>
                </a:lnTo>
                <a:lnTo>
                  <a:pt x="32" y="9"/>
                </a:lnTo>
                <a:lnTo>
                  <a:pt x="33" y="9"/>
                </a:lnTo>
                <a:lnTo>
                  <a:pt x="36" y="9"/>
                </a:lnTo>
                <a:lnTo>
                  <a:pt x="33" y="9"/>
                </a:lnTo>
                <a:lnTo>
                  <a:pt x="37" y="11"/>
                </a:lnTo>
                <a:lnTo>
                  <a:pt x="41" y="12"/>
                </a:lnTo>
                <a:lnTo>
                  <a:pt x="45" y="12"/>
                </a:lnTo>
                <a:lnTo>
                  <a:pt x="47" y="11"/>
                </a:lnTo>
                <a:lnTo>
                  <a:pt x="44" y="11"/>
                </a:lnTo>
                <a:lnTo>
                  <a:pt x="43" y="9"/>
                </a:lnTo>
                <a:lnTo>
                  <a:pt x="40" y="7"/>
                </a:lnTo>
                <a:lnTo>
                  <a:pt x="44" y="7"/>
                </a:lnTo>
                <a:lnTo>
                  <a:pt x="43" y="7"/>
                </a:lnTo>
                <a:lnTo>
                  <a:pt x="36" y="7"/>
                </a:lnTo>
                <a:lnTo>
                  <a:pt x="33" y="6"/>
                </a:lnTo>
                <a:lnTo>
                  <a:pt x="35" y="6"/>
                </a:lnTo>
                <a:lnTo>
                  <a:pt x="39" y="6"/>
                </a:lnTo>
                <a:lnTo>
                  <a:pt x="41" y="6"/>
                </a:lnTo>
                <a:lnTo>
                  <a:pt x="39" y="4"/>
                </a:lnTo>
                <a:lnTo>
                  <a:pt x="37" y="4"/>
                </a:lnTo>
                <a:lnTo>
                  <a:pt x="32" y="4"/>
                </a:lnTo>
                <a:lnTo>
                  <a:pt x="29" y="4"/>
                </a:lnTo>
                <a:lnTo>
                  <a:pt x="27" y="3"/>
                </a:lnTo>
                <a:lnTo>
                  <a:pt x="27" y="1"/>
                </a:lnTo>
                <a:lnTo>
                  <a:pt x="31" y="1"/>
                </a:lnTo>
                <a:lnTo>
                  <a:pt x="36" y="0"/>
                </a:lnTo>
                <a:lnTo>
                  <a:pt x="43" y="0"/>
                </a:lnTo>
                <a:lnTo>
                  <a:pt x="47" y="0"/>
                </a:lnTo>
                <a:lnTo>
                  <a:pt x="48" y="0"/>
                </a:lnTo>
                <a:lnTo>
                  <a:pt x="51" y="1"/>
                </a:lnTo>
                <a:lnTo>
                  <a:pt x="56" y="1"/>
                </a:lnTo>
                <a:lnTo>
                  <a:pt x="56" y="3"/>
                </a:lnTo>
                <a:lnTo>
                  <a:pt x="57" y="3"/>
                </a:lnTo>
                <a:lnTo>
                  <a:pt x="60" y="3"/>
                </a:lnTo>
                <a:lnTo>
                  <a:pt x="61" y="1"/>
                </a:lnTo>
                <a:lnTo>
                  <a:pt x="59" y="1"/>
                </a:lnTo>
                <a:lnTo>
                  <a:pt x="60" y="0"/>
                </a:lnTo>
                <a:lnTo>
                  <a:pt x="64" y="0"/>
                </a:lnTo>
                <a:lnTo>
                  <a:pt x="65" y="0"/>
                </a:lnTo>
                <a:lnTo>
                  <a:pt x="60" y="0"/>
                </a:lnTo>
                <a:lnTo>
                  <a:pt x="65" y="0"/>
                </a:lnTo>
                <a:lnTo>
                  <a:pt x="67" y="0"/>
                </a:lnTo>
                <a:lnTo>
                  <a:pt x="71" y="1"/>
                </a:lnTo>
                <a:lnTo>
                  <a:pt x="67" y="0"/>
                </a:lnTo>
                <a:lnTo>
                  <a:pt x="68" y="1"/>
                </a:lnTo>
                <a:lnTo>
                  <a:pt x="73" y="1"/>
                </a:lnTo>
                <a:lnTo>
                  <a:pt x="76" y="3"/>
                </a:lnTo>
                <a:lnTo>
                  <a:pt x="77" y="3"/>
                </a:lnTo>
                <a:lnTo>
                  <a:pt x="76" y="4"/>
                </a:lnTo>
                <a:lnTo>
                  <a:pt x="76" y="6"/>
                </a:lnTo>
                <a:lnTo>
                  <a:pt x="79" y="7"/>
                </a:lnTo>
                <a:lnTo>
                  <a:pt x="77" y="9"/>
                </a:lnTo>
                <a:lnTo>
                  <a:pt x="77" y="11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60" name="Freeform 660"/>
          <p:cNvSpPr>
            <a:spLocks/>
          </p:cNvSpPr>
          <p:nvPr/>
        </p:nvSpPr>
        <p:spPr bwMode="auto">
          <a:xfrm>
            <a:off x="2716125" y="1640421"/>
            <a:ext cx="153956" cy="57987"/>
          </a:xfrm>
          <a:custGeom>
            <a:avLst/>
            <a:gdLst/>
            <a:ahLst/>
            <a:cxnLst>
              <a:cxn ang="0">
                <a:pos x="77" y="12"/>
              </a:cxn>
              <a:cxn ang="0">
                <a:pos x="75" y="14"/>
              </a:cxn>
              <a:cxn ang="0">
                <a:pos x="80" y="15"/>
              </a:cxn>
              <a:cxn ang="0">
                <a:pos x="80" y="20"/>
              </a:cxn>
              <a:cxn ang="0">
                <a:pos x="77" y="18"/>
              </a:cxn>
              <a:cxn ang="0">
                <a:pos x="73" y="17"/>
              </a:cxn>
              <a:cxn ang="0">
                <a:pos x="75" y="20"/>
              </a:cxn>
              <a:cxn ang="0">
                <a:pos x="71" y="20"/>
              </a:cxn>
              <a:cxn ang="0">
                <a:pos x="71" y="22"/>
              </a:cxn>
              <a:cxn ang="0">
                <a:pos x="68" y="23"/>
              </a:cxn>
              <a:cxn ang="0">
                <a:pos x="75" y="25"/>
              </a:cxn>
              <a:cxn ang="0">
                <a:pos x="73" y="26"/>
              </a:cxn>
              <a:cxn ang="0">
                <a:pos x="69" y="25"/>
              </a:cxn>
              <a:cxn ang="0">
                <a:pos x="64" y="28"/>
              </a:cxn>
              <a:cxn ang="0">
                <a:pos x="59" y="28"/>
              </a:cxn>
              <a:cxn ang="0">
                <a:pos x="53" y="28"/>
              </a:cxn>
              <a:cxn ang="0">
                <a:pos x="49" y="26"/>
              </a:cxn>
              <a:cxn ang="0">
                <a:pos x="36" y="28"/>
              </a:cxn>
              <a:cxn ang="0">
                <a:pos x="33" y="25"/>
              </a:cxn>
              <a:cxn ang="0">
                <a:pos x="37" y="23"/>
              </a:cxn>
              <a:cxn ang="0">
                <a:pos x="36" y="22"/>
              </a:cxn>
              <a:cxn ang="0">
                <a:pos x="39" y="20"/>
              </a:cxn>
              <a:cxn ang="0">
                <a:pos x="45" y="20"/>
              </a:cxn>
              <a:cxn ang="0">
                <a:pos x="43" y="18"/>
              </a:cxn>
              <a:cxn ang="0">
                <a:pos x="45" y="17"/>
              </a:cxn>
              <a:cxn ang="0">
                <a:pos x="56" y="15"/>
              </a:cxn>
              <a:cxn ang="0">
                <a:pos x="43" y="15"/>
              </a:cxn>
              <a:cxn ang="0">
                <a:pos x="25" y="17"/>
              </a:cxn>
              <a:cxn ang="0">
                <a:pos x="18" y="17"/>
              </a:cxn>
              <a:cxn ang="0">
                <a:pos x="6" y="20"/>
              </a:cxn>
              <a:cxn ang="0">
                <a:pos x="3" y="17"/>
              </a:cxn>
              <a:cxn ang="0">
                <a:pos x="11" y="17"/>
              </a:cxn>
              <a:cxn ang="0">
                <a:pos x="8" y="15"/>
              </a:cxn>
              <a:cxn ang="0">
                <a:pos x="14" y="12"/>
              </a:cxn>
              <a:cxn ang="0">
                <a:pos x="24" y="15"/>
              </a:cxn>
              <a:cxn ang="0">
                <a:pos x="20" y="12"/>
              </a:cxn>
              <a:cxn ang="0">
                <a:pos x="14" y="9"/>
              </a:cxn>
              <a:cxn ang="0">
                <a:pos x="10" y="6"/>
              </a:cxn>
              <a:cxn ang="0">
                <a:pos x="14" y="3"/>
              </a:cxn>
              <a:cxn ang="0">
                <a:pos x="23" y="4"/>
              </a:cxn>
              <a:cxn ang="0">
                <a:pos x="25" y="6"/>
              </a:cxn>
              <a:cxn ang="0">
                <a:pos x="32" y="9"/>
              </a:cxn>
              <a:cxn ang="0">
                <a:pos x="33" y="9"/>
              </a:cxn>
              <a:cxn ang="0">
                <a:pos x="45" y="12"/>
              </a:cxn>
              <a:cxn ang="0">
                <a:pos x="43" y="9"/>
              </a:cxn>
              <a:cxn ang="0">
                <a:pos x="43" y="7"/>
              </a:cxn>
              <a:cxn ang="0">
                <a:pos x="35" y="6"/>
              </a:cxn>
              <a:cxn ang="0">
                <a:pos x="39" y="4"/>
              </a:cxn>
              <a:cxn ang="0">
                <a:pos x="29" y="4"/>
              </a:cxn>
              <a:cxn ang="0">
                <a:pos x="31" y="1"/>
              </a:cxn>
              <a:cxn ang="0">
                <a:pos x="47" y="0"/>
              </a:cxn>
              <a:cxn ang="0">
                <a:pos x="56" y="1"/>
              </a:cxn>
              <a:cxn ang="0">
                <a:pos x="60" y="3"/>
              </a:cxn>
              <a:cxn ang="0">
                <a:pos x="60" y="0"/>
              </a:cxn>
              <a:cxn ang="0">
                <a:pos x="60" y="0"/>
              </a:cxn>
              <a:cxn ang="0">
                <a:pos x="71" y="1"/>
              </a:cxn>
              <a:cxn ang="0">
                <a:pos x="73" y="1"/>
              </a:cxn>
              <a:cxn ang="0">
                <a:pos x="76" y="4"/>
              </a:cxn>
              <a:cxn ang="0">
                <a:pos x="77" y="9"/>
              </a:cxn>
            </a:cxnLst>
            <a:rect l="0" t="0" r="r" b="b"/>
            <a:pathLst>
              <a:path w="81" h="29">
                <a:moveTo>
                  <a:pt x="77" y="11"/>
                </a:moveTo>
                <a:lnTo>
                  <a:pt x="79" y="11"/>
                </a:lnTo>
                <a:lnTo>
                  <a:pt x="77" y="12"/>
                </a:lnTo>
                <a:lnTo>
                  <a:pt x="79" y="12"/>
                </a:lnTo>
                <a:lnTo>
                  <a:pt x="77" y="14"/>
                </a:lnTo>
                <a:lnTo>
                  <a:pt x="75" y="14"/>
                </a:lnTo>
                <a:lnTo>
                  <a:pt x="73" y="15"/>
                </a:lnTo>
                <a:lnTo>
                  <a:pt x="79" y="15"/>
                </a:lnTo>
                <a:lnTo>
                  <a:pt x="80" y="15"/>
                </a:lnTo>
                <a:lnTo>
                  <a:pt x="81" y="17"/>
                </a:lnTo>
                <a:lnTo>
                  <a:pt x="80" y="17"/>
                </a:lnTo>
                <a:lnTo>
                  <a:pt x="80" y="20"/>
                </a:lnTo>
                <a:lnTo>
                  <a:pt x="81" y="22"/>
                </a:lnTo>
                <a:lnTo>
                  <a:pt x="79" y="18"/>
                </a:lnTo>
                <a:lnTo>
                  <a:pt x="77" y="18"/>
                </a:lnTo>
                <a:lnTo>
                  <a:pt x="76" y="17"/>
                </a:lnTo>
                <a:lnTo>
                  <a:pt x="75" y="18"/>
                </a:lnTo>
                <a:lnTo>
                  <a:pt x="73" y="17"/>
                </a:lnTo>
                <a:lnTo>
                  <a:pt x="72" y="18"/>
                </a:lnTo>
                <a:lnTo>
                  <a:pt x="75" y="18"/>
                </a:lnTo>
                <a:lnTo>
                  <a:pt x="75" y="20"/>
                </a:lnTo>
                <a:lnTo>
                  <a:pt x="73" y="18"/>
                </a:lnTo>
                <a:lnTo>
                  <a:pt x="72" y="20"/>
                </a:lnTo>
                <a:lnTo>
                  <a:pt x="71" y="20"/>
                </a:lnTo>
                <a:lnTo>
                  <a:pt x="73" y="20"/>
                </a:lnTo>
                <a:lnTo>
                  <a:pt x="72" y="20"/>
                </a:lnTo>
                <a:lnTo>
                  <a:pt x="71" y="22"/>
                </a:lnTo>
                <a:lnTo>
                  <a:pt x="72" y="22"/>
                </a:lnTo>
                <a:lnTo>
                  <a:pt x="69" y="22"/>
                </a:lnTo>
                <a:lnTo>
                  <a:pt x="68" y="23"/>
                </a:lnTo>
                <a:lnTo>
                  <a:pt x="69" y="23"/>
                </a:lnTo>
                <a:lnTo>
                  <a:pt x="71" y="23"/>
                </a:lnTo>
                <a:lnTo>
                  <a:pt x="75" y="25"/>
                </a:lnTo>
                <a:lnTo>
                  <a:pt x="76" y="26"/>
                </a:lnTo>
                <a:lnTo>
                  <a:pt x="75" y="26"/>
                </a:lnTo>
                <a:lnTo>
                  <a:pt x="73" y="26"/>
                </a:lnTo>
                <a:lnTo>
                  <a:pt x="72" y="25"/>
                </a:lnTo>
                <a:lnTo>
                  <a:pt x="71" y="25"/>
                </a:lnTo>
                <a:lnTo>
                  <a:pt x="69" y="25"/>
                </a:lnTo>
                <a:lnTo>
                  <a:pt x="69" y="26"/>
                </a:lnTo>
                <a:lnTo>
                  <a:pt x="71" y="28"/>
                </a:lnTo>
                <a:lnTo>
                  <a:pt x="64" y="28"/>
                </a:lnTo>
                <a:lnTo>
                  <a:pt x="63" y="28"/>
                </a:lnTo>
                <a:lnTo>
                  <a:pt x="60" y="28"/>
                </a:lnTo>
                <a:lnTo>
                  <a:pt x="59" y="28"/>
                </a:lnTo>
                <a:lnTo>
                  <a:pt x="57" y="28"/>
                </a:lnTo>
                <a:lnTo>
                  <a:pt x="56" y="28"/>
                </a:lnTo>
                <a:lnTo>
                  <a:pt x="53" y="28"/>
                </a:lnTo>
                <a:lnTo>
                  <a:pt x="52" y="28"/>
                </a:lnTo>
                <a:lnTo>
                  <a:pt x="49" y="28"/>
                </a:lnTo>
                <a:lnTo>
                  <a:pt x="49" y="26"/>
                </a:lnTo>
                <a:lnTo>
                  <a:pt x="47" y="29"/>
                </a:lnTo>
                <a:lnTo>
                  <a:pt x="40" y="29"/>
                </a:lnTo>
                <a:lnTo>
                  <a:pt x="36" y="28"/>
                </a:lnTo>
                <a:lnTo>
                  <a:pt x="35" y="28"/>
                </a:lnTo>
                <a:lnTo>
                  <a:pt x="33" y="26"/>
                </a:lnTo>
                <a:lnTo>
                  <a:pt x="33" y="25"/>
                </a:lnTo>
                <a:lnTo>
                  <a:pt x="40" y="25"/>
                </a:lnTo>
                <a:lnTo>
                  <a:pt x="41" y="25"/>
                </a:lnTo>
                <a:lnTo>
                  <a:pt x="37" y="23"/>
                </a:lnTo>
                <a:lnTo>
                  <a:pt x="33" y="23"/>
                </a:lnTo>
                <a:lnTo>
                  <a:pt x="32" y="22"/>
                </a:lnTo>
                <a:lnTo>
                  <a:pt x="36" y="22"/>
                </a:lnTo>
                <a:lnTo>
                  <a:pt x="32" y="20"/>
                </a:lnTo>
                <a:lnTo>
                  <a:pt x="37" y="20"/>
                </a:lnTo>
                <a:lnTo>
                  <a:pt x="39" y="20"/>
                </a:lnTo>
                <a:lnTo>
                  <a:pt x="40" y="20"/>
                </a:lnTo>
                <a:lnTo>
                  <a:pt x="39" y="20"/>
                </a:lnTo>
                <a:lnTo>
                  <a:pt x="45" y="20"/>
                </a:lnTo>
                <a:lnTo>
                  <a:pt x="45" y="18"/>
                </a:lnTo>
                <a:lnTo>
                  <a:pt x="39" y="20"/>
                </a:lnTo>
                <a:lnTo>
                  <a:pt x="43" y="18"/>
                </a:lnTo>
                <a:lnTo>
                  <a:pt x="44" y="18"/>
                </a:lnTo>
                <a:lnTo>
                  <a:pt x="47" y="17"/>
                </a:lnTo>
                <a:lnTo>
                  <a:pt x="45" y="17"/>
                </a:lnTo>
                <a:lnTo>
                  <a:pt x="56" y="15"/>
                </a:lnTo>
                <a:lnTo>
                  <a:pt x="59" y="15"/>
                </a:lnTo>
                <a:lnTo>
                  <a:pt x="56" y="15"/>
                </a:lnTo>
                <a:lnTo>
                  <a:pt x="48" y="15"/>
                </a:lnTo>
                <a:lnTo>
                  <a:pt x="45" y="15"/>
                </a:lnTo>
                <a:lnTo>
                  <a:pt x="43" y="15"/>
                </a:lnTo>
                <a:lnTo>
                  <a:pt x="37" y="17"/>
                </a:lnTo>
                <a:lnTo>
                  <a:pt x="36" y="17"/>
                </a:lnTo>
                <a:lnTo>
                  <a:pt x="25" y="17"/>
                </a:lnTo>
                <a:lnTo>
                  <a:pt x="20" y="17"/>
                </a:lnTo>
                <a:lnTo>
                  <a:pt x="19" y="18"/>
                </a:lnTo>
                <a:lnTo>
                  <a:pt x="18" y="17"/>
                </a:lnTo>
                <a:lnTo>
                  <a:pt x="15" y="18"/>
                </a:lnTo>
                <a:lnTo>
                  <a:pt x="8" y="18"/>
                </a:lnTo>
                <a:lnTo>
                  <a:pt x="6" y="20"/>
                </a:lnTo>
                <a:lnTo>
                  <a:pt x="2" y="18"/>
                </a:lnTo>
                <a:lnTo>
                  <a:pt x="0" y="17"/>
                </a:lnTo>
                <a:lnTo>
                  <a:pt x="3" y="17"/>
                </a:lnTo>
                <a:lnTo>
                  <a:pt x="3" y="15"/>
                </a:lnTo>
                <a:lnTo>
                  <a:pt x="6" y="15"/>
                </a:lnTo>
                <a:lnTo>
                  <a:pt x="11" y="17"/>
                </a:lnTo>
                <a:lnTo>
                  <a:pt x="11" y="15"/>
                </a:lnTo>
                <a:lnTo>
                  <a:pt x="10" y="15"/>
                </a:lnTo>
                <a:lnTo>
                  <a:pt x="8" y="15"/>
                </a:lnTo>
                <a:lnTo>
                  <a:pt x="8" y="14"/>
                </a:lnTo>
                <a:lnTo>
                  <a:pt x="12" y="14"/>
                </a:lnTo>
                <a:lnTo>
                  <a:pt x="14" y="12"/>
                </a:lnTo>
                <a:lnTo>
                  <a:pt x="19" y="14"/>
                </a:lnTo>
                <a:lnTo>
                  <a:pt x="20" y="15"/>
                </a:lnTo>
                <a:lnTo>
                  <a:pt x="24" y="15"/>
                </a:lnTo>
                <a:lnTo>
                  <a:pt x="23" y="14"/>
                </a:lnTo>
                <a:lnTo>
                  <a:pt x="19" y="12"/>
                </a:lnTo>
                <a:lnTo>
                  <a:pt x="20" y="12"/>
                </a:lnTo>
                <a:lnTo>
                  <a:pt x="21" y="11"/>
                </a:lnTo>
                <a:lnTo>
                  <a:pt x="15" y="11"/>
                </a:lnTo>
                <a:lnTo>
                  <a:pt x="14" y="9"/>
                </a:lnTo>
                <a:lnTo>
                  <a:pt x="14" y="7"/>
                </a:lnTo>
                <a:lnTo>
                  <a:pt x="10" y="7"/>
                </a:lnTo>
                <a:lnTo>
                  <a:pt x="10" y="6"/>
                </a:lnTo>
                <a:lnTo>
                  <a:pt x="14" y="4"/>
                </a:lnTo>
                <a:lnTo>
                  <a:pt x="12" y="4"/>
                </a:lnTo>
                <a:lnTo>
                  <a:pt x="14" y="3"/>
                </a:lnTo>
                <a:lnTo>
                  <a:pt x="15" y="3"/>
                </a:lnTo>
                <a:lnTo>
                  <a:pt x="21" y="3"/>
                </a:lnTo>
                <a:lnTo>
                  <a:pt x="23" y="4"/>
                </a:lnTo>
                <a:lnTo>
                  <a:pt x="24" y="4"/>
                </a:lnTo>
                <a:lnTo>
                  <a:pt x="27" y="4"/>
                </a:lnTo>
                <a:lnTo>
                  <a:pt x="25" y="6"/>
                </a:lnTo>
                <a:lnTo>
                  <a:pt x="31" y="7"/>
                </a:lnTo>
                <a:lnTo>
                  <a:pt x="31" y="9"/>
                </a:lnTo>
                <a:lnTo>
                  <a:pt x="32" y="9"/>
                </a:lnTo>
                <a:lnTo>
                  <a:pt x="33" y="9"/>
                </a:lnTo>
                <a:lnTo>
                  <a:pt x="36" y="9"/>
                </a:lnTo>
                <a:lnTo>
                  <a:pt x="33" y="9"/>
                </a:lnTo>
                <a:lnTo>
                  <a:pt x="37" y="11"/>
                </a:lnTo>
                <a:lnTo>
                  <a:pt x="41" y="12"/>
                </a:lnTo>
                <a:lnTo>
                  <a:pt x="45" y="12"/>
                </a:lnTo>
                <a:lnTo>
                  <a:pt x="47" y="11"/>
                </a:lnTo>
                <a:lnTo>
                  <a:pt x="44" y="11"/>
                </a:lnTo>
                <a:lnTo>
                  <a:pt x="43" y="9"/>
                </a:lnTo>
                <a:lnTo>
                  <a:pt x="40" y="7"/>
                </a:lnTo>
                <a:lnTo>
                  <a:pt x="44" y="7"/>
                </a:lnTo>
                <a:lnTo>
                  <a:pt x="43" y="7"/>
                </a:lnTo>
                <a:lnTo>
                  <a:pt x="36" y="7"/>
                </a:lnTo>
                <a:lnTo>
                  <a:pt x="33" y="6"/>
                </a:lnTo>
                <a:lnTo>
                  <a:pt x="35" y="6"/>
                </a:lnTo>
                <a:lnTo>
                  <a:pt x="39" y="6"/>
                </a:lnTo>
                <a:lnTo>
                  <a:pt x="41" y="6"/>
                </a:lnTo>
                <a:lnTo>
                  <a:pt x="39" y="4"/>
                </a:lnTo>
                <a:lnTo>
                  <a:pt x="37" y="4"/>
                </a:lnTo>
                <a:lnTo>
                  <a:pt x="32" y="4"/>
                </a:lnTo>
                <a:lnTo>
                  <a:pt x="29" y="4"/>
                </a:lnTo>
                <a:lnTo>
                  <a:pt x="27" y="3"/>
                </a:lnTo>
                <a:lnTo>
                  <a:pt x="27" y="1"/>
                </a:lnTo>
                <a:lnTo>
                  <a:pt x="31" y="1"/>
                </a:lnTo>
                <a:lnTo>
                  <a:pt x="36" y="0"/>
                </a:lnTo>
                <a:lnTo>
                  <a:pt x="43" y="0"/>
                </a:lnTo>
                <a:lnTo>
                  <a:pt x="47" y="0"/>
                </a:lnTo>
                <a:lnTo>
                  <a:pt x="48" y="0"/>
                </a:lnTo>
                <a:lnTo>
                  <a:pt x="51" y="1"/>
                </a:lnTo>
                <a:lnTo>
                  <a:pt x="56" y="1"/>
                </a:lnTo>
                <a:lnTo>
                  <a:pt x="56" y="3"/>
                </a:lnTo>
                <a:lnTo>
                  <a:pt x="57" y="3"/>
                </a:lnTo>
                <a:lnTo>
                  <a:pt x="60" y="3"/>
                </a:lnTo>
                <a:lnTo>
                  <a:pt x="61" y="1"/>
                </a:lnTo>
                <a:lnTo>
                  <a:pt x="59" y="1"/>
                </a:lnTo>
                <a:lnTo>
                  <a:pt x="60" y="0"/>
                </a:lnTo>
                <a:lnTo>
                  <a:pt x="64" y="0"/>
                </a:lnTo>
                <a:lnTo>
                  <a:pt x="65" y="0"/>
                </a:lnTo>
                <a:lnTo>
                  <a:pt x="60" y="0"/>
                </a:lnTo>
                <a:lnTo>
                  <a:pt x="65" y="0"/>
                </a:lnTo>
                <a:lnTo>
                  <a:pt x="67" y="0"/>
                </a:lnTo>
                <a:lnTo>
                  <a:pt x="71" y="1"/>
                </a:lnTo>
                <a:lnTo>
                  <a:pt x="67" y="0"/>
                </a:lnTo>
                <a:lnTo>
                  <a:pt x="68" y="1"/>
                </a:lnTo>
                <a:lnTo>
                  <a:pt x="73" y="1"/>
                </a:lnTo>
                <a:lnTo>
                  <a:pt x="76" y="3"/>
                </a:lnTo>
                <a:lnTo>
                  <a:pt x="77" y="3"/>
                </a:lnTo>
                <a:lnTo>
                  <a:pt x="76" y="4"/>
                </a:lnTo>
                <a:lnTo>
                  <a:pt x="76" y="6"/>
                </a:lnTo>
                <a:lnTo>
                  <a:pt x="79" y="7"/>
                </a:lnTo>
                <a:lnTo>
                  <a:pt x="77" y="9"/>
                </a:lnTo>
                <a:lnTo>
                  <a:pt x="77" y="11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61" name="Freeform 661"/>
          <p:cNvSpPr>
            <a:spLocks/>
          </p:cNvSpPr>
          <p:nvPr/>
        </p:nvSpPr>
        <p:spPr bwMode="auto">
          <a:xfrm>
            <a:off x="2846695" y="1560962"/>
            <a:ext cx="101338" cy="38657"/>
          </a:xfrm>
          <a:custGeom>
            <a:avLst/>
            <a:gdLst/>
            <a:ahLst/>
            <a:cxnLst>
              <a:cxn ang="0">
                <a:pos x="49" y="17"/>
              </a:cxn>
              <a:cxn ang="0">
                <a:pos x="47" y="17"/>
              </a:cxn>
              <a:cxn ang="0">
                <a:pos x="36" y="19"/>
              </a:cxn>
              <a:cxn ang="0">
                <a:pos x="32" y="19"/>
              </a:cxn>
              <a:cxn ang="0">
                <a:pos x="29" y="19"/>
              </a:cxn>
              <a:cxn ang="0">
                <a:pos x="24" y="19"/>
              </a:cxn>
              <a:cxn ang="0">
                <a:pos x="25" y="19"/>
              </a:cxn>
              <a:cxn ang="0">
                <a:pos x="27" y="19"/>
              </a:cxn>
              <a:cxn ang="0">
                <a:pos x="27" y="20"/>
              </a:cxn>
              <a:cxn ang="0">
                <a:pos x="23" y="20"/>
              </a:cxn>
              <a:cxn ang="0">
                <a:pos x="17" y="20"/>
              </a:cxn>
              <a:cxn ang="0">
                <a:pos x="20" y="19"/>
              </a:cxn>
              <a:cxn ang="0">
                <a:pos x="9" y="15"/>
              </a:cxn>
              <a:cxn ang="0">
                <a:pos x="11" y="14"/>
              </a:cxn>
              <a:cxn ang="0">
                <a:pos x="21" y="15"/>
              </a:cxn>
              <a:cxn ang="0">
                <a:pos x="24" y="14"/>
              </a:cxn>
              <a:cxn ang="0">
                <a:pos x="23" y="14"/>
              </a:cxn>
              <a:cxn ang="0">
                <a:pos x="15" y="12"/>
              </a:cxn>
              <a:cxn ang="0">
                <a:pos x="12" y="12"/>
              </a:cxn>
              <a:cxn ang="0">
                <a:pos x="7" y="12"/>
              </a:cxn>
              <a:cxn ang="0">
                <a:pos x="7" y="11"/>
              </a:cxn>
              <a:cxn ang="0">
                <a:pos x="9" y="11"/>
              </a:cxn>
              <a:cxn ang="0">
                <a:pos x="8" y="11"/>
              </a:cxn>
              <a:cxn ang="0">
                <a:pos x="5" y="11"/>
              </a:cxn>
              <a:cxn ang="0">
                <a:pos x="4" y="9"/>
              </a:cxn>
              <a:cxn ang="0">
                <a:pos x="5" y="8"/>
              </a:cxn>
              <a:cxn ang="0">
                <a:pos x="3" y="8"/>
              </a:cxn>
              <a:cxn ang="0">
                <a:pos x="0" y="6"/>
              </a:cxn>
              <a:cxn ang="0">
                <a:pos x="4" y="6"/>
              </a:cxn>
              <a:cxn ang="0">
                <a:pos x="4" y="4"/>
              </a:cxn>
              <a:cxn ang="0">
                <a:pos x="1" y="4"/>
              </a:cxn>
              <a:cxn ang="0">
                <a:pos x="1" y="3"/>
              </a:cxn>
              <a:cxn ang="0">
                <a:pos x="1" y="1"/>
              </a:cxn>
              <a:cxn ang="0">
                <a:pos x="5" y="0"/>
              </a:cxn>
              <a:cxn ang="0">
                <a:pos x="15" y="1"/>
              </a:cxn>
              <a:cxn ang="0">
                <a:pos x="25" y="3"/>
              </a:cxn>
              <a:cxn ang="0">
                <a:pos x="29" y="3"/>
              </a:cxn>
              <a:cxn ang="0">
                <a:pos x="33" y="4"/>
              </a:cxn>
              <a:cxn ang="0">
                <a:pos x="35" y="4"/>
              </a:cxn>
              <a:cxn ang="0">
                <a:pos x="36" y="4"/>
              </a:cxn>
              <a:cxn ang="0">
                <a:pos x="35" y="6"/>
              </a:cxn>
              <a:cxn ang="0">
                <a:pos x="35" y="8"/>
              </a:cxn>
              <a:cxn ang="0">
                <a:pos x="39" y="8"/>
              </a:cxn>
              <a:cxn ang="0">
                <a:pos x="43" y="6"/>
              </a:cxn>
              <a:cxn ang="0">
                <a:pos x="49" y="8"/>
              </a:cxn>
              <a:cxn ang="0">
                <a:pos x="53" y="9"/>
              </a:cxn>
              <a:cxn ang="0">
                <a:pos x="53" y="11"/>
              </a:cxn>
              <a:cxn ang="0">
                <a:pos x="51" y="11"/>
              </a:cxn>
              <a:cxn ang="0">
                <a:pos x="51" y="14"/>
              </a:cxn>
              <a:cxn ang="0">
                <a:pos x="53" y="15"/>
              </a:cxn>
              <a:cxn ang="0">
                <a:pos x="53" y="17"/>
              </a:cxn>
              <a:cxn ang="0">
                <a:pos x="52" y="17"/>
              </a:cxn>
              <a:cxn ang="0">
                <a:pos x="52" y="19"/>
              </a:cxn>
              <a:cxn ang="0">
                <a:pos x="51" y="19"/>
              </a:cxn>
              <a:cxn ang="0">
                <a:pos x="49" y="17"/>
              </a:cxn>
            </a:cxnLst>
            <a:rect l="0" t="0" r="r" b="b"/>
            <a:pathLst>
              <a:path w="53" h="20">
                <a:moveTo>
                  <a:pt x="49" y="17"/>
                </a:moveTo>
                <a:lnTo>
                  <a:pt x="47" y="17"/>
                </a:lnTo>
                <a:lnTo>
                  <a:pt x="36" y="19"/>
                </a:lnTo>
                <a:lnTo>
                  <a:pt x="32" y="19"/>
                </a:lnTo>
                <a:lnTo>
                  <a:pt x="29" y="19"/>
                </a:lnTo>
                <a:lnTo>
                  <a:pt x="24" y="19"/>
                </a:lnTo>
                <a:lnTo>
                  <a:pt x="25" y="19"/>
                </a:lnTo>
                <a:lnTo>
                  <a:pt x="27" y="19"/>
                </a:lnTo>
                <a:lnTo>
                  <a:pt x="27" y="20"/>
                </a:lnTo>
                <a:lnTo>
                  <a:pt x="23" y="20"/>
                </a:lnTo>
                <a:lnTo>
                  <a:pt x="17" y="20"/>
                </a:lnTo>
                <a:lnTo>
                  <a:pt x="20" y="19"/>
                </a:lnTo>
                <a:lnTo>
                  <a:pt x="9" y="15"/>
                </a:lnTo>
                <a:lnTo>
                  <a:pt x="11" y="14"/>
                </a:lnTo>
                <a:lnTo>
                  <a:pt x="21" y="15"/>
                </a:lnTo>
                <a:lnTo>
                  <a:pt x="24" y="14"/>
                </a:lnTo>
                <a:lnTo>
                  <a:pt x="23" y="14"/>
                </a:lnTo>
                <a:lnTo>
                  <a:pt x="15" y="12"/>
                </a:lnTo>
                <a:lnTo>
                  <a:pt x="12" y="12"/>
                </a:lnTo>
                <a:lnTo>
                  <a:pt x="7" y="12"/>
                </a:lnTo>
                <a:lnTo>
                  <a:pt x="7" y="11"/>
                </a:lnTo>
                <a:lnTo>
                  <a:pt x="9" y="11"/>
                </a:lnTo>
                <a:lnTo>
                  <a:pt x="8" y="11"/>
                </a:lnTo>
                <a:lnTo>
                  <a:pt x="5" y="11"/>
                </a:lnTo>
                <a:lnTo>
                  <a:pt x="4" y="9"/>
                </a:lnTo>
                <a:lnTo>
                  <a:pt x="5" y="8"/>
                </a:lnTo>
                <a:lnTo>
                  <a:pt x="3" y="8"/>
                </a:lnTo>
                <a:lnTo>
                  <a:pt x="0" y="6"/>
                </a:lnTo>
                <a:lnTo>
                  <a:pt x="4" y="6"/>
                </a:lnTo>
                <a:lnTo>
                  <a:pt x="4" y="4"/>
                </a:lnTo>
                <a:lnTo>
                  <a:pt x="1" y="4"/>
                </a:lnTo>
                <a:lnTo>
                  <a:pt x="1" y="3"/>
                </a:lnTo>
                <a:lnTo>
                  <a:pt x="1" y="1"/>
                </a:lnTo>
                <a:lnTo>
                  <a:pt x="5" y="0"/>
                </a:lnTo>
                <a:lnTo>
                  <a:pt x="15" y="1"/>
                </a:lnTo>
                <a:lnTo>
                  <a:pt x="25" y="3"/>
                </a:lnTo>
                <a:lnTo>
                  <a:pt x="29" y="3"/>
                </a:lnTo>
                <a:lnTo>
                  <a:pt x="33" y="4"/>
                </a:lnTo>
                <a:lnTo>
                  <a:pt x="35" y="4"/>
                </a:lnTo>
                <a:lnTo>
                  <a:pt x="36" y="4"/>
                </a:lnTo>
                <a:lnTo>
                  <a:pt x="35" y="6"/>
                </a:lnTo>
                <a:lnTo>
                  <a:pt x="35" y="8"/>
                </a:lnTo>
                <a:lnTo>
                  <a:pt x="39" y="8"/>
                </a:lnTo>
                <a:lnTo>
                  <a:pt x="43" y="6"/>
                </a:lnTo>
                <a:lnTo>
                  <a:pt x="49" y="8"/>
                </a:lnTo>
                <a:lnTo>
                  <a:pt x="53" y="9"/>
                </a:lnTo>
                <a:lnTo>
                  <a:pt x="53" y="11"/>
                </a:lnTo>
                <a:lnTo>
                  <a:pt x="51" y="11"/>
                </a:lnTo>
                <a:lnTo>
                  <a:pt x="51" y="14"/>
                </a:lnTo>
                <a:lnTo>
                  <a:pt x="53" y="15"/>
                </a:lnTo>
                <a:lnTo>
                  <a:pt x="53" y="17"/>
                </a:lnTo>
                <a:lnTo>
                  <a:pt x="52" y="17"/>
                </a:lnTo>
                <a:lnTo>
                  <a:pt x="52" y="19"/>
                </a:lnTo>
                <a:lnTo>
                  <a:pt x="51" y="19"/>
                </a:lnTo>
                <a:lnTo>
                  <a:pt x="49" y="17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62" name="Freeform 662"/>
          <p:cNvSpPr>
            <a:spLocks/>
          </p:cNvSpPr>
          <p:nvPr/>
        </p:nvSpPr>
        <p:spPr bwMode="auto">
          <a:xfrm>
            <a:off x="2846695" y="1560962"/>
            <a:ext cx="101338" cy="38657"/>
          </a:xfrm>
          <a:custGeom>
            <a:avLst/>
            <a:gdLst/>
            <a:ahLst/>
            <a:cxnLst>
              <a:cxn ang="0">
                <a:pos x="49" y="17"/>
              </a:cxn>
              <a:cxn ang="0">
                <a:pos x="47" y="17"/>
              </a:cxn>
              <a:cxn ang="0">
                <a:pos x="36" y="19"/>
              </a:cxn>
              <a:cxn ang="0">
                <a:pos x="32" y="19"/>
              </a:cxn>
              <a:cxn ang="0">
                <a:pos x="29" y="19"/>
              </a:cxn>
              <a:cxn ang="0">
                <a:pos x="24" y="19"/>
              </a:cxn>
              <a:cxn ang="0">
                <a:pos x="25" y="19"/>
              </a:cxn>
              <a:cxn ang="0">
                <a:pos x="27" y="19"/>
              </a:cxn>
              <a:cxn ang="0">
                <a:pos x="27" y="20"/>
              </a:cxn>
              <a:cxn ang="0">
                <a:pos x="23" y="20"/>
              </a:cxn>
              <a:cxn ang="0">
                <a:pos x="17" y="20"/>
              </a:cxn>
              <a:cxn ang="0">
                <a:pos x="20" y="19"/>
              </a:cxn>
              <a:cxn ang="0">
                <a:pos x="9" y="15"/>
              </a:cxn>
              <a:cxn ang="0">
                <a:pos x="11" y="14"/>
              </a:cxn>
              <a:cxn ang="0">
                <a:pos x="21" y="15"/>
              </a:cxn>
              <a:cxn ang="0">
                <a:pos x="24" y="14"/>
              </a:cxn>
              <a:cxn ang="0">
                <a:pos x="23" y="14"/>
              </a:cxn>
              <a:cxn ang="0">
                <a:pos x="15" y="12"/>
              </a:cxn>
              <a:cxn ang="0">
                <a:pos x="12" y="12"/>
              </a:cxn>
              <a:cxn ang="0">
                <a:pos x="7" y="12"/>
              </a:cxn>
              <a:cxn ang="0">
                <a:pos x="7" y="11"/>
              </a:cxn>
              <a:cxn ang="0">
                <a:pos x="9" y="11"/>
              </a:cxn>
              <a:cxn ang="0">
                <a:pos x="8" y="11"/>
              </a:cxn>
              <a:cxn ang="0">
                <a:pos x="5" y="11"/>
              </a:cxn>
              <a:cxn ang="0">
                <a:pos x="4" y="9"/>
              </a:cxn>
              <a:cxn ang="0">
                <a:pos x="5" y="8"/>
              </a:cxn>
              <a:cxn ang="0">
                <a:pos x="3" y="8"/>
              </a:cxn>
              <a:cxn ang="0">
                <a:pos x="0" y="6"/>
              </a:cxn>
              <a:cxn ang="0">
                <a:pos x="4" y="6"/>
              </a:cxn>
              <a:cxn ang="0">
                <a:pos x="4" y="4"/>
              </a:cxn>
              <a:cxn ang="0">
                <a:pos x="1" y="4"/>
              </a:cxn>
              <a:cxn ang="0">
                <a:pos x="1" y="3"/>
              </a:cxn>
              <a:cxn ang="0">
                <a:pos x="1" y="1"/>
              </a:cxn>
              <a:cxn ang="0">
                <a:pos x="5" y="0"/>
              </a:cxn>
              <a:cxn ang="0">
                <a:pos x="15" y="1"/>
              </a:cxn>
              <a:cxn ang="0">
                <a:pos x="25" y="3"/>
              </a:cxn>
              <a:cxn ang="0">
                <a:pos x="29" y="3"/>
              </a:cxn>
              <a:cxn ang="0">
                <a:pos x="33" y="4"/>
              </a:cxn>
              <a:cxn ang="0">
                <a:pos x="35" y="4"/>
              </a:cxn>
              <a:cxn ang="0">
                <a:pos x="36" y="4"/>
              </a:cxn>
              <a:cxn ang="0">
                <a:pos x="35" y="6"/>
              </a:cxn>
              <a:cxn ang="0">
                <a:pos x="35" y="8"/>
              </a:cxn>
              <a:cxn ang="0">
                <a:pos x="39" y="8"/>
              </a:cxn>
              <a:cxn ang="0">
                <a:pos x="43" y="6"/>
              </a:cxn>
              <a:cxn ang="0">
                <a:pos x="49" y="8"/>
              </a:cxn>
              <a:cxn ang="0">
                <a:pos x="53" y="9"/>
              </a:cxn>
              <a:cxn ang="0">
                <a:pos x="53" y="11"/>
              </a:cxn>
              <a:cxn ang="0">
                <a:pos x="51" y="11"/>
              </a:cxn>
              <a:cxn ang="0">
                <a:pos x="51" y="14"/>
              </a:cxn>
              <a:cxn ang="0">
                <a:pos x="53" y="15"/>
              </a:cxn>
              <a:cxn ang="0">
                <a:pos x="53" y="17"/>
              </a:cxn>
              <a:cxn ang="0">
                <a:pos x="52" y="17"/>
              </a:cxn>
              <a:cxn ang="0">
                <a:pos x="52" y="19"/>
              </a:cxn>
              <a:cxn ang="0">
                <a:pos x="51" y="19"/>
              </a:cxn>
              <a:cxn ang="0">
                <a:pos x="49" y="17"/>
              </a:cxn>
            </a:cxnLst>
            <a:rect l="0" t="0" r="r" b="b"/>
            <a:pathLst>
              <a:path w="53" h="20">
                <a:moveTo>
                  <a:pt x="49" y="17"/>
                </a:moveTo>
                <a:lnTo>
                  <a:pt x="47" y="17"/>
                </a:lnTo>
                <a:lnTo>
                  <a:pt x="36" y="19"/>
                </a:lnTo>
                <a:lnTo>
                  <a:pt x="32" y="19"/>
                </a:lnTo>
                <a:lnTo>
                  <a:pt x="29" y="19"/>
                </a:lnTo>
                <a:lnTo>
                  <a:pt x="24" y="19"/>
                </a:lnTo>
                <a:lnTo>
                  <a:pt x="25" y="19"/>
                </a:lnTo>
                <a:lnTo>
                  <a:pt x="27" y="19"/>
                </a:lnTo>
                <a:lnTo>
                  <a:pt x="27" y="20"/>
                </a:lnTo>
                <a:lnTo>
                  <a:pt x="23" y="20"/>
                </a:lnTo>
                <a:lnTo>
                  <a:pt x="17" y="20"/>
                </a:lnTo>
                <a:lnTo>
                  <a:pt x="20" y="19"/>
                </a:lnTo>
                <a:lnTo>
                  <a:pt x="9" y="15"/>
                </a:lnTo>
                <a:lnTo>
                  <a:pt x="11" y="14"/>
                </a:lnTo>
                <a:lnTo>
                  <a:pt x="21" y="15"/>
                </a:lnTo>
                <a:lnTo>
                  <a:pt x="24" y="14"/>
                </a:lnTo>
                <a:lnTo>
                  <a:pt x="23" y="14"/>
                </a:lnTo>
                <a:lnTo>
                  <a:pt x="15" y="12"/>
                </a:lnTo>
                <a:lnTo>
                  <a:pt x="12" y="12"/>
                </a:lnTo>
                <a:lnTo>
                  <a:pt x="7" y="12"/>
                </a:lnTo>
                <a:lnTo>
                  <a:pt x="7" y="11"/>
                </a:lnTo>
                <a:lnTo>
                  <a:pt x="9" y="11"/>
                </a:lnTo>
                <a:lnTo>
                  <a:pt x="8" y="11"/>
                </a:lnTo>
                <a:lnTo>
                  <a:pt x="5" y="11"/>
                </a:lnTo>
                <a:lnTo>
                  <a:pt x="4" y="9"/>
                </a:lnTo>
                <a:lnTo>
                  <a:pt x="5" y="8"/>
                </a:lnTo>
                <a:lnTo>
                  <a:pt x="3" y="8"/>
                </a:lnTo>
                <a:lnTo>
                  <a:pt x="0" y="6"/>
                </a:lnTo>
                <a:lnTo>
                  <a:pt x="4" y="6"/>
                </a:lnTo>
                <a:lnTo>
                  <a:pt x="4" y="4"/>
                </a:lnTo>
                <a:lnTo>
                  <a:pt x="1" y="4"/>
                </a:lnTo>
                <a:lnTo>
                  <a:pt x="1" y="3"/>
                </a:lnTo>
                <a:lnTo>
                  <a:pt x="1" y="1"/>
                </a:lnTo>
                <a:lnTo>
                  <a:pt x="5" y="0"/>
                </a:lnTo>
                <a:lnTo>
                  <a:pt x="15" y="1"/>
                </a:lnTo>
                <a:lnTo>
                  <a:pt x="25" y="3"/>
                </a:lnTo>
                <a:lnTo>
                  <a:pt x="29" y="3"/>
                </a:lnTo>
                <a:lnTo>
                  <a:pt x="33" y="4"/>
                </a:lnTo>
                <a:lnTo>
                  <a:pt x="35" y="4"/>
                </a:lnTo>
                <a:lnTo>
                  <a:pt x="36" y="4"/>
                </a:lnTo>
                <a:lnTo>
                  <a:pt x="35" y="6"/>
                </a:lnTo>
                <a:lnTo>
                  <a:pt x="35" y="8"/>
                </a:lnTo>
                <a:lnTo>
                  <a:pt x="39" y="8"/>
                </a:lnTo>
                <a:lnTo>
                  <a:pt x="43" y="6"/>
                </a:lnTo>
                <a:lnTo>
                  <a:pt x="49" y="8"/>
                </a:lnTo>
                <a:lnTo>
                  <a:pt x="53" y="9"/>
                </a:lnTo>
                <a:lnTo>
                  <a:pt x="53" y="11"/>
                </a:lnTo>
                <a:lnTo>
                  <a:pt x="51" y="11"/>
                </a:lnTo>
                <a:lnTo>
                  <a:pt x="51" y="14"/>
                </a:lnTo>
                <a:lnTo>
                  <a:pt x="53" y="15"/>
                </a:lnTo>
                <a:lnTo>
                  <a:pt x="53" y="17"/>
                </a:lnTo>
                <a:lnTo>
                  <a:pt x="52" y="17"/>
                </a:lnTo>
                <a:lnTo>
                  <a:pt x="52" y="19"/>
                </a:lnTo>
                <a:lnTo>
                  <a:pt x="51" y="19"/>
                </a:lnTo>
                <a:lnTo>
                  <a:pt x="49" y="17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63" name="Freeform 663"/>
          <p:cNvSpPr>
            <a:spLocks/>
          </p:cNvSpPr>
          <p:nvPr/>
        </p:nvSpPr>
        <p:spPr bwMode="auto">
          <a:xfrm>
            <a:off x="2632325" y="1543781"/>
            <a:ext cx="192933" cy="55838"/>
          </a:xfrm>
          <a:custGeom>
            <a:avLst/>
            <a:gdLst/>
            <a:ahLst/>
            <a:cxnLst>
              <a:cxn ang="0">
                <a:pos x="85" y="11"/>
              </a:cxn>
              <a:cxn ang="0">
                <a:pos x="89" y="12"/>
              </a:cxn>
              <a:cxn ang="0">
                <a:pos x="92" y="12"/>
              </a:cxn>
              <a:cxn ang="0">
                <a:pos x="88" y="16"/>
              </a:cxn>
              <a:cxn ang="0">
                <a:pos x="92" y="19"/>
              </a:cxn>
              <a:cxn ang="0">
                <a:pos x="101" y="23"/>
              </a:cxn>
              <a:cxn ang="0">
                <a:pos x="100" y="25"/>
              </a:cxn>
              <a:cxn ang="0">
                <a:pos x="93" y="27"/>
              </a:cxn>
              <a:cxn ang="0">
                <a:pos x="88" y="28"/>
              </a:cxn>
              <a:cxn ang="0">
                <a:pos x="83" y="27"/>
              </a:cxn>
              <a:cxn ang="0">
                <a:pos x="77" y="27"/>
              </a:cxn>
              <a:cxn ang="0">
                <a:pos x="75" y="23"/>
              </a:cxn>
              <a:cxn ang="0">
                <a:pos x="71" y="22"/>
              </a:cxn>
              <a:cxn ang="0">
                <a:pos x="69" y="20"/>
              </a:cxn>
              <a:cxn ang="0">
                <a:pos x="64" y="20"/>
              </a:cxn>
              <a:cxn ang="0">
                <a:pos x="54" y="19"/>
              </a:cxn>
              <a:cxn ang="0">
                <a:pos x="47" y="20"/>
              </a:cxn>
              <a:cxn ang="0">
                <a:pos x="44" y="17"/>
              </a:cxn>
              <a:cxn ang="0">
                <a:pos x="34" y="19"/>
              </a:cxn>
              <a:cxn ang="0">
                <a:pos x="30" y="20"/>
              </a:cxn>
              <a:cxn ang="0">
                <a:pos x="16" y="19"/>
              </a:cxn>
              <a:cxn ang="0">
                <a:pos x="12" y="16"/>
              </a:cxn>
              <a:cxn ang="0">
                <a:pos x="19" y="14"/>
              </a:cxn>
              <a:cxn ang="0">
                <a:pos x="34" y="16"/>
              </a:cxn>
              <a:cxn ang="0">
                <a:pos x="36" y="14"/>
              </a:cxn>
              <a:cxn ang="0">
                <a:pos x="27" y="12"/>
              </a:cxn>
              <a:cxn ang="0">
                <a:pos x="34" y="12"/>
              </a:cxn>
              <a:cxn ang="0">
                <a:pos x="30" y="11"/>
              </a:cxn>
              <a:cxn ang="0">
                <a:pos x="27" y="11"/>
              </a:cxn>
              <a:cxn ang="0">
                <a:pos x="23" y="11"/>
              </a:cxn>
              <a:cxn ang="0">
                <a:pos x="26" y="9"/>
              </a:cxn>
              <a:cxn ang="0">
                <a:pos x="26" y="8"/>
              </a:cxn>
              <a:cxn ang="0">
                <a:pos x="23" y="8"/>
              </a:cxn>
              <a:cxn ang="0">
                <a:pos x="19" y="8"/>
              </a:cxn>
              <a:cxn ang="0">
                <a:pos x="12" y="11"/>
              </a:cxn>
              <a:cxn ang="0">
                <a:pos x="12" y="9"/>
              </a:cxn>
              <a:cxn ang="0">
                <a:pos x="15" y="6"/>
              </a:cxn>
              <a:cxn ang="0">
                <a:pos x="6" y="8"/>
              </a:cxn>
              <a:cxn ang="0">
                <a:pos x="2" y="6"/>
              </a:cxn>
              <a:cxn ang="0">
                <a:pos x="3" y="1"/>
              </a:cxn>
              <a:cxn ang="0">
                <a:pos x="7" y="1"/>
              </a:cxn>
              <a:cxn ang="0">
                <a:pos x="24" y="0"/>
              </a:cxn>
              <a:cxn ang="0">
                <a:pos x="30" y="1"/>
              </a:cxn>
              <a:cxn ang="0">
                <a:pos x="30" y="1"/>
              </a:cxn>
              <a:cxn ang="0">
                <a:pos x="36" y="1"/>
              </a:cxn>
              <a:cxn ang="0">
                <a:pos x="36" y="6"/>
              </a:cxn>
              <a:cxn ang="0">
                <a:pos x="40" y="6"/>
              </a:cxn>
              <a:cxn ang="0">
                <a:pos x="42" y="5"/>
              </a:cxn>
              <a:cxn ang="0">
                <a:pos x="47" y="3"/>
              </a:cxn>
              <a:cxn ang="0">
                <a:pos x="54" y="3"/>
              </a:cxn>
              <a:cxn ang="0">
                <a:pos x="59" y="5"/>
              </a:cxn>
              <a:cxn ang="0">
                <a:pos x="62" y="6"/>
              </a:cxn>
              <a:cxn ang="0">
                <a:pos x="64" y="6"/>
              </a:cxn>
              <a:cxn ang="0">
                <a:pos x="65" y="9"/>
              </a:cxn>
              <a:cxn ang="0">
                <a:pos x="72" y="8"/>
              </a:cxn>
              <a:cxn ang="0">
                <a:pos x="83" y="9"/>
              </a:cxn>
              <a:cxn ang="0">
                <a:pos x="83" y="11"/>
              </a:cxn>
            </a:cxnLst>
            <a:rect l="0" t="0" r="r" b="b"/>
            <a:pathLst>
              <a:path w="101" h="28">
                <a:moveTo>
                  <a:pt x="87" y="11"/>
                </a:moveTo>
                <a:lnTo>
                  <a:pt x="85" y="11"/>
                </a:lnTo>
                <a:lnTo>
                  <a:pt x="88" y="12"/>
                </a:lnTo>
                <a:lnTo>
                  <a:pt x="89" y="12"/>
                </a:lnTo>
                <a:lnTo>
                  <a:pt x="91" y="12"/>
                </a:lnTo>
                <a:lnTo>
                  <a:pt x="92" y="12"/>
                </a:lnTo>
                <a:lnTo>
                  <a:pt x="91" y="14"/>
                </a:lnTo>
                <a:lnTo>
                  <a:pt x="88" y="16"/>
                </a:lnTo>
                <a:lnTo>
                  <a:pt x="88" y="17"/>
                </a:lnTo>
                <a:lnTo>
                  <a:pt x="92" y="19"/>
                </a:lnTo>
                <a:lnTo>
                  <a:pt x="93" y="19"/>
                </a:lnTo>
                <a:lnTo>
                  <a:pt x="101" y="23"/>
                </a:lnTo>
                <a:lnTo>
                  <a:pt x="99" y="25"/>
                </a:lnTo>
                <a:lnTo>
                  <a:pt x="100" y="25"/>
                </a:lnTo>
                <a:lnTo>
                  <a:pt x="99" y="27"/>
                </a:lnTo>
                <a:lnTo>
                  <a:pt x="93" y="27"/>
                </a:lnTo>
                <a:lnTo>
                  <a:pt x="91" y="27"/>
                </a:lnTo>
                <a:lnTo>
                  <a:pt x="88" y="28"/>
                </a:lnTo>
                <a:lnTo>
                  <a:pt x="87" y="28"/>
                </a:lnTo>
                <a:lnTo>
                  <a:pt x="83" y="27"/>
                </a:lnTo>
                <a:lnTo>
                  <a:pt x="81" y="27"/>
                </a:lnTo>
                <a:lnTo>
                  <a:pt x="77" y="27"/>
                </a:lnTo>
                <a:lnTo>
                  <a:pt x="76" y="25"/>
                </a:lnTo>
                <a:lnTo>
                  <a:pt x="75" y="23"/>
                </a:lnTo>
                <a:lnTo>
                  <a:pt x="75" y="22"/>
                </a:lnTo>
                <a:lnTo>
                  <a:pt x="71" y="22"/>
                </a:lnTo>
                <a:lnTo>
                  <a:pt x="71" y="20"/>
                </a:lnTo>
                <a:lnTo>
                  <a:pt x="69" y="20"/>
                </a:lnTo>
                <a:lnTo>
                  <a:pt x="65" y="20"/>
                </a:lnTo>
                <a:lnTo>
                  <a:pt x="64" y="20"/>
                </a:lnTo>
                <a:lnTo>
                  <a:pt x="56" y="19"/>
                </a:lnTo>
                <a:lnTo>
                  <a:pt x="54" y="19"/>
                </a:lnTo>
                <a:lnTo>
                  <a:pt x="50" y="20"/>
                </a:lnTo>
                <a:lnTo>
                  <a:pt x="47" y="20"/>
                </a:lnTo>
                <a:lnTo>
                  <a:pt x="44" y="19"/>
                </a:lnTo>
                <a:lnTo>
                  <a:pt x="44" y="17"/>
                </a:lnTo>
                <a:lnTo>
                  <a:pt x="36" y="19"/>
                </a:lnTo>
                <a:lnTo>
                  <a:pt x="34" y="19"/>
                </a:lnTo>
                <a:lnTo>
                  <a:pt x="31" y="20"/>
                </a:lnTo>
                <a:lnTo>
                  <a:pt x="30" y="20"/>
                </a:lnTo>
                <a:lnTo>
                  <a:pt x="23" y="20"/>
                </a:lnTo>
                <a:lnTo>
                  <a:pt x="16" y="19"/>
                </a:lnTo>
                <a:lnTo>
                  <a:pt x="12" y="17"/>
                </a:lnTo>
                <a:lnTo>
                  <a:pt x="12" y="16"/>
                </a:lnTo>
                <a:lnTo>
                  <a:pt x="14" y="14"/>
                </a:lnTo>
                <a:lnTo>
                  <a:pt x="19" y="14"/>
                </a:lnTo>
                <a:lnTo>
                  <a:pt x="26" y="16"/>
                </a:lnTo>
                <a:lnTo>
                  <a:pt x="34" y="16"/>
                </a:lnTo>
                <a:lnTo>
                  <a:pt x="34" y="14"/>
                </a:lnTo>
                <a:lnTo>
                  <a:pt x="36" y="14"/>
                </a:lnTo>
                <a:lnTo>
                  <a:pt x="27" y="14"/>
                </a:lnTo>
                <a:lnTo>
                  <a:pt x="27" y="12"/>
                </a:lnTo>
                <a:lnTo>
                  <a:pt x="32" y="12"/>
                </a:lnTo>
                <a:lnTo>
                  <a:pt x="34" y="12"/>
                </a:lnTo>
                <a:lnTo>
                  <a:pt x="35" y="11"/>
                </a:lnTo>
                <a:lnTo>
                  <a:pt x="30" y="11"/>
                </a:lnTo>
                <a:lnTo>
                  <a:pt x="28" y="11"/>
                </a:lnTo>
                <a:lnTo>
                  <a:pt x="27" y="11"/>
                </a:lnTo>
                <a:lnTo>
                  <a:pt x="26" y="11"/>
                </a:lnTo>
                <a:lnTo>
                  <a:pt x="23" y="11"/>
                </a:lnTo>
                <a:lnTo>
                  <a:pt x="23" y="9"/>
                </a:lnTo>
                <a:lnTo>
                  <a:pt x="26" y="9"/>
                </a:lnTo>
                <a:lnTo>
                  <a:pt x="27" y="8"/>
                </a:lnTo>
                <a:lnTo>
                  <a:pt x="26" y="8"/>
                </a:lnTo>
                <a:lnTo>
                  <a:pt x="24" y="8"/>
                </a:lnTo>
                <a:lnTo>
                  <a:pt x="23" y="8"/>
                </a:lnTo>
                <a:lnTo>
                  <a:pt x="22" y="8"/>
                </a:lnTo>
                <a:lnTo>
                  <a:pt x="19" y="8"/>
                </a:lnTo>
                <a:lnTo>
                  <a:pt x="16" y="9"/>
                </a:lnTo>
                <a:lnTo>
                  <a:pt x="12" y="11"/>
                </a:lnTo>
                <a:lnTo>
                  <a:pt x="11" y="9"/>
                </a:lnTo>
                <a:lnTo>
                  <a:pt x="12" y="9"/>
                </a:lnTo>
                <a:lnTo>
                  <a:pt x="15" y="8"/>
                </a:lnTo>
                <a:lnTo>
                  <a:pt x="15" y="6"/>
                </a:lnTo>
                <a:lnTo>
                  <a:pt x="11" y="6"/>
                </a:lnTo>
                <a:lnTo>
                  <a:pt x="6" y="8"/>
                </a:lnTo>
                <a:lnTo>
                  <a:pt x="3" y="6"/>
                </a:lnTo>
                <a:lnTo>
                  <a:pt x="2" y="6"/>
                </a:lnTo>
                <a:lnTo>
                  <a:pt x="0" y="5"/>
                </a:lnTo>
                <a:lnTo>
                  <a:pt x="3" y="1"/>
                </a:lnTo>
                <a:lnTo>
                  <a:pt x="4" y="1"/>
                </a:lnTo>
                <a:lnTo>
                  <a:pt x="7" y="1"/>
                </a:lnTo>
                <a:lnTo>
                  <a:pt x="18" y="1"/>
                </a:lnTo>
                <a:lnTo>
                  <a:pt x="24" y="0"/>
                </a:lnTo>
                <a:lnTo>
                  <a:pt x="27" y="1"/>
                </a:lnTo>
                <a:lnTo>
                  <a:pt x="30" y="1"/>
                </a:lnTo>
                <a:lnTo>
                  <a:pt x="31" y="1"/>
                </a:lnTo>
                <a:lnTo>
                  <a:pt x="30" y="1"/>
                </a:lnTo>
                <a:lnTo>
                  <a:pt x="32" y="1"/>
                </a:lnTo>
                <a:lnTo>
                  <a:pt x="36" y="1"/>
                </a:lnTo>
                <a:lnTo>
                  <a:pt x="38" y="3"/>
                </a:lnTo>
                <a:lnTo>
                  <a:pt x="36" y="6"/>
                </a:lnTo>
                <a:lnTo>
                  <a:pt x="40" y="8"/>
                </a:lnTo>
                <a:lnTo>
                  <a:pt x="40" y="6"/>
                </a:lnTo>
                <a:lnTo>
                  <a:pt x="42" y="6"/>
                </a:lnTo>
                <a:lnTo>
                  <a:pt x="42" y="5"/>
                </a:lnTo>
                <a:lnTo>
                  <a:pt x="43" y="5"/>
                </a:lnTo>
                <a:lnTo>
                  <a:pt x="47" y="3"/>
                </a:lnTo>
                <a:lnTo>
                  <a:pt x="50" y="3"/>
                </a:lnTo>
                <a:lnTo>
                  <a:pt x="54" y="3"/>
                </a:lnTo>
                <a:lnTo>
                  <a:pt x="56" y="5"/>
                </a:lnTo>
                <a:lnTo>
                  <a:pt x="59" y="5"/>
                </a:lnTo>
                <a:lnTo>
                  <a:pt x="59" y="6"/>
                </a:lnTo>
                <a:lnTo>
                  <a:pt x="62" y="6"/>
                </a:lnTo>
                <a:lnTo>
                  <a:pt x="62" y="5"/>
                </a:lnTo>
                <a:lnTo>
                  <a:pt x="64" y="6"/>
                </a:lnTo>
                <a:lnTo>
                  <a:pt x="63" y="8"/>
                </a:lnTo>
                <a:lnTo>
                  <a:pt x="65" y="9"/>
                </a:lnTo>
                <a:lnTo>
                  <a:pt x="68" y="9"/>
                </a:lnTo>
                <a:lnTo>
                  <a:pt x="72" y="8"/>
                </a:lnTo>
                <a:lnTo>
                  <a:pt x="73" y="8"/>
                </a:lnTo>
                <a:lnTo>
                  <a:pt x="83" y="9"/>
                </a:lnTo>
                <a:lnTo>
                  <a:pt x="84" y="11"/>
                </a:lnTo>
                <a:lnTo>
                  <a:pt x="83" y="11"/>
                </a:lnTo>
                <a:lnTo>
                  <a:pt x="87" y="11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64" name="Freeform 664"/>
          <p:cNvSpPr>
            <a:spLocks/>
          </p:cNvSpPr>
          <p:nvPr/>
        </p:nvSpPr>
        <p:spPr bwMode="auto">
          <a:xfrm>
            <a:off x="2632325" y="1543781"/>
            <a:ext cx="192933" cy="55838"/>
          </a:xfrm>
          <a:custGeom>
            <a:avLst/>
            <a:gdLst/>
            <a:ahLst/>
            <a:cxnLst>
              <a:cxn ang="0">
                <a:pos x="85" y="11"/>
              </a:cxn>
              <a:cxn ang="0">
                <a:pos x="89" y="12"/>
              </a:cxn>
              <a:cxn ang="0">
                <a:pos x="92" y="12"/>
              </a:cxn>
              <a:cxn ang="0">
                <a:pos x="88" y="16"/>
              </a:cxn>
              <a:cxn ang="0">
                <a:pos x="92" y="19"/>
              </a:cxn>
              <a:cxn ang="0">
                <a:pos x="101" y="23"/>
              </a:cxn>
              <a:cxn ang="0">
                <a:pos x="100" y="25"/>
              </a:cxn>
              <a:cxn ang="0">
                <a:pos x="93" y="27"/>
              </a:cxn>
              <a:cxn ang="0">
                <a:pos x="88" y="28"/>
              </a:cxn>
              <a:cxn ang="0">
                <a:pos x="83" y="27"/>
              </a:cxn>
              <a:cxn ang="0">
                <a:pos x="77" y="27"/>
              </a:cxn>
              <a:cxn ang="0">
                <a:pos x="75" y="23"/>
              </a:cxn>
              <a:cxn ang="0">
                <a:pos x="71" y="22"/>
              </a:cxn>
              <a:cxn ang="0">
                <a:pos x="69" y="20"/>
              </a:cxn>
              <a:cxn ang="0">
                <a:pos x="64" y="20"/>
              </a:cxn>
              <a:cxn ang="0">
                <a:pos x="54" y="19"/>
              </a:cxn>
              <a:cxn ang="0">
                <a:pos x="47" y="20"/>
              </a:cxn>
              <a:cxn ang="0">
                <a:pos x="44" y="17"/>
              </a:cxn>
              <a:cxn ang="0">
                <a:pos x="34" y="19"/>
              </a:cxn>
              <a:cxn ang="0">
                <a:pos x="30" y="20"/>
              </a:cxn>
              <a:cxn ang="0">
                <a:pos x="16" y="19"/>
              </a:cxn>
              <a:cxn ang="0">
                <a:pos x="12" y="16"/>
              </a:cxn>
              <a:cxn ang="0">
                <a:pos x="19" y="14"/>
              </a:cxn>
              <a:cxn ang="0">
                <a:pos x="34" y="16"/>
              </a:cxn>
              <a:cxn ang="0">
                <a:pos x="36" y="14"/>
              </a:cxn>
              <a:cxn ang="0">
                <a:pos x="27" y="12"/>
              </a:cxn>
              <a:cxn ang="0">
                <a:pos x="34" y="12"/>
              </a:cxn>
              <a:cxn ang="0">
                <a:pos x="30" y="11"/>
              </a:cxn>
              <a:cxn ang="0">
                <a:pos x="27" y="11"/>
              </a:cxn>
              <a:cxn ang="0">
                <a:pos x="23" y="11"/>
              </a:cxn>
              <a:cxn ang="0">
                <a:pos x="26" y="9"/>
              </a:cxn>
              <a:cxn ang="0">
                <a:pos x="26" y="8"/>
              </a:cxn>
              <a:cxn ang="0">
                <a:pos x="23" y="8"/>
              </a:cxn>
              <a:cxn ang="0">
                <a:pos x="19" y="8"/>
              </a:cxn>
              <a:cxn ang="0">
                <a:pos x="12" y="11"/>
              </a:cxn>
              <a:cxn ang="0">
                <a:pos x="12" y="9"/>
              </a:cxn>
              <a:cxn ang="0">
                <a:pos x="15" y="6"/>
              </a:cxn>
              <a:cxn ang="0">
                <a:pos x="6" y="8"/>
              </a:cxn>
              <a:cxn ang="0">
                <a:pos x="2" y="6"/>
              </a:cxn>
              <a:cxn ang="0">
                <a:pos x="3" y="1"/>
              </a:cxn>
              <a:cxn ang="0">
                <a:pos x="7" y="1"/>
              </a:cxn>
              <a:cxn ang="0">
                <a:pos x="24" y="0"/>
              </a:cxn>
              <a:cxn ang="0">
                <a:pos x="30" y="1"/>
              </a:cxn>
              <a:cxn ang="0">
                <a:pos x="30" y="1"/>
              </a:cxn>
              <a:cxn ang="0">
                <a:pos x="36" y="1"/>
              </a:cxn>
              <a:cxn ang="0">
                <a:pos x="36" y="6"/>
              </a:cxn>
              <a:cxn ang="0">
                <a:pos x="40" y="6"/>
              </a:cxn>
              <a:cxn ang="0">
                <a:pos x="42" y="5"/>
              </a:cxn>
              <a:cxn ang="0">
                <a:pos x="47" y="3"/>
              </a:cxn>
              <a:cxn ang="0">
                <a:pos x="54" y="3"/>
              </a:cxn>
              <a:cxn ang="0">
                <a:pos x="59" y="5"/>
              </a:cxn>
              <a:cxn ang="0">
                <a:pos x="62" y="6"/>
              </a:cxn>
              <a:cxn ang="0">
                <a:pos x="64" y="6"/>
              </a:cxn>
              <a:cxn ang="0">
                <a:pos x="65" y="9"/>
              </a:cxn>
              <a:cxn ang="0">
                <a:pos x="72" y="8"/>
              </a:cxn>
              <a:cxn ang="0">
                <a:pos x="83" y="9"/>
              </a:cxn>
              <a:cxn ang="0">
                <a:pos x="83" y="11"/>
              </a:cxn>
            </a:cxnLst>
            <a:rect l="0" t="0" r="r" b="b"/>
            <a:pathLst>
              <a:path w="101" h="28">
                <a:moveTo>
                  <a:pt x="87" y="11"/>
                </a:moveTo>
                <a:lnTo>
                  <a:pt x="85" y="11"/>
                </a:lnTo>
                <a:lnTo>
                  <a:pt x="88" y="12"/>
                </a:lnTo>
                <a:lnTo>
                  <a:pt x="89" y="12"/>
                </a:lnTo>
                <a:lnTo>
                  <a:pt x="91" y="12"/>
                </a:lnTo>
                <a:lnTo>
                  <a:pt x="92" y="12"/>
                </a:lnTo>
                <a:lnTo>
                  <a:pt x="91" y="14"/>
                </a:lnTo>
                <a:lnTo>
                  <a:pt x="88" y="16"/>
                </a:lnTo>
                <a:lnTo>
                  <a:pt x="88" y="17"/>
                </a:lnTo>
                <a:lnTo>
                  <a:pt x="92" y="19"/>
                </a:lnTo>
                <a:lnTo>
                  <a:pt x="93" y="19"/>
                </a:lnTo>
                <a:lnTo>
                  <a:pt x="101" y="23"/>
                </a:lnTo>
                <a:lnTo>
                  <a:pt x="99" y="25"/>
                </a:lnTo>
                <a:lnTo>
                  <a:pt x="100" y="25"/>
                </a:lnTo>
                <a:lnTo>
                  <a:pt x="99" y="27"/>
                </a:lnTo>
                <a:lnTo>
                  <a:pt x="93" y="27"/>
                </a:lnTo>
                <a:lnTo>
                  <a:pt x="91" y="27"/>
                </a:lnTo>
                <a:lnTo>
                  <a:pt x="88" y="28"/>
                </a:lnTo>
                <a:lnTo>
                  <a:pt x="87" y="28"/>
                </a:lnTo>
                <a:lnTo>
                  <a:pt x="83" y="27"/>
                </a:lnTo>
                <a:lnTo>
                  <a:pt x="81" y="27"/>
                </a:lnTo>
                <a:lnTo>
                  <a:pt x="77" y="27"/>
                </a:lnTo>
                <a:lnTo>
                  <a:pt x="76" y="25"/>
                </a:lnTo>
                <a:lnTo>
                  <a:pt x="75" y="23"/>
                </a:lnTo>
                <a:lnTo>
                  <a:pt x="75" y="22"/>
                </a:lnTo>
                <a:lnTo>
                  <a:pt x="71" y="22"/>
                </a:lnTo>
                <a:lnTo>
                  <a:pt x="71" y="20"/>
                </a:lnTo>
                <a:lnTo>
                  <a:pt x="69" y="20"/>
                </a:lnTo>
                <a:lnTo>
                  <a:pt x="65" y="20"/>
                </a:lnTo>
                <a:lnTo>
                  <a:pt x="64" y="20"/>
                </a:lnTo>
                <a:lnTo>
                  <a:pt x="56" y="19"/>
                </a:lnTo>
                <a:lnTo>
                  <a:pt x="54" y="19"/>
                </a:lnTo>
                <a:lnTo>
                  <a:pt x="50" y="20"/>
                </a:lnTo>
                <a:lnTo>
                  <a:pt x="47" y="20"/>
                </a:lnTo>
                <a:lnTo>
                  <a:pt x="44" y="19"/>
                </a:lnTo>
                <a:lnTo>
                  <a:pt x="44" y="17"/>
                </a:lnTo>
                <a:lnTo>
                  <a:pt x="36" y="19"/>
                </a:lnTo>
                <a:lnTo>
                  <a:pt x="34" y="19"/>
                </a:lnTo>
                <a:lnTo>
                  <a:pt x="31" y="20"/>
                </a:lnTo>
                <a:lnTo>
                  <a:pt x="30" y="20"/>
                </a:lnTo>
                <a:lnTo>
                  <a:pt x="23" y="20"/>
                </a:lnTo>
                <a:lnTo>
                  <a:pt x="16" y="19"/>
                </a:lnTo>
                <a:lnTo>
                  <a:pt x="12" y="17"/>
                </a:lnTo>
                <a:lnTo>
                  <a:pt x="12" y="16"/>
                </a:lnTo>
                <a:lnTo>
                  <a:pt x="14" y="14"/>
                </a:lnTo>
                <a:lnTo>
                  <a:pt x="19" y="14"/>
                </a:lnTo>
                <a:lnTo>
                  <a:pt x="26" y="16"/>
                </a:lnTo>
                <a:lnTo>
                  <a:pt x="34" y="16"/>
                </a:lnTo>
                <a:lnTo>
                  <a:pt x="34" y="14"/>
                </a:lnTo>
                <a:lnTo>
                  <a:pt x="36" y="14"/>
                </a:lnTo>
                <a:lnTo>
                  <a:pt x="27" y="14"/>
                </a:lnTo>
                <a:lnTo>
                  <a:pt x="27" y="12"/>
                </a:lnTo>
                <a:lnTo>
                  <a:pt x="32" y="12"/>
                </a:lnTo>
                <a:lnTo>
                  <a:pt x="34" y="12"/>
                </a:lnTo>
                <a:lnTo>
                  <a:pt x="35" y="11"/>
                </a:lnTo>
                <a:lnTo>
                  <a:pt x="30" y="11"/>
                </a:lnTo>
                <a:lnTo>
                  <a:pt x="28" y="11"/>
                </a:lnTo>
                <a:lnTo>
                  <a:pt x="27" y="11"/>
                </a:lnTo>
                <a:lnTo>
                  <a:pt x="26" y="11"/>
                </a:lnTo>
                <a:lnTo>
                  <a:pt x="23" y="11"/>
                </a:lnTo>
                <a:lnTo>
                  <a:pt x="23" y="9"/>
                </a:lnTo>
                <a:lnTo>
                  <a:pt x="26" y="9"/>
                </a:lnTo>
                <a:lnTo>
                  <a:pt x="27" y="8"/>
                </a:lnTo>
                <a:lnTo>
                  <a:pt x="26" y="8"/>
                </a:lnTo>
                <a:lnTo>
                  <a:pt x="24" y="8"/>
                </a:lnTo>
                <a:lnTo>
                  <a:pt x="23" y="8"/>
                </a:lnTo>
                <a:lnTo>
                  <a:pt x="22" y="8"/>
                </a:lnTo>
                <a:lnTo>
                  <a:pt x="19" y="8"/>
                </a:lnTo>
                <a:lnTo>
                  <a:pt x="16" y="9"/>
                </a:lnTo>
                <a:lnTo>
                  <a:pt x="12" y="11"/>
                </a:lnTo>
                <a:lnTo>
                  <a:pt x="11" y="9"/>
                </a:lnTo>
                <a:lnTo>
                  <a:pt x="12" y="9"/>
                </a:lnTo>
                <a:lnTo>
                  <a:pt x="15" y="8"/>
                </a:lnTo>
                <a:lnTo>
                  <a:pt x="15" y="6"/>
                </a:lnTo>
                <a:lnTo>
                  <a:pt x="11" y="6"/>
                </a:lnTo>
                <a:lnTo>
                  <a:pt x="6" y="8"/>
                </a:lnTo>
                <a:lnTo>
                  <a:pt x="3" y="6"/>
                </a:lnTo>
                <a:lnTo>
                  <a:pt x="2" y="6"/>
                </a:lnTo>
                <a:lnTo>
                  <a:pt x="0" y="5"/>
                </a:lnTo>
                <a:lnTo>
                  <a:pt x="3" y="1"/>
                </a:lnTo>
                <a:lnTo>
                  <a:pt x="4" y="1"/>
                </a:lnTo>
                <a:lnTo>
                  <a:pt x="7" y="1"/>
                </a:lnTo>
                <a:lnTo>
                  <a:pt x="18" y="1"/>
                </a:lnTo>
                <a:lnTo>
                  <a:pt x="24" y="0"/>
                </a:lnTo>
                <a:lnTo>
                  <a:pt x="27" y="1"/>
                </a:lnTo>
                <a:lnTo>
                  <a:pt x="30" y="1"/>
                </a:lnTo>
                <a:lnTo>
                  <a:pt x="31" y="1"/>
                </a:lnTo>
                <a:lnTo>
                  <a:pt x="30" y="1"/>
                </a:lnTo>
                <a:lnTo>
                  <a:pt x="32" y="1"/>
                </a:lnTo>
                <a:lnTo>
                  <a:pt x="36" y="1"/>
                </a:lnTo>
                <a:lnTo>
                  <a:pt x="38" y="3"/>
                </a:lnTo>
                <a:lnTo>
                  <a:pt x="36" y="6"/>
                </a:lnTo>
                <a:lnTo>
                  <a:pt x="40" y="8"/>
                </a:lnTo>
                <a:lnTo>
                  <a:pt x="40" y="6"/>
                </a:lnTo>
                <a:lnTo>
                  <a:pt x="42" y="6"/>
                </a:lnTo>
                <a:lnTo>
                  <a:pt x="42" y="5"/>
                </a:lnTo>
                <a:lnTo>
                  <a:pt x="43" y="5"/>
                </a:lnTo>
                <a:lnTo>
                  <a:pt x="47" y="3"/>
                </a:lnTo>
                <a:lnTo>
                  <a:pt x="50" y="3"/>
                </a:lnTo>
                <a:lnTo>
                  <a:pt x="54" y="3"/>
                </a:lnTo>
                <a:lnTo>
                  <a:pt x="56" y="5"/>
                </a:lnTo>
                <a:lnTo>
                  <a:pt x="59" y="5"/>
                </a:lnTo>
                <a:lnTo>
                  <a:pt x="59" y="6"/>
                </a:lnTo>
                <a:lnTo>
                  <a:pt x="62" y="6"/>
                </a:lnTo>
                <a:lnTo>
                  <a:pt x="62" y="5"/>
                </a:lnTo>
                <a:lnTo>
                  <a:pt x="64" y="6"/>
                </a:lnTo>
                <a:lnTo>
                  <a:pt x="63" y="8"/>
                </a:lnTo>
                <a:lnTo>
                  <a:pt x="65" y="9"/>
                </a:lnTo>
                <a:lnTo>
                  <a:pt x="68" y="9"/>
                </a:lnTo>
                <a:lnTo>
                  <a:pt x="72" y="8"/>
                </a:lnTo>
                <a:lnTo>
                  <a:pt x="73" y="8"/>
                </a:lnTo>
                <a:lnTo>
                  <a:pt x="83" y="9"/>
                </a:lnTo>
                <a:lnTo>
                  <a:pt x="84" y="11"/>
                </a:lnTo>
                <a:lnTo>
                  <a:pt x="83" y="11"/>
                </a:lnTo>
                <a:lnTo>
                  <a:pt x="87" y="11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65" name="Freeform 665"/>
          <p:cNvSpPr>
            <a:spLocks/>
          </p:cNvSpPr>
          <p:nvPr/>
        </p:nvSpPr>
        <p:spPr bwMode="auto">
          <a:xfrm>
            <a:off x="2721971" y="1593175"/>
            <a:ext cx="48721" cy="6444"/>
          </a:xfrm>
          <a:custGeom>
            <a:avLst/>
            <a:gdLst/>
            <a:ahLst/>
            <a:cxnLst>
              <a:cxn ang="0">
                <a:pos x="10" y="0"/>
              </a:cxn>
              <a:cxn ang="0">
                <a:pos x="12" y="0"/>
              </a:cxn>
              <a:cxn ang="0">
                <a:pos x="24" y="2"/>
              </a:cxn>
              <a:cxn ang="0">
                <a:pos x="25" y="3"/>
              </a:cxn>
              <a:cxn ang="0">
                <a:pos x="20" y="3"/>
              </a:cxn>
              <a:cxn ang="0">
                <a:pos x="16" y="3"/>
              </a:cxn>
              <a:cxn ang="0">
                <a:pos x="14" y="3"/>
              </a:cxn>
              <a:cxn ang="0">
                <a:pos x="7" y="3"/>
              </a:cxn>
              <a:cxn ang="0">
                <a:pos x="2" y="2"/>
              </a:cxn>
              <a:cxn ang="0">
                <a:pos x="0" y="2"/>
              </a:cxn>
              <a:cxn ang="0">
                <a:pos x="6" y="0"/>
              </a:cxn>
              <a:cxn ang="0">
                <a:pos x="10" y="0"/>
              </a:cxn>
            </a:cxnLst>
            <a:rect l="0" t="0" r="r" b="b"/>
            <a:pathLst>
              <a:path w="25" h="3">
                <a:moveTo>
                  <a:pt x="10" y="0"/>
                </a:moveTo>
                <a:lnTo>
                  <a:pt x="12" y="0"/>
                </a:lnTo>
                <a:lnTo>
                  <a:pt x="24" y="2"/>
                </a:lnTo>
                <a:lnTo>
                  <a:pt x="25" y="3"/>
                </a:lnTo>
                <a:lnTo>
                  <a:pt x="20" y="3"/>
                </a:lnTo>
                <a:lnTo>
                  <a:pt x="16" y="3"/>
                </a:lnTo>
                <a:lnTo>
                  <a:pt x="14" y="3"/>
                </a:lnTo>
                <a:lnTo>
                  <a:pt x="7" y="3"/>
                </a:lnTo>
                <a:lnTo>
                  <a:pt x="2" y="2"/>
                </a:lnTo>
                <a:lnTo>
                  <a:pt x="0" y="2"/>
                </a:lnTo>
                <a:lnTo>
                  <a:pt x="6" y="0"/>
                </a:lnTo>
                <a:lnTo>
                  <a:pt x="10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66" name="Freeform 666"/>
          <p:cNvSpPr>
            <a:spLocks/>
          </p:cNvSpPr>
          <p:nvPr/>
        </p:nvSpPr>
        <p:spPr bwMode="auto">
          <a:xfrm>
            <a:off x="2721971" y="1593175"/>
            <a:ext cx="48721" cy="6444"/>
          </a:xfrm>
          <a:custGeom>
            <a:avLst/>
            <a:gdLst/>
            <a:ahLst/>
            <a:cxnLst>
              <a:cxn ang="0">
                <a:pos x="10" y="0"/>
              </a:cxn>
              <a:cxn ang="0">
                <a:pos x="12" y="0"/>
              </a:cxn>
              <a:cxn ang="0">
                <a:pos x="24" y="2"/>
              </a:cxn>
              <a:cxn ang="0">
                <a:pos x="25" y="3"/>
              </a:cxn>
              <a:cxn ang="0">
                <a:pos x="20" y="3"/>
              </a:cxn>
              <a:cxn ang="0">
                <a:pos x="16" y="3"/>
              </a:cxn>
              <a:cxn ang="0">
                <a:pos x="14" y="3"/>
              </a:cxn>
              <a:cxn ang="0">
                <a:pos x="7" y="3"/>
              </a:cxn>
              <a:cxn ang="0">
                <a:pos x="2" y="2"/>
              </a:cxn>
              <a:cxn ang="0">
                <a:pos x="0" y="2"/>
              </a:cxn>
              <a:cxn ang="0">
                <a:pos x="6" y="0"/>
              </a:cxn>
              <a:cxn ang="0">
                <a:pos x="10" y="0"/>
              </a:cxn>
            </a:cxnLst>
            <a:rect l="0" t="0" r="r" b="b"/>
            <a:pathLst>
              <a:path w="25" h="3">
                <a:moveTo>
                  <a:pt x="10" y="0"/>
                </a:moveTo>
                <a:lnTo>
                  <a:pt x="12" y="0"/>
                </a:lnTo>
                <a:lnTo>
                  <a:pt x="24" y="2"/>
                </a:lnTo>
                <a:lnTo>
                  <a:pt x="25" y="3"/>
                </a:lnTo>
                <a:lnTo>
                  <a:pt x="20" y="3"/>
                </a:lnTo>
                <a:lnTo>
                  <a:pt x="16" y="3"/>
                </a:lnTo>
                <a:lnTo>
                  <a:pt x="14" y="3"/>
                </a:lnTo>
                <a:lnTo>
                  <a:pt x="7" y="3"/>
                </a:lnTo>
                <a:lnTo>
                  <a:pt x="2" y="2"/>
                </a:lnTo>
                <a:lnTo>
                  <a:pt x="0" y="2"/>
                </a:lnTo>
                <a:lnTo>
                  <a:pt x="6" y="0"/>
                </a:lnTo>
                <a:lnTo>
                  <a:pt x="10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67" name="Freeform 667"/>
          <p:cNvSpPr>
            <a:spLocks/>
          </p:cNvSpPr>
          <p:nvPr/>
        </p:nvSpPr>
        <p:spPr bwMode="auto">
          <a:xfrm>
            <a:off x="2622582" y="1599618"/>
            <a:ext cx="52617" cy="25772"/>
          </a:xfrm>
          <a:custGeom>
            <a:avLst/>
            <a:gdLst/>
            <a:ahLst/>
            <a:cxnLst>
              <a:cxn ang="0">
                <a:pos x="15" y="5"/>
              </a:cxn>
              <a:cxn ang="0">
                <a:pos x="18" y="5"/>
              </a:cxn>
              <a:cxn ang="0">
                <a:pos x="16" y="6"/>
              </a:cxn>
              <a:cxn ang="0">
                <a:pos x="20" y="6"/>
              </a:cxn>
              <a:cxn ang="0">
                <a:pos x="20" y="8"/>
              </a:cxn>
              <a:cxn ang="0">
                <a:pos x="26" y="8"/>
              </a:cxn>
              <a:cxn ang="0">
                <a:pos x="24" y="10"/>
              </a:cxn>
              <a:cxn ang="0">
                <a:pos x="27" y="10"/>
              </a:cxn>
              <a:cxn ang="0">
                <a:pos x="27" y="11"/>
              </a:cxn>
              <a:cxn ang="0">
                <a:pos x="26" y="11"/>
              </a:cxn>
              <a:cxn ang="0">
                <a:pos x="23" y="11"/>
              </a:cxn>
              <a:cxn ang="0">
                <a:pos x="22" y="13"/>
              </a:cxn>
              <a:cxn ang="0">
                <a:pos x="16" y="11"/>
              </a:cxn>
              <a:cxn ang="0">
                <a:pos x="14" y="11"/>
              </a:cxn>
              <a:cxn ang="0">
                <a:pos x="14" y="10"/>
              </a:cxn>
              <a:cxn ang="0">
                <a:pos x="11" y="10"/>
              </a:cxn>
              <a:cxn ang="0">
                <a:pos x="6" y="5"/>
              </a:cxn>
              <a:cxn ang="0">
                <a:pos x="3" y="2"/>
              </a:cxn>
              <a:cxn ang="0">
                <a:pos x="0" y="2"/>
              </a:cxn>
              <a:cxn ang="0">
                <a:pos x="2" y="0"/>
              </a:cxn>
              <a:cxn ang="0">
                <a:pos x="3" y="2"/>
              </a:cxn>
              <a:cxn ang="0">
                <a:pos x="7" y="2"/>
              </a:cxn>
              <a:cxn ang="0">
                <a:pos x="10" y="2"/>
              </a:cxn>
              <a:cxn ang="0">
                <a:pos x="11" y="3"/>
              </a:cxn>
              <a:cxn ang="0">
                <a:pos x="14" y="3"/>
              </a:cxn>
              <a:cxn ang="0">
                <a:pos x="15" y="5"/>
              </a:cxn>
            </a:cxnLst>
            <a:rect l="0" t="0" r="r" b="b"/>
            <a:pathLst>
              <a:path w="27" h="13">
                <a:moveTo>
                  <a:pt x="15" y="5"/>
                </a:moveTo>
                <a:lnTo>
                  <a:pt x="18" y="5"/>
                </a:lnTo>
                <a:lnTo>
                  <a:pt x="16" y="6"/>
                </a:lnTo>
                <a:lnTo>
                  <a:pt x="20" y="6"/>
                </a:lnTo>
                <a:lnTo>
                  <a:pt x="20" y="8"/>
                </a:lnTo>
                <a:lnTo>
                  <a:pt x="26" y="8"/>
                </a:lnTo>
                <a:lnTo>
                  <a:pt x="24" y="10"/>
                </a:lnTo>
                <a:lnTo>
                  <a:pt x="27" y="10"/>
                </a:lnTo>
                <a:lnTo>
                  <a:pt x="27" y="11"/>
                </a:lnTo>
                <a:lnTo>
                  <a:pt x="26" y="11"/>
                </a:lnTo>
                <a:lnTo>
                  <a:pt x="23" y="11"/>
                </a:lnTo>
                <a:lnTo>
                  <a:pt x="22" y="13"/>
                </a:lnTo>
                <a:lnTo>
                  <a:pt x="16" y="11"/>
                </a:lnTo>
                <a:lnTo>
                  <a:pt x="14" y="11"/>
                </a:lnTo>
                <a:lnTo>
                  <a:pt x="14" y="10"/>
                </a:lnTo>
                <a:lnTo>
                  <a:pt x="11" y="10"/>
                </a:lnTo>
                <a:lnTo>
                  <a:pt x="6" y="5"/>
                </a:lnTo>
                <a:lnTo>
                  <a:pt x="3" y="2"/>
                </a:lnTo>
                <a:lnTo>
                  <a:pt x="0" y="2"/>
                </a:lnTo>
                <a:lnTo>
                  <a:pt x="2" y="0"/>
                </a:lnTo>
                <a:lnTo>
                  <a:pt x="3" y="2"/>
                </a:lnTo>
                <a:lnTo>
                  <a:pt x="7" y="2"/>
                </a:lnTo>
                <a:lnTo>
                  <a:pt x="10" y="2"/>
                </a:lnTo>
                <a:lnTo>
                  <a:pt x="11" y="3"/>
                </a:lnTo>
                <a:lnTo>
                  <a:pt x="14" y="3"/>
                </a:lnTo>
                <a:lnTo>
                  <a:pt x="15" y="5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68" name="Freeform 668"/>
          <p:cNvSpPr>
            <a:spLocks/>
          </p:cNvSpPr>
          <p:nvPr/>
        </p:nvSpPr>
        <p:spPr bwMode="auto">
          <a:xfrm>
            <a:off x="2622582" y="1599618"/>
            <a:ext cx="52617" cy="25772"/>
          </a:xfrm>
          <a:custGeom>
            <a:avLst/>
            <a:gdLst/>
            <a:ahLst/>
            <a:cxnLst>
              <a:cxn ang="0">
                <a:pos x="15" y="5"/>
              </a:cxn>
              <a:cxn ang="0">
                <a:pos x="18" y="5"/>
              </a:cxn>
              <a:cxn ang="0">
                <a:pos x="16" y="6"/>
              </a:cxn>
              <a:cxn ang="0">
                <a:pos x="20" y="6"/>
              </a:cxn>
              <a:cxn ang="0">
                <a:pos x="20" y="8"/>
              </a:cxn>
              <a:cxn ang="0">
                <a:pos x="26" y="8"/>
              </a:cxn>
              <a:cxn ang="0">
                <a:pos x="24" y="10"/>
              </a:cxn>
              <a:cxn ang="0">
                <a:pos x="27" y="10"/>
              </a:cxn>
              <a:cxn ang="0">
                <a:pos x="27" y="11"/>
              </a:cxn>
              <a:cxn ang="0">
                <a:pos x="26" y="11"/>
              </a:cxn>
              <a:cxn ang="0">
                <a:pos x="23" y="11"/>
              </a:cxn>
              <a:cxn ang="0">
                <a:pos x="22" y="13"/>
              </a:cxn>
              <a:cxn ang="0">
                <a:pos x="16" y="11"/>
              </a:cxn>
              <a:cxn ang="0">
                <a:pos x="14" y="11"/>
              </a:cxn>
              <a:cxn ang="0">
                <a:pos x="14" y="10"/>
              </a:cxn>
              <a:cxn ang="0">
                <a:pos x="11" y="10"/>
              </a:cxn>
              <a:cxn ang="0">
                <a:pos x="6" y="5"/>
              </a:cxn>
              <a:cxn ang="0">
                <a:pos x="3" y="2"/>
              </a:cxn>
              <a:cxn ang="0">
                <a:pos x="0" y="2"/>
              </a:cxn>
              <a:cxn ang="0">
                <a:pos x="2" y="0"/>
              </a:cxn>
              <a:cxn ang="0">
                <a:pos x="3" y="2"/>
              </a:cxn>
              <a:cxn ang="0">
                <a:pos x="7" y="2"/>
              </a:cxn>
              <a:cxn ang="0">
                <a:pos x="10" y="2"/>
              </a:cxn>
              <a:cxn ang="0">
                <a:pos x="11" y="3"/>
              </a:cxn>
              <a:cxn ang="0">
                <a:pos x="14" y="3"/>
              </a:cxn>
              <a:cxn ang="0">
                <a:pos x="15" y="5"/>
              </a:cxn>
            </a:cxnLst>
            <a:rect l="0" t="0" r="r" b="b"/>
            <a:pathLst>
              <a:path w="27" h="13">
                <a:moveTo>
                  <a:pt x="15" y="5"/>
                </a:moveTo>
                <a:lnTo>
                  <a:pt x="18" y="5"/>
                </a:lnTo>
                <a:lnTo>
                  <a:pt x="16" y="6"/>
                </a:lnTo>
                <a:lnTo>
                  <a:pt x="20" y="6"/>
                </a:lnTo>
                <a:lnTo>
                  <a:pt x="20" y="8"/>
                </a:lnTo>
                <a:lnTo>
                  <a:pt x="26" y="8"/>
                </a:lnTo>
                <a:lnTo>
                  <a:pt x="24" y="10"/>
                </a:lnTo>
                <a:lnTo>
                  <a:pt x="27" y="10"/>
                </a:lnTo>
                <a:lnTo>
                  <a:pt x="27" y="11"/>
                </a:lnTo>
                <a:lnTo>
                  <a:pt x="26" y="11"/>
                </a:lnTo>
                <a:lnTo>
                  <a:pt x="23" y="11"/>
                </a:lnTo>
                <a:lnTo>
                  <a:pt x="22" y="13"/>
                </a:lnTo>
                <a:lnTo>
                  <a:pt x="16" y="11"/>
                </a:lnTo>
                <a:lnTo>
                  <a:pt x="14" y="11"/>
                </a:lnTo>
                <a:lnTo>
                  <a:pt x="14" y="10"/>
                </a:lnTo>
                <a:lnTo>
                  <a:pt x="11" y="10"/>
                </a:lnTo>
                <a:lnTo>
                  <a:pt x="6" y="5"/>
                </a:lnTo>
                <a:lnTo>
                  <a:pt x="3" y="2"/>
                </a:lnTo>
                <a:lnTo>
                  <a:pt x="0" y="2"/>
                </a:lnTo>
                <a:lnTo>
                  <a:pt x="2" y="0"/>
                </a:lnTo>
                <a:lnTo>
                  <a:pt x="3" y="2"/>
                </a:lnTo>
                <a:lnTo>
                  <a:pt x="7" y="2"/>
                </a:lnTo>
                <a:lnTo>
                  <a:pt x="10" y="2"/>
                </a:lnTo>
                <a:lnTo>
                  <a:pt x="11" y="3"/>
                </a:lnTo>
                <a:lnTo>
                  <a:pt x="14" y="3"/>
                </a:lnTo>
                <a:lnTo>
                  <a:pt x="15" y="5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69" name="Freeform 669"/>
          <p:cNvSpPr>
            <a:spLocks/>
          </p:cNvSpPr>
          <p:nvPr/>
        </p:nvSpPr>
        <p:spPr bwMode="auto">
          <a:xfrm>
            <a:off x="2661557" y="1640423"/>
            <a:ext cx="44823" cy="12885"/>
          </a:xfrm>
          <a:custGeom>
            <a:avLst/>
            <a:gdLst/>
            <a:ahLst/>
            <a:cxnLst>
              <a:cxn ang="0">
                <a:pos x="11" y="0"/>
              </a:cxn>
              <a:cxn ang="0">
                <a:pos x="12" y="1"/>
              </a:cxn>
              <a:cxn ang="0">
                <a:pos x="12" y="0"/>
              </a:cxn>
              <a:cxn ang="0">
                <a:pos x="16" y="1"/>
              </a:cxn>
              <a:cxn ang="0">
                <a:pos x="18" y="1"/>
              </a:cxn>
              <a:cxn ang="0">
                <a:pos x="20" y="3"/>
              </a:cxn>
              <a:cxn ang="0">
                <a:pos x="24" y="4"/>
              </a:cxn>
              <a:cxn ang="0">
                <a:pos x="23" y="4"/>
              </a:cxn>
              <a:cxn ang="0">
                <a:pos x="16" y="6"/>
              </a:cxn>
              <a:cxn ang="0">
                <a:pos x="7" y="6"/>
              </a:cxn>
              <a:cxn ang="0">
                <a:pos x="3" y="4"/>
              </a:cxn>
              <a:cxn ang="0">
                <a:pos x="4" y="3"/>
              </a:cxn>
              <a:cxn ang="0">
                <a:pos x="4" y="1"/>
              </a:cxn>
              <a:cxn ang="0">
                <a:pos x="3" y="3"/>
              </a:cxn>
              <a:cxn ang="0">
                <a:pos x="3" y="1"/>
              </a:cxn>
              <a:cxn ang="0">
                <a:pos x="0" y="1"/>
              </a:cxn>
              <a:cxn ang="0">
                <a:pos x="3" y="0"/>
              </a:cxn>
              <a:cxn ang="0">
                <a:pos x="8" y="0"/>
              </a:cxn>
              <a:cxn ang="0">
                <a:pos x="11" y="0"/>
              </a:cxn>
              <a:cxn ang="0">
                <a:pos x="12" y="0"/>
              </a:cxn>
              <a:cxn ang="0">
                <a:pos x="11" y="0"/>
              </a:cxn>
            </a:cxnLst>
            <a:rect l="0" t="0" r="r" b="b"/>
            <a:pathLst>
              <a:path w="24" h="6">
                <a:moveTo>
                  <a:pt x="11" y="0"/>
                </a:moveTo>
                <a:lnTo>
                  <a:pt x="12" y="1"/>
                </a:lnTo>
                <a:lnTo>
                  <a:pt x="12" y="0"/>
                </a:lnTo>
                <a:lnTo>
                  <a:pt x="16" y="1"/>
                </a:lnTo>
                <a:lnTo>
                  <a:pt x="18" y="1"/>
                </a:lnTo>
                <a:lnTo>
                  <a:pt x="20" y="3"/>
                </a:lnTo>
                <a:lnTo>
                  <a:pt x="24" y="4"/>
                </a:lnTo>
                <a:lnTo>
                  <a:pt x="23" y="4"/>
                </a:lnTo>
                <a:lnTo>
                  <a:pt x="16" y="6"/>
                </a:lnTo>
                <a:lnTo>
                  <a:pt x="7" y="6"/>
                </a:lnTo>
                <a:lnTo>
                  <a:pt x="3" y="4"/>
                </a:lnTo>
                <a:lnTo>
                  <a:pt x="4" y="3"/>
                </a:lnTo>
                <a:lnTo>
                  <a:pt x="4" y="1"/>
                </a:lnTo>
                <a:lnTo>
                  <a:pt x="3" y="3"/>
                </a:lnTo>
                <a:lnTo>
                  <a:pt x="3" y="1"/>
                </a:lnTo>
                <a:lnTo>
                  <a:pt x="0" y="1"/>
                </a:lnTo>
                <a:lnTo>
                  <a:pt x="3" y="0"/>
                </a:lnTo>
                <a:lnTo>
                  <a:pt x="8" y="0"/>
                </a:lnTo>
                <a:lnTo>
                  <a:pt x="11" y="0"/>
                </a:lnTo>
                <a:lnTo>
                  <a:pt x="12" y="0"/>
                </a:lnTo>
                <a:lnTo>
                  <a:pt x="11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70" name="Freeform 670"/>
          <p:cNvSpPr>
            <a:spLocks/>
          </p:cNvSpPr>
          <p:nvPr/>
        </p:nvSpPr>
        <p:spPr bwMode="auto">
          <a:xfrm>
            <a:off x="2661557" y="1640423"/>
            <a:ext cx="44823" cy="12885"/>
          </a:xfrm>
          <a:custGeom>
            <a:avLst/>
            <a:gdLst/>
            <a:ahLst/>
            <a:cxnLst>
              <a:cxn ang="0">
                <a:pos x="11" y="0"/>
              </a:cxn>
              <a:cxn ang="0">
                <a:pos x="12" y="1"/>
              </a:cxn>
              <a:cxn ang="0">
                <a:pos x="12" y="0"/>
              </a:cxn>
              <a:cxn ang="0">
                <a:pos x="16" y="1"/>
              </a:cxn>
              <a:cxn ang="0">
                <a:pos x="18" y="1"/>
              </a:cxn>
              <a:cxn ang="0">
                <a:pos x="20" y="3"/>
              </a:cxn>
              <a:cxn ang="0">
                <a:pos x="24" y="4"/>
              </a:cxn>
              <a:cxn ang="0">
                <a:pos x="23" y="4"/>
              </a:cxn>
              <a:cxn ang="0">
                <a:pos x="16" y="6"/>
              </a:cxn>
              <a:cxn ang="0">
                <a:pos x="7" y="6"/>
              </a:cxn>
              <a:cxn ang="0">
                <a:pos x="3" y="4"/>
              </a:cxn>
              <a:cxn ang="0">
                <a:pos x="4" y="3"/>
              </a:cxn>
              <a:cxn ang="0">
                <a:pos x="4" y="1"/>
              </a:cxn>
              <a:cxn ang="0">
                <a:pos x="3" y="3"/>
              </a:cxn>
              <a:cxn ang="0">
                <a:pos x="3" y="1"/>
              </a:cxn>
              <a:cxn ang="0">
                <a:pos x="0" y="1"/>
              </a:cxn>
              <a:cxn ang="0">
                <a:pos x="3" y="0"/>
              </a:cxn>
              <a:cxn ang="0">
                <a:pos x="8" y="0"/>
              </a:cxn>
              <a:cxn ang="0">
                <a:pos x="11" y="0"/>
              </a:cxn>
              <a:cxn ang="0">
                <a:pos x="12" y="0"/>
              </a:cxn>
              <a:cxn ang="0">
                <a:pos x="11" y="0"/>
              </a:cxn>
            </a:cxnLst>
            <a:rect l="0" t="0" r="r" b="b"/>
            <a:pathLst>
              <a:path w="24" h="6">
                <a:moveTo>
                  <a:pt x="11" y="0"/>
                </a:moveTo>
                <a:lnTo>
                  <a:pt x="12" y="1"/>
                </a:lnTo>
                <a:lnTo>
                  <a:pt x="12" y="0"/>
                </a:lnTo>
                <a:lnTo>
                  <a:pt x="16" y="1"/>
                </a:lnTo>
                <a:lnTo>
                  <a:pt x="18" y="1"/>
                </a:lnTo>
                <a:lnTo>
                  <a:pt x="20" y="3"/>
                </a:lnTo>
                <a:lnTo>
                  <a:pt x="24" y="4"/>
                </a:lnTo>
                <a:lnTo>
                  <a:pt x="23" y="4"/>
                </a:lnTo>
                <a:lnTo>
                  <a:pt x="16" y="6"/>
                </a:lnTo>
                <a:lnTo>
                  <a:pt x="7" y="6"/>
                </a:lnTo>
                <a:lnTo>
                  <a:pt x="3" y="4"/>
                </a:lnTo>
                <a:lnTo>
                  <a:pt x="4" y="3"/>
                </a:lnTo>
                <a:lnTo>
                  <a:pt x="4" y="1"/>
                </a:lnTo>
                <a:lnTo>
                  <a:pt x="3" y="3"/>
                </a:lnTo>
                <a:lnTo>
                  <a:pt x="3" y="1"/>
                </a:lnTo>
                <a:lnTo>
                  <a:pt x="0" y="1"/>
                </a:lnTo>
                <a:lnTo>
                  <a:pt x="3" y="0"/>
                </a:lnTo>
                <a:lnTo>
                  <a:pt x="8" y="0"/>
                </a:lnTo>
                <a:lnTo>
                  <a:pt x="11" y="0"/>
                </a:lnTo>
                <a:lnTo>
                  <a:pt x="12" y="0"/>
                </a:lnTo>
                <a:lnTo>
                  <a:pt x="11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71" name="Freeform 671"/>
          <p:cNvSpPr>
            <a:spLocks/>
          </p:cNvSpPr>
          <p:nvPr/>
        </p:nvSpPr>
        <p:spPr bwMode="auto">
          <a:xfrm>
            <a:off x="2667404" y="1653306"/>
            <a:ext cx="54567" cy="8591"/>
          </a:xfrm>
          <a:custGeom>
            <a:avLst/>
            <a:gdLst/>
            <a:ahLst/>
            <a:cxnLst>
              <a:cxn ang="0">
                <a:pos x="23" y="0"/>
              </a:cxn>
              <a:cxn ang="0">
                <a:pos x="27" y="0"/>
              </a:cxn>
              <a:cxn ang="0">
                <a:pos x="28" y="0"/>
              </a:cxn>
              <a:cxn ang="0">
                <a:pos x="29" y="1"/>
              </a:cxn>
              <a:cxn ang="0">
                <a:pos x="28" y="3"/>
              </a:cxn>
              <a:cxn ang="0">
                <a:pos x="21" y="3"/>
              </a:cxn>
              <a:cxn ang="0">
                <a:pos x="19" y="5"/>
              </a:cxn>
              <a:cxn ang="0">
                <a:pos x="9" y="5"/>
              </a:cxn>
              <a:cxn ang="0">
                <a:pos x="8" y="5"/>
              </a:cxn>
              <a:cxn ang="0">
                <a:pos x="8" y="3"/>
              </a:cxn>
              <a:cxn ang="0">
                <a:pos x="7" y="3"/>
              </a:cxn>
              <a:cxn ang="0">
                <a:pos x="5" y="5"/>
              </a:cxn>
              <a:cxn ang="0">
                <a:pos x="4" y="3"/>
              </a:cxn>
              <a:cxn ang="0">
                <a:pos x="1" y="3"/>
              </a:cxn>
              <a:cxn ang="0">
                <a:pos x="0" y="1"/>
              </a:cxn>
              <a:cxn ang="0">
                <a:pos x="1" y="1"/>
              </a:cxn>
              <a:cxn ang="0">
                <a:pos x="8" y="1"/>
              </a:cxn>
              <a:cxn ang="0">
                <a:pos x="21" y="0"/>
              </a:cxn>
              <a:cxn ang="0">
                <a:pos x="23" y="0"/>
              </a:cxn>
            </a:cxnLst>
            <a:rect l="0" t="0" r="r" b="b"/>
            <a:pathLst>
              <a:path w="29" h="5">
                <a:moveTo>
                  <a:pt x="23" y="0"/>
                </a:moveTo>
                <a:lnTo>
                  <a:pt x="27" y="0"/>
                </a:lnTo>
                <a:lnTo>
                  <a:pt x="28" y="0"/>
                </a:lnTo>
                <a:lnTo>
                  <a:pt x="29" y="1"/>
                </a:lnTo>
                <a:lnTo>
                  <a:pt x="28" y="3"/>
                </a:lnTo>
                <a:lnTo>
                  <a:pt x="21" y="3"/>
                </a:lnTo>
                <a:lnTo>
                  <a:pt x="19" y="5"/>
                </a:lnTo>
                <a:lnTo>
                  <a:pt x="9" y="5"/>
                </a:lnTo>
                <a:lnTo>
                  <a:pt x="8" y="5"/>
                </a:lnTo>
                <a:lnTo>
                  <a:pt x="8" y="3"/>
                </a:lnTo>
                <a:lnTo>
                  <a:pt x="7" y="3"/>
                </a:lnTo>
                <a:lnTo>
                  <a:pt x="5" y="5"/>
                </a:lnTo>
                <a:lnTo>
                  <a:pt x="4" y="3"/>
                </a:lnTo>
                <a:lnTo>
                  <a:pt x="1" y="3"/>
                </a:lnTo>
                <a:lnTo>
                  <a:pt x="0" y="1"/>
                </a:lnTo>
                <a:lnTo>
                  <a:pt x="1" y="1"/>
                </a:lnTo>
                <a:lnTo>
                  <a:pt x="8" y="1"/>
                </a:lnTo>
                <a:lnTo>
                  <a:pt x="21" y="0"/>
                </a:lnTo>
                <a:lnTo>
                  <a:pt x="23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72" name="Freeform 672"/>
          <p:cNvSpPr>
            <a:spLocks/>
          </p:cNvSpPr>
          <p:nvPr/>
        </p:nvSpPr>
        <p:spPr bwMode="auto">
          <a:xfrm>
            <a:off x="2667404" y="1653306"/>
            <a:ext cx="54567" cy="8591"/>
          </a:xfrm>
          <a:custGeom>
            <a:avLst/>
            <a:gdLst/>
            <a:ahLst/>
            <a:cxnLst>
              <a:cxn ang="0">
                <a:pos x="23" y="0"/>
              </a:cxn>
              <a:cxn ang="0">
                <a:pos x="27" y="0"/>
              </a:cxn>
              <a:cxn ang="0">
                <a:pos x="28" y="0"/>
              </a:cxn>
              <a:cxn ang="0">
                <a:pos x="29" y="1"/>
              </a:cxn>
              <a:cxn ang="0">
                <a:pos x="28" y="3"/>
              </a:cxn>
              <a:cxn ang="0">
                <a:pos x="21" y="3"/>
              </a:cxn>
              <a:cxn ang="0">
                <a:pos x="19" y="5"/>
              </a:cxn>
              <a:cxn ang="0">
                <a:pos x="9" y="5"/>
              </a:cxn>
              <a:cxn ang="0">
                <a:pos x="8" y="5"/>
              </a:cxn>
              <a:cxn ang="0">
                <a:pos x="8" y="3"/>
              </a:cxn>
              <a:cxn ang="0">
                <a:pos x="7" y="3"/>
              </a:cxn>
              <a:cxn ang="0">
                <a:pos x="5" y="5"/>
              </a:cxn>
              <a:cxn ang="0">
                <a:pos x="4" y="3"/>
              </a:cxn>
              <a:cxn ang="0">
                <a:pos x="1" y="3"/>
              </a:cxn>
              <a:cxn ang="0">
                <a:pos x="0" y="1"/>
              </a:cxn>
              <a:cxn ang="0">
                <a:pos x="1" y="1"/>
              </a:cxn>
              <a:cxn ang="0">
                <a:pos x="8" y="1"/>
              </a:cxn>
              <a:cxn ang="0">
                <a:pos x="21" y="0"/>
              </a:cxn>
              <a:cxn ang="0">
                <a:pos x="23" y="0"/>
              </a:cxn>
            </a:cxnLst>
            <a:rect l="0" t="0" r="r" b="b"/>
            <a:pathLst>
              <a:path w="29" h="5">
                <a:moveTo>
                  <a:pt x="23" y="0"/>
                </a:moveTo>
                <a:lnTo>
                  <a:pt x="27" y="0"/>
                </a:lnTo>
                <a:lnTo>
                  <a:pt x="28" y="0"/>
                </a:lnTo>
                <a:lnTo>
                  <a:pt x="29" y="1"/>
                </a:lnTo>
                <a:lnTo>
                  <a:pt x="28" y="3"/>
                </a:lnTo>
                <a:lnTo>
                  <a:pt x="21" y="3"/>
                </a:lnTo>
                <a:lnTo>
                  <a:pt x="19" y="5"/>
                </a:lnTo>
                <a:lnTo>
                  <a:pt x="9" y="5"/>
                </a:lnTo>
                <a:lnTo>
                  <a:pt x="8" y="5"/>
                </a:lnTo>
                <a:lnTo>
                  <a:pt x="8" y="3"/>
                </a:lnTo>
                <a:lnTo>
                  <a:pt x="7" y="3"/>
                </a:lnTo>
                <a:lnTo>
                  <a:pt x="5" y="5"/>
                </a:lnTo>
                <a:lnTo>
                  <a:pt x="4" y="3"/>
                </a:lnTo>
                <a:lnTo>
                  <a:pt x="1" y="3"/>
                </a:lnTo>
                <a:lnTo>
                  <a:pt x="0" y="1"/>
                </a:lnTo>
                <a:lnTo>
                  <a:pt x="1" y="1"/>
                </a:lnTo>
                <a:lnTo>
                  <a:pt x="8" y="1"/>
                </a:lnTo>
                <a:lnTo>
                  <a:pt x="21" y="0"/>
                </a:lnTo>
                <a:lnTo>
                  <a:pt x="23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73" name="Freeform 673"/>
          <p:cNvSpPr>
            <a:spLocks/>
          </p:cNvSpPr>
          <p:nvPr/>
        </p:nvSpPr>
        <p:spPr bwMode="auto">
          <a:xfrm>
            <a:off x="2684944" y="1657603"/>
            <a:ext cx="42874" cy="6444"/>
          </a:xfrm>
          <a:custGeom>
            <a:avLst/>
            <a:gdLst/>
            <a:ahLst/>
            <a:cxnLst>
              <a:cxn ang="0">
                <a:pos x="14" y="2"/>
              </a:cxn>
              <a:cxn ang="0">
                <a:pos x="19" y="0"/>
              </a:cxn>
              <a:cxn ang="0">
                <a:pos x="23" y="0"/>
              </a:cxn>
              <a:cxn ang="0">
                <a:pos x="23" y="2"/>
              </a:cxn>
              <a:cxn ang="0">
                <a:pos x="20" y="2"/>
              </a:cxn>
              <a:cxn ang="0">
                <a:pos x="10" y="3"/>
              </a:cxn>
              <a:cxn ang="0">
                <a:pos x="0" y="3"/>
              </a:cxn>
              <a:cxn ang="0">
                <a:pos x="14" y="2"/>
              </a:cxn>
            </a:cxnLst>
            <a:rect l="0" t="0" r="r" b="b"/>
            <a:pathLst>
              <a:path w="23" h="3">
                <a:moveTo>
                  <a:pt x="14" y="2"/>
                </a:moveTo>
                <a:lnTo>
                  <a:pt x="19" y="0"/>
                </a:lnTo>
                <a:lnTo>
                  <a:pt x="23" y="0"/>
                </a:lnTo>
                <a:lnTo>
                  <a:pt x="23" y="2"/>
                </a:lnTo>
                <a:lnTo>
                  <a:pt x="20" y="2"/>
                </a:lnTo>
                <a:lnTo>
                  <a:pt x="10" y="3"/>
                </a:lnTo>
                <a:lnTo>
                  <a:pt x="0" y="3"/>
                </a:lnTo>
                <a:lnTo>
                  <a:pt x="14" y="2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74" name="Freeform 674"/>
          <p:cNvSpPr>
            <a:spLocks/>
          </p:cNvSpPr>
          <p:nvPr/>
        </p:nvSpPr>
        <p:spPr bwMode="auto">
          <a:xfrm>
            <a:off x="2684944" y="1657603"/>
            <a:ext cx="42874" cy="6444"/>
          </a:xfrm>
          <a:custGeom>
            <a:avLst/>
            <a:gdLst/>
            <a:ahLst/>
            <a:cxnLst>
              <a:cxn ang="0">
                <a:pos x="14" y="2"/>
              </a:cxn>
              <a:cxn ang="0">
                <a:pos x="19" y="0"/>
              </a:cxn>
              <a:cxn ang="0">
                <a:pos x="23" y="0"/>
              </a:cxn>
              <a:cxn ang="0">
                <a:pos x="23" y="2"/>
              </a:cxn>
              <a:cxn ang="0">
                <a:pos x="20" y="2"/>
              </a:cxn>
              <a:cxn ang="0">
                <a:pos x="10" y="3"/>
              </a:cxn>
              <a:cxn ang="0">
                <a:pos x="0" y="3"/>
              </a:cxn>
              <a:cxn ang="0">
                <a:pos x="14" y="2"/>
              </a:cxn>
            </a:cxnLst>
            <a:rect l="0" t="0" r="r" b="b"/>
            <a:pathLst>
              <a:path w="23" h="3">
                <a:moveTo>
                  <a:pt x="14" y="2"/>
                </a:moveTo>
                <a:lnTo>
                  <a:pt x="19" y="0"/>
                </a:lnTo>
                <a:lnTo>
                  <a:pt x="23" y="0"/>
                </a:lnTo>
                <a:lnTo>
                  <a:pt x="23" y="2"/>
                </a:lnTo>
                <a:lnTo>
                  <a:pt x="20" y="2"/>
                </a:lnTo>
                <a:lnTo>
                  <a:pt x="10" y="3"/>
                </a:lnTo>
                <a:lnTo>
                  <a:pt x="0" y="3"/>
                </a:lnTo>
                <a:lnTo>
                  <a:pt x="14" y="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75" name="Freeform 675"/>
          <p:cNvSpPr>
            <a:spLocks/>
          </p:cNvSpPr>
          <p:nvPr/>
        </p:nvSpPr>
        <p:spPr bwMode="auto">
          <a:xfrm>
            <a:off x="2700534" y="1661897"/>
            <a:ext cx="37026" cy="8591"/>
          </a:xfrm>
          <a:custGeom>
            <a:avLst/>
            <a:gdLst/>
            <a:ahLst/>
            <a:cxnLst>
              <a:cxn ang="0">
                <a:pos x="6" y="1"/>
              </a:cxn>
              <a:cxn ang="0">
                <a:pos x="7" y="1"/>
              </a:cxn>
              <a:cxn ang="0">
                <a:pos x="18" y="0"/>
              </a:cxn>
              <a:cxn ang="0">
                <a:pos x="19" y="1"/>
              </a:cxn>
              <a:cxn ang="0">
                <a:pos x="15" y="3"/>
              </a:cxn>
              <a:cxn ang="0">
                <a:pos x="14" y="3"/>
              </a:cxn>
              <a:cxn ang="0">
                <a:pos x="11" y="4"/>
              </a:cxn>
              <a:cxn ang="0">
                <a:pos x="8" y="4"/>
              </a:cxn>
              <a:cxn ang="0">
                <a:pos x="4" y="4"/>
              </a:cxn>
              <a:cxn ang="0">
                <a:pos x="2" y="4"/>
              </a:cxn>
              <a:cxn ang="0">
                <a:pos x="0" y="4"/>
              </a:cxn>
              <a:cxn ang="0">
                <a:pos x="3" y="3"/>
              </a:cxn>
              <a:cxn ang="0">
                <a:pos x="4" y="1"/>
              </a:cxn>
              <a:cxn ang="0">
                <a:pos x="6" y="1"/>
              </a:cxn>
            </a:cxnLst>
            <a:rect l="0" t="0" r="r" b="b"/>
            <a:pathLst>
              <a:path w="19" h="4">
                <a:moveTo>
                  <a:pt x="6" y="1"/>
                </a:moveTo>
                <a:lnTo>
                  <a:pt x="7" y="1"/>
                </a:lnTo>
                <a:lnTo>
                  <a:pt x="18" y="0"/>
                </a:lnTo>
                <a:lnTo>
                  <a:pt x="19" y="1"/>
                </a:lnTo>
                <a:lnTo>
                  <a:pt x="15" y="3"/>
                </a:lnTo>
                <a:lnTo>
                  <a:pt x="14" y="3"/>
                </a:lnTo>
                <a:lnTo>
                  <a:pt x="11" y="4"/>
                </a:lnTo>
                <a:lnTo>
                  <a:pt x="8" y="4"/>
                </a:lnTo>
                <a:lnTo>
                  <a:pt x="4" y="4"/>
                </a:lnTo>
                <a:lnTo>
                  <a:pt x="2" y="4"/>
                </a:lnTo>
                <a:lnTo>
                  <a:pt x="0" y="4"/>
                </a:lnTo>
                <a:lnTo>
                  <a:pt x="3" y="3"/>
                </a:lnTo>
                <a:lnTo>
                  <a:pt x="4" y="1"/>
                </a:lnTo>
                <a:lnTo>
                  <a:pt x="6" y="1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76" name="Freeform 676"/>
          <p:cNvSpPr>
            <a:spLocks/>
          </p:cNvSpPr>
          <p:nvPr/>
        </p:nvSpPr>
        <p:spPr bwMode="auto">
          <a:xfrm>
            <a:off x="2700534" y="1661897"/>
            <a:ext cx="37026" cy="8591"/>
          </a:xfrm>
          <a:custGeom>
            <a:avLst/>
            <a:gdLst/>
            <a:ahLst/>
            <a:cxnLst>
              <a:cxn ang="0">
                <a:pos x="6" y="1"/>
              </a:cxn>
              <a:cxn ang="0">
                <a:pos x="7" y="1"/>
              </a:cxn>
              <a:cxn ang="0">
                <a:pos x="18" y="0"/>
              </a:cxn>
              <a:cxn ang="0">
                <a:pos x="19" y="1"/>
              </a:cxn>
              <a:cxn ang="0">
                <a:pos x="15" y="3"/>
              </a:cxn>
              <a:cxn ang="0">
                <a:pos x="14" y="3"/>
              </a:cxn>
              <a:cxn ang="0">
                <a:pos x="11" y="4"/>
              </a:cxn>
              <a:cxn ang="0">
                <a:pos x="8" y="4"/>
              </a:cxn>
              <a:cxn ang="0">
                <a:pos x="4" y="4"/>
              </a:cxn>
              <a:cxn ang="0">
                <a:pos x="2" y="4"/>
              </a:cxn>
              <a:cxn ang="0">
                <a:pos x="0" y="4"/>
              </a:cxn>
              <a:cxn ang="0">
                <a:pos x="3" y="3"/>
              </a:cxn>
              <a:cxn ang="0">
                <a:pos x="4" y="1"/>
              </a:cxn>
              <a:cxn ang="0">
                <a:pos x="6" y="1"/>
              </a:cxn>
            </a:cxnLst>
            <a:rect l="0" t="0" r="r" b="b"/>
            <a:pathLst>
              <a:path w="19" h="4">
                <a:moveTo>
                  <a:pt x="6" y="1"/>
                </a:moveTo>
                <a:lnTo>
                  <a:pt x="7" y="1"/>
                </a:lnTo>
                <a:lnTo>
                  <a:pt x="18" y="0"/>
                </a:lnTo>
                <a:lnTo>
                  <a:pt x="19" y="1"/>
                </a:lnTo>
                <a:lnTo>
                  <a:pt x="15" y="3"/>
                </a:lnTo>
                <a:lnTo>
                  <a:pt x="14" y="3"/>
                </a:lnTo>
                <a:lnTo>
                  <a:pt x="11" y="4"/>
                </a:lnTo>
                <a:lnTo>
                  <a:pt x="8" y="4"/>
                </a:lnTo>
                <a:lnTo>
                  <a:pt x="4" y="4"/>
                </a:lnTo>
                <a:lnTo>
                  <a:pt x="2" y="4"/>
                </a:lnTo>
                <a:lnTo>
                  <a:pt x="0" y="4"/>
                </a:lnTo>
                <a:lnTo>
                  <a:pt x="3" y="3"/>
                </a:lnTo>
                <a:lnTo>
                  <a:pt x="4" y="1"/>
                </a:lnTo>
                <a:lnTo>
                  <a:pt x="6" y="1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77" name="Freeform 677"/>
          <p:cNvSpPr>
            <a:spLocks/>
          </p:cNvSpPr>
          <p:nvPr/>
        </p:nvSpPr>
        <p:spPr bwMode="auto">
          <a:xfrm>
            <a:off x="2659609" y="1683375"/>
            <a:ext cx="33130" cy="15033"/>
          </a:xfrm>
          <a:custGeom>
            <a:avLst/>
            <a:gdLst/>
            <a:ahLst/>
            <a:cxnLst>
              <a:cxn ang="0">
                <a:pos x="12" y="0"/>
              </a:cxn>
              <a:cxn ang="0">
                <a:pos x="13" y="0"/>
              </a:cxn>
              <a:cxn ang="0">
                <a:pos x="14" y="0"/>
              </a:cxn>
              <a:cxn ang="0">
                <a:pos x="16" y="1"/>
              </a:cxn>
              <a:cxn ang="0">
                <a:pos x="17" y="3"/>
              </a:cxn>
              <a:cxn ang="0">
                <a:pos x="18" y="4"/>
              </a:cxn>
              <a:cxn ang="0">
                <a:pos x="16" y="4"/>
              </a:cxn>
              <a:cxn ang="0">
                <a:pos x="10" y="6"/>
              </a:cxn>
              <a:cxn ang="0">
                <a:pos x="2" y="6"/>
              </a:cxn>
              <a:cxn ang="0">
                <a:pos x="0" y="4"/>
              </a:cxn>
              <a:cxn ang="0">
                <a:pos x="2" y="1"/>
              </a:cxn>
              <a:cxn ang="0">
                <a:pos x="4" y="0"/>
              </a:cxn>
              <a:cxn ang="0">
                <a:pos x="12" y="0"/>
              </a:cxn>
            </a:cxnLst>
            <a:rect l="0" t="0" r="r" b="b"/>
            <a:pathLst>
              <a:path w="18" h="6">
                <a:moveTo>
                  <a:pt x="12" y="0"/>
                </a:moveTo>
                <a:lnTo>
                  <a:pt x="13" y="0"/>
                </a:lnTo>
                <a:lnTo>
                  <a:pt x="14" y="0"/>
                </a:lnTo>
                <a:lnTo>
                  <a:pt x="16" y="1"/>
                </a:lnTo>
                <a:lnTo>
                  <a:pt x="17" y="3"/>
                </a:lnTo>
                <a:lnTo>
                  <a:pt x="18" y="4"/>
                </a:lnTo>
                <a:lnTo>
                  <a:pt x="16" y="4"/>
                </a:lnTo>
                <a:lnTo>
                  <a:pt x="10" y="6"/>
                </a:lnTo>
                <a:lnTo>
                  <a:pt x="2" y="6"/>
                </a:lnTo>
                <a:lnTo>
                  <a:pt x="0" y="4"/>
                </a:lnTo>
                <a:lnTo>
                  <a:pt x="2" y="1"/>
                </a:lnTo>
                <a:lnTo>
                  <a:pt x="4" y="0"/>
                </a:lnTo>
                <a:lnTo>
                  <a:pt x="12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78" name="Freeform 678"/>
          <p:cNvSpPr>
            <a:spLocks/>
          </p:cNvSpPr>
          <p:nvPr/>
        </p:nvSpPr>
        <p:spPr bwMode="auto">
          <a:xfrm>
            <a:off x="2659609" y="1683375"/>
            <a:ext cx="33130" cy="15033"/>
          </a:xfrm>
          <a:custGeom>
            <a:avLst/>
            <a:gdLst/>
            <a:ahLst/>
            <a:cxnLst>
              <a:cxn ang="0">
                <a:pos x="12" y="0"/>
              </a:cxn>
              <a:cxn ang="0">
                <a:pos x="13" y="0"/>
              </a:cxn>
              <a:cxn ang="0">
                <a:pos x="14" y="0"/>
              </a:cxn>
              <a:cxn ang="0">
                <a:pos x="16" y="1"/>
              </a:cxn>
              <a:cxn ang="0">
                <a:pos x="17" y="3"/>
              </a:cxn>
              <a:cxn ang="0">
                <a:pos x="18" y="4"/>
              </a:cxn>
              <a:cxn ang="0">
                <a:pos x="16" y="4"/>
              </a:cxn>
              <a:cxn ang="0">
                <a:pos x="10" y="6"/>
              </a:cxn>
              <a:cxn ang="0">
                <a:pos x="2" y="6"/>
              </a:cxn>
              <a:cxn ang="0">
                <a:pos x="0" y="4"/>
              </a:cxn>
              <a:cxn ang="0">
                <a:pos x="2" y="1"/>
              </a:cxn>
              <a:cxn ang="0">
                <a:pos x="4" y="0"/>
              </a:cxn>
              <a:cxn ang="0">
                <a:pos x="12" y="0"/>
              </a:cxn>
            </a:cxnLst>
            <a:rect l="0" t="0" r="r" b="b"/>
            <a:pathLst>
              <a:path w="18" h="6">
                <a:moveTo>
                  <a:pt x="12" y="0"/>
                </a:moveTo>
                <a:lnTo>
                  <a:pt x="13" y="0"/>
                </a:lnTo>
                <a:lnTo>
                  <a:pt x="14" y="0"/>
                </a:lnTo>
                <a:lnTo>
                  <a:pt x="16" y="1"/>
                </a:lnTo>
                <a:lnTo>
                  <a:pt x="17" y="3"/>
                </a:lnTo>
                <a:lnTo>
                  <a:pt x="18" y="4"/>
                </a:lnTo>
                <a:lnTo>
                  <a:pt x="16" y="4"/>
                </a:lnTo>
                <a:lnTo>
                  <a:pt x="10" y="6"/>
                </a:lnTo>
                <a:lnTo>
                  <a:pt x="2" y="6"/>
                </a:lnTo>
                <a:lnTo>
                  <a:pt x="0" y="4"/>
                </a:lnTo>
                <a:lnTo>
                  <a:pt x="2" y="1"/>
                </a:lnTo>
                <a:lnTo>
                  <a:pt x="4" y="0"/>
                </a:lnTo>
                <a:lnTo>
                  <a:pt x="12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79" name="Freeform 679"/>
          <p:cNvSpPr>
            <a:spLocks/>
          </p:cNvSpPr>
          <p:nvPr/>
        </p:nvSpPr>
        <p:spPr bwMode="auto">
          <a:xfrm>
            <a:off x="2291283" y="1633979"/>
            <a:ext cx="350787" cy="85905"/>
          </a:xfrm>
          <a:custGeom>
            <a:avLst/>
            <a:gdLst/>
            <a:ahLst/>
            <a:cxnLst>
              <a:cxn ang="0">
                <a:pos x="118" y="5"/>
              </a:cxn>
              <a:cxn ang="0">
                <a:pos x="128" y="0"/>
              </a:cxn>
              <a:cxn ang="0">
                <a:pos x="134" y="4"/>
              </a:cxn>
              <a:cxn ang="0">
                <a:pos x="138" y="7"/>
              </a:cxn>
              <a:cxn ang="0">
                <a:pos x="145" y="11"/>
              </a:cxn>
              <a:cxn ang="0">
                <a:pos x="141" y="15"/>
              </a:cxn>
              <a:cxn ang="0">
                <a:pos x="147" y="16"/>
              </a:cxn>
              <a:cxn ang="0">
                <a:pos x="150" y="16"/>
              </a:cxn>
              <a:cxn ang="0">
                <a:pos x="165" y="18"/>
              </a:cxn>
              <a:cxn ang="0">
                <a:pos x="165" y="15"/>
              </a:cxn>
              <a:cxn ang="0">
                <a:pos x="183" y="19"/>
              </a:cxn>
              <a:cxn ang="0">
                <a:pos x="179" y="27"/>
              </a:cxn>
              <a:cxn ang="0">
                <a:pos x="170" y="32"/>
              </a:cxn>
              <a:cxn ang="0">
                <a:pos x="154" y="33"/>
              </a:cxn>
              <a:cxn ang="0">
                <a:pos x="143" y="33"/>
              </a:cxn>
              <a:cxn ang="0">
                <a:pos x="134" y="32"/>
              </a:cxn>
              <a:cxn ang="0">
                <a:pos x="129" y="33"/>
              </a:cxn>
              <a:cxn ang="0">
                <a:pos x="113" y="35"/>
              </a:cxn>
              <a:cxn ang="0">
                <a:pos x="104" y="38"/>
              </a:cxn>
              <a:cxn ang="0">
                <a:pos x="90" y="40"/>
              </a:cxn>
              <a:cxn ang="0">
                <a:pos x="62" y="43"/>
              </a:cxn>
              <a:cxn ang="0">
                <a:pos x="49" y="37"/>
              </a:cxn>
              <a:cxn ang="0">
                <a:pos x="61" y="35"/>
              </a:cxn>
              <a:cxn ang="0">
                <a:pos x="66" y="33"/>
              </a:cxn>
              <a:cxn ang="0">
                <a:pos x="86" y="33"/>
              </a:cxn>
              <a:cxn ang="0">
                <a:pos x="96" y="30"/>
              </a:cxn>
              <a:cxn ang="0">
                <a:pos x="97" y="27"/>
              </a:cxn>
              <a:cxn ang="0">
                <a:pos x="80" y="29"/>
              </a:cxn>
              <a:cxn ang="0">
                <a:pos x="74" y="29"/>
              </a:cxn>
              <a:cxn ang="0">
                <a:pos x="65" y="30"/>
              </a:cxn>
              <a:cxn ang="0">
                <a:pos x="58" y="29"/>
              </a:cxn>
              <a:cxn ang="0">
                <a:pos x="61" y="26"/>
              </a:cxn>
              <a:cxn ang="0">
                <a:pos x="54" y="26"/>
              </a:cxn>
              <a:cxn ang="0">
                <a:pos x="46" y="27"/>
              </a:cxn>
              <a:cxn ang="0">
                <a:pos x="46" y="32"/>
              </a:cxn>
              <a:cxn ang="0">
                <a:pos x="33" y="30"/>
              </a:cxn>
              <a:cxn ang="0">
                <a:pos x="28" y="33"/>
              </a:cxn>
              <a:cxn ang="0">
                <a:pos x="21" y="29"/>
              </a:cxn>
              <a:cxn ang="0">
                <a:pos x="3" y="29"/>
              </a:cxn>
              <a:cxn ang="0">
                <a:pos x="7" y="24"/>
              </a:cxn>
              <a:cxn ang="0">
                <a:pos x="28" y="22"/>
              </a:cxn>
              <a:cxn ang="0">
                <a:pos x="28" y="21"/>
              </a:cxn>
              <a:cxn ang="0">
                <a:pos x="5" y="21"/>
              </a:cxn>
              <a:cxn ang="0">
                <a:pos x="38" y="18"/>
              </a:cxn>
              <a:cxn ang="0">
                <a:pos x="12" y="18"/>
              </a:cxn>
              <a:cxn ang="0">
                <a:pos x="13" y="13"/>
              </a:cxn>
              <a:cxn ang="0">
                <a:pos x="32" y="11"/>
              </a:cxn>
              <a:cxn ang="0">
                <a:pos x="38" y="11"/>
              </a:cxn>
              <a:cxn ang="0">
                <a:pos x="30" y="7"/>
              </a:cxn>
              <a:cxn ang="0">
                <a:pos x="49" y="7"/>
              </a:cxn>
              <a:cxn ang="0">
                <a:pos x="52" y="11"/>
              </a:cxn>
              <a:cxn ang="0">
                <a:pos x="70" y="11"/>
              </a:cxn>
              <a:cxn ang="0">
                <a:pos x="85" y="15"/>
              </a:cxn>
              <a:cxn ang="0">
                <a:pos x="92" y="18"/>
              </a:cxn>
              <a:cxn ang="0">
                <a:pos x="93" y="19"/>
              </a:cxn>
              <a:cxn ang="0">
                <a:pos x="98" y="22"/>
              </a:cxn>
              <a:cxn ang="0">
                <a:pos x="108" y="22"/>
              </a:cxn>
              <a:cxn ang="0">
                <a:pos x="131" y="22"/>
              </a:cxn>
              <a:cxn ang="0">
                <a:pos x="124" y="18"/>
              </a:cxn>
              <a:cxn ang="0">
                <a:pos x="117" y="16"/>
              </a:cxn>
              <a:cxn ang="0">
                <a:pos x="125" y="13"/>
              </a:cxn>
              <a:cxn ang="0">
                <a:pos x="116" y="10"/>
              </a:cxn>
              <a:cxn ang="0">
                <a:pos x="113" y="7"/>
              </a:cxn>
            </a:cxnLst>
            <a:rect l="0" t="0" r="r" b="b"/>
            <a:pathLst>
              <a:path w="185" h="43">
                <a:moveTo>
                  <a:pt x="116" y="7"/>
                </a:moveTo>
                <a:lnTo>
                  <a:pt x="116" y="5"/>
                </a:lnTo>
                <a:lnTo>
                  <a:pt x="116" y="7"/>
                </a:lnTo>
                <a:lnTo>
                  <a:pt x="118" y="5"/>
                </a:lnTo>
                <a:lnTo>
                  <a:pt x="120" y="5"/>
                </a:lnTo>
                <a:lnTo>
                  <a:pt x="120" y="4"/>
                </a:lnTo>
                <a:lnTo>
                  <a:pt x="125" y="0"/>
                </a:lnTo>
                <a:lnTo>
                  <a:pt x="128" y="0"/>
                </a:lnTo>
                <a:lnTo>
                  <a:pt x="131" y="0"/>
                </a:lnTo>
                <a:lnTo>
                  <a:pt x="134" y="0"/>
                </a:lnTo>
                <a:lnTo>
                  <a:pt x="138" y="2"/>
                </a:lnTo>
                <a:lnTo>
                  <a:pt x="134" y="4"/>
                </a:lnTo>
                <a:lnTo>
                  <a:pt x="135" y="5"/>
                </a:lnTo>
                <a:lnTo>
                  <a:pt x="137" y="5"/>
                </a:lnTo>
                <a:lnTo>
                  <a:pt x="137" y="7"/>
                </a:lnTo>
                <a:lnTo>
                  <a:pt x="138" y="7"/>
                </a:lnTo>
                <a:lnTo>
                  <a:pt x="139" y="8"/>
                </a:lnTo>
                <a:lnTo>
                  <a:pt x="143" y="8"/>
                </a:lnTo>
                <a:lnTo>
                  <a:pt x="143" y="10"/>
                </a:lnTo>
                <a:lnTo>
                  <a:pt x="145" y="11"/>
                </a:lnTo>
                <a:lnTo>
                  <a:pt x="142" y="11"/>
                </a:lnTo>
                <a:lnTo>
                  <a:pt x="139" y="13"/>
                </a:lnTo>
                <a:lnTo>
                  <a:pt x="137" y="13"/>
                </a:lnTo>
                <a:lnTo>
                  <a:pt x="141" y="15"/>
                </a:lnTo>
                <a:lnTo>
                  <a:pt x="146" y="13"/>
                </a:lnTo>
                <a:lnTo>
                  <a:pt x="151" y="15"/>
                </a:lnTo>
                <a:lnTo>
                  <a:pt x="150" y="16"/>
                </a:lnTo>
                <a:lnTo>
                  <a:pt x="147" y="16"/>
                </a:lnTo>
                <a:lnTo>
                  <a:pt x="146" y="18"/>
                </a:lnTo>
                <a:lnTo>
                  <a:pt x="146" y="19"/>
                </a:lnTo>
                <a:lnTo>
                  <a:pt x="149" y="18"/>
                </a:lnTo>
                <a:lnTo>
                  <a:pt x="150" y="16"/>
                </a:lnTo>
                <a:lnTo>
                  <a:pt x="154" y="16"/>
                </a:lnTo>
                <a:lnTo>
                  <a:pt x="158" y="16"/>
                </a:lnTo>
                <a:lnTo>
                  <a:pt x="162" y="21"/>
                </a:lnTo>
                <a:lnTo>
                  <a:pt x="165" y="18"/>
                </a:lnTo>
                <a:lnTo>
                  <a:pt x="166" y="18"/>
                </a:lnTo>
                <a:lnTo>
                  <a:pt x="165" y="18"/>
                </a:lnTo>
                <a:lnTo>
                  <a:pt x="163" y="16"/>
                </a:lnTo>
                <a:lnTo>
                  <a:pt x="165" y="15"/>
                </a:lnTo>
                <a:lnTo>
                  <a:pt x="166" y="15"/>
                </a:lnTo>
                <a:lnTo>
                  <a:pt x="174" y="15"/>
                </a:lnTo>
                <a:lnTo>
                  <a:pt x="181" y="16"/>
                </a:lnTo>
                <a:lnTo>
                  <a:pt x="183" y="19"/>
                </a:lnTo>
                <a:lnTo>
                  <a:pt x="185" y="21"/>
                </a:lnTo>
                <a:lnTo>
                  <a:pt x="183" y="22"/>
                </a:lnTo>
                <a:lnTo>
                  <a:pt x="181" y="24"/>
                </a:lnTo>
                <a:lnTo>
                  <a:pt x="179" y="27"/>
                </a:lnTo>
                <a:lnTo>
                  <a:pt x="178" y="27"/>
                </a:lnTo>
                <a:lnTo>
                  <a:pt x="177" y="30"/>
                </a:lnTo>
                <a:lnTo>
                  <a:pt x="174" y="32"/>
                </a:lnTo>
                <a:lnTo>
                  <a:pt x="170" y="32"/>
                </a:lnTo>
                <a:lnTo>
                  <a:pt x="167" y="32"/>
                </a:lnTo>
                <a:lnTo>
                  <a:pt x="165" y="33"/>
                </a:lnTo>
                <a:lnTo>
                  <a:pt x="158" y="33"/>
                </a:lnTo>
                <a:lnTo>
                  <a:pt x="154" y="33"/>
                </a:lnTo>
                <a:lnTo>
                  <a:pt x="151" y="33"/>
                </a:lnTo>
                <a:lnTo>
                  <a:pt x="150" y="32"/>
                </a:lnTo>
                <a:lnTo>
                  <a:pt x="150" y="30"/>
                </a:lnTo>
                <a:lnTo>
                  <a:pt x="143" y="33"/>
                </a:lnTo>
                <a:lnTo>
                  <a:pt x="139" y="33"/>
                </a:lnTo>
                <a:lnTo>
                  <a:pt x="134" y="33"/>
                </a:lnTo>
                <a:lnTo>
                  <a:pt x="137" y="32"/>
                </a:lnTo>
                <a:lnTo>
                  <a:pt x="134" y="32"/>
                </a:lnTo>
                <a:lnTo>
                  <a:pt x="134" y="30"/>
                </a:lnTo>
                <a:lnTo>
                  <a:pt x="133" y="30"/>
                </a:lnTo>
                <a:lnTo>
                  <a:pt x="131" y="32"/>
                </a:lnTo>
                <a:lnTo>
                  <a:pt x="129" y="33"/>
                </a:lnTo>
                <a:lnTo>
                  <a:pt x="126" y="33"/>
                </a:lnTo>
                <a:lnTo>
                  <a:pt x="124" y="35"/>
                </a:lnTo>
                <a:lnTo>
                  <a:pt x="117" y="35"/>
                </a:lnTo>
                <a:lnTo>
                  <a:pt x="113" y="35"/>
                </a:lnTo>
                <a:lnTo>
                  <a:pt x="105" y="37"/>
                </a:lnTo>
                <a:lnTo>
                  <a:pt x="106" y="37"/>
                </a:lnTo>
                <a:lnTo>
                  <a:pt x="105" y="38"/>
                </a:lnTo>
                <a:lnTo>
                  <a:pt x="104" y="38"/>
                </a:lnTo>
                <a:lnTo>
                  <a:pt x="102" y="38"/>
                </a:lnTo>
                <a:lnTo>
                  <a:pt x="98" y="40"/>
                </a:lnTo>
                <a:lnTo>
                  <a:pt x="96" y="40"/>
                </a:lnTo>
                <a:lnTo>
                  <a:pt x="90" y="40"/>
                </a:lnTo>
                <a:lnTo>
                  <a:pt x="89" y="41"/>
                </a:lnTo>
                <a:lnTo>
                  <a:pt x="81" y="43"/>
                </a:lnTo>
                <a:lnTo>
                  <a:pt x="76" y="43"/>
                </a:lnTo>
                <a:lnTo>
                  <a:pt x="62" y="43"/>
                </a:lnTo>
                <a:lnTo>
                  <a:pt x="56" y="41"/>
                </a:lnTo>
                <a:lnTo>
                  <a:pt x="50" y="40"/>
                </a:lnTo>
                <a:lnTo>
                  <a:pt x="48" y="38"/>
                </a:lnTo>
                <a:lnTo>
                  <a:pt x="49" y="37"/>
                </a:lnTo>
                <a:lnTo>
                  <a:pt x="52" y="37"/>
                </a:lnTo>
                <a:lnTo>
                  <a:pt x="54" y="37"/>
                </a:lnTo>
                <a:lnTo>
                  <a:pt x="58" y="35"/>
                </a:lnTo>
                <a:lnTo>
                  <a:pt x="61" y="35"/>
                </a:lnTo>
                <a:lnTo>
                  <a:pt x="62" y="35"/>
                </a:lnTo>
                <a:lnTo>
                  <a:pt x="64" y="35"/>
                </a:lnTo>
                <a:lnTo>
                  <a:pt x="66" y="35"/>
                </a:lnTo>
                <a:lnTo>
                  <a:pt x="66" y="33"/>
                </a:lnTo>
                <a:lnTo>
                  <a:pt x="69" y="32"/>
                </a:lnTo>
                <a:lnTo>
                  <a:pt x="82" y="32"/>
                </a:lnTo>
                <a:lnTo>
                  <a:pt x="86" y="32"/>
                </a:lnTo>
                <a:lnTo>
                  <a:pt x="86" y="33"/>
                </a:lnTo>
                <a:lnTo>
                  <a:pt x="89" y="33"/>
                </a:lnTo>
                <a:lnTo>
                  <a:pt x="92" y="32"/>
                </a:lnTo>
                <a:lnTo>
                  <a:pt x="94" y="30"/>
                </a:lnTo>
                <a:lnTo>
                  <a:pt x="96" y="30"/>
                </a:lnTo>
                <a:lnTo>
                  <a:pt x="100" y="29"/>
                </a:lnTo>
                <a:lnTo>
                  <a:pt x="101" y="29"/>
                </a:lnTo>
                <a:lnTo>
                  <a:pt x="101" y="27"/>
                </a:lnTo>
                <a:lnTo>
                  <a:pt x="97" y="27"/>
                </a:lnTo>
                <a:lnTo>
                  <a:pt x="94" y="29"/>
                </a:lnTo>
                <a:lnTo>
                  <a:pt x="90" y="29"/>
                </a:lnTo>
                <a:lnTo>
                  <a:pt x="80" y="30"/>
                </a:lnTo>
                <a:lnTo>
                  <a:pt x="80" y="29"/>
                </a:lnTo>
                <a:lnTo>
                  <a:pt x="76" y="29"/>
                </a:lnTo>
                <a:lnTo>
                  <a:pt x="76" y="27"/>
                </a:lnTo>
                <a:lnTo>
                  <a:pt x="74" y="27"/>
                </a:lnTo>
                <a:lnTo>
                  <a:pt x="74" y="29"/>
                </a:lnTo>
                <a:lnTo>
                  <a:pt x="72" y="30"/>
                </a:lnTo>
                <a:lnTo>
                  <a:pt x="69" y="30"/>
                </a:lnTo>
                <a:lnTo>
                  <a:pt x="68" y="30"/>
                </a:lnTo>
                <a:lnTo>
                  <a:pt x="65" y="30"/>
                </a:lnTo>
                <a:lnTo>
                  <a:pt x="61" y="32"/>
                </a:lnTo>
                <a:lnTo>
                  <a:pt x="57" y="32"/>
                </a:lnTo>
                <a:lnTo>
                  <a:pt x="54" y="30"/>
                </a:lnTo>
                <a:lnTo>
                  <a:pt x="58" y="29"/>
                </a:lnTo>
                <a:lnTo>
                  <a:pt x="57" y="29"/>
                </a:lnTo>
                <a:lnTo>
                  <a:pt x="57" y="27"/>
                </a:lnTo>
                <a:lnTo>
                  <a:pt x="57" y="26"/>
                </a:lnTo>
                <a:lnTo>
                  <a:pt x="61" y="26"/>
                </a:lnTo>
                <a:lnTo>
                  <a:pt x="64" y="24"/>
                </a:lnTo>
                <a:lnTo>
                  <a:pt x="62" y="24"/>
                </a:lnTo>
                <a:lnTo>
                  <a:pt x="60" y="26"/>
                </a:lnTo>
                <a:lnTo>
                  <a:pt x="54" y="26"/>
                </a:lnTo>
                <a:lnTo>
                  <a:pt x="52" y="29"/>
                </a:lnTo>
                <a:lnTo>
                  <a:pt x="50" y="29"/>
                </a:lnTo>
                <a:lnTo>
                  <a:pt x="49" y="27"/>
                </a:lnTo>
                <a:lnTo>
                  <a:pt x="46" y="27"/>
                </a:lnTo>
                <a:lnTo>
                  <a:pt x="46" y="29"/>
                </a:lnTo>
                <a:lnTo>
                  <a:pt x="49" y="29"/>
                </a:lnTo>
                <a:lnTo>
                  <a:pt x="48" y="30"/>
                </a:lnTo>
                <a:lnTo>
                  <a:pt x="46" y="32"/>
                </a:lnTo>
                <a:lnTo>
                  <a:pt x="42" y="33"/>
                </a:lnTo>
                <a:lnTo>
                  <a:pt x="38" y="32"/>
                </a:lnTo>
                <a:lnTo>
                  <a:pt x="37" y="30"/>
                </a:lnTo>
                <a:lnTo>
                  <a:pt x="33" y="30"/>
                </a:lnTo>
                <a:lnTo>
                  <a:pt x="30" y="30"/>
                </a:lnTo>
                <a:lnTo>
                  <a:pt x="32" y="32"/>
                </a:lnTo>
                <a:lnTo>
                  <a:pt x="30" y="33"/>
                </a:lnTo>
                <a:lnTo>
                  <a:pt x="28" y="33"/>
                </a:lnTo>
                <a:lnTo>
                  <a:pt x="21" y="32"/>
                </a:lnTo>
                <a:lnTo>
                  <a:pt x="22" y="30"/>
                </a:lnTo>
                <a:lnTo>
                  <a:pt x="21" y="30"/>
                </a:lnTo>
                <a:lnTo>
                  <a:pt x="21" y="29"/>
                </a:lnTo>
                <a:lnTo>
                  <a:pt x="17" y="29"/>
                </a:lnTo>
                <a:lnTo>
                  <a:pt x="16" y="30"/>
                </a:lnTo>
                <a:lnTo>
                  <a:pt x="7" y="30"/>
                </a:lnTo>
                <a:lnTo>
                  <a:pt x="3" y="29"/>
                </a:lnTo>
                <a:lnTo>
                  <a:pt x="0" y="29"/>
                </a:lnTo>
                <a:lnTo>
                  <a:pt x="0" y="27"/>
                </a:lnTo>
                <a:lnTo>
                  <a:pt x="3" y="26"/>
                </a:lnTo>
                <a:lnTo>
                  <a:pt x="7" y="24"/>
                </a:lnTo>
                <a:lnTo>
                  <a:pt x="13" y="24"/>
                </a:lnTo>
                <a:lnTo>
                  <a:pt x="24" y="24"/>
                </a:lnTo>
                <a:lnTo>
                  <a:pt x="25" y="24"/>
                </a:lnTo>
                <a:lnTo>
                  <a:pt x="28" y="22"/>
                </a:lnTo>
                <a:lnTo>
                  <a:pt x="36" y="21"/>
                </a:lnTo>
                <a:lnTo>
                  <a:pt x="38" y="19"/>
                </a:lnTo>
                <a:lnTo>
                  <a:pt x="33" y="21"/>
                </a:lnTo>
                <a:lnTo>
                  <a:pt x="28" y="21"/>
                </a:lnTo>
                <a:lnTo>
                  <a:pt x="24" y="22"/>
                </a:lnTo>
                <a:lnTo>
                  <a:pt x="16" y="22"/>
                </a:lnTo>
                <a:lnTo>
                  <a:pt x="5" y="22"/>
                </a:lnTo>
                <a:lnTo>
                  <a:pt x="5" y="21"/>
                </a:lnTo>
                <a:lnTo>
                  <a:pt x="9" y="19"/>
                </a:lnTo>
                <a:lnTo>
                  <a:pt x="21" y="18"/>
                </a:lnTo>
                <a:lnTo>
                  <a:pt x="28" y="18"/>
                </a:lnTo>
                <a:lnTo>
                  <a:pt x="38" y="18"/>
                </a:lnTo>
                <a:lnTo>
                  <a:pt x="42" y="16"/>
                </a:lnTo>
                <a:lnTo>
                  <a:pt x="37" y="16"/>
                </a:lnTo>
                <a:lnTo>
                  <a:pt x="15" y="18"/>
                </a:lnTo>
                <a:lnTo>
                  <a:pt x="12" y="18"/>
                </a:lnTo>
                <a:lnTo>
                  <a:pt x="13" y="16"/>
                </a:lnTo>
                <a:lnTo>
                  <a:pt x="15" y="15"/>
                </a:lnTo>
                <a:lnTo>
                  <a:pt x="16" y="15"/>
                </a:lnTo>
                <a:lnTo>
                  <a:pt x="13" y="13"/>
                </a:lnTo>
                <a:lnTo>
                  <a:pt x="16" y="11"/>
                </a:lnTo>
                <a:lnTo>
                  <a:pt x="21" y="11"/>
                </a:lnTo>
                <a:lnTo>
                  <a:pt x="28" y="11"/>
                </a:lnTo>
                <a:lnTo>
                  <a:pt x="32" y="11"/>
                </a:lnTo>
                <a:lnTo>
                  <a:pt x="42" y="11"/>
                </a:lnTo>
                <a:lnTo>
                  <a:pt x="44" y="11"/>
                </a:lnTo>
                <a:lnTo>
                  <a:pt x="41" y="11"/>
                </a:lnTo>
                <a:lnTo>
                  <a:pt x="38" y="11"/>
                </a:lnTo>
                <a:lnTo>
                  <a:pt x="26" y="10"/>
                </a:lnTo>
                <a:lnTo>
                  <a:pt x="25" y="10"/>
                </a:lnTo>
                <a:lnTo>
                  <a:pt x="28" y="8"/>
                </a:lnTo>
                <a:lnTo>
                  <a:pt x="30" y="7"/>
                </a:lnTo>
                <a:lnTo>
                  <a:pt x="37" y="7"/>
                </a:lnTo>
                <a:lnTo>
                  <a:pt x="40" y="5"/>
                </a:lnTo>
                <a:lnTo>
                  <a:pt x="45" y="5"/>
                </a:lnTo>
                <a:lnTo>
                  <a:pt x="49" y="7"/>
                </a:lnTo>
                <a:lnTo>
                  <a:pt x="52" y="7"/>
                </a:lnTo>
                <a:lnTo>
                  <a:pt x="52" y="8"/>
                </a:lnTo>
                <a:lnTo>
                  <a:pt x="50" y="10"/>
                </a:lnTo>
                <a:lnTo>
                  <a:pt x="52" y="11"/>
                </a:lnTo>
                <a:lnTo>
                  <a:pt x="60" y="11"/>
                </a:lnTo>
                <a:lnTo>
                  <a:pt x="64" y="10"/>
                </a:lnTo>
                <a:lnTo>
                  <a:pt x="70" y="10"/>
                </a:lnTo>
                <a:lnTo>
                  <a:pt x="70" y="11"/>
                </a:lnTo>
                <a:lnTo>
                  <a:pt x="77" y="11"/>
                </a:lnTo>
                <a:lnTo>
                  <a:pt x="78" y="13"/>
                </a:lnTo>
                <a:lnTo>
                  <a:pt x="82" y="15"/>
                </a:lnTo>
                <a:lnTo>
                  <a:pt x="85" y="15"/>
                </a:lnTo>
                <a:lnTo>
                  <a:pt x="88" y="16"/>
                </a:lnTo>
                <a:lnTo>
                  <a:pt x="82" y="18"/>
                </a:lnTo>
                <a:lnTo>
                  <a:pt x="85" y="18"/>
                </a:lnTo>
                <a:lnTo>
                  <a:pt x="92" y="18"/>
                </a:lnTo>
                <a:lnTo>
                  <a:pt x="93" y="18"/>
                </a:lnTo>
                <a:lnTo>
                  <a:pt x="93" y="19"/>
                </a:lnTo>
                <a:lnTo>
                  <a:pt x="92" y="19"/>
                </a:lnTo>
                <a:lnTo>
                  <a:pt x="93" y="19"/>
                </a:lnTo>
                <a:lnTo>
                  <a:pt x="94" y="21"/>
                </a:lnTo>
                <a:lnTo>
                  <a:pt x="94" y="22"/>
                </a:lnTo>
                <a:lnTo>
                  <a:pt x="96" y="22"/>
                </a:lnTo>
                <a:lnTo>
                  <a:pt x="98" y="22"/>
                </a:lnTo>
                <a:lnTo>
                  <a:pt x="100" y="22"/>
                </a:lnTo>
                <a:lnTo>
                  <a:pt x="101" y="22"/>
                </a:lnTo>
                <a:lnTo>
                  <a:pt x="104" y="22"/>
                </a:lnTo>
                <a:lnTo>
                  <a:pt x="108" y="22"/>
                </a:lnTo>
                <a:lnTo>
                  <a:pt x="109" y="22"/>
                </a:lnTo>
                <a:lnTo>
                  <a:pt x="114" y="22"/>
                </a:lnTo>
                <a:lnTo>
                  <a:pt x="129" y="24"/>
                </a:lnTo>
                <a:lnTo>
                  <a:pt x="131" y="22"/>
                </a:lnTo>
                <a:lnTo>
                  <a:pt x="131" y="19"/>
                </a:lnTo>
                <a:lnTo>
                  <a:pt x="129" y="19"/>
                </a:lnTo>
                <a:lnTo>
                  <a:pt x="126" y="18"/>
                </a:lnTo>
                <a:lnTo>
                  <a:pt x="124" y="18"/>
                </a:lnTo>
                <a:lnTo>
                  <a:pt x="121" y="18"/>
                </a:lnTo>
                <a:lnTo>
                  <a:pt x="121" y="16"/>
                </a:lnTo>
                <a:lnTo>
                  <a:pt x="118" y="18"/>
                </a:lnTo>
                <a:lnTo>
                  <a:pt x="117" y="16"/>
                </a:lnTo>
                <a:lnTo>
                  <a:pt x="124" y="16"/>
                </a:lnTo>
                <a:lnTo>
                  <a:pt x="124" y="15"/>
                </a:lnTo>
                <a:lnTo>
                  <a:pt x="126" y="15"/>
                </a:lnTo>
                <a:lnTo>
                  <a:pt x="125" y="13"/>
                </a:lnTo>
                <a:lnTo>
                  <a:pt x="124" y="11"/>
                </a:lnTo>
                <a:lnTo>
                  <a:pt x="121" y="11"/>
                </a:lnTo>
                <a:lnTo>
                  <a:pt x="120" y="11"/>
                </a:lnTo>
                <a:lnTo>
                  <a:pt x="116" y="10"/>
                </a:lnTo>
                <a:lnTo>
                  <a:pt x="110" y="8"/>
                </a:lnTo>
                <a:lnTo>
                  <a:pt x="110" y="7"/>
                </a:lnTo>
                <a:lnTo>
                  <a:pt x="109" y="7"/>
                </a:lnTo>
                <a:lnTo>
                  <a:pt x="113" y="7"/>
                </a:lnTo>
                <a:lnTo>
                  <a:pt x="116" y="7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80" name="Freeform 680"/>
          <p:cNvSpPr>
            <a:spLocks/>
          </p:cNvSpPr>
          <p:nvPr/>
        </p:nvSpPr>
        <p:spPr bwMode="auto">
          <a:xfrm>
            <a:off x="2291283" y="1633979"/>
            <a:ext cx="350787" cy="85905"/>
          </a:xfrm>
          <a:custGeom>
            <a:avLst/>
            <a:gdLst/>
            <a:ahLst/>
            <a:cxnLst>
              <a:cxn ang="0">
                <a:pos x="118" y="5"/>
              </a:cxn>
              <a:cxn ang="0">
                <a:pos x="128" y="0"/>
              </a:cxn>
              <a:cxn ang="0">
                <a:pos x="134" y="4"/>
              </a:cxn>
              <a:cxn ang="0">
                <a:pos x="138" y="7"/>
              </a:cxn>
              <a:cxn ang="0">
                <a:pos x="145" y="11"/>
              </a:cxn>
              <a:cxn ang="0">
                <a:pos x="141" y="15"/>
              </a:cxn>
              <a:cxn ang="0">
                <a:pos x="147" y="16"/>
              </a:cxn>
              <a:cxn ang="0">
                <a:pos x="150" y="16"/>
              </a:cxn>
              <a:cxn ang="0">
                <a:pos x="165" y="18"/>
              </a:cxn>
              <a:cxn ang="0">
                <a:pos x="165" y="15"/>
              </a:cxn>
              <a:cxn ang="0">
                <a:pos x="183" y="19"/>
              </a:cxn>
              <a:cxn ang="0">
                <a:pos x="179" y="27"/>
              </a:cxn>
              <a:cxn ang="0">
                <a:pos x="170" y="32"/>
              </a:cxn>
              <a:cxn ang="0">
                <a:pos x="154" y="33"/>
              </a:cxn>
              <a:cxn ang="0">
                <a:pos x="143" y="33"/>
              </a:cxn>
              <a:cxn ang="0">
                <a:pos x="134" y="32"/>
              </a:cxn>
              <a:cxn ang="0">
                <a:pos x="129" y="33"/>
              </a:cxn>
              <a:cxn ang="0">
                <a:pos x="113" y="35"/>
              </a:cxn>
              <a:cxn ang="0">
                <a:pos x="104" y="38"/>
              </a:cxn>
              <a:cxn ang="0">
                <a:pos x="90" y="40"/>
              </a:cxn>
              <a:cxn ang="0">
                <a:pos x="62" y="43"/>
              </a:cxn>
              <a:cxn ang="0">
                <a:pos x="49" y="37"/>
              </a:cxn>
              <a:cxn ang="0">
                <a:pos x="61" y="35"/>
              </a:cxn>
              <a:cxn ang="0">
                <a:pos x="66" y="33"/>
              </a:cxn>
              <a:cxn ang="0">
                <a:pos x="86" y="33"/>
              </a:cxn>
              <a:cxn ang="0">
                <a:pos x="96" y="30"/>
              </a:cxn>
              <a:cxn ang="0">
                <a:pos x="97" y="27"/>
              </a:cxn>
              <a:cxn ang="0">
                <a:pos x="80" y="29"/>
              </a:cxn>
              <a:cxn ang="0">
                <a:pos x="74" y="29"/>
              </a:cxn>
              <a:cxn ang="0">
                <a:pos x="65" y="30"/>
              </a:cxn>
              <a:cxn ang="0">
                <a:pos x="58" y="29"/>
              </a:cxn>
              <a:cxn ang="0">
                <a:pos x="61" y="26"/>
              </a:cxn>
              <a:cxn ang="0">
                <a:pos x="54" y="26"/>
              </a:cxn>
              <a:cxn ang="0">
                <a:pos x="46" y="27"/>
              </a:cxn>
              <a:cxn ang="0">
                <a:pos x="46" y="32"/>
              </a:cxn>
              <a:cxn ang="0">
                <a:pos x="33" y="30"/>
              </a:cxn>
              <a:cxn ang="0">
                <a:pos x="28" y="33"/>
              </a:cxn>
              <a:cxn ang="0">
                <a:pos x="21" y="29"/>
              </a:cxn>
              <a:cxn ang="0">
                <a:pos x="3" y="29"/>
              </a:cxn>
              <a:cxn ang="0">
                <a:pos x="7" y="24"/>
              </a:cxn>
              <a:cxn ang="0">
                <a:pos x="28" y="22"/>
              </a:cxn>
              <a:cxn ang="0">
                <a:pos x="28" y="21"/>
              </a:cxn>
              <a:cxn ang="0">
                <a:pos x="5" y="21"/>
              </a:cxn>
              <a:cxn ang="0">
                <a:pos x="38" y="18"/>
              </a:cxn>
              <a:cxn ang="0">
                <a:pos x="12" y="18"/>
              </a:cxn>
              <a:cxn ang="0">
                <a:pos x="13" y="13"/>
              </a:cxn>
              <a:cxn ang="0">
                <a:pos x="32" y="11"/>
              </a:cxn>
              <a:cxn ang="0">
                <a:pos x="38" y="11"/>
              </a:cxn>
              <a:cxn ang="0">
                <a:pos x="30" y="7"/>
              </a:cxn>
            </a:cxnLst>
            <a:rect l="0" t="0" r="r" b="b"/>
            <a:pathLst>
              <a:path w="185" h="43">
                <a:moveTo>
                  <a:pt x="116" y="7"/>
                </a:moveTo>
                <a:lnTo>
                  <a:pt x="116" y="5"/>
                </a:lnTo>
                <a:lnTo>
                  <a:pt x="116" y="7"/>
                </a:lnTo>
                <a:lnTo>
                  <a:pt x="118" y="5"/>
                </a:lnTo>
                <a:lnTo>
                  <a:pt x="120" y="5"/>
                </a:lnTo>
                <a:lnTo>
                  <a:pt x="120" y="4"/>
                </a:lnTo>
                <a:lnTo>
                  <a:pt x="125" y="0"/>
                </a:lnTo>
                <a:lnTo>
                  <a:pt x="128" y="0"/>
                </a:lnTo>
                <a:lnTo>
                  <a:pt x="131" y="0"/>
                </a:lnTo>
                <a:lnTo>
                  <a:pt x="134" y="0"/>
                </a:lnTo>
                <a:lnTo>
                  <a:pt x="138" y="2"/>
                </a:lnTo>
                <a:lnTo>
                  <a:pt x="134" y="4"/>
                </a:lnTo>
                <a:lnTo>
                  <a:pt x="135" y="5"/>
                </a:lnTo>
                <a:lnTo>
                  <a:pt x="137" y="5"/>
                </a:lnTo>
                <a:lnTo>
                  <a:pt x="137" y="7"/>
                </a:lnTo>
                <a:lnTo>
                  <a:pt x="138" y="7"/>
                </a:lnTo>
                <a:lnTo>
                  <a:pt x="139" y="8"/>
                </a:lnTo>
                <a:lnTo>
                  <a:pt x="143" y="8"/>
                </a:lnTo>
                <a:lnTo>
                  <a:pt x="143" y="10"/>
                </a:lnTo>
                <a:lnTo>
                  <a:pt x="145" y="11"/>
                </a:lnTo>
                <a:lnTo>
                  <a:pt x="142" y="11"/>
                </a:lnTo>
                <a:lnTo>
                  <a:pt x="139" y="13"/>
                </a:lnTo>
                <a:lnTo>
                  <a:pt x="137" y="13"/>
                </a:lnTo>
                <a:lnTo>
                  <a:pt x="141" y="15"/>
                </a:lnTo>
                <a:lnTo>
                  <a:pt x="146" y="13"/>
                </a:lnTo>
                <a:lnTo>
                  <a:pt x="151" y="15"/>
                </a:lnTo>
                <a:lnTo>
                  <a:pt x="150" y="16"/>
                </a:lnTo>
                <a:lnTo>
                  <a:pt x="147" y="16"/>
                </a:lnTo>
                <a:lnTo>
                  <a:pt x="146" y="18"/>
                </a:lnTo>
                <a:lnTo>
                  <a:pt x="146" y="19"/>
                </a:lnTo>
                <a:lnTo>
                  <a:pt x="149" y="18"/>
                </a:lnTo>
                <a:lnTo>
                  <a:pt x="150" y="16"/>
                </a:lnTo>
                <a:lnTo>
                  <a:pt x="154" y="16"/>
                </a:lnTo>
                <a:lnTo>
                  <a:pt x="158" y="16"/>
                </a:lnTo>
                <a:lnTo>
                  <a:pt x="162" y="21"/>
                </a:lnTo>
                <a:lnTo>
                  <a:pt x="165" y="18"/>
                </a:lnTo>
                <a:lnTo>
                  <a:pt x="166" y="18"/>
                </a:lnTo>
                <a:lnTo>
                  <a:pt x="165" y="18"/>
                </a:lnTo>
                <a:lnTo>
                  <a:pt x="163" y="16"/>
                </a:lnTo>
                <a:lnTo>
                  <a:pt x="165" y="15"/>
                </a:lnTo>
                <a:lnTo>
                  <a:pt x="166" y="15"/>
                </a:lnTo>
                <a:lnTo>
                  <a:pt x="174" y="15"/>
                </a:lnTo>
                <a:lnTo>
                  <a:pt x="181" y="16"/>
                </a:lnTo>
                <a:lnTo>
                  <a:pt x="183" y="19"/>
                </a:lnTo>
                <a:lnTo>
                  <a:pt x="185" y="21"/>
                </a:lnTo>
                <a:lnTo>
                  <a:pt x="183" y="22"/>
                </a:lnTo>
                <a:lnTo>
                  <a:pt x="181" y="24"/>
                </a:lnTo>
                <a:lnTo>
                  <a:pt x="179" y="27"/>
                </a:lnTo>
                <a:lnTo>
                  <a:pt x="178" y="27"/>
                </a:lnTo>
                <a:lnTo>
                  <a:pt x="177" y="30"/>
                </a:lnTo>
                <a:lnTo>
                  <a:pt x="174" y="32"/>
                </a:lnTo>
                <a:lnTo>
                  <a:pt x="170" y="32"/>
                </a:lnTo>
                <a:lnTo>
                  <a:pt x="167" y="32"/>
                </a:lnTo>
                <a:lnTo>
                  <a:pt x="165" y="33"/>
                </a:lnTo>
                <a:lnTo>
                  <a:pt x="158" y="33"/>
                </a:lnTo>
                <a:lnTo>
                  <a:pt x="154" y="33"/>
                </a:lnTo>
                <a:lnTo>
                  <a:pt x="151" y="33"/>
                </a:lnTo>
                <a:lnTo>
                  <a:pt x="150" y="32"/>
                </a:lnTo>
                <a:lnTo>
                  <a:pt x="150" y="30"/>
                </a:lnTo>
                <a:lnTo>
                  <a:pt x="143" y="33"/>
                </a:lnTo>
                <a:lnTo>
                  <a:pt x="139" y="33"/>
                </a:lnTo>
                <a:lnTo>
                  <a:pt x="134" y="33"/>
                </a:lnTo>
                <a:lnTo>
                  <a:pt x="137" y="32"/>
                </a:lnTo>
                <a:lnTo>
                  <a:pt x="134" y="32"/>
                </a:lnTo>
                <a:lnTo>
                  <a:pt x="134" y="30"/>
                </a:lnTo>
                <a:lnTo>
                  <a:pt x="133" y="30"/>
                </a:lnTo>
                <a:lnTo>
                  <a:pt x="131" y="32"/>
                </a:lnTo>
                <a:lnTo>
                  <a:pt x="129" y="33"/>
                </a:lnTo>
                <a:lnTo>
                  <a:pt x="126" y="33"/>
                </a:lnTo>
                <a:lnTo>
                  <a:pt x="124" y="35"/>
                </a:lnTo>
                <a:lnTo>
                  <a:pt x="117" y="35"/>
                </a:lnTo>
                <a:lnTo>
                  <a:pt x="113" y="35"/>
                </a:lnTo>
                <a:lnTo>
                  <a:pt x="105" y="37"/>
                </a:lnTo>
                <a:lnTo>
                  <a:pt x="106" y="37"/>
                </a:lnTo>
                <a:lnTo>
                  <a:pt x="105" y="38"/>
                </a:lnTo>
                <a:lnTo>
                  <a:pt x="104" y="38"/>
                </a:lnTo>
                <a:lnTo>
                  <a:pt x="102" y="38"/>
                </a:lnTo>
                <a:lnTo>
                  <a:pt x="98" y="40"/>
                </a:lnTo>
                <a:lnTo>
                  <a:pt x="96" y="40"/>
                </a:lnTo>
                <a:lnTo>
                  <a:pt x="90" y="40"/>
                </a:lnTo>
                <a:lnTo>
                  <a:pt x="89" y="41"/>
                </a:lnTo>
                <a:lnTo>
                  <a:pt x="81" y="43"/>
                </a:lnTo>
                <a:lnTo>
                  <a:pt x="76" y="43"/>
                </a:lnTo>
                <a:lnTo>
                  <a:pt x="62" y="43"/>
                </a:lnTo>
                <a:lnTo>
                  <a:pt x="56" y="41"/>
                </a:lnTo>
                <a:lnTo>
                  <a:pt x="50" y="40"/>
                </a:lnTo>
                <a:lnTo>
                  <a:pt x="48" y="38"/>
                </a:lnTo>
                <a:lnTo>
                  <a:pt x="49" y="37"/>
                </a:lnTo>
                <a:lnTo>
                  <a:pt x="52" y="37"/>
                </a:lnTo>
                <a:lnTo>
                  <a:pt x="54" y="37"/>
                </a:lnTo>
                <a:lnTo>
                  <a:pt x="58" y="35"/>
                </a:lnTo>
                <a:lnTo>
                  <a:pt x="61" y="35"/>
                </a:lnTo>
                <a:lnTo>
                  <a:pt x="62" y="35"/>
                </a:lnTo>
                <a:lnTo>
                  <a:pt x="64" y="35"/>
                </a:lnTo>
                <a:lnTo>
                  <a:pt x="66" y="35"/>
                </a:lnTo>
                <a:lnTo>
                  <a:pt x="66" y="33"/>
                </a:lnTo>
                <a:lnTo>
                  <a:pt x="69" y="32"/>
                </a:lnTo>
                <a:lnTo>
                  <a:pt x="82" y="32"/>
                </a:lnTo>
                <a:lnTo>
                  <a:pt x="86" y="32"/>
                </a:lnTo>
                <a:lnTo>
                  <a:pt x="86" y="33"/>
                </a:lnTo>
                <a:lnTo>
                  <a:pt x="89" y="33"/>
                </a:lnTo>
                <a:lnTo>
                  <a:pt x="92" y="32"/>
                </a:lnTo>
                <a:lnTo>
                  <a:pt x="94" y="30"/>
                </a:lnTo>
                <a:lnTo>
                  <a:pt x="96" y="30"/>
                </a:lnTo>
                <a:lnTo>
                  <a:pt x="100" y="29"/>
                </a:lnTo>
                <a:lnTo>
                  <a:pt x="101" y="29"/>
                </a:lnTo>
                <a:lnTo>
                  <a:pt x="101" y="27"/>
                </a:lnTo>
                <a:lnTo>
                  <a:pt x="97" y="27"/>
                </a:lnTo>
                <a:lnTo>
                  <a:pt x="94" y="29"/>
                </a:lnTo>
                <a:lnTo>
                  <a:pt x="90" y="29"/>
                </a:lnTo>
                <a:lnTo>
                  <a:pt x="80" y="30"/>
                </a:lnTo>
                <a:lnTo>
                  <a:pt x="80" y="29"/>
                </a:lnTo>
                <a:lnTo>
                  <a:pt x="76" y="29"/>
                </a:lnTo>
                <a:lnTo>
                  <a:pt x="76" y="27"/>
                </a:lnTo>
                <a:lnTo>
                  <a:pt x="74" y="27"/>
                </a:lnTo>
                <a:lnTo>
                  <a:pt x="74" y="29"/>
                </a:lnTo>
                <a:lnTo>
                  <a:pt x="72" y="30"/>
                </a:lnTo>
                <a:lnTo>
                  <a:pt x="69" y="30"/>
                </a:lnTo>
                <a:lnTo>
                  <a:pt x="68" y="30"/>
                </a:lnTo>
                <a:lnTo>
                  <a:pt x="65" y="30"/>
                </a:lnTo>
                <a:lnTo>
                  <a:pt x="61" y="32"/>
                </a:lnTo>
                <a:lnTo>
                  <a:pt x="57" y="32"/>
                </a:lnTo>
                <a:lnTo>
                  <a:pt x="54" y="30"/>
                </a:lnTo>
                <a:lnTo>
                  <a:pt x="58" y="29"/>
                </a:lnTo>
                <a:lnTo>
                  <a:pt x="57" y="29"/>
                </a:lnTo>
                <a:lnTo>
                  <a:pt x="57" y="27"/>
                </a:lnTo>
                <a:lnTo>
                  <a:pt x="57" y="26"/>
                </a:lnTo>
                <a:lnTo>
                  <a:pt x="61" y="26"/>
                </a:lnTo>
                <a:lnTo>
                  <a:pt x="64" y="24"/>
                </a:lnTo>
                <a:lnTo>
                  <a:pt x="62" y="24"/>
                </a:lnTo>
                <a:lnTo>
                  <a:pt x="60" y="26"/>
                </a:lnTo>
                <a:lnTo>
                  <a:pt x="54" y="26"/>
                </a:lnTo>
                <a:lnTo>
                  <a:pt x="52" y="29"/>
                </a:lnTo>
                <a:lnTo>
                  <a:pt x="50" y="29"/>
                </a:lnTo>
                <a:lnTo>
                  <a:pt x="49" y="27"/>
                </a:lnTo>
                <a:lnTo>
                  <a:pt x="46" y="27"/>
                </a:lnTo>
                <a:lnTo>
                  <a:pt x="46" y="29"/>
                </a:lnTo>
                <a:lnTo>
                  <a:pt x="49" y="29"/>
                </a:lnTo>
                <a:lnTo>
                  <a:pt x="48" y="30"/>
                </a:lnTo>
                <a:lnTo>
                  <a:pt x="46" y="32"/>
                </a:lnTo>
                <a:lnTo>
                  <a:pt x="42" y="33"/>
                </a:lnTo>
                <a:lnTo>
                  <a:pt x="38" y="32"/>
                </a:lnTo>
                <a:lnTo>
                  <a:pt x="37" y="30"/>
                </a:lnTo>
                <a:lnTo>
                  <a:pt x="33" y="30"/>
                </a:lnTo>
                <a:lnTo>
                  <a:pt x="30" y="30"/>
                </a:lnTo>
                <a:lnTo>
                  <a:pt x="32" y="32"/>
                </a:lnTo>
                <a:lnTo>
                  <a:pt x="30" y="33"/>
                </a:lnTo>
                <a:lnTo>
                  <a:pt x="28" y="33"/>
                </a:lnTo>
                <a:lnTo>
                  <a:pt x="21" y="32"/>
                </a:lnTo>
                <a:lnTo>
                  <a:pt x="22" y="30"/>
                </a:lnTo>
                <a:lnTo>
                  <a:pt x="21" y="30"/>
                </a:lnTo>
                <a:lnTo>
                  <a:pt x="21" y="29"/>
                </a:lnTo>
                <a:lnTo>
                  <a:pt x="17" y="29"/>
                </a:lnTo>
                <a:lnTo>
                  <a:pt x="16" y="30"/>
                </a:lnTo>
                <a:lnTo>
                  <a:pt x="7" y="30"/>
                </a:lnTo>
                <a:lnTo>
                  <a:pt x="3" y="29"/>
                </a:lnTo>
                <a:lnTo>
                  <a:pt x="0" y="29"/>
                </a:lnTo>
                <a:lnTo>
                  <a:pt x="0" y="27"/>
                </a:lnTo>
                <a:lnTo>
                  <a:pt x="3" y="26"/>
                </a:lnTo>
                <a:lnTo>
                  <a:pt x="7" y="24"/>
                </a:lnTo>
                <a:lnTo>
                  <a:pt x="13" y="24"/>
                </a:lnTo>
                <a:lnTo>
                  <a:pt x="24" y="24"/>
                </a:lnTo>
                <a:lnTo>
                  <a:pt x="25" y="24"/>
                </a:lnTo>
                <a:lnTo>
                  <a:pt x="28" y="22"/>
                </a:lnTo>
                <a:lnTo>
                  <a:pt x="36" y="21"/>
                </a:lnTo>
                <a:lnTo>
                  <a:pt x="38" y="19"/>
                </a:lnTo>
                <a:lnTo>
                  <a:pt x="33" y="21"/>
                </a:lnTo>
                <a:lnTo>
                  <a:pt x="28" y="21"/>
                </a:lnTo>
                <a:lnTo>
                  <a:pt x="24" y="22"/>
                </a:lnTo>
                <a:lnTo>
                  <a:pt x="16" y="22"/>
                </a:lnTo>
                <a:lnTo>
                  <a:pt x="5" y="22"/>
                </a:lnTo>
                <a:lnTo>
                  <a:pt x="5" y="21"/>
                </a:lnTo>
                <a:lnTo>
                  <a:pt x="9" y="19"/>
                </a:lnTo>
                <a:lnTo>
                  <a:pt x="21" y="18"/>
                </a:lnTo>
                <a:lnTo>
                  <a:pt x="28" y="18"/>
                </a:lnTo>
                <a:lnTo>
                  <a:pt x="38" y="18"/>
                </a:lnTo>
                <a:lnTo>
                  <a:pt x="42" y="16"/>
                </a:lnTo>
                <a:lnTo>
                  <a:pt x="37" y="16"/>
                </a:lnTo>
                <a:lnTo>
                  <a:pt x="15" y="18"/>
                </a:lnTo>
                <a:lnTo>
                  <a:pt x="12" y="18"/>
                </a:lnTo>
                <a:lnTo>
                  <a:pt x="13" y="16"/>
                </a:lnTo>
                <a:lnTo>
                  <a:pt x="15" y="15"/>
                </a:lnTo>
                <a:lnTo>
                  <a:pt x="16" y="15"/>
                </a:lnTo>
                <a:lnTo>
                  <a:pt x="13" y="13"/>
                </a:lnTo>
                <a:lnTo>
                  <a:pt x="16" y="11"/>
                </a:lnTo>
                <a:lnTo>
                  <a:pt x="21" y="11"/>
                </a:lnTo>
                <a:lnTo>
                  <a:pt x="28" y="11"/>
                </a:lnTo>
                <a:lnTo>
                  <a:pt x="32" y="11"/>
                </a:lnTo>
                <a:lnTo>
                  <a:pt x="42" y="11"/>
                </a:lnTo>
                <a:lnTo>
                  <a:pt x="44" y="11"/>
                </a:lnTo>
                <a:lnTo>
                  <a:pt x="41" y="11"/>
                </a:lnTo>
                <a:lnTo>
                  <a:pt x="38" y="11"/>
                </a:lnTo>
                <a:lnTo>
                  <a:pt x="26" y="10"/>
                </a:lnTo>
                <a:lnTo>
                  <a:pt x="25" y="10"/>
                </a:lnTo>
                <a:lnTo>
                  <a:pt x="28" y="8"/>
                </a:lnTo>
                <a:lnTo>
                  <a:pt x="30" y="7"/>
                </a:lnTo>
                <a:lnTo>
                  <a:pt x="37" y="7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81" name="Freeform 681"/>
          <p:cNvSpPr>
            <a:spLocks/>
          </p:cNvSpPr>
          <p:nvPr/>
        </p:nvSpPr>
        <p:spPr bwMode="auto">
          <a:xfrm>
            <a:off x="2359491" y="1642571"/>
            <a:ext cx="179291" cy="38657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3" y="0"/>
              </a:cxn>
              <a:cxn ang="0">
                <a:pos x="8" y="0"/>
              </a:cxn>
              <a:cxn ang="0">
                <a:pos x="12" y="2"/>
              </a:cxn>
              <a:cxn ang="0">
                <a:pos x="15" y="2"/>
              </a:cxn>
              <a:cxn ang="0">
                <a:pos x="15" y="3"/>
              </a:cxn>
              <a:cxn ang="0">
                <a:pos x="13" y="5"/>
              </a:cxn>
              <a:cxn ang="0">
                <a:pos x="15" y="6"/>
              </a:cxn>
              <a:cxn ang="0">
                <a:pos x="23" y="6"/>
              </a:cxn>
              <a:cxn ang="0">
                <a:pos x="27" y="5"/>
              </a:cxn>
              <a:cxn ang="0">
                <a:pos x="33" y="5"/>
              </a:cxn>
              <a:cxn ang="0">
                <a:pos x="33" y="6"/>
              </a:cxn>
              <a:cxn ang="0">
                <a:pos x="40" y="6"/>
              </a:cxn>
              <a:cxn ang="0">
                <a:pos x="41" y="8"/>
              </a:cxn>
              <a:cxn ang="0">
                <a:pos x="45" y="10"/>
              </a:cxn>
              <a:cxn ang="0">
                <a:pos x="48" y="10"/>
              </a:cxn>
              <a:cxn ang="0">
                <a:pos x="51" y="11"/>
              </a:cxn>
              <a:cxn ang="0">
                <a:pos x="45" y="13"/>
              </a:cxn>
              <a:cxn ang="0">
                <a:pos x="48" y="13"/>
              </a:cxn>
              <a:cxn ang="0">
                <a:pos x="55" y="13"/>
              </a:cxn>
              <a:cxn ang="0">
                <a:pos x="56" y="13"/>
              </a:cxn>
              <a:cxn ang="0">
                <a:pos x="56" y="14"/>
              </a:cxn>
              <a:cxn ang="0">
                <a:pos x="55" y="14"/>
              </a:cxn>
              <a:cxn ang="0">
                <a:pos x="56" y="14"/>
              </a:cxn>
              <a:cxn ang="0">
                <a:pos x="57" y="16"/>
              </a:cxn>
              <a:cxn ang="0">
                <a:pos x="57" y="17"/>
              </a:cxn>
              <a:cxn ang="0">
                <a:pos x="59" y="17"/>
              </a:cxn>
              <a:cxn ang="0">
                <a:pos x="61" y="17"/>
              </a:cxn>
              <a:cxn ang="0">
                <a:pos x="63" y="17"/>
              </a:cxn>
              <a:cxn ang="0">
                <a:pos x="64" y="17"/>
              </a:cxn>
              <a:cxn ang="0">
                <a:pos x="67" y="17"/>
              </a:cxn>
              <a:cxn ang="0">
                <a:pos x="71" y="17"/>
              </a:cxn>
              <a:cxn ang="0">
                <a:pos x="72" y="17"/>
              </a:cxn>
              <a:cxn ang="0">
                <a:pos x="77" y="17"/>
              </a:cxn>
              <a:cxn ang="0">
                <a:pos x="92" y="19"/>
              </a:cxn>
              <a:cxn ang="0">
                <a:pos x="94" y="17"/>
              </a:cxn>
              <a:cxn ang="0">
                <a:pos x="94" y="14"/>
              </a:cxn>
              <a:cxn ang="0">
                <a:pos x="92" y="14"/>
              </a:cxn>
              <a:cxn ang="0">
                <a:pos x="89" y="13"/>
              </a:cxn>
              <a:cxn ang="0">
                <a:pos x="87" y="13"/>
              </a:cxn>
              <a:cxn ang="0">
                <a:pos x="84" y="13"/>
              </a:cxn>
              <a:cxn ang="0">
                <a:pos x="84" y="11"/>
              </a:cxn>
              <a:cxn ang="0">
                <a:pos x="81" y="13"/>
              </a:cxn>
              <a:cxn ang="0">
                <a:pos x="80" y="11"/>
              </a:cxn>
              <a:cxn ang="0">
                <a:pos x="87" y="11"/>
              </a:cxn>
              <a:cxn ang="0">
                <a:pos x="87" y="10"/>
              </a:cxn>
              <a:cxn ang="0">
                <a:pos x="89" y="10"/>
              </a:cxn>
              <a:cxn ang="0">
                <a:pos x="88" y="8"/>
              </a:cxn>
              <a:cxn ang="0">
                <a:pos x="87" y="6"/>
              </a:cxn>
              <a:cxn ang="0">
                <a:pos x="84" y="6"/>
              </a:cxn>
              <a:cxn ang="0">
                <a:pos x="83" y="6"/>
              </a:cxn>
              <a:cxn ang="0">
                <a:pos x="79" y="5"/>
              </a:cxn>
              <a:cxn ang="0">
                <a:pos x="73" y="3"/>
              </a:cxn>
              <a:cxn ang="0">
                <a:pos x="73" y="2"/>
              </a:cxn>
              <a:cxn ang="0">
                <a:pos x="72" y="2"/>
              </a:cxn>
              <a:cxn ang="0">
                <a:pos x="76" y="2"/>
              </a:cxn>
              <a:cxn ang="0">
                <a:pos x="79" y="2"/>
              </a:cxn>
            </a:cxnLst>
            <a:rect l="0" t="0" r="r" b="b"/>
            <a:pathLst>
              <a:path w="94" h="19">
                <a:moveTo>
                  <a:pt x="0" y="2"/>
                </a:moveTo>
                <a:lnTo>
                  <a:pt x="3" y="0"/>
                </a:lnTo>
                <a:lnTo>
                  <a:pt x="8" y="0"/>
                </a:lnTo>
                <a:lnTo>
                  <a:pt x="12" y="2"/>
                </a:lnTo>
                <a:lnTo>
                  <a:pt x="15" y="2"/>
                </a:lnTo>
                <a:lnTo>
                  <a:pt x="15" y="3"/>
                </a:lnTo>
                <a:lnTo>
                  <a:pt x="13" y="5"/>
                </a:lnTo>
                <a:lnTo>
                  <a:pt x="15" y="6"/>
                </a:lnTo>
                <a:lnTo>
                  <a:pt x="23" y="6"/>
                </a:lnTo>
                <a:lnTo>
                  <a:pt x="27" y="5"/>
                </a:lnTo>
                <a:lnTo>
                  <a:pt x="33" y="5"/>
                </a:lnTo>
                <a:lnTo>
                  <a:pt x="33" y="6"/>
                </a:lnTo>
                <a:lnTo>
                  <a:pt x="40" y="6"/>
                </a:lnTo>
                <a:lnTo>
                  <a:pt x="41" y="8"/>
                </a:lnTo>
                <a:lnTo>
                  <a:pt x="45" y="10"/>
                </a:lnTo>
                <a:lnTo>
                  <a:pt x="48" y="10"/>
                </a:lnTo>
                <a:lnTo>
                  <a:pt x="51" y="11"/>
                </a:lnTo>
                <a:lnTo>
                  <a:pt x="45" y="13"/>
                </a:lnTo>
                <a:lnTo>
                  <a:pt x="48" y="13"/>
                </a:lnTo>
                <a:lnTo>
                  <a:pt x="55" y="13"/>
                </a:lnTo>
                <a:lnTo>
                  <a:pt x="56" y="13"/>
                </a:lnTo>
                <a:lnTo>
                  <a:pt x="56" y="14"/>
                </a:lnTo>
                <a:lnTo>
                  <a:pt x="55" y="14"/>
                </a:lnTo>
                <a:lnTo>
                  <a:pt x="56" y="14"/>
                </a:lnTo>
                <a:lnTo>
                  <a:pt x="57" y="16"/>
                </a:lnTo>
                <a:lnTo>
                  <a:pt x="57" y="17"/>
                </a:lnTo>
                <a:lnTo>
                  <a:pt x="59" y="17"/>
                </a:lnTo>
                <a:lnTo>
                  <a:pt x="61" y="17"/>
                </a:lnTo>
                <a:lnTo>
                  <a:pt x="63" y="17"/>
                </a:lnTo>
                <a:lnTo>
                  <a:pt x="64" y="17"/>
                </a:lnTo>
                <a:lnTo>
                  <a:pt x="67" y="17"/>
                </a:lnTo>
                <a:lnTo>
                  <a:pt x="71" y="17"/>
                </a:lnTo>
                <a:lnTo>
                  <a:pt x="72" y="17"/>
                </a:lnTo>
                <a:lnTo>
                  <a:pt x="77" y="17"/>
                </a:lnTo>
                <a:lnTo>
                  <a:pt x="92" y="19"/>
                </a:lnTo>
                <a:lnTo>
                  <a:pt x="94" y="17"/>
                </a:lnTo>
                <a:lnTo>
                  <a:pt x="94" y="14"/>
                </a:lnTo>
                <a:lnTo>
                  <a:pt x="92" y="14"/>
                </a:lnTo>
                <a:lnTo>
                  <a:pt x="89" y="13"/>
                </a:lnTo>
                <a:lnTo>
                  <a:pt x="87" y="13"/>
                </a:lnTo>
                <a:lnTo>
                  <a:pt x="84" y="13"/>
                </a:lnTo>
                <a:lnTo>
                  <a:pt x="84" y="11"/>
                </a:lnTo>
                <a:lnTo>
                  <a:pt x="81" y="13"/>
                </a:lnTo>
                <a:lnTo>
                  <a:pt x="80" y="11"/>
                </a:lnTo>
                <a:lnTo>
                  <a:pt x="87" y="11"/>
                </a:lnTo>
                <a:lnTo>
                  <a:pt x="87" y="10"/>
                </a:lnTo>
                <a:lnTo>
                  <a:pt x="89" y="10"/>
                </a:lnTo>
                <a:lnTo>
                  <a:pt x="88" y="8"/>
                </a:lnTo>
                <a:lnTo>
                  <a:pt x="87" y="6"/>
                </a:lnTo>
                <a:lnTo>
                  <a:pt x="84" y="6"/>
                </a:lnTo>
                <a:lnTo>
                  <a:pt x="83" y="6"/>
                </a:lnTo>
                <a:lnTo>
                  <a:pt x="79" y="5"/>
                </a:lnTo>
                <a:lnTo>
                  <a:pt x="73" y="3"/>
                </a:lnTo>
                <a:lnTo>
                  <a:pt x="73" y="2"/>
                </a:lnTo>
                <a:lnTo>
                  <a:pt x="72" y="2"/>
                </a:lnTo>
                <a:lnTo>
                  <a:pt x="76" y="2"/>
                </a:lnTo>
                <a:lnTo>
                  <a:pt x="79" y="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82" name="Freeform 682"/>
          <p:cNvSpPr>
            <a:spLocks/>
          </p:cNvSpPr>
          <p:nvPr/>
        </p:nvSpPr>
        <p:spPr bwMode="auto">
          <a:xfrm>
            <a:off x="2240614" y="1657603"/>
            <a:ext cx="50670" cy="23624"/>
          </a:xfrm>
          <a:custGeom>
            <a:avLst/>
            <a:gdLst/>
            <a:ahLst/>
            <a:cxnLst>
              <a:cxn ang="0">
                <a:pos x="20" y="2"/>
              </a:cxn>
              <a:cxn ang="0">
                <a:pos x="17" y="2"/>
              </a:cxn>
              <a:cxn ang="0">
                <a:pos x="18" y="2"/>
              </a:cxn>
              <a:cxn ang="0">
                <a:pos x="20" y="2"/>
              </a:cxn>
              <a:cxn ang="0">
                <a:pos x="21" y="0"/>
              </a:cxn>
              <a:cxn ang="0">
                <a:pos x="24" y="0"/>
              </a:cxn>
              <a:cxn ang="0">
                <a:pos x="26" y="0"/>
              </a:cxn>
              <a:cxn ang="0">
                <a:pos x="26" y="2"/>
              </a:cxn>
              <a:cxn ang="0">
                <a:pos x="22" y="5"/>
              </a:cxn>
              <a:cxn ang="0">
                <a:pos x="21" y="6"/>
              </a:cxn>
              <a:cxn ang="0">
                <a:pos x="20" y="8"/>
              </a:cxn>
              <a:cxn ang="0">
                <a:pos x="17" y="9"/>
              </a:cxn>
              <a:cxn ang="0">
                <a:pos x="13" y="11"/>
              </a:cxn>
              <a:cxn ang="0">
                <a:pos x="9" y="11"/>
              </a:cxn>
              <a:cxn ang="0">
                <a:pos x="6" y="9"/>
              </a:cxn>
              <a:cxn ang="0">
                <a:pos x="1" y="9"/>
              </a:cxn>
              <a:cxn ang="0">
                <a:pos x="0" y="8"/>
              </a:cxn>
              <a:cxn ang="0">
                <a:pos x="0" y="6"/>
              </a:cxn>
              <a:cxn ang="0">
                <a:pos x="4" y="6"/>
              </a:cxn>
              <a:cxn ang="0">
                <a:pos x="12" y="3"/>
              </a:cxn>
              <a:cxn ang="0">
                <a:pos x="16" y="2"/>
              </a:cxn>
              <a:cxn ang="0">
                <a:pos x="17" y="2"/>
              </a:cxn>
              <a:cxn ang="0">
                <a:pos x="20" y="2"/>
              </a:cxn>
            </a:cxnLst>
            <a:rect l="0" t="0" r="r" b="b"/>
            <a:pathLst>
              <a:path w="26" h="11">
                <a:moveTo>
                  <a:pt x="20" y="2"/>
                </a:moveTo>
                <a:lnTo>
                  <a:pt x="17" y="2"/>
                </a:lnTo>
                <a:lnTo>
                  <a:pt x="18" y="2"/>
                </a:lnTo>
                <a:lnTo>
                  <a:pt x="20" y="2"/>
                </a:lnTo>
                <a:lnTo>
                  <a:pt x="21" y="0"/>
                </a:lnTo>
                <a:lnTo>
                  <a:pt x="24" y="0"/>
                </a:lnTo>
                <a:lnTo>
                  <a:pt x="26" y="0"/>
                </a:lnTo>
                <a:lnTo>
                  <a:pt x="26" y="2"/>
                </a:lnTo>
                <a:lnTo>
                  <a:pt x="22" y="5"/>
                </a:lnTo>
                <a:lnTo>
                  <a:pt x="21" y="6"/>
                </a:lnTo>
                <a:lnTo>
                  <a:pt x="20" y="8"/>
                </a:lnTo>
                <a:lnTo>
                  <a:pt x="17" y="9"/>
                </a:lnTo>
                <a:lnTo>
                  <a:pt x="13" y="11"/>
                </a:lnTo>
                <a:lnTo>
                  <a:pt x="9" y="11"/>
                </a:lnTo>
                <a:lnTo>
                  <a:pt x="6" y="9"/>
                </a:lnTo>
                <a:lnTo>
                  <a:pt x="1" y="9"/>
                </a:lnTo>
                <a:lnTo>
                  <a:pt x="0" y="8"/>
                </a:lnTo>
                <a:lnTo>
                  <a:pt x="0" y="6"/>
                </a:lnTo>
                <a:lnTo>
                  <a:pt x="4" y="6"/>
                </a:lnTo>
                <a:lnTo>
                  <a:pt x="12" y="3"/>
                </a:lnTo>
                <a:lnTo>
                  <a:pt x="16" y="2"/>
                </a:lnTo>
                <a:lnTo>
                  <a:pt x="17" y="2"/>
                </a:lnTo>
                <a:lnTo>
                  <a:pt x="20" y="2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83" name="Freeform 683"/>
          <p:cNvSpPr>
            <a:spLocks/>
          </p:cNvSpPr>
          <p:nvPr/>
        </p:nvSpPr>
        <p:spPr bwMode="auto">
          <a:xfrm>
            <a:off x="2240614" y="1657603"/>
            <a:ext cx="50670" cy="23624"/>
          </a:xfrm>
          <a:custGeom>
            <a:avLst/>
            <a:gdLst/>
            <a:ahLst/>
            <a:cxnLst>
              <a:cxn ang="0">
                <a:pos x="20" y="2"/>
              </a:cxn>
              <a:cxn ang="0">
                <a:pos x="17" y="2"/>
              </a:cxn>
              <a:cxn ang="0">
                <a:pos x="18" y="2"/>
              </a:cxn>
              <a:cxn ang="0">
                <a:pos x="20" y="2"/>
              </a:cxn>
              <a:cxn ang="0">
                <a:pos x="21" y="0"/>
              </a:cxn>
              <a:cxn ang="0">
                <a:pos x="24" y="0"/>
              </a:cxn>
              <a:cxn ang="0">
                <a:pos x="26" y="0"/>
              </a:cxn>
              <a:cxn ang="0">
                <a:pos x="26" y="2"/>
              </a:cxn>
              <a:cxn ang="0">
                <a:pos x="22" y="5"/>
              </a:cxn>
              <a:cxn ang="0">
                <a:pos x="21" y="6"/>
              </a:cxn>
              <a:cxn ang="0">
                <a:pos x="20" y="8"/>
              </a:cxn>
              <a:cxn ang="0">
                <a:pos x="17" y="9"/>
              </a:cxn>
              <a:cxn ang="0">
                <a:pos x="13" y="11"/>
              </a:cxn>
              <a:cxn ang="0">
                <a:pos x="9" y="11"/>
              </a:cxn>
              <a:cxn ang="0">
                <a:pos x="6" y="9"/>
              </a:cxn>
              <a:cxn ang="0">
                <a:pos x="1" y="9"/>
              </a:cxn>
              <a:cxn ang="0">
                <a:pos x="0" y="8"/>
              </a:cxn>
              <a:cxn ang="0">
                <a:pos x="0" y="6"/>
              </a:cxn>
              <a:cxn ang="0">
                <a:pos x="4" y="6"/>
              </a:cxn>
              <a:cxn ang="0">
                <a:pos x="12" y="3"/>
              </a:cxn>
              <a:cxn ang="0">
                <a:pos x="16" y="2"/>
              </a:cxn>
              <a:cxn ang="0">
                <a:pos x="17" y="2"/>
              </a:cxn>
              <a:cxn ang="0">
                <a:pos x="20" y="2"/>
              </a:cxn>
            </a:cxnLst>
            <a:rect l="0" t="0" r="r" b="b"/>
            <a:pathLst>
              <a:path w="26" h="11">
                <a:moveTo>
                  <a:pt x="20" y="2"/>
                </a:moveTo>
                <a:lnTo>
                  <a:pt x="17" y="2"/>
                </a:lnTo>
                <a:lnTo>
                  <a:pt x="18" y="2"/>
                </a:lnTo>
                <a:lnTo>
                  <a:pt x="20" y="2"/>
                </a:lnTo>
                <a:lnTo>
                  <a:pt x="21" y="0"/>
                </a:lnTo>
                <a:lnTo>
                  <a:pt x="24" y="0"/>
                </a:lnTo>
                <a:lnTo>
                  <a:pt x="26" y="0"/>
                </a:lnTo>
                <a:lnTo>
                  <a:pt x="26" y="2"/>
                </a:lnTo>
                <a:lnTo>
                  <a:pt x="22" y="5"/>
                </a:lnTo>
                <a:lnTo>
                  <a:pt x="21" y="6"/>
                </a:lnTo>
                <a:lnTo>
                  <a:pt x="20" y="8"/>
                </a:lnTo>
                <a:lnTo>
                  <a:pt x="17" y="9"/>
                </a:lnTo>
                <a:lnTo>
                  <a:pt x="13" y="11"/>
                </a:lnTo>
                <a:lnTo>
                  <a:pt x="9" y="11"/>
                </a:lnTo>
                <a:lnTo>
                  <a:pt x="6" y="9"/>
                </a:lnTo>
                <a:lnTo>
                  <a:pt x="1" y="9"/>
                </a:lnTo>
                <a:lnTo>
                  <a:pt x="0" y="8"/>
                </a:lnTo>
                <a:lnTo>
                  <a:pt x="0" y="6"/>
                </a:lnTo>
                <a:lnTo>
                  <a:pt x="4" y="6"/>
                </a:lnTo>
                <a:lnTo>
                  <a:pt x="12" y="3"/>
                </a:lnTo>
                <a:lnTo>
                  <a:pt x="16" y="2"/>
                </a:lnTo>
                <a:lnTo>
                  <a:pt x="17" y="2"/>
                </a:lnTo>
                <a:lnTo>
                  <a:pt x="20" y="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84" name="Freeform 684"/>
          <p:cNvSpPr>
            <a:spLocks/>
          </p:cNvSpPr>
          <p:nvPr/>
        </p:nvSpPr>
        <p:spPr bwMode="auto">
          <a:xfrm>
            <a:off x="2137327" y="1610355"/>
            <a:ext cx="208524" cy="60133"/>
          </a:xfrm>
          <a:custGeom>
            <a:avLst/>
            <a:gdLst/>
            <a:ahLst/>
            <a:cxnLst>
              <a:cxn ang="0">
                <a:pos x="46" y="8"/>
              </a:cxn>
              <a:cxn ang="0">
                <a:pos x="51" y="6"/>
              </a:cxn>
              <a:cxn ang="0">
                <a:pos x="60" y="3"/>
              </a:cxn>
              <a:cxn ang="0">
                <a:pos x="66" y="3"/>
              </a:cxn>
              <a:cxn ang="0">
                <a:pos x="74" y="3"/>
              </a:cxn>
              <a:cxn ang="0">
                <a:pos x="75" y="3"/>
              </a:cxn>
              <a:cxn ang="0">
                <a:pos x="82" y="5"/>
              </a:cxn>
              <a:cxn ang="0">
                <a:pos x="88" y="5"/>
              </a:cxn>
              <a:cxn ang="0">
                <a:pos x="86" y="1"/>
              </a:cxn>
              <a:cxn ang="0">
                <a:pos x="88" y="0"/>
              </a:cxn>
              <a:cxn ang="0">
                <a:pos x="105" y="1"/>
              </a:cxn>
              <a:cxn ang="0">
                <a:pos x="105" y="5"/>
              </a:cxn>
              <a:cxn ang="0">
                <a:pos x="96" y="6"/>
              </a:cxn>
              <a:cxn ang="0">
                <a:pos x="103" y="11"/>
              </a:cxn>
              <a:cxn ang="0">
                <a:pos x="99" y="11"/>
              </a:cxn>
              <a:cxn ang="0">
                <a:pos x="100" y="12"/>
              </a:cxn>
              <a:cxn ang="0">
                <a:pos x="100" y="16"/>
              </a:cxn>
              <a:cxn ang="0">
                <a:pos x="87" y="17"/>
              </a:cxn>
              <a:cxn ang="0">
                <a:pos x="86" y="22"/>
              </a:cxn>
              <a:cxn ang="0">
                <a:pos x="74" y="19"/>
              </a:cxn>
              <a:cxn ang="0">
                <a:pos x="74" y="16"/>
              </a:cxn>
              <a:cxn ang="0">
                <a:pos x="74" y="12"/>
              </a:cxn>
              <a:cxn ang="0">
                <a:pos x="67" y="14"/>
              </a:cxn>
              <a:cxn ang="0">
                <a:pos x="67" y="17"/>
              </a:cxn>
              <a:cxn ang="0">
                <a:pos x="60" y="17"/>
              </a:cxn>
              <a:cxn ang="0">
                <a:pos x="63" y="19"/>
              </a:cxn>
              <a:cxn ang="0">
                <a:pos x="60" y="22"/>
              </a:cxn>
              <a:cxn ang="0">
                <a:pos x="55" y="25"/>
              </a:cxn>
              <a:cxn ang="0">
                <a:pos x="51" y="20"/>
              </a:cxn>
              <a:cxn ang="0">
                <a:pos x="47" y="22"/>
              </a:cxn>
              <a:cxn ang="0">
                <a:pos x="47" y="23"/>
              </a:cxn>
              <a:cxn ang="0">
                <a:pos x="48" y="25"/>
              </a:cxn>
              <a:cxn ang="0">
                <a:pos x="48" y="28"/>
              </a:cxn>
              <a:cxn ang="0">
                <a:pos x="43" y="30"/>
              </a:cxn>
              <a:cxn ang="0">
                <a:pos x="36" y="28"/>
              </a:cxn>
              <a:cxn ang="0">
                <a:pos x="31" y="25"/>
              </a:cxn>
              <a:cxn ang="0">
                <a:pos x="31" y="23"/>
              </a:cxn>
              <a:cxn ang="0">
                <a:pos x="28" y="27"/>
              </a:cxn>
              <a:cxn ang="0">
                <a:pos x="16" y="27"/>
              </a:cxn>
              <a:cxn ang="0">
                <a:pos x="16" y="23"/>
              </a:cxn>
              <a:cxn ang="0">
                <a:pos x="10" y="28"/>
              </a:cxn>
              <a:cxn ang="0">
                <a:pos x="7" y="23"/>
              </a:cxn>
              <a:cxn ang="0">
                <a:pos x="0" y="23"/>
              </a:cxn>
              <a:cxn ang="0">
                <a:pos x="4" y="20"/>
              </a:cxn>
              <a:cxn ang="0">
                <a:pos x="11" y="19"/>
              </a:cxn>
              <a:cxn ang="0">
                <a:pos x="18" y="19"/>
              </a:cxn>
              <a:cxn ang="0">
                <a:pos x="24" y="16"/>
              </a:cxn>
              <a:cxn ang="0">
                <a:pos x="26" y="16"/>
              </a:cxn>
              <a:cxn ang="0">
                <a:pos x="34" y="14"/>
              </a:cxn>
              <a:cxn ang="0">
                <a:pos x="38" y="12"/>
              </a:cxn>
              <a:cxn ang="0">
                <a:pos x="42" y="9"/>
              </a:cxn>
            </a:cxnLst>
            <a:rect l="0" t="0" r="r" b="b"/>
            <a:pathLst>
              <a:path w="109" h="30">
                <a:moveTo>
                  <a:pt x="42" y="9"/>
                </a:moveTo>
                <a:lnTo>
                  <a:pt x="43" y="9"/>
                </a:lnTo>
                <a:lnTo>
                  <a:pt x="46" y="8"/>
                </a:lnTo>
                <a:lnTo>
                  <a:pt x="47" y="8"/>
                </a:lnTo>
                <a:lnTo>
                  <a:pt x="48" y="6"/>
                </a:lnTo>
                <a:lnTo>
                  <a:pt x="51" y="6"/>
                </a:lnTo>
                <a:lnTo>
                  <a:pt x="54" y="5"/>
                </a:lnTo>
                <a:lnTo>
                  <a:pt x="55" y="5"/>
                </a:lnTo>
                <a:lnTo>
                  <a:pt x="60" y="3"/>
                </a:lnTo>
                <a:lnTo>
                  <a:pt x="62" y="3"/>
                </a:lnTo>
                <a:lnTo>
                  <a:pt x="64" y="3"/>
                </a:lnTo>
                <a:lnTo>
                  <a:pt x="66" y="3"/>
                </a:lnTo>
                <a:lnTo>
                  <a:pt x="67" y="3"/>
                </a:lnTo>
                <a:lnTo>
                  <a:pt x="71" y="3"/>
                </a:lnTo>
                <a:lnTo>
                  <a:pt x="74" y="3"/>
                </a:lnTo>
                <a:lnTo>
                  <a:pt x="74" y="5"/>
                </a:lnTo>
                <a:lnTo>
                  <a:pt x="75" y="5"/>
                </a:lnTo>
                <a:lnTo>
                  <a:pt x="75" y="3"/>
                </a:lnTo>
                <a:lnTo>
                  <a:pt x="76" y="3"/>
                </a:lnTo>
                <a:lnTo>
                  <a:pt x="79" y="3"/>
                </a:lnTo>
                <a:lnTo>
                  <a:pt x="82" y="5"/>
                </a:lnTo>
                <a:lnTo>
                  <a:pt x="84" y="5"/>
                </a:lnTo>
                <a:lnTo>
                  <a:pt x="83" y="3"/>
                </a:lnTo>
                <a:lnTo>
                  <a:pt x="88" y="5"/>
                </a:lnTo>
                <a:lnTo>
                  <a:pt x="91" y="3"/>
                </a:lnTo>
                <a:lnTo>
                  <a:pt x="88" y="3"/>
                </a:lnTo>
                <a:lnTo>
                  <a:pt x="86" y="1"/>
                </a:lnTo>
                <a:lnTo>
                  <a:pt x="84" y="1"/>
                </a:lnTo>
                <a:lnTo>
                  <a:pt x="87" y="1"/>
                </a:lnTo>
                <a:lnTo>
                  <a:pt x="88" y="0"/>
                </a:lnTo>
                <a:lnTo>
                  <a:pt x="95" y="0"/>
                </a:lnTo>
                <a:lnTo>
                  <a:pt x="100" y="1"/>
                </a:lnTo>
                <a:lnTo>
                  <a:pt x="105" y="1"/>
                </a:lnTo>
                <a:lnTo>
                  <a:pt x="109" y="3"/>
                </a:lnTo>
                <a:lnTo>
                  <a:pt x="109" y="5"/>
                </a:lnTo>
                <a:lnTo>
                  <a:pt x="105" y="5"/>
                </a:lnTo>
                <a:lnTo>
                  <a:pt x="104" y="6"/>
                </a:lnTo>
                <a:lnTo>
                  <a:pt x="97" y="6"/>
                </a:lnTo>
                <a:lnTo>
                  <a:pt x="96" y="6"/>
                </a:lnTo>
                <a:lnTo>
                  <a:pt x="96" y="8"/>
                </a:lnTo>
                <a:lnTo>
                  <a:pt x="97" y="8"/>
                </a:lnTo>
                <a:lnTo>
                  <a:pt x="103" y="11"/>
                </a:lnTo>
                <a:lnTo>
                  <a:pt x="104" y="11"/>
                </a:lnTo>
                <a:lnTo>
                  <a:pt x="101" y="11"/>
                </a:lnTo>
                <a:lnTo>
                  <a:pt x="99" y="11"/>
                </a:lnTo>
                <a:lnTo>
                  <a:pt x="97" y="11"/>
                </a:lnTo>
                <a:lnTo>
                  <a:pt x="97" y="12"/>
                </a:lnTo>
                <a:lnTo>
                  <a:pt x="100" y="12"/>
                </a:lnTo>
                <a:lnTo>
                  <a:pt x="101" y="14"/>
                </a:lnTo>
                <a:lnTo>
                  <a:pt x="103" y="14"/>
                </a:lnTo>
                <a:lnTo>
                  <a:pt x="100" y="16"/>
                </a:lnTo>
                <a:lnTo>
                  <a:pt x="96" y="17"/>
                </a:lnTo>
                <a:lnTo>
                  <a:pt x="90" y="17"/>
                </a:lnTo>
                <a:lnTo>
                  <a:pt x="87" y="17"/>
                </a:lnTo>
                <a:lnTo>
                  <a:pt x="87" y="19"/>
                </a:lnTo>
                <a:lnTo>
                  <a:pt x="87" y="20"/>
                </a:lnTo>
                <a:lnTo>
                  <a:pt x="86" y="22"/>
                </a:lnTo>
                <a:lnTo>
                  <a:pt x="83" y="22"/>
                </a:lnTo>
                <a:lnTo>
                  <a:pt x="79" y="22"/>
                </a:lnTo>
                <a:lnTo>
                  <a:pt x="74" y="19"/>
                </a:lnTo>
                <a:lnTo>
                  <a:pt x="72" y="17"/>
                </a:lnTo>
                <a:lnTo>
                  <a:pt x="74" y="17"/>
                </a:lnTo>
                <a:lnTo>
                  <a:pt x="74" y="16"/>
                </a:lnTo>
                <a:lnTo>
                  <a:pt x="76" y="14"/>
                </a:lnTo>
                <a:lnTo>
                  <a:pt x="76" y="12"/>
                </a:lnTo>
                <a:lnTo>
                  <a:pt x="74" y="12"/>
                </a:lnTo>
                <a:lnTo>
                  <a:pt x="72" y="14"/>
                </a:lnTo>
                <a:lnTo>
                  <a:pt x="68" y="12"/>
                </a:lnTo>
                <a:lnTo>
                  <a:pt x="67" y="14"/>
                </a:lnTo>
                <a:lnTo>
                  <a:pt x="66" y="16"/>
                </a:lnTo>
                <a:lnTo>
                  <a:pt x="67" y="16"/>
                </a:lnTo>
                <a:lnTo>
                  <a:pt x="67" y="17"/>
                </a:lnTo>
                <a:lnTo>
                  <a:pt x="64" y="19"/>
                </a:lnTo>
                <a:lnTo>
                  <a:pt x="62" y="17"/>
                </a:lnTo>
                <a:lnTo>
                  <a:pt x="60" y="17"/>
                </a:lnTo>
                <a:lnTo>
                  <a:pt x="58" y="19"/>
                </a:lnTo>
                <a:lnTo>
                  <a:pt x="60" y="19"/>
                </a:lnTo>
                <a:lnTo>
                  <a:pt x="63" y="19"/>
                </a:lnTo>
                <a:lnTo>
                  <a:pt x="64" y="20"/>
                </a:lnTo>
                <a:lnTo>
                  <a:pt x="63" y="22"/>
                </a:lnTo>
                <a:lnTo>
                  <a:pt x="60" y="22"/>
                </a:lnTo>
                <a:lnTo>
                  <a:pt x="59" y="23"/>
                </a:lnTo>
                <a:lnTo>
                  <a:pt x="58" y="25"/>
                </a:lnTo>
                <a:lnTo>
                  <a:pt x="55" y="25"/>
                </a:lnTo>
                <a:lnTo>
                  <a:pt x="54" y="23"/>
                </a:lnTo>
                <a:lnTo>
                  <a:pt x="52" y="22"/>
                </a:lnTo>
                <a:lnTo>
                  <a:pt x="51" y="20"/>
                </a:lnTo>
                <a:lnTo>
                  <a:pt x="50" y="22"/>
                </a:lnTo>
                <a:lnTo>
                  <a:pt x="47" y="20"/>
                </a:lnTo>
                <a:lnTo>
                  <a:pt x="47" y="22"/>
                </a:lnTo>
                <a:lnTo>
                  <a:pt x="48" y="23"/>
                </a:lnTo>
                <a:lnTo>
                  <a:pt x="50" y="23"/>
                </a:lnTo>
                <a:lnTo>
                  <a:pt x="47" y="23"/>
                </a:lnTo>
                <a:lnTo>
                  <a:pt x="50" y="25"/>
                </a:lnTo>
                <a:lnTo>
                  <a:pt x="44" y="25"/>
                </a:lnTo>
                <a:lnTo>
                  <a:pt x="48" y="25"/>
                </a:lnTo>
                <a:lnTo>
                  <a:pt x="50" y="27"/>
                </a:lnTo>
                <a:lnTo>
                  <a:pt x="50" y="28"/>
                </a:lnTo>
                <a:lnTo>
                  <a:pt x="48" y="28"/>
                </a:lnTo>
                <a:lnTo>
                  <a:pt x="47" y="28"/>
                </a:lnTo>
                <a:lnTo>
                  <a:pt x="44" y="30"/>
                </a:lnTo>
                <a:lnTo>
                  <a:pt x="43" y="30"/>
                </a:lnTo>
                <a:lnTo>
                  <a:pt x="40" y="28"/>
                </a:lnTo>
                <a:lnTo>
                  <a:pt x="39" y="30"/>
                </a:lnTo>
                <a:lnTo>
                  <a:pt x="36" y="28"/>
                </a:lnTo>
                <a:lnTo>
                  <a:pt x="36" y="27"/>
                </a:lnTo>
                <a:lnTo>
                  <a:pt x="34" y="27"/>
                </a:lnTo>
                <a:lnTo>
                  <a:pt x="31" y="25"/>
                </a:lnTo>
                <a:lnTo>
                  <a:pt x="32" y="25"/>
                </a:lnTo>
                <a:lnTo>
                  <a:pt x="32" y="23"/>
                </a:lnTo>
                <a:lnTo>
                  <a:pt x="31" y="23"/>
                </a:lnTo>
                <a:lnTo>
                  <a:pt x="28" y="23"/>
                </a:lnTo>
                <a:lnTo>
                  <a:pt x="28" y="25"/>
                </a:lnTo>
                <a:lnTo>
                  <a:pt x="28" y="27"/>
                </a:lnTo>
                <a:lnTo>
                  <a:pt x="26" y="28"/>
                </a:lnTo>
                <a:lnTo>
                  <a:pt x="23" y="27"/>
                </a:lnTo>
                <a:lnTo>
                  <a:pt x="16" y="27"/>
                </a:lnTo>
                <a:lnTo>
                  <a:pt x="15" y="25"/>
                </a:lnTo>
                <a:lnTo>
                  <a:pt x="16" y="25"/>
                </a:lnTo>
                <a:lnTo>
                  <a:pt x="16" y="23"/>
                </a:lnTo>
                <a:lnTo>
                  <a:pt x="14" y="27"/>
                </a:lnTo>
                <a:lnTo>
                  <a:pt x="12" y="27"/>
                </a:lnTo>
                <a:lnTo>
                  <a:pt x="10" y="28"/>
                </a:lnTo>
                <a:lnTo>
                  <a:pt x="6" y="28"/>
                </a:lnTo>
                <a:lnTo>
                  <a:pt x="3" y="27"/>
                </a:lnTo>
                <a:lnTo>
                  <a:pt x="7" y="23"/>
                </a:lnTo>
                <a:lnTo>
                  <a:pt x="4" y="23"/>
                </a:lnTo>
                <a:lnTo>
                  <a:pt x="0" y="25"/>
                </a:lnTo>
                <a:lnTo>
                  <a:pt x="0" y="23"/>
                </a:lnTo>
                <a:lnTo>
                  <a:pt x="2" y="23"/>
                </a:lnTo>
                <a:lnTo>
                  <a:pt x="4" y="22"/>
                </a:lnTo>
                <a:lnTo>
                  <a:pt x="4" y="20"/>
                </a:lnTo>
                <a:lnTo>
                  <a:pt x="7" y="20"/>
                </a:lnTo>
                <a:lnTo>
                  <a:pt x="8" y="20"/>
                </a:lnTo>
                <a:lnTo>
                  <a:pt x="11" y="19"/>
                </a:lnTo>
                <a:lnTo>
                  <a:pt x="14" y="19"/>
                </a:lnTo>
                <a:lnTo>
                  <a:pt x="16" y="20"/>
                </a:lnTo>
                <a:lnTo>
                  <a:pt x="18" y="19"/>
                </a:lnTo>
                <a:lnTo>
                  <a:pt x="19" y="19"/>
                </a:lnTo>
                <a:lnTo>
                  <a:pt x="23" y="17"/>
                </a:lnTo>
                <a:lnTo>
                  <a:pt x="24" y="16"/>
                </a:lnTo>
                <a:lnTo>
                  <a:pt x="26" y="16"/>
                </a:lnTo>
                <a:lnTo>
                  <a:pt x="24" y="14"/>
                </a:lnTo>
                <a:lnTo>
                  <a:pt x="26" y="16"/>
                </a:lnTo>
                <a:lnTo>
                  <a:pt x="27" y="16"/>
                </a:lnTo>
                <a:lnTo>
                  <a:pt x="31" y="14"/>
                </a:lnTo>
                <a:lnTo>
                  <a:pt x="34" y="14"/>
                </a:lnTo>
                <a:lnTo>
                  <a:pt x="38" y="12"/>
                </a:lnTo>
                <a:lnTo>
                  <a:pt x="40" y="12"/>
                </a:lnTo>
                <a:lnTo>
                  <a:pt x="38" y="12"/>
                </a:lnTo>
                <a:lnTo>
                  <a:pt x="40" y="11"/>
                </a:lnTo>
                <a:lnTo>
                  <a:pt x="40" y="9"/>
                </a:lnTo>
                <a:lnTo>
                  <a:pt x="42" y="9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85" name="Freeform 685"/>
          <p:cNvSpPr>
            <a:spLocks/>
          </p:cNvSpPr>
          <p:nvPr/>
        </p:nvSpPr>
        <p:spPr bwMode="auto">
          <a:xfrm>
            <a:off x="2137327" y="1610355"/>
            <a:ext cx="208524" cy="60133"/>
          </a:xfrm>
          <a:custGeom>
            <a:avLst/>
            <a:gdLst/>
            <a:ahLst/>
            <a:cxnLst>
              <a:cxn ang="0">
                <a:pos x="46" y="8"/>
              </a:cxn>
              <a:cxn ang="0">
                <a:pos x="51" y="6"/>
              </a:cxn>
              <a:cxn ang="0">
                <a:pos x="60" y="3"/>
              </a:cxn>
              <a:cxn ang="0">
                <a:pos x="66" y="3"/>
              </a:cxn>
              <a:cxn ang="0">
                <a:pos x="74" y="3"/>
              </a:cxn>
              <a:cxn ang="0">
                <a:pos x="75" y="3"/>
              </a:cxn>
              <a:cxn ang="0">
                <a:pos x="82" y="5"/>
              </a:cxn>
              <a:cxn ang="0">
                <a:pos x="88" y="5"/>
              </a:cxn>
              <a:cxn ang="0">
                <a:pos x="86" y="1"/>
              </a:cxn>
              <a:cxn ang="0">
                <a:pos x="88" y="0"/>
              </a:cxn>
              <a:cxn ang="0">
                <a:pos x="105" y="1"/>
              </a:cxn>
              <a:cxn ang="0">
                <a:pos x="105" y="5"/>
              </a:cxn>
              <a:cxn ang="0">
                <a:pos x="96" y="6"/>
              </a:cxn>
              <a:cxn ang="0">
                <a:pos x="103" y="11"/>
              </a:cxn>
              <a:cxn ang="0">
                <a:pos x="99" y="11"/>
              </a:cxn>
              <a:cxn ang="0">
                <a:pos x="100" y="12"/>
              </a:cxn>
              <a:cxn ang="0">
                <a:pos x="100" y="16"/>
              </a:cxn>
              <a:cxn ang="0">
                <a:pos x="87" y="17"/>
              </a:cxn>
              <a:cxn ang="0">
                <a:pos x="86" y="22"/>
              </a:cxn>
              <a:cxn ang="0">
                <a:pos x="74" y="19"/>
              </a:cxn>
              <a:cxn ang="0">
                <a:pos x="74" y="16"/>
              </a:cxn>
              <a:cxn ang="0">
                <a:pos x="74" y="12"/>
              </a:cxn>
              <a:cxn ang="0">
                <a:pos x="67" y="14"/>
              </a:cxn>
              <a:cxn ang="0">
                <a:pos x="67" y="17"/>
              </a:cxn>
              <a:cxn ang="0">
                <a:pos x="60" y="17"/>
              </a:cxn>
              <a:cxn ang="0">
                <a:pos x="63" y="19"/>
              </a:cxn>
              <a:cxn ang="0">
                <a:pos x="60" y="22"/>
              </a:cxn>
              <a:cxn ang="0">
                <a:pos x="55" y="25"/>
              </a:cxn>
              <a:cxn ang="0">
                <a:pos x="51" y="20"/>
              </a:cxn>
              <a:cxn ang="0">
                <a:pos x="47" y="22"/>
              </a:cxn>
              <a:cxn ang="0">
                <a:pos x="47" y="23"/>
              </a:cxn>
              <a:cxn ang="0">
                <a:pos x="48" y="25"/>
              </a:cxn>
              <a:cxn ang="0">
                <a:pos x="48" y="28"/>
              </a:cxn>
              <a:cxn ang="0">
                <a:pos x="43" y="30"/>
              </a:cxn>
              <a:cxn ang="0">
                <a:pos x="36" y="28"/>
              </a:cxn>
              <a:cxn ang="0">
                <a:pos x="31" y="25"/>
              </a:cxn>
              <a:cxn ang="0">
                <a:pos x="31" y="23"/>
              </a:cxn>
              <a:cxn ang="0">
                <a:pos x="28" y="27"/>
              </a:cxn>
              <a:cxn ang="0">
                <a:pos x="16" y="27"/>
              </a:cxn>
              <a:cxn ang="0">
                <a:pos x="16" y="23"/>
              </a:cxn>
              <a:cxn ang="0">
                <a:pos x="10" y="28"/>
              </a:cxn>
              <a:cxn ang="0">
                <a:pos x="7" y="23"/>
              </a:cxn>
              <a:cxn ang="0">
                <a:pos x="0" y="23"/>
              </a:cxn>
              <a:cxn ang="0">
                <a:pos x="4" y="20"/>
              </a:cxn>
              <a:cxn ang="0">
                <a:pos x="11" y="19"/>
              </a:cxn>
              <a:cxn ang="0">
                <a:pos x="18" y="19"/>
              </a:cxn>
              <a:cxn ang="0">
                <a:pos x="24" y="16"/>
              </a:cxn>
              <a:cxn ang="0">
                <a:pos x="26" y="16"/>
              </a:cxn>
              <a:cxn ang="0">
                <a:pos x="34" y="14"/>
              </a:cxn>
              <a:cxn ang="0">
                <a:pos x="38" y="12"/>
              </a:cxn>
              <a:cxn ang="0">
                <a:pos x="42" y="9"/>
              </a:cxn>
            </a:cxnLst>
            <a:rect l="0" t="0" r="r" b="b"/>
            <a:pathLst>
              <a:path w="109" h="30">
                <a:moveTo>
                  <a:pt x="42" y="9"/>
                </a:moveTo>
                <a:lnTo>
                  <a:pt x="43" y="9"/>
                </a:lnTo>
                <a:lnTo>
                  <a:pt x="46" y="8"/>
                </a:lnTo>
                <a:lnTo>
                  <a:pt x="47" y="8"/>
                </a:lnTo>
                <a:lnTo>
                  <a:pt x="48" y="6"/>
                </a:lnTo>
                <a:lnTo>
                  <a:pt x="51" y="6"/>
                </a:lnTo>
                <a:lnTo>
                  <a:pt x="54" y="5"/>
                </a:lnTo>
                <a:lnTo>
                  <a:pt x="55" y="5"/>
                </a:lnTo>
                <a:lnTo>
                  <a:pt x="60" y="3"/>
                </a:lnTo>
                <a:lnTo>
                  <a:pt x="62" y="3"/>
                </a:lnTo>
                <a:lnTo>
                  <a:pt x="64" y="3"/>
                </a:lnTo>
                <a:lnTo>
                  <a:pt x="66" y="3"/>
                </a:lnTo>
                <a:lnTo>
                  <a:pt x="67" y="3"/>
                </a:lnTo>
                <a:lnTo>
                  <a:pt x="71" y="3"/>
                </a:lnTo>
                <a:lnTo>
                  <a:pt x="74" y="3"/>
                </a:lnTo>
                <a:lnTo>
                  <a:pt x="74" y="5"/>
                </a:lnTo>
                <a:lnTo>
                  <a:pt x="75" y="5"/>
                </a:lnTo>
                <a:lnTo>
                  <a:pt x="75" y="3"/>
                </a:lnTo>
                <a:lnTo>
                  <a:pt x="76" y="3"/>
                </a:lnTo>
                <a:lnTo>
                  <a:pt x="79" y="3"/>
                </a:lnTo>
                <a:lnTo>
                  <a:pt x="82" y="5"/>
                </a:lnTo>
                <a:lnTo>
                  <a:pt x="84" y="5"/>
                </a:lnTo>
                <a:lnTo>
                  <a:pt x="83" y="3"/>
                </a:lnTo>
                <a:lnTo>
                  <a:pt x="88" y="5"/>
                </a:lnTo>
                <a:lnTo>
                  <a:pt x="91" y="3"/>
                </a:lnTo>
                <a:lnTo>
                  <a:pt x="88" y="3"/>
                </a:lnTo>
                <a:lnTo>
                  <a:pt x="86" y="1"/>
                </a:lnTo>
                <a:lnTo>
                  <a:pt x="84" y="1"/>
                </a:lnTo>
                <a:lnTo>
                  <a:pt x="87" y="1"/>
                </a:lnTo>
                <a:lnTo>
                  <a:pt x="88" y="0"/>
                </a:lnTo>
                <a:lnTo>
                  <a:pt x="95" y="0"/>
                </a:lnTo>
                <a:lnTo>
                  <a:pt x="100" y="1"/>
                </a:lnTo>
                <a:lnTo>
                  <a:pt x="105" y="1"/>
                </a:lnTo>
                <a:lnTo>
                  <a:pt x="109" y="3"/>
                </a:lnTo>
                <a:lnTo>
                  <a:pt x="109" y="5"/>
                </a:lnTo>
                <a:lnTo>
                  <a:pt x="105" y="5"/>
                </a:lnTo>
                <a:lnTo>
                  <a:pt x="104" y="6"/>
                </a:lnTo>
                <a:lnTo>
                  <a:pt x="97" y="6"/>
                </a:lnTo>
                <a:lnTo>
                  <a:pt x="96" y="6"/>
                </a:lnTo>
                <a:lnTo>
                  <a:pt x="96" y="8"/>
                </a:lnTo>
                <a:lnTo>
                  <a:pt x="97" y="8"/>
                </a:lnTo>
                <a:lnTo>
                  <a:pt x="103" y="11"/>
                </a:lnTo>
                <a:lnTo>
                  <a:pt x="104" y="11"/>
                </a:lnTo>
                <a:lnTo>
                  <a:pt x="101" y="11"/>
                </a:lnTo>
                <a:lnTo>
                  <a:pt x="99" y="11"/>
                </a:lnTo>
                <a:lnTo>
                  <a:pt x="97" y="11"/>
                </a:lnTo>
                <a:lnTo>
                  <a:pt x="97" y="12"/>
                </a:lnTo>
                <a:lnTo>
                  <a:pt x="100" y="12"/>
                </a:lnTo>
                <a:lnTo>
                  <a:pt x="101" y="14"/>
                </a:lnTo>
                <a:lnTo>
                  <a:pt x="103" y="14"/>
                </a:lnTo>
                <a:lnTo>
                  <a:pt x="100" y="16"/>
                </a:lnTo>
                <a:lnTo>
                  <a:pt x="96" y="17"/>
                </a:lnTo>
                <a:lnTo>
                  <a:pt x="90" y="17"/>
                </a:lnTo>
                <a:lnTo>
                  <a:pt x="87" y="17"/>
                </a:lnTo>
                <a:lnTo>
                  <a:pt x="87" y="19"/>
                </a:lnTo>
                <a:lnTo>
                  <a:pt x="87" y="20"/>
                </a:lnTo>
                <a:lnTo>
                  <a:pt x="86" y="22"/>
                </a:lnTo>
                <a:lnTo>
                  <a:pt x="83" y="22"/>
                </a:lnTo>
                <a:lnTo>
                  <a:pt x="79" y="22"/>
                </a:lnTo>
                <a:lnTo>
                  <a:pt x="74" y="19"/>
                </a:lnTo>
                <a:lnTo>
                  <a:pt x="72" y="17"/>
                </a:lnTo>
                <a:lnTo>
                  <a:pt x="74" y="17"/>
                </a:lnTo>
                <a:lnTo>
                  <a:pt x="74" y="16"/>
                </a:lnTo>
                <a:lnTo>
                  <a:pt x="76" y="14"/>
                </a:lnTo>
                <a:lnTo>
                  <a:pt x="76" y="12"/>
                </a:lnTo>
                <a:lnTo>
                  <a:pt x="74" y="12"/>
                </a:lnTo>
                <a:lnTo>
                  <a:pt x="72" y="14"/>
                </a:lnTo>
                <a:lnTo>
                  <a:pt x="68" y="12"/>
                </a:lnTo>
                <a:lnTo>
                  <a:pt x="67" y="14"/>
                </a:lnTo>
                <a:lnTo>
                  <a:pt x="66" y="16"/>
                </a:lnTo>
                <a:lnTo>
                  <a:pt x="67" y="16"/>
                </a:lnTo>
                <a:lnTo>
                  <a:pt x="67" y="17"/>
                </a:lnTo>
                <a:lnTo>
                  <a:pt x="64" y="19"/>
                </a:lnTo>
                <a:lnTo>
                  <a:pt x="62" y="17"/>
                </a:lnTo>
                <a:lnTo>
                  <a:pt x="60" y="17"/>
                </a:lnTo>
                <a:lnTo>
                  <a:pt x="58" y="19"/>
                </a:lnTo>
                <a:lnTo>
                  <a:pt x="60" y="19"/>
                </a:lnTo>
                <a:lnTo>
                  <a:pt x="63" y="19"/>
                </a:lnTo>
                <a:lnTo>
                  <a:pt x="64" y="20"/>
                </a:lnTo>
                <a:lnTo>
                  <a:pt x="63" y="22"/>
                </a:lnTo>
                <a:lnTo>
                  <a:pt x="60" y="22"/>
                </a:lnTo>
                <a:lnTo>
                  <a:pt x="59" y="23"/>
                </a:lnTo>
                <a:lnTo>
                  <a:pt x="58" y="25"/>
                </a:lnTo>
                <a:lnTo>
                  <a:pt x="55" y="25"/>
                </a:lnTo>
                <a:lnTo>
                  <a:pt x="54" y="23"/>
                </a:lnTo>
                <a:lnTo>
                  <a:pt x="52" y="22"/>
                </a:lnTo>
                <a:lnTo>
                  <a:pt x="51" y="20"/>
                </a:lnTo>
                <a:lnTo>
                  <a:pt x="50" y="22"/>
                </a:lnTo>
                <a:lnTo>
                  <a:pt x="47" y="20"/>
                </a:lnTo>
                <a:lnTo>
                  <a:pt x="47" y="22"/>
                </a:lnTo>
                <a:lnTo>
                  <a:pt x="48" y="23"/>
                </a:lnTo>
                <a:lnTo>
                  <a:pt x="50" y="23"/>
                </a:lnTo>
                <a:lnTo>
                  <a:pt x="47" y="23"/>
                </a:lnTo>
                <a:lnTo>
                  <a:pt x="50" y="25"/>
                </a:lnTo>
                <a:lnTo>
                  <a:pt x="44" y="25"/>
                </a:lnTo>
                <a:lnTo>
                  <a:pt x="48" y="25"/>
                </a:lnTo>
                <a:lnTo>
                  <a:pt x="50" y="27"/>
                </a:lnTo>
                <a:lnTo>
                  <a:pt x="50" y="28"/>
                </a:lnTo>
                <a:lnTo>
                  <a:pt x="48" y="28"/>
                </a:lnTo>
                <a:lnTo>
                  <a:pt x="47" y="28"/>
                </a:lnTo>
                <a:lnTo>
                  <a:pt x="44" y="30"/>
                </a:lnTo>
                <a:lnTo>
                  <a:pt x="43" y="30"/>
                </a:lnTo>
                <a:lnTo>
                  <a:pt x="40" y="28"/>
                </a:lnTo>
                <a:lnTo>
                  <a:pt x="39" y="30"/>
                </a:lnTo>
                <a:lnTo>
                  <a:pt x="36" y="28"/>
                </a:lnTo>
                <a:lnTo>
                  <a:pt x="36" y="27"/>
                </a:lnTo>
                <a:lnTo>
                  <a:pt x="34" y="27"/>
                </a:lnTo>
                <a:lnTo>
                  <a:pt x="31" y="25"/>
                </a:lnTo>
                <a:lnTo>
                  <a:pt x="32" y="25"/>
                </a:lnTo>
                <a:lnTo>
                  <a:pt x="32" y="23"/>
                </a:lnTo>
                <a:lnTo>
                  <a:pt x="31" y="23"/>
                </a:lnTo>
                <a:lnTo>
                  <a:pt x="28" y="23"/>
                </a:lnTo>
                <a:lnTo>
                  <a:pt x="28" y="25"/>
                </a:lnTo>
                <a:lnTo>
                  <a:pt x="28" y="27"/>
                </a:lnTo>
                <a:lnTo>
                  <a:pt x="26" y="28"/>
                </a:lnTo>
                <a:lnTo>
                  <a:pt x="23" y="27"/>
                </a:lnTo>
                <a:lnTo>
                  <a:pt x="16" y="27"/>
                </a:lnTo>
                <a:lnTo>
                  <a:pt x="15" y="25"/>
                </a:lnTo>
                <a:lnTo>
                  <a:pt x="16" y="25"/>
                </a:lnTo>
                <a:lnTo>
                  <a:pt x="16" y="23"/>
                </a:lnTo>
                <a:lnTo>
                  <a:pt x="14" y="27"/>
                </a:lnTo>
                <a:lnTo>
                  <a:pt x="12" y="27"/>
                </a:lnTo>
                <a:lnTo>
                  <a:pt x="10" y="28"/>
                </a:lnTo>
                <a:lnTo>
                  <a:pt x="6" y="28"/>
                </a:lnTo>
                <a:lnTo>
                  <a:pt x="3" y="27"/>
                </a:lnTo>
                <a:lnTo>
                  <a:pt x="7" y="23"/>
                </a:lnTo>
                <a:lnTo>
                  <a:pt x="4" y="23"/>
                </a:lnTo>
                <a:lnTo>
                  <a:pt x="0" y="25"/>
                </a:lnTo>
                <a:lnTo>
                  <a:pt x="0" y="23"/>
                </a:lnTo>
                <a:lnTo>
                  <a:pt x="2" y="23"/>
                </a:lnTo>
                <a:lnTo>
                  <a:pt x="4" y="22"/>
                </a:lnTo>
                <a:lnTo>
                  <a:pt x="4" y="20"/>
                </a:lnTo>
                <a:lnTo>
                  <a:pt x="7" y="20"/>
                </a:lnTo>
                <a:lnTo>
                  <a:pt x="8" y="20"/>
                </a:lnTo>
                <a:lnTo>
                  <a:pt x="11" y="19"/>
                </a:lnTo>
                <a:lnTo>
                  <a:pt x="14" y="19"/>
                </a:lnTo>
                <a:lnTo>
                  <a:pt x="16" y="20"/>
                </a:lnTo>
                <a:lnTo>
                  <a:pt x="18" y="19"/>
                </a:lnTo>
                <a:lnTo>
                  <a:pt x="19" y="19"/>
                </a:lnTo>
                <a:lnTo>
                  <a:pt x="23" y="17"/>
                </a:lnTo>
                <a:lnTo>
                  <a:pt x="24" y="16"/>
                </a:lnTo>
                <a:lnTo>
                  <a:pt x="26" y="16"/>
                </a:lnTo>
                <a:lnTo>
                  <a:pt x="24" y="14"/>
                </a:lnTo>
                <a:lnTo>
                  <a:pt x="26" y="16"/>
                </a:lnTo>
                <a:lnTo>
                  <a:pt x="27" y="16"/>
                </a:lnTo>
                <a:lnTo>
                  <a:pt x="31" y="14"/>
                </a:lnTo>
                <a:lnTo>
                  <a:pt x="34" y="14"/>
                </a:lnTo>
                <a:lnTo>
                  <a:pt x="38" y="12"/>
                </a:lnTo>
                <a:lnTo>
                  <a:pt x="40" y="12"/>
                </a:lnTo>
                <a:lnTo>
                  <a:pt x="38" y="12"/>
                </a:lnTo>
                <a:lnTo>
                  <a:pt x="40" y="11"/>
                </a:lnTo>
                <a:lnTo>
                  <a:pt x="40" y="9"/>
                </a:lnTo>
                <a:lnTo>
                  <a:pt x="42" y="9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86" name="Freeform 686"/>
          <p:cNvSpPr>
            <a:spLocks/>
          </p:cNvSpPr>
          <p:nvPr/>
        </p:nvSpPr>
        <p:spPr bwMode="auto">
          <a:xfrm>
            <a:off x="2367286" y="1631832"/>
            <a:ext cx="38977" cy="4295"/>
          </a:xfrm>
          <a:custGeom>
            <a:avLst/>
            <a:gdLst/>
            <a:ahLst/>
            <a:cxnLst>
              <a:cxn ang="0">
                <a:pos x="12" y="0"/>
              </a:cxn>
              <a:cxn ang="0">
                <a:pos x="15" y="0"/>
              </a:cxn>
              <a:cxn ang="0">
                <a:pos x="20" y="1"/>
              </a:cxn>
              <a:cxn ang="0">
                <a:pos x="20" y="3"/>
              </a:cxn>
              <a:cxn ang="0">
                <a:pos x="19" y="3"/>
              </a:cxn>
              <a:cxn ang="0">
                <a:pos x="12" y="3"/>
              </a:cxn>
              <a:cxn ang="0">
                <a:pos x="3" y="3"/>
              </a:cxn>
              <a:cxn ang="0">
                <a:pos x="0" y="1"/>
              </a:cxn>
              <a:cxn ang="0">
                <a:pos x="1" y="1"/>
              </a:cxn>
              <a:cxn ang="0">
                <a:pos x="12" y="0"/>
              </a:cxn>
            </a:cxnLst>
            <a:rect l="0" t="0" r="r" b="b"/>
            <a:pathLst>
              <a:path w="20" h="3">
                <a:moveTo>
                  <a:pt x="12" y="0"/>
                </a:moveTo>
                <a:lnTo>
                  <a:pt x="15" y="0"/>
                </a:lnTo>
                <a:lnTo>
                  <a:pt x="20" y="1"/>
                </a:lnTo>
                <a:lnTo>
                  <a:pt x="20" y="3"/>
                </a:lnTo>
                <a:lnTo>
                  <a:pt x="19" y="3"/>
                </a:lnTo>
                <a:lnTo>
                  <a:pt x="12" y="3"/>
                </a:lnTo>
                <a:lnTo>
                  <a:pt x="3" y="3"/>
                </a:lnTo>
                <a:lnTo>
                  <a:pt x="0" y="1"/>
                </a:lnTo>
                <a:lnTo>
                  <a:pt x="1" y="1"/>
                </a:lnTo>
                <a:lnTo>
                  <a:pt x="12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87" name="Freeform 687"/>
          <p:cNvSpPr>
            <a:spLocks/>
          </p:cNvSpPr>
          <p:nvPr/>
        </p:nvSpPr>
        <p:spPr bwMode="auto">
          <a:xfrm>
            <a:off x="2367286" y="1631832"/>
            <a:ext cx="38977" cy="4295"/>
          </a:xfrm>
          <a:custGeom>
            <a:avLst/>
            <a:gdLst/>
            <a:ahLst/>
            <a:cxnLst>
              <a:cxn ang="0">
                <a:pos x="12" y="0"/>
              </a:cxn>
              <a:cxn ang="0">
                <a:pos x="15" y="0"/>
              </a:cxn>
              <a:cxn ang="0">
                <a:pos x="20" y="1"/>
              </a:cxn>
              <a:cxn ang="0">
                <a:pos x="20" y="3"/>
              </a:cxn>
              <a:cxn ang="0">
                <a:pos x="19" y="3"/>
              </a:cxn>
              <a:cxn ang="0">
                <a:pos x="12" y="3"/>
              </a:cxn>
              <a:cxn ang="0">
                <a:pos x="3" y="3"/>
              </a:cxn>
              <a:cxn ang="0">
                <a:pos x="0" y="1"/>
              </a:cxn>
              <a:cxn ang="0">
                <a:pos x="1" y="1"/>
              </a:cxn>
              <a:cxn ang="0">
                <a:pos x="12" y="0"/>
              </a:cxn>
            </a:cxnLst>
            <a:rect l="0" t="0" r="r" b="b"/>
            <a:pathLst>
              <a:path w="20" h="3">
                <a:moveTo>
                  <a:pt x="12" y="0"/>
                </a:moveTo>
                <a:lnTo>
                  <a:pt x="15" y="0"/>
                </a:lnTo>
                <a:lnTo>
                  <a:pt x="20" y="1"/>
                </a:lnTo>
                <a:lnTo>
                  <a:pt x="20" y="3"/>
                </a:lnTo>
                <a:lnTo>
                  <a:pt x="19" y="3"/>
                </a:lnTo>
                <a:lnTo>
                  <a:pt x="12" y="3"/>
                </a:lnTo>
                <a:lnTo>
                  <a:pt x="3" y="3"/>
                </a:lnTo>
                <a:lnTo>
                  <a:pt x="0" y="1"/>
                </a:lnTo>
                <a:lnTo>
                  <a:pt x="1" y="1"/>
                </a:lnTo>
                <a:lnTo>
                  <a:pt x="12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88" name="Freeform 688"/>
          <p:cNvSpPr>
            <a:spLocks/>
          </p:cNvSpPr>
          <p:nvPr/>
        </p:nvSpPr>
        <p:spPr bwMode="auto">
          <a:xfrm>
            <a:off x="2410161" y="1588879"/>
            <a:ext cx="105236" cy="25772"/>
          </a:xfrm>
          <a:custGeom>
            <a:avLst/>
            <a:gdLst/>
            <a:ahLst/>
            <a:cxnLst>
              <a:cxn ang="0">
                <a:pos x="20" y="1"/>
              </a:cxn>
              <a:cxn ang="0">
                <a:pos x="22" y="3"/>
              </a:cxn>
              <a:cxn ang="0">
                <a:pos x="22" y="1"/>
              </a:cxn>
              <a:cxn ang="0">
                <a:pos x="25" y="1"/>
              </a:cxn>
              <a:cxn ang="0">
                <a:pos x="34" y="1"/>
              </a:cxn>
              <a:cxn ang="0">
                <a:pos x="37" y="1"/>
              </a:cxn>
              <a:cxn ang="0">
                <a:pos x="40" y="1"/>
              </a:cxn>
              <a:cxn ang="0">
                <a:pos x="46" y="0"/>
              </a:cxn>
              <a:cxn ang="0">
                <a:pos x="53" y="1"/>
              </a:cxn>
              <a:cxn ang="0">
                <a:pos x="54" y="1"/>
              </a:cxn>
              <a:cxn ang="0">
                <a:pos x="54" y="3"/>
              </a:cxn>
              <a:cxn ang="0">
                <a:pos x="53" y="5"/>
              </a:cxn>
              <a:cxn ang="0">
                <a:pos x="40" y="5"/>
              </a:cxn>
              <a:cxn ang="0">
                <a:pos x="37" y="5"/>
              </a:cxn>
              <a:cxn ang="0">
                <a:pos x="36" y="5"/>
              </a:cxn>
              <a:cxn ang="0">
                <a:pos x="34" y="5"/>
              </a:cxn>
              <a:cxn ang="0">
                <a:pos x="36" y="6"/>
              </a:cxn>
              <a:cxn ang="0">
                <a:pos x="34" y="6"/>
              </a:cxn>
              <a:cxn ang="0">
                <a:pos x="28" y="6"/>
              </a:cxn>
              <a:cxn ang="0">
                <a:pos x="29" y="6"/>
              </a:cxn>
              <a:cxn ang="0">
                <a:pos x="29" y="8"/>
              </a:cxn>
              <a:cxn ang="0">
                <a:pos x="30" y="6"/>
              </a:cxn>
              <a:cxn ang="0">
                <a:pos x="32" y="8"/>
              </a:cxn>
              <a:cxn ang="0">
                <a:pos x="29" y="8"/>
              </a:cxn>
              <a:cxn ang="0">
                <a:pos x="33" y="6"/>
              </a:cxn>
              <a:cxn ang="0">
                <a:pos x="34" y="6"/>
              </a:cxn>
              <a:cxn ang="0">
                <a:pos x="34" y="8"/>
              </a:cxn>
              <a:cxn ang="0">
                <a:pos x="36" y="8"/>
              </a:cxn>
              <a:cxn ang="0">
                <a:pos x="36" y="6"/>
              </a:cxn>
              <a:cxn ang="0">
                <a:pos x="37" y="6"/>
              </a:cxn>
              <a:cxn ang="0">
                <a:pos x="38" y="6"/>
              </a:cxn>
              <a:cxn ang="0">
                <a:pos x="41" y="6"/>
              </a:cxn>
              <a:cxn ang="0">
                <a:pos x="46" y="6"/>
              </a:cxn>
              <a:cxn ang="0">
                <a:pos x="48" y="8"/>
              </a:cxn>
              <a:cxn ang="0">
                <a:pos x="46" y="11"/>
              </a:cxn>
              <a:cxn ang="0">
                <a:pos x="45" y="11"/>
              </a:cxn>
              <a:cxn ang="0">
                <a:pos x="44" y="12"/>
              </a:cxn>
              <a:cxn ang="0">
                <a:pos x="34" y="12"/>
              </a:cxn>
              <a:cxn ang="0">
                <a:pos x="32" y="12"/>
              </a:cxn>
              <a:cxn ang="0">
                <a:pos x="20" y="14"/>
              </a:cxn>
              <a:cxn ang="0">
                <a:pos x="17" y="14"/>
              </a:cxn>
              <a:cxn ang="0">
                <a:pos x="13" y="14"/>
              </a:cxn>
              <a:cxn ang="0">
                <a:pos x="12" y="12"/>
              </a:cxn>
              <a:cxn ang="0">
                <a:pos x="2" y="11"/>
              </a:cxn>
              <a:cxn ang="0">
                <a:pos x="1" y="11"/>
              </a:cxn>
              <a:cxn ang="0">
                <a:pos x="1" y="9"/>
              </a:cxn>
              <a:cxn ang="0">
                <a:pos x="1" y="8"/>
              </a:cxn>
              <a:cxn ang="0">
                <a:pos x="0" y="6"/>
              </a:cxn>
              <a:cxn ang="0">
                <a:pos x="0" y="5"/>
              </a:cxn>
              <a:cxn ang="0">
                <a:pos x="1" y="5"/>
              </a:cxn>
              <a:cxn ang="0">
                <a:pos x="8" y="5"/>
              </a:cxn>
              <a:cxn ang="0">
                <a:pos x="9" y="3"/>
              </a:cxn>
              <a:cxn ang="0">
                <a:pos x="12" y="3"/>
              </a:cxn>
              <a:cxn ang="0">
                <a:pos x="14" y="3"/>
              </a:cxn>
              <a:cxn ang="0">
                <a:pos x="16" y="3"/>
              </a:cxn>
              <a:cxn ang="0">
                <a:pos x="18" y="3"/>
              </a:cxn>
              <a:cxn ang="0">
                <a:pos x="20" y="1"/>
              </a:cxn>
            </a:cxnLst>
            <a:rect l="0" t="0" r="r" b="b"/>
            <a:pathLst>
              <a:path w="54" h="14">
                <a:moveTo>
                  <a:pt x="20" y="1"/>
                </a:moveTo>
                <a:lnTo>
                  <a:pt x="22" y="3"/>
                </a:lnTo>
                <a:lnTo>
                  <a:pt x="22" y="1"/>
                </a:lnTo>
                <a:lnTo>
                  <a:pt x="25" y="1"/>
                </a:lnTo>
                <a:lnTo>
                  <a:pt x="34" y="1"/>
                </a:lnTo>
                <a:lnTo>
                  <a:pt x="37" y="1"/>
                </a:lnTo>
                <a:lnTo>
                  <a:pt x="40" y="1"/>
                </a:lnTo>
                <a:lnTo>
                  <a:pt x="46" y="0"/>
                </a:lnTo>
                <a:lnTo>
                  <a:pt x="53" y="1"/>
                </a:lnTo>
                <a:lnTo>
                  <a:pt x="54" y="1"/>
                </a:lnTo>
                <a:lnTo>
                  <a:pt x="54" y="3"/>
                </a:lnTo>
                <a:lnTo>
                  <a:pt x="53" y="5"/>
                </a:lnTo>
                <a:lnTo>
                  <a:pt x="40" y="5"/>
                </a:lnTo>
                <a:lnTo>
                  <a:pt x="37" y="5"/>
                </a:lnTo>
                <a:lnTo>
                  <a:pt x="36" y="5"/>
                </a:lnTo>
                <a:lnTo>
                  <a:pt x="34" y="5"/>
                </a:lnTo>
                <a:lnTo>
                  <a:pt x="36" y="6"/>
                </a:lnTo>
                <a:lnTo>
                  <a:pt x="34" y="6"/>
                </a:lnTo>
                <a:lnTo>
                  <a:pt x="28" y="6"/>
                </a:lnTo>
                <a:lnTo>
                  <a:pt x="29" y="6"/>
                </a:lnTo>
                <a:lnTo>
                  <a:pt x="29" y="8"/>
                </a:lnTo>
                <a:lnTo>
                  <a:pt x="30" y="6"/>
                </a:lnTo>
                <a:lnTo>
                  <a:pt x="32" y="8"/>
                </a:lnTo>
                <a:lnTo>
                  <a:pt x="29" y="8"/>
                </a:lnTo>
                <a:lnTo>
                  <a:pt x="33" y="6"/>
                </a:lnTo>
                <a:lnTo>
                  <a:pt x="34" y="6"/>
                </a:lnTo>
                <a:lnTo>
                  <a:pt x="34" y="8"/>
                </a:lnTo>
                <a:lnTo>
                  <a:pt x="36" y="8"/>
                </a:lnTo>
                <a:lnTo>
                  <a:pt x="36" y="6"/>
                </a:lnTo>
                <a:lnTo>
                  <a:pt x="37" y="6"/>
                </a:lnTo>
                <a:lnTo>
                  <a:pt x="38" y="6"/>
                </a:lnTo>
                <a:lnTo>
                  <a:pt x="41" y="6"/>
                </a:lnTo>
                <a:lnTo>
                  <a:pt x="46" y="6"/>
                </a:lnTo>
                <a:lnTo>
                  <a:pt x="48" y="8"/>
                </a:lnTo>
                <a:lnTo>
                  <a:pt x="46" y="11"/>
                </a:lnTo>
                <a:lnTo>
                  <a:pt x="45" y="11"/>
                </a:lnTo>
                <a:lnTo>
                  <a:pt x="44" y="12"/>
                </a:lnTo>
                <a:lnTo>
                  <a:pt x="34" y="12"/>
                </a:lnTo>
                <a:lnTo>
                  <a:pt x="32" y="12"/>
                </a:lnTo>
                <a:lnTo>
                  <a:pt x="20" y="14"/>
                </a:lnTo>
                <a:lnTo>
                  <a:pt x="17" y="14"/>
                </a:lnTo>
                <a:lnTo>
                  <a:pt x="13" y="14"/>
                </a:lnTo>
                <a:lnTo>
                  <a:pt x="12" y="12"/>
                </a:lnTo>
                <a:lnTo>
                  <a:pt x="2" y="11"/>
                </a:lnTo>
                <a:lnTo>
                  <a:pt x="1" y="11"/>
                </a:lnTo>
                <a:lnTo>
                  <a:pt x="1" y="9"/>
                </a:lnTo>
                <a:lnTo>
                  <a:pt x="1" y="8"/>
                </a:lnTo>
                <a:lnTo>
                  <a:pt x="0" y="6"/>
                </a:lnTo>
                <a:lnTo>
                  <a:pt x="0" y="5"/>
                </a:lnTo>
                <a:lnTo>
                  <a:pt x="1" y="5"/>
                </a:lnTo>
                <a:lnTo>
                  <a:pt x="8" y="5"/>
                </a:lnTo>
                <a:lnTo>
                  <a:pt x="9" y="3"/>
                </a:lnTo>
                <a:lnTo>
                  <a:pt x="12" y="3"/>
                </a:lnTo>
                <a:lnTo>
                  <a:pt x="14" y="3"/>
                </a:lnTo>
                <a:lnTo>
                  <a:pt x="16" y="3"/>
                </a:lnTo>
                <a:lnTo>
                  <a:pt x="18" y="3"/>
                </a:lnTo>
                <a:lnTo>
                  <a:pt x="20" y="1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89" name="Freeform 689"/>
          <p:cNvSpPr>
            <a:spLocks/>
          </p:cNvSpPr>
          <p:nvPr/>
        </p:nvSpPr>
        <p:spPr bwMode="auto">
          <a:xfrm>
            <a:off x="2410161" y="1588879"/>
            <a:ext cx="105236" cy="25772"/>
          </a:xfrm>
          <a:custGeom>
            <a:avLst/>
            <a:gdLst/>
            <a:ahLst/>
            <a:cxnLst>
              <a:cxn ang="0">
                <a:pos x="20" y="1"/>
              </a:cxn>
              <a:cxn ang="0">
                <a:pos x="22" y="3"/>
              </a:cxn>
              <a:cxn ang="0">
                <a:pos x="22" y="1"/>
              </a:cxn>
              <a:cxn ang="0">
                <a:pos x="25" y="1"/>
              </a:cxn>
              <a:cxn ang="0">
                <a:pos x="34" y="1"/>
              </a:cxn>
              <a:cxn ang="0">
                <a:pos x="37" y="1"/>
              </a:cxn>
              <a:cxn ang="0">
                <a:pos x="40" y="1"/>
              </a:cxn>
              <a:cxn ang="0">
                <a:pos x="46" y="0"/>
              </a:cxn>
              <a:cxn ang="0">
                <a:pos x="53" y="1"/>
              </a:cxn>
              <a:cxn ang="0">
                <a:pos x="54" y="1"/>
              </a:cxn>
              <a:cxn ang="0">
                <a:pos x="54" y="3"/>
              </a:cxn>
              <a:cxn ang="0">
                <a:pos x="53" y="5"/>
              </a:cxn>
              <a:cxn ang="0">
                <a:pos x="40" y="5"/>
              </a:cxn>
              <a:cxn ang="0">
                <a:pos x="37" y="5"/>
              </a:cxn>
              <a:cxn ang="0">
                <a:pos x="36" y="5"/>
              </a:cxn>
              <a:cxn ang="0">
                <a:pos x="34" y="5"/>
              </a:cxn>
              <a:cxn ang="0">
                <a:pos x="36" y="6"/>
              </a:cxn>
              <a:cxn ang="0">
                <a:pos x="34" y="6"/>
              </a:cxn>
              <a:cxn ang="0">
                <a:pos x="28" y="6"/>
              </a:cxn>
              <a:cxn ang="0">
                <a:pos x="29" y="6"/>
              </a:cxn>
              <a:cxn ang="0">
                <a:pos x="29" y="8"/>
              </a:cxn>
              <a:cxn ang="0">
                <a:pos x="30" y="6"/>
              </a:cxn>
              <a:cxn ang="0">
                <a:pos x="32" y="8"/>
              </a:cxn>
              <a:cxn ang="0">
                <a:pos x="29" y="8"/>
              </a:cxn>
              <a:cxn ang="0">
                <a:pos x="33" y="6"/>
              </a:cxn>
              <a:cxn ang="0">
                <a:pos x="34" y="6"/>
              </a:cxn>
              <a:cxn ang="0">
                <a:pos x="34" y="8"/>
              </a:cxn>
              <a:cxn ang="0">
                <a:pos x="36" y="8"/>
              </a:cxn>
              <a:cxn ang="0">
                <a:pos x="36" y="6"/>
              </a:cxn>
              <a:cxn ang="0">
                <a:pos x="37" y="6"/>
              </a:cxn>
              <a:cxn ang="0">
                <a:pos x="38" y="6"/>
              </a:cxn>
              <a:cxn ang="0">
                <a:pos x="41" y="6"/>
              </a:cxn>
              <a:cxn ang="0">
                <a:pos x="46" y="6"/>
              </a:cxn>
              <a:cxn ang="0">
                <a:pos x="48" y="8"/>
              </a:cxn>
              <a:cxn ang="0">
                <a:pos x="46" y="11"/>
              </a:cxn>
              <a:cxn ang="0">
                <a:pos x="45" y="11"/>
              </a:cxn>
              <a:cxn ang="0">
                <a:pos x="44" y="12"/>
              </a:cxn>
              <a:cxn ang="0">
                <a:pos x="34" y="12"/>
              </a:cxn>
              <a:cxn ang="0">
                <a:pos x="32" y="12"/>
              </a:cxn>
              <a:cxn ang="0">
                <a:pos x="20" y="14"/>
              </a:cxn>
              <a:cxn ang="0">
                <a:pos x="17" y="14"/>
              </a:cxn>
              <a:cxn ang="0">
                <a:pos x="13" y="14"/>
              </a:cxn>
              <a:cxn ang="0">
                <a:pos x="12" y="12"/>
              </a:cxn>
              <a:cxn ang="0">
                <a:pos x="2" y="11"/>
              </a:cxn>
              <a:cxn ang="0">
                <a:pos x="1" y="11"/>
              </a:cxn>
              <a:cxn ang="0">
                <a:pos x="1" y="9"/>
              </a:cxn>
              <a:cxn ang="0">
                <a:pos x="1" y="8"/>
              </a:cxn>
              <a:cxn ang="0">
                <a:pos x="0" y="6"/>
              </a:cxn>
              <a:cxn ang="0">
                <a:pos x="0" y="5"/>
              </a:cxn>
              <a:cxn ang="0">
                <a:pos x="1" y="5"/>
              </a:cxn>
              <a:cxn ang="0">
                <a:pos x="8" y="5"/>
              </a:cxn>
              <a:cxn ang="0">
                <a:pos x="9" y="3"/>
              </a:cxn>
              <a:cxn ang="0">
                <a:pos x="12" y="3"/>
              </a:cxn>
              <a:cxn ang="0">
                <a:pos x="14" y="3"/>
              </a:cxn>
              <a:cxn ang="0">
                <a:pos x="16" y="3"/>
              </a:cxn>
              <a:cxn ang="0">
                <a:pos x="18" y="3"/>
              </a:cxn>
              <a:cxn ang="0">
                <a:pos x="20" y="1"/>
              </a:cxn>
            </a:cxnLst>
            <a:rect l="0" t="0" r="r" b="b"/>
            <a:pathLst>
              <a:path w="54" h="14">
                <a:moveTo>
                  <a:pt x="20" y="1"/>
                </a:moveTo>
                <a:lnTo>
                  <a:pt x="22" y="3"/>
                </a:lnTo>
                <a:lnTo>
                  <a:pt x="22" y="1"/>
                </a:lnTo>
                <a:lnTo>
                  <a:pt x="25" y="1"/>
                </a:lnTo>
                <a:lnTo>
                  <a:pt x="34" y="1"/>
                </a:lnTo>
                <a:lnTo>
                  <a:pt x="37" y="1"/>
                </a:lnTo>
                <a:lnTo>
                  <a:pt x="40" y="1"/>
                </a:lnTo>
                <a:lnTo>
                  <a:pt x="46" y="0"/>
                </a:lnTo>
                <a:lnTo>
                  <a:pt x="53" y="1"/>
                </a:lnTo>
                <a:lnTo>
                  <a:pt x="54" y="1"/>
                </a:lnTo>
                <a:lnTo>
                  <a:pt x="54" y="3"/>
                </a:lnTo>
                <a:lnTo>
                  <a:pt x="53" y="5"/>
                </a:lnTo>
                <a:lnTo>
                  <a:pt x="40" y="5"/>
                </a:lnTo>
                <a:lnTo>
                  <a:pt x="37" y="5"/>
                </a:lnTo>
                <a:lnTo>
                  <a:pt x="36" y="5"/>
                </a:lnTo>
                <a:lnTo>
                  <a:pt x="34" y="5"/>
                </a:lnTo>
                <a:lnTo>
                  <a:pt x="36" y="6"/>
                </a:lnTo>
                <a:lnTo>
                  <a:pt x="34" y="6"/>
                </a:lnTo>
                <a:lnTo>
                  <a:pt x="28" y="6"/>
                </a:lnTo>
                <a:lnTo>
                  <a:pt x="29" y="6"/>
                </a:lnTo>
                <a:lnTo>
                  <a:pt x="29" y="8"/>
                </a:lnTo>
                <a:lnTo>
                  <a:pt x="30" y="6"/>
                </a:lnTo>
                <a:lnTo>
                  <a:pt x="32" y="8"/>
                </a:lnTo>
                <a:lnTo>
                  <a:pt x="29" y="8"/>
                </a:lnTo>
                <a:lnTo>
                  <a:pt x="33" y="6"/>
                </a:lnTo>
                <a:lnTo>
                  <a:pt x="34" y="6"/>
                </a:lnTo>
                <a:lnTo>
                  <a:pt x="34" y="8"/>
                </a:lnTo>
                <a:lnTo>
                  <a:pt x="36" y="8"/>
                </a:lnTo>
                <a:lnTo>
                  <a:pt x="36" y="6"/>
                </a:lnTo>
                <a:lnTo>
                  <a:pt x="37" y="6"/>
                </a:lnTo>
                <a:lnTo>
                  <a:pt x="38" y="6"/>
                </a:lnTo>
                <a:lnTo>
                  <a:pt x="41" y="6"/>
                </a:lnTo>
                <a:lnTo>
                  <a:pt x="46" y="6"/>
                </a:lnTo>
                <a:lnTo>
                  <a:pt x="48" y="8"/>
                </a:lnTo>
                <a:lnTo>
                  <a:pt x="46" y="11"/>
                </a:lnTo>
                <a:lnTo>
                  <a:pt x="45" y="11"/>
                </a:lnTo>
                <a:lnTo>
                  <a:pt x="44" y="12"/>
                </a:lnTo>
                <a:lnTo>
                  <a:pt x="34" y="12"/>
                </a:lnTo>
                <a:lnTo>
                  <a:pt x="32" y="12"/>
                </a:lnTo>
                <a:lnTo>
                  <a:pt x="20" y="14"/>
                </a:lnTo>
                <a:lnTo>
                  <a:pt x="17" y="14"/>
                </a:lnTo>
                <a:lnTo>
                  <a:pt x="13" y="14"/>
                </a:lnTo>
                <a:lnTo>
                  <a:pt x="12" y="12"/>
                </a:lnTo>
                <a:lnTo>
                  <a:pt x="2" y="11"/>
                </a:lnTo>
                <a:lnTo>
                  <a:pt x="1" y="11"/>
                </a:lnTo>
                <a:lnTo>
                  <a:pt x="1" y="9"/>
                </a:lnTo>
                <a:lnTo>
                  <a:pt x="1" y="8"/>
                </a:lnTo>
                <a:lnTo>
                  <a:pt x="0" y="6"/>
                </a:lnTo>
                <a:lnTo>
                  <a:pt x="0" y="5"/>
                </a:lnTo>
                <a:lnTo>
                  <a:pt x="1" y="5"/>
                </a:lnTo>
                <a:lnTo>
                  <a:pt x="8" y="5"/>
                </a:lnTo>
                <a:lnTo>
                  <a:pt x="9" y="3"/>
                </a:lnTo>
                <a:lnTo>
                  <a:pt x="12" y="3"/>
                </a:lnTo>
                <a:lnTo>
                  <a:pt x="14" y="3"/>
                </a:lnTo>
                <a:lnTo>
                  <a:pt x="16" y="3"/>
                </a:lnTo>
                <a:lnTo>
                  <a:pt x="18" y="3"/>
                </a:lnTo>
                <a:lnTo>
                  <a:pt x="20" y="1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90" name="Freeform 690"/>
          <p:cNvSpPr>
            <a:spLocks/>
          </p:cNvSpPr>
          <p:nvPr/>
        </p:nvSpPr>
        <p:spPr bwMode="auto">
          <a:xfrm>
            <a:off x="2359491" y="1591029"/>
            <a:ext cx="44823" cy="12885"/>
          </a:xfrm>
          <a:custGeom>
            <a:avLst/>
            <a:gdLst/>
            <a:ahLst/>
            <a:cxnLst>
              <a:cxn ang="0">
                <a:pos x="3" y="2"/>
              </a:cxn>
              <a:cxn ang="0">
                <a:pos x="4" y="2"/>
              </a:cxn>
              <a:cxn ang="0">
                <a:pos x="5" y="2"/>
              </a:cxn>
              <a:cxn ang="0">
                <a:pos x="7" y="2"/>
              </a:cxn>
              <a:cxn ang="0">
                <a:pos x="11" y="0"/>
              </a:cxn>
              <a:cxn ang="0">
                <a:pos x="11" y="2"/>
              </a:cxn>
              <a:cxn ang="0">
                <a:pos x="12" y="2"/>
              </a:cxn>
              <a:cxn ang="0">
                <a:pos x="21" y="4"/>
              </a:cxn>
              <a:cxn ang="0">
                <a:pos x="23" y="5"/>
              </a:cxn>
              <a:cxn ang="0">
                <a:pos x="20" y="7"/>
              </a:cxn>
              <a:cxn ang="0">
                <a:pos x="13" y="7"/>
              </a:cxn>
              <a:cxn ang="0">
                <a:pos x="9" y="5"/>
              </a:cxn>
              <a:cxn ang="0">
                <a:pos x="5" y="4"/>
              </a:cxn>
              <a:cxn ang="0">
                <a:pos x="4" y="4"/>
              </a:cxn>
              <a:cxn ang="0">
                <a:pos x="3" y="4"/>
              </a:cxn>
              <a:cxn ang="0">
                <a:pos x="0" y="2"/>
              </a:cxn>
              <a:cxn ang="0">
                <a:pos x="3" y="2"/>
              </a:cxn>
            </a:cxnLst>
            <a:rect l="0" t="0" r="r" b="b"/>
            <a:pathLst>
              <a:path w="23" h="7">
                <a:moveTo>
                  <a:pt x="3" y="2"/>
                </a:moveTo>
                <a:lnTo>
                  <a:pt x="4" y="2"/>
                </a:lnTo>
                <a:lnTo>
                  <a:pt x="5" y="2"/>
                </a:lnTo>
                <a:lnTo>
                  <a:pt x="7" y="2"/>
                </a:lnTo>
                <a:lnTo>
                  <a:pt x="11" y="0"/>
                </a:lnTo>
                <a:lnTo>
                  <a:pt x="11" y="2"/>
                </a:lnTo>
                <a:lnTo>
                  <a:pt x="12" y="2"/>
                </a:lnTo>
                <a:lnTo>
                  <a:pt x="21" y="4"/>
                </a:lnTo>
                <a:lnTo>
                  <a:pt x="23" y="5"/>
                </a:lnTo>
                <a:lnTo>
                  <a:pt x="20" y="7"/>
                </a:lnTo>
                <a:lnTo>
                  <a:pt x="13" y="7"/>
                </a:lnTo>
                <a:lnTo>
                  <a:pt x="9" y="5"/>
                </a:lnTo>
                <a:lnTo>
                  <a:pt x="5" y="4"/>
                </a:lnTo>
                <a:lnTo>
                  <a:pt x="4" y="4"/>
                </a:lnTo>
                <a:lnTo>
                  <a:pt x="3" y="4"/>
                </a:lnTo>
                <a:lnTo>
                  <a:pt x="0" y="2"/>
                </a:lnTo>
                <a:lnTo>
                  <a:pt x="3" y="2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91" name="Freeform 691"/>
          <p:cNvSpPr>
            <a:spLocks/>
          </p:cNvSpPr>
          <p:nvPr/>
        </p:nvSpPr>
        <p:spPr bwMode="auto">
          <a:xfrm>
            <a:off x="2359491" y="1591029"/>
            <a:ext cx="44823" cy="12885"/>
          </a:xfrm>
          <a:custGeom>
            <a:avLst/>
            <a:gdLst/>
            <a:ahLst/>
            <a:cxnLst>
              <a:cxn ang="0">
                <a:pos x="3" y="2"/>
              </a:cxn>
              <a:cxn ang="0">
                <a:pos x="4" y="2"/>
              </a:cxn>
              <a:cxn ang="0">
                <a:pos x="5" y="2"/>
              </a:cxn>
              <a:cxn ang="0">
                <a:pos x="7" y="2"/>
              </a:cxn>
              <a:cxn ang="0">
                <a:pos x="11" y="0"/>
              </a:cxn>
              <a:cxn ang="0">
                <a:pos x="11" y="2"/>
              </a:cxn>
              <a:cxn ang="0">
                <a:pos x="12" y="2"/>
              </a:cxn>
              <a:cxn ang="0">
                <a:pos x="21" y="4"/>
              </a:cxn>
              <a:cxn ang="0">
                <a:pos x="23" y="5"/>
              </a:cxn>
              <a:cxn ang="0">
                <a:pos x="20" y="7"/>
              </a:cxn>
              <a:cxn ang="0">
                <a:pos x="13" y="7"/>
              </a:cxn>
              <a:cxn ang="0">
                <a:pos x="9" y="5"/>
              </a:cxn>
              <a:cxn ang="0">
                <a:pos x="5" y="4"/>
              </a:cxn>
              <a:cxn ang="0">
                <a:pos x="4" y="4"/>
              </a:cxn>
              <a:cxn ang="0">
                <a:pos x="3" y="4"/>
              </a:cxn>
              <a:cxn ang="0">
                <a:pos x="0" y="2"/>
              </a:cxn>
              <a:cxn ang="0">
                <a:pos x="3" y="2"/>
              </a:cxn>
            </a:cxnLst>
            <a:rect l="0" t="0" r="r" b="b"/>
            <a:pathLst>
              <a:path w="23" h="7">
                <a:moveTo>
                  <a:pt x="3" y="2"/>
                </a:moveTo>
                <a:lnTo>
                  <a:pt x="4" y="2"/>
                </a:lnTo>
                <a:lnTo>
                  <a:pt x="5" y="2"/>
                </a:lnTo>
                <a:lnTo>
                  <a:pt x="7" y="2"/>
                </a:lnTo>
                <a:lnTo>
                  <a:pt x="11" y="0"/>
                </a:lnTo>
                <a:lnTo>
                  <a:pt x="11" y="2"/>
                </a:lnTo>
                <a:lnTo>
                  <a:pt x="12" y="2"/>
                </a:lnTo>
                <a:lnTo>
                  <a:pt x="21" y="4"/>
                </a:lnTo>
                <a:lnTo>
                  <a:pt x="23" y="5"/>
                </a:lnTo>
                <a:lnTo>
                  <a:pt x="20" y="7"/>
                </a:lnTo>
                <a:lnTo>
                  <a:pt x="13" y="7"/>
                </a:lnTo>
                <a:lnTo>
                  <a:pt x="9" y="5"/>
                </a:lnTo>
                <a:lnTo>
                  <a:pt x="5" y="4"/>
                </a:lnTo>
                <a:lnTo>
                  <a:pt x="4" y="4"/>
                </a:lnTo>
                <a:lnTo>
                  <a:pt x="3" y="4"/>
                </a:lnTo>
                <a:lnTo>
                  <a:pt x="0" y="2"/>
                </a:lnTo>
                <a:lnTo>
                  <a:pt x="3" y="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92" name="Freeform 692"/>
          <p:cNvSpPr>
            <a:spLocks/>
          </p:cNvSpPr>
          <p:nvPr/>
        </p:nvSpPr>
        <p:spPr bwMode="auto">
          <a:xfrm>
            <a:off x="2410160" y="1567403"/>
            <a:ext cx="116929" cy="17181"/>
          </a:xfrm>
          <a:custGeom>
            <a:avLst/>
            <a:gdLst/>
            <a:ahLst/>
            <a:cxnLst>
              <a:cxn ang="0">
                <a:pos x="50" y="3"/>
              </a:cxn>
              <a:cxn ang="0">
                <a:pos x="52" y="3"/>
              </a:cxn>
              <a:cxn ang="0">
                <a:pos x="56" y="3"/>
              </a:cxn>
              <a:cxn ang="0">
                <a:pos x="56" y="5"/>
              </a:cxn>
              <a:cxn ang="0">
                <a:pos x="58" y="5"/>
              </a:cxn>
              <a:cxn ang="0">
                <a:pos x="60" y="6"/>
              </a:cxn>
              <a:cxn ang="0">
                <a:pos x="58" y="8"/>
              </a:cxn>
              <a:cxn ang="0">
                <a:pos x="57" y="8"/>
              </a:cxn>
              <a:cxn ang="0">
                <a:pos x="53" y="8"/>
              </a:cxn>
              <a:cxn ang="0">
                <a:pos x="50" y="8"/>
              </a:cxn>
              <a:cxn ang="0">
                <a:pos x="42" y="9"/>
              </a:cxn>
              <a:cxn ang="0">
                <a:pos x="40" y="8"/>
              </a:cxn>
              <a:cxn ang="0">
                <a:pos x="34" y="8"/>
              </a:cxn>
              <a:cxn ang="0">
                <a:pos x="32" y="6"/>
              </a:cxn>
              <a:cxn ang="0">
                <a:pos x="30" y="6"/>
              </a:cxn>
              <a:cxn ang="0">
                <a:pos x="29" y="6"/>
              </a:cxn>
              <a:cxn ang="0">
                <a:pos x="29" y="8"/>
              </a:cxn>
              <a:cxn ang="0">
                <a:pos x="30" y="8"/>
              </a:cxn>
              <a:cxn ang="0">
                <a:pos x="28" y="8"/>
              </a:cxn>
              <a:cxn ang="0">
                <a:pos x="29" y="9"/>
              </a:cxn>
              <a:cxn ang="0">
                <a:pos x="22" y="9"/>
              </a:cxn>
              <a:cxn ang="0">
                <a:pos x="21" y="8"/>
              </a:cxn>
              <a:cxn ang="0">
                <a:pos x="16" y="8"/>
              </a:cxn>
              <a:cxn ang="0">
                <a:pos x="14" y="6"/>
              </a:cxn>
              <a:cxn ang="0">
                <a:pos x="13" y="6"/>
              </a:cxn>
              <a:cxn ang="0">
                <a:pos x="13" y="8"/>
              </a:cxn>
              <a:cxn ang="0">
                <a:pos x="10" y="8"/>
              </a:cxn>
              <a:cxn ang="0">
                <a:pos x="8" y="8"/>
              </a:cxn>
              <a:cxn ang="0">
                <a:pos x="8" y="9"/>
              </a:cxn>
              <a:cxn ang="0">
                <a:pos x="6" y="8"/>
              </a:cxn>
              <a:cxn ang="0">
                <a:pos x="4" y="9"/>
              </a:cxn>
              <a:cxn ang="0">
                <a:pos x="1" y="9"/>
              </a:cxn>
              <a:cxn ang="0">
                <a:pos x="1" y="8"/>
              </a:cxn>
              <a:cxn ang="0">
                <a:pos x="0" y="8"/>
              </a:cxn>
              <a:cxn ang="0">
                <a:pos x="1" y="6"/>
              </a:cxn>
              <a:cxn ang="0">
                <a:pos x="5" y="5"/>
              </a:cxn>
              <a:cxn ang="0">
                <a:pos x="6" y="6"/>
              </a:cxn>
              <a:cxn ang="0">
                <a:pos x="9" y="6"/>
              </a:cxn>
              <a:cxn ang="0">
                <a:pos x="9" y="5"/>
              </a:cxn>
              <a:cxn ang="0">
                <a:pos x="13" y="5"/>
              </a:cxn>
              <a:cxn ang="0">
                <a:pos x="22" y="3"/>
              </a:cxn>
              <a:cxn ang="0">
                <a:pos x="28" y="3"/>
              </a:cxn>
              <a:cxn ang="0">
                <a:pos x="32" y="1"/>
              </a:cxn>
              <a:cxn ang="0">
                <a:pos x="38" y="0"/>
              </a:cxn>
              <a:cxn ang="0">
                <a:pos x="42" y="0"/>
              </a:cxn>
              <a:cxn ang="0">
                <a:pos x="44" y="0"/>
              </a:cxn>
              <a:cxn ang="0">
                <a:pos x="44" y="1"/>
              </a:cxn>
              <a:cxn ang="0">
                <a:pos x="45" y="1"/>
              </a:cxn>
              <a:cxn ang="0">
                <a:pos x="46" y="1"/>
              </a:cxn>
              <a:cxn ang="0">
                <a:pos x="50" y="1"/>
              </a:cxn>
              <a:cxn ang="0">
                <a:pos x="50" y="3"/>
              </a:cxn>
            </a:cxnLst>
            <a:rect l="0" t="0" r="r" b="b"/>
            <a:pathLst>
              <a:path w="60" h="9">
                <a:moveTo>
                  <a:pt x="50" y="3"/>
                </a:moveTo>
                <a:lnTo>
                  <a:pt x="52" y="3"/>
                </a:lnTo>
                <a:lnTo>
                  <a:pt x="56" y="3"/>
                </a:lnTo>
                <a:lnTo>
                  <a:pt x="56" y="5"/>
                </a:lnTo>
                <a:lnTo>
                  <a:pt x="58" y="5"/>
                </a:lnTo>
                <a:lnTo>
                  <a:pt x="60" y="6"/>
                </a:lnTo>
                <a:lnTo>
                  <a:pt x="58" y="8"/>
                </a:lnTo>
                <a:lnTo>
                  <a:pt x="57" y="8"/>
                </a:lnTo>
                <a:lnTo>
                  <a:pt x="53" y="8"/>
                </a:lnTo>
                <a:lnTo>
                  <a:pt x="50" y="8"/>
                </a:lnTo>
                <a:lnTo>
                  <a:pt x="42" y="9"/>
                </a:lnTo>
                <a:lnTo>
                  <a:pt x="40" y="8"/>
                </a:lnTo>
                <a:lnTo>
                  <a:pt x="34" y="8"/>
                </a:lnTo>
                <a:lnTo>
                  <a:pt x="32" y="6"/>
                </a:lnTo>
                <a:lnTo>
                  <a:pt x="30" y="6"/>
                </a:lnTo>
                <a:lnTo>
                  <a:pt x="29" y="6"/>
                </a:lnTo>
                <a:lnTo>
                  <a:pt x="29" y="8"/>
                </a:lnTo>
                <a:lnTo>
                  <a:pt x="30" y="8"/>
                </a:lnTo>
                <a:lnTo>
                  <a:pt x="28" y="8"/>
                </a:lnTo>
                <a:lnTo>
                  <a:pt x="29" y="9"/>
                </a:lnTo>
                <a:lnTo>
                  <a:pt x="22" y="9"/>
                </a:lnTo>
                <a:lnTo>
                  <a:pt x="21" y="8"/>
                </a:lnTo>
                <a:lnTo>
                  <a:pt x="16" y="8"/>
                </a:lnTo>
                <a:lnTo>
                  <a:pt x="14" y="6"/>
                </a:lnTo>
                <a:lnTo>
                  <a:pt x="13" y="6"/>
                </a:lnTo>
                <a:lnTo>
                  <a:pt x="13" y="8"/>
                </a:lnTo>
                <a:lnTo>
                  <a:pt x="10" y="8"/>
                </a:lnTo>
                <a:lnTo>
                  <a:pt x="8" y="8"/>
                </a:lnTo>
                <a:lnTo>
                  <a:pt x="8" y="9"/>
                </a:lnTo>
                <a:lnTo>
                  <a:pt x="6" y="8"/>
                </a:lnTo>
                <a:lnTo>
                  <a:pt x="4" y="9"/>
                </a:lnTo>
                <a:lnTo>
                  <a:pt x="1" y="9"/>
                </a:lnTo>
                <a:lnTo>
                  <a:pt x="1" y="8"/>
                </a:lnTo>
                <a:lnTo>
                  <a:pt x="0" y="8"/>
                </a:lnTo>
                <a:lnTo>
                  <a:pt x="1" y="6"/>
                </a:lnTo>
                <a:lnTo>
                  <a:pt x="5" y="5"/>
                </a:lnTo>
                <a:lnTo>
                  <a:pt x="6" y="6"/>
                </a:lnTo>
                <a:lnTo>
                  <a:pt x="9" y="6"/>
                </a:lnTo>
                <a:lnTo>
                  <a:pt x="9" y="5"/>
                </a:lnTo>
                <a:lnTo>
                  <a:pt x="13" y="5"/>
                </a:lnTo>
                <a:lnTo>
                  <a:pt x="22" y="3"/>
                </a:lnTo>
                <a:lnTo>
                  <a:pt x="28" y="3"/>
                </a:lnTo>
                <a:lnTo>
                  <a:pt x="32" y="1"/>
                </a:lnTo>
                <a:lnTo>
                  <a:pt x="38" y="0"/>
                </a:lnTo>
                <a:lnTo>
                  <a:pt x="42" y="0"/>
                </a:lnTo>
                <a:lnTo>
                  <a:pt x="44" y="0"/>
                </a:lnTo>
                <a:lnTo>
                  <a:pt x="44" y="1"/>
                </a:lnTo>
                <a:lnTo>
                  <a:pt x="45" y="1"/>
                </a:lnTo>
                <a:lnTo>
                  <a:pt x="46" y="1"/>
                </a:lnTo>
                <a:lnTo>
                  <a:pt x="50" y="1"/>
                </a:lnTo>
                <a:lnTo>
                  <a:pt x="50" y="3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93" name="Freeform 693"/>
          <p:cNvSpPr>
            <a:spLocks/>
          </p:cNvSpPr>
          <p:nvPr/>
        </p:nvSpPr>
        <p:spPr bwMode="auto">
          <a:xfrm>
            <a:off x="2410160" y="1567403"/>
            <a:ext cx="116929" cy="17181"/>
          </a:xfrm>
          <a:custGeom>
            <a:avLst/>
            <a:gdLst/>
            <a:ahLst/>
            <a:cxnLst>
              <a:cxn ang="0">
                <a:pos x="50" y="3"/>
              </a:cxn>
              <a:cxn ang="0">
                <a:pos x="52" y="3"/>
              </a:cxn>
              <a:cxn ang="0">
                <a:pos x="56" y="3"/>
              </a:cxn>
              <a:cxn ang="0">
                <a:pos x="56" y="5"/>
              </a:cxn>
              <a:cxn ang="0">
                <a:pos x="58" y="5"/>
              </a:cxn>
              <a:cxn ang="0">
                <a:pos x="60" y="6"/>
              </a:cxn>
              <a:cxn ang="0">
                <a:pos x="58" y="8"/>
              </a:cxn>
              <a:cxn ang="0">
                <a:pos x="57" y="8"/>
              </a:cxn>
              <a:cxn ang="0">
                <a:pos x="53" y="8"/>
              </a:cxn>
              <a:cxn ang="0">
                <a:pos x="50" y="8"/>
              </a:cxn>
              <a:cxn ang="0">
                <a:pos x="42" y="9"/>
              </a:cxn>
              <a:cxn ang="0">
                <a:pos x="40" y="8"/>
              </a:cxn>
              <a:cxn ang="0">
                <a:pos x="34" y="8"/>
              </a:cxn>
              <a:cxn ang="0">
                <a:pos x="32" y="6"/>
              </a:cxn>
              <a:cxn ang="0">
                <a:pos x="30" y="6"/>
              </a:cxn>
              <a:cxn ang="0">
                <a:pos x="29" y="6"/>
              </a:cxn>
              <a:cxn ang="0">
                <a:pos x="29" y="8"/>
              </a:cxn>
              <a:cxn ang="0">
                <a:pos x="30" y="8"/>
              </a:cxn>
              <a:cxn ang="0">
                <a:pos x="28" y="8"/>
              </a:cxn>
              <a:cxn ang="0">
                <a:pos x="29" y="9"/>
              </a:cxn>
              <a:cxn ang="0">
                <a:pos x="22" y="9"/>
              </a:cxn>
              <a:cxn ang="0">
                <a:pos x="21" y="8"/>
              </a:cxn>
              <a:cxn ang="0">
                <a:pos x="16" y="8"/>
              </a:cxn>
              <a:cxn ang="0">
                <a:pos x="14" y="6"/>
              </a:cxn>
              <a:cxn ang="0">
                <a:pos x="13" y="6"/>
              </a:cxn>
              <a:cxn ang="0">
                <a:pos x="13" y="8"/>
              </a:cxn>
              <a:cxn ang="0">
                <a:pos x="10" y="8"/>
              </a:cxn>
              <a:cxn ang="0">
                <a:pos x="8" y="8"/>
              </a:cxn>
              <a:cxn ang="0">
                <a:pos x="8" y="9"/>
              </a:cxn>
              <a:cxn ang="0">
                <a:pos x="6" y="8"/>
              </a:cxn>
              <a:cxn ang="0">
                <a:pos x="4" y="9"/>
              </a:cxn>
              <a:cxn ang="0">
                <a:pos x="1" y="9"/>
              </a:cxn>
              <a:cxn ang="0">
                <a:pos x="1" y="8"/>
              </a:cxn>
              <a:cxn ang="0">
                <a:pos x="0" y="8"/>
              </a:cxn>
              <a:cxn ang="0">
                <a:pos x="1" y="6"/>
              </a:cxn>
              <a:cxn ang="0">
                <a:pos x="5" y="5"/>
              </a:cxn>
              <a:cxn ang="0">
                <a:pos x="6" y="6"/>
              </a:cxn>
              <a:cxn ang="0">
                <a:pos x="9" y="6"/>
              </a:cxn>
              <a:cxn ang="0">
                <a:pos x="9" y="5"/>
              </a:cxn>
              <a:cxn ang="0">
                <a:pos x="13" y="5"/>
              </a:cxn>
              <a:cxn ang="0">
                <a:pos x="22" y="3"/>
              </a:cxn>
              <a:cxn ang="0">
                <a:pos x="28" y="3"/>
              </a:cxn>
              <a:cxn ang="0">
                <a:pos x="32" y="1"/>
              </a:cxn>
              <a:cxn ang="0">
                <a:pos x="38" y="0"/>
              </a:cxn>
              <a:cxn ang="0">
                <a:pos x="42" y="0"/>
              </a:cxn>
              <a:cxn ang="0">
                <a:pos x="44" y="0"/>
              </a:cxn>
              <a:cxn ang="0">
                <a:pos x="44" y="1"/>
              </a:cxn>
              <a:cxn ang="0">
                <a:pos x="45" y="1"/>
              </a:cxn>
              <a:cxn ang="0">
                <a:pos x="46" y="1"/>
              </a:cxn>
              <a:cxn ang="0">
                <a:pos x="50" y="1"/>
              </a:cxn>
              <a:cxn ang="0">
                <a:pos x="50" y="3"/>
              </a:cxn>
            </a:cxnLst>
            <a:rect l="0" t="0" r="r" b="b"/>
            <a:pathLst>
              <a:path w="60" h="9">
                <a:moveTo>
                  <a:pt x="50" y="3"/>
                </a:moveTo>
                <a:lnTo>
                  <a:pt x="52" y="3"/>
                </a:lnTo>
                <a:lnTo>
                  <a:pt x="56" y="3"/>
                </a:lnTo>
                <a:lnTo>
                  <a:pt x="56" y="5"/>
                </a:lnTo>
                <a:lnTo>
                  <a:pt x="58" y="5"/>
                </a:lnTo>
                <a:lnTo>
                  <a:pt x="60" y="6"/>
                </a:lnTo>
                <a:lnTo>
                  <a:pt x="58" y="8"/>
                </a:lnTo>
                <a:lnTo>
                  <a:pt x="57" y="8"/>
                </a:lnTo>
                <a:lnTo>
                  <a:pt x="53" y="8"/>
                </a:lnTo>
                <a:lnTo>
                  <a:pt x="50" y="8"/>
                </a:lnTo>
                <a:lnTo>
                  <a:pt x="42" y="9"/>
                </a:lnTo>
                <a:lnTo>
                  <a:pt x="40" y="8"/>
                </a:lnTo>
                <a:lnTo>
                  <a:pt x="34" y="8"/>
                </a:lnTo>
                <a:lnTo>
                  <a:pt x="32" y="6"/>
                </a:lnTo>
                <a:lnTo>
                  <a:pt x="30" y="6"/>
                </a:lnTo>
                <a:lnTo>
                  <a:pt x="29" y="6"/>
                </a:lnTo>
                <a:lnTo>
                  <a:pt x="29" y="8"/>
                </a:lnTo>
                <a:lnTo>
                  <a:pt x="30" y="8"/>
                </a:lnTo>
                <a:lnTo>
                  <a:pt x="28" y="8"/>
                </a:lnTo>
                <a:lnTo>
                  <a:pt x="29" y="9"/>
                </a:lnTo>
                <a:lnTo>
                  <a:pt x="22" y="9"/>
                </a:lnTo>
                <a:lnTo>
                  <a:pt x="21" y="8"/>
                </a:lnTo>
                <a:lnTo>
                  <a:pt x="16" y="8"/>
                </a:lnTo>
                <a:lnTo>
                  <a:pt x="14" y="6"/>
                </a:lnTo>
                <a:lnTo>
                  <a:pt x="13" y="6"/>
                </a:lnTo>
                <a:lnTo>
                  <a:pt x="13" y="8"/>
                </a:lnTo>
                <a:lnTo>
                  <a:pt x="10" y="8"/>
                </a:lnTo>
                <a:lnTo>
                  <a:pt x="8" y="8"/>
                </a:lnTo>
                <a:lnTo>
                  <a:pt x="8" y="9"/>
                </a:lnTo>
                <a:lnTo>
                  <a:pt x="6" y="8"/>
                </a:lnTo>
                <a:lnTo>
                  <a:pt x="4" y="9"/>
                </a:lnTo>
                <a:lnTo>
                  <a:pt x="1" y="9"/>
                </a:lnTo>
                <a:lnTo>
                  <a:pt x="1" y="8"/>
                </a:lnTo>
                <a:lnTo>
                  <a:pt x="0" y="8"/>
                </a:lnTo>
                <a:lnTo>
                  <a:pt x="1" y="6"/>
                </a:lnTo>
                <a:lnTo>
                  <a:pt x="5" y="5"/>
                </a:lnTo>
                <a:lnTo>
                  <a:pt x="6" y="6"/>
                </a:lnTo>
                <a:lnTo>
                  <a:pt x="9" y="6"/>
                </a:lnTo>
                <a:lnTo>
                  <a:pt x="9" y="5"/>
                </a:lnTo>
                <a:lnTo>
                  <a:pt x="13" y="5"/>
                </a:lnTo>
                <a:lnTo>
                  <a:pt x="22" y="3"/>
                </a:lnTo>
                <a:lnTo>
                  <a:pt x="28" y="3"/>
                </a:lnTo>
                <a:lnTo>
                  <a:pt x="32" y="1"/>
                </a:lnTo>
                <a:lnTo>
                  <a:pt x="38" y="0"/>
                </a:lnTo>
                <a:lnTo>
                  <a:pt x="42" y="0"/>
                </a:lnTo>
                <a:lnTo>
                  <a:pt x="44" y="0"/>
                </a:lnTo>
                <a:lnTo>
                  <a:pt x="44" y="1"/>
                </a:lnTo>
                <a:lnTo>
                  <a:pt x="45" y="1"/>
                </a:lnTo>
                <a:lnTo>
                  <a:pt x="46" y="1"/>
                </a:lnTo>
                <a:lnTo>
                  <a:pt x="50" y="1"/>
                </a:lnTo>
                <a:lnTo>
                  <a:pt x="50" y="3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94" name="Freeform 694"/>
          <p:cNvSpPr>
            <a:spLocks/>
          </p:cNvSpPr>
          <p:nvPr/>
        </p:nvSpPr>
        <p:spPr bwMode="auto">
          <a:xfrm>
            <a:off x="2811616" y="1518009"/>
            <a:ext cx="35079" cy="15033"/>
          </a:xfrm>
          <a:custGeom>
            <a:avLst/>
            <a:gdLst/>
            <a:ahLst/>
            <a:cxnLst>
              <a:cxn ang="0">
                <a:pos x="5" y="0"/>
              </a:cxn>
              <a:cxn ang="0">
                <a:pos x="6" y="0"/>
              </a:cxn>
              <a:cxn ang="0">
                <a:pos x="9" y="2"/>
              </a:cxn>
              <a:cxn ang="0">
                <a:pos x="12" y="0"/>
              </a:cxn>
              <a:cxn ang="0">
                <a:pos x="16" y="0"/>
              </a:cxn>
              <a:cxn ang="0">
                <a:pos x="17" y="2"/>
              </a:cxn>
              <a:cxn ang="0">
                <a:pos x="18" y="3"/>
              </a:cxn>
              <a:cxn ang="0">
                <a:pos x="18" y="5"/>
              </a:cxn>
              <a:cxn ang="0">
                <a:pos x="17" y="8"/>
              </a:cxn>
              <a:cxn ang="0">
                <a:pos x="16" y="8"/>
              </a:cxn>
              <a:cxn ang="0">
                <a:pos x="14" y="8"/>
              </a:cxn>
              <a:cxn ang="0">
                <a:pos x="9" y="7"/>
              </a:cxn>
              <a:cxn ang="0">
                <a:pos x="9" y="5"/>
              </a:cxn>
              <a:cxn ang="0">
                <a:pos x="6" y="5"/>
              </a:cxn>
              <a:cxn ang="0">
                <a:pos x="0" y="5"/>
              </a:cxn>
              <a:cxn ang="0">
                <a:pos x="0" y="3"/>
              </a:cxn>
              <a:cxn ang="0">
                <a:pos x="0" y="2"/>
              </a:cxn>
              <a:cxn ang="0">
                <a:pos x="2" y="0"/>
              </a:cxn>
              <a:cxn ang="0">
                <a:pos x="5" y="0"/>
              </a:cxn>
            </a:cxnLst>
            <a:rect l="0" t="0" r="r" b="b"/>
            <a:pathLst>
              <a:path w="18" h="8">
                <a:moveTo>
                  <a:pt x="5" y="0"/>
                </a:moveTo>
                <a:lnTo>
                  <a:pt x="6" y="0"/>
                </a:lnTo>
                <a:lnTo>
                  <a:pt x="9" y="2"/>
                </a:lnTo>
                <a:lnTo>
                  <a:pt x="12" y="0"/>
                </a:lnTo>
                <a:lnTo>
                  <a:pt x="16" y="0"/>
                </a:lnTo>
                <a:lnTo>
                  <a:pt x="17" y="2"/>
                </a:lnTo>
                <a:lnTo>
                  <a:pt x="18" y="3"/>
                </a:lnTo>
                <a:lnTo>
                  <a:pt x="18" y="5"/>
                </a:lnTo>
                <a:lnTo>
                  <a:pt x="17" y="8"/>
                </a:lnTo>
                <a:lnTo>
                  <a:pt x="16" y="8"/>
                </a:lnTo>
                <a:lnTo>
                  <a:pt x="14" y="8"/>
                </a:lnTo>
                <a:lnTo>
                  <a:pt x="9" y="7"/>
                </a:lnTo>
                <a:lnTo>
                  <a:pt x="9" y="5"/>
                </a:lnTo>
                <a:lnTo>
                  <a:pt x="6" y="5"/>
                </a:lnTo>
                <a:lnTo>
                  <a:pt x="0" y="5"/>
                </a:lnTo>
                <a:lnTo>
                  <a:pt x="0" y="3"/>
                </a:lnTo>
                <a:lnTo>
                  <a:pt x="0" y="2"/>
                </a:lnTo>
                <a:lnTo>
                  <a:pt x="2" y="0"/>
                </a:lnTo>
                <a:lnTo>
                  <a:pt x="5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95" name="Freeform 695"/>
          <p:cNvSpPr>
            <a:spLocks/>
          </p:cNvSpPr>
          <p:nvPr/>
        </p:nvSpPr>
        <p:spPr bwMode="auto">
          <a:xfrm>
            <a:off x="2811616" y="1518009"/>
            <a:ext cx="35079" cy="15033"/>
          </a:xfrm>
          <a:custGeom>
            <a:avLst/>
            <a:gdLst/>
            <a:ahLst/>
            <a:cxnLst>
              <a:cxn ang="0">
                <a:pos x="5" y="0"/>
              </a:cxn>
              <a:cxn ang="0">
                <a:pos x="6" y="0"/>
              </a:cxn>
              <a:cxn ang="0">
                <a:pos x="9" y="2"/>
              </a:cxn>
              <a:cxn ang="0">
                <a:pos x="12" y="0"/>
              </a:cxn>
              <a:cxn ang="0">
                <a:pos x="16" y="0"/>
              </a:cxn>
              <a:cxn ang="0">
                <a:pos x="17" y="2"/>
              </a:cxn>
              <a:cxn ang="0">
                <a:pos x="18" y="3"/>
              </a:cxn>
              <a:cxn ang="0">
                <a:pos x="18" y="5"/>
              </a:cxn>
              <a:cxn ang="0">
                <a:pos x="17" y="8"/>
              </a:cxn>
              <a:cxn ang="0">
                <a:pos x="16" y="8"/>
              </a:cxn>
              <a:cxn ang="0">
                <a:pos x="14" y="8"/>
              </a:cxn>
              <a:cxn ang="0">
                <a:pos x="9" y="7"/>
              </a:cxn>
              <a:cxn ang="0">
                <a:pos x="9" y="5"/>
              </a:cxn>
              <a:cxn ang="0">
                <a:pos x="6" y="5"/>
              </a:cxn>
              <a:cxn ang="0">
                <a:pos x="0" y="5"/>
              </a:cxn>
              <a:cxn ang="0">
                <a:pos x="0" y="3"/>
              </a:cxn>
              <a:cxn ang="0">
                <a:pos x="0" y="2"/>
              </a:cxn>
              <a:cxn ang="0">
                <a:pos x="2" y="0"/>
              </a:cxn>
              <a:cxn ang="0">
                <a:pos x="5" y="0"/>
              </a:cxn>
            </a:cxnLst>
            <a:rect l="0" t="0" r="r" b="b"/>
            <a:pathLst>
              <a:path w="18" h="8">
                <a:moveTo>
                  <a:pt x="5" y="0"/>
                </a:moveTo>
                <a:lnTo>
                  <a:pt x="6" y="0"/>
                </a:lnTo>
                <a:lnTo>
                  <a:pt x="9" y="2"/>
                </a:lnTo>
                <a:lnTo>
                  <a:pt x="12" y="0"/>
                </a:lnTo>
                <a:lnTo>
                  <a:pt x="16" y="0"/>
                </a:lnTo>
                <a:lnTo>
                  <a:pt x="17" y="2"/>
                </a:lnTo>
                <a:lnTo>
                  <a:pt x="18" y="3"/>
                </a:lnTo>
                <a:lnTo>
                  <a:pt x="18" y="5"/>
                </a:lnTo>
                <a:lnTo>
                  <a:pt x="17" y="8"/>
                </a:lnTo>
                <a:lnTo>
                  <a:pt x="16" y="8"/>
                </a:lnTo>
                <a:lnTo>
                  <a:pt x="14" y="8"/>
                </a:lnTo>
                <a:lnTo>
                  <a:pt x="9" y="7"/>
                </a:lnTo>
                <a:lnTo>
                  <a:pt x="9" y="5"/>
                </a:lnTo>
                <a:lnTo>
                  <a:pt x="6" y="5"/>
                </a:lnTo>
                <a:lnTo>
                  <a:pt x="0" y="5"/>
                </a:lnTo>
                <a:lnTo>
                  <a:pt x="0" y="3"/>
                </a:lnTo>
                <a:lnTo>
                  <a:pt x="0" y="2"/>
                </a:lnTo>
                <a:lnTo>
                  <a:pt x="2" y="0"/>
                </a:lnTo>
                <a:lnTo>
                  <a:pt x="5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96" name="Freeform 696"/>
          <p:cNvSpPr>
            <a:spLocks/>
          </p:cNvSpPr>
          <p:nvPr/>
        </p:nvSpPr>
        <p:spPr bwMode="auto">
          <a:xfrm>
            <a:off x="2905160" y="1475057"/>
            <a:ext cx="319606" cy="115971"/>
          </a:xfrm>
          <a:custGeom>
            <a:avLst/>
            <a:gdLst/>
            <a:ahLst/>
            <a:cxnLst>
              <a:cxn ang="0">
                <a:pos x="41" y="14"/>
              </a:cxn>
              <a:cxn ang="0">
                <a:pos x="39" y="11"/>
              </a:cxn>
              <a:cxn ang="0">
                <a:pos x="28" y="10"/>
              </a:cxn>
              <a:cxn ang="0">
                <a:pos x="20" y="7"/>
              </a:cxn>
              <a:cxn ang="0">
                <a:pos x="34" y="7"/>
              </a:cxn>
              <a:cxn ang="0">
                <a:pos x="35" y="5"/>
              </a:cxn>
              <a:cxn ang="0">
                <a:pos x="55" y="3"/>
              </a:cxn>
              <a:cxn ang="0">
                <a:pos x="45" y="3"/>
              </a:cxn>
              <a:cxn ang="0">
                <a:pos x="29" y="2"/>
              </a:cxn>
              <a:cxn ang="0">
                <a:pos x="42" y="2"/>
              </a:cxn>
              <a:cxn ang="0">
                <a:pos x="63" y="2"/>
              </a:cxn>
              <a:cxn ang="0">
                <a:pos x="74" y="7"/>
              </a:cxn>
              <a:cxn ang="0">
                <a:pos x="81" y="10"/>
              </a:cxn>
              <a:cxn ang="0">
                <a:pos x="87" y="14"/>
              </a:cxn>
              <a:cxn ang="0">
                <a:pos x="103" y="14"/>
              </a:cxn>
              <a:cxn ang="0">
                <a:pos x="110" y="18"/>
              </a:cxn>
              <a:cxn ang="0">
                <a:pos x="123" y="22"/>
              </a:cxn>
              <a:cxn ang="0">
                <a:pos x="131" y="18"/>
              </a:cxn>
              <a:cxn ang="0">
                <a:pos x="127" y="22"/>
              </a:cxn>
              <a:cxn ang="0">
                <a:pos x="138" y="25"/>
              </a:cxn>
              <a:cxn ang="0">
                <a:pos x="130" y="30"/>
              </a:cxn>
              <a:cxn ang="0">
                <a:pos x="142" y="29"/>
              </a:cxn>
              <a:cxn ang="0">
                <a:pos x="150" y="35"/>
              </a:cxn>
              <a:cxn ang="0">
                <a:pos x="160" y="32"/>
              </a:cxn>
              <a:cxn ang="0">
                <a:pos x="158" y="40"/>
              </a:cxn>
              <a:cxn ang="0">
                <a:pos x="137" y="41"/>
              </a:cxn>
              <a:cxn ang="0">
                <a:pos x="123" y="46"/>
              </a:cxn>
              <a:cxn ang="0">
                <a:pos x="121" y="43"/>
              </a:cxn>
              <a:cxn ang="0">
                <a:pos x="122" y="49"/>
              </a:cxn>
              <a:cxn ang="0">
                <a:pos x="113" y="49"/>
              </a:cxn>
              <a:cxn ang="0">
                <a:pos x="105" y="54"/>
              </a:cxn>
              <a:cxn ang="0">
                <a:pos x="91" y="49"/>
              </a:cxn>
              <a:cxn ang="0">
                <a:pos x="103" y="58"/>
              </a:cxn>
              <a:cxn ang="0">
                <a:pos x="87" y="55"/>
              </a:cxn>
              <a:cxn ang="0">
                <a:pos x="70" y="57"/>
              </a:cxn>
              <a:cxn ang="0">
                <a:pos x="61" y="55"/>
              </a:cxn>
              <a:cxn ang="0">
                <a:pos x="51" y="52"/>
              </a:cxn>
              <a:cxn ang="0">
                <a:pos x="49" y="49"/>
              </a:cxn>
              <a:cxn ang="0">
                <a:pos x="46" y="46"/>
              </a:cxn>
              <a:cxn ang="0">
                <a:pos x="41" y="44"/>
              </a:cxn>
              <a:cxn ang="0">
                <a:pos x="79" y="38"/>
              </a:cxn>
              <a:cxn ang="0">
                <a:pos x="74" y="38"/>
              </a:cxn>
              <a:cxn ang="0">
                <a:pos x="65" y="36"/>
              </a:cxn>
              <a:cxn ang="0">
                <a:pos x="63" y="35"/>
              </a:cxn>
              <a:cxn ang="0">
                <a:pos x="51" y="35"/>
              </a:cxn>
              <a:cxn ang="0">
                <a:pos x="41" y="38"/>
              </a:cxn>
              <a:cxn ang="0">
                <a:pos x="35" y="35"/>
              </a:cxn>
              <a:cxn ang="0">
                <a:pos x="24" y="36"/>
              </a:cxn>
              <a:cxn ang="0">
                <a:pos x="17" y="35"/>
              </a:cxn>
              <a:cxn ang="0">
                <a:pos x="21" y="33"/>
              </a:cxn>
              <a:cxn ang="0">
                <a:pos x="32" y="32"/>
              </a:cxn>
              <a:cxn ang="0">
                <a:pos x="6" y="27"/>
              </a:cxn>
              <a:cxn ang="0">
                <a:pos x="4" y="24"/>
              </a:cxn>
              <a:cxn ang="0">
                <a:pos x="14" y="22"/>
              </a:cxn>
              <a:cxn ang="0">
                <a:pos x="32" y="24"/>
              </a:cxn>
              <a:cxn ang="0">
                <a:pos x="41" y="22"/>
              </a:cxn>
              <a:cxn ang="0">
                <a:pos x="29" y="22"/>
              </a:cxn>
              <a:cxn ang="0">
                <a:pos x="24" y="21"/>
              </a:cxn>
              <a:cxn ang="0">
                <a:pos x="10" y="21"/>
              </a:cxn>
              <a:cxn ang="0">
                <a:pos x="9" y="18"/>
              </a:cxn>
            </a:cxnLst>
            <a:rect l="0" t="0" r="r" b="b"/>
            <a:pathLst>
              <a:path w="168" h="58">
                <a:moveTo>
                  <a:pt x="17" y="13"/>
                </a:moveTo>
                <a:lnTo>
                  <a:pt x="20" y="14"/>
                </a:lnTo>
                <a:lnTo>
                  <a:pt x="25" y="14"/>
                </a:lnTo>
                <a:lnTo>
                  <a:pt x="26" y="14"/>
                </a:lnTo>
                <a:lnTo>
                  <a:pt x="34" y="14"/>
                </a:lnTo>
                <a:lnTo>
                  <a:pt x="41" y="14"/>
                </a:lnTo>
                <a:lnTo>
                  <a:pt x="39" y="13"/>
                </a:lnTo>
                <a:lnTo>
                  <a:pt x="32" y="13"/>
                </a:lnTo>
                <a:lnTo>
                  <a:pt x="30" y="13"/>
                </a:lnTo>
                <a:lnTo>
                  <a:pt x="37" y="13"/>
                </a:lnTo>
                <a:lnTo>
                  <a:pt x="42" y="11"/>
                </a:lnTo>
                <a:lnTo>
                  <a:pt x="39" y="11"/>
                </a:lnTo>
                <a:lnTo>
                  <a:pt x="37" y="11"/>
                </a:lnTo>
                <a:lnTo>
                  <a:pt x="32" y="11"/>
                </a:lnTo>
                <a:lnTo>
                  <a:pt x="26" y="11"/>
                </a:lnTo>
                <a:lnTo>
                  <a:pt x="25" y="11"/>
                </a:lnTo>
                <a:lnTo>
                  <a:pt x="25" y="10"/>
                </a:lnTo>
                <a:lnTo>
                  <a:pt x="28" y="10"/>
                </a:lnTo>
                <a:lnTo>
                  <a:pt x="21" y="10"/>
                </a:lnTo>
                <a:lnTo>
                  <a:pt x="20" y="10"/>
                </a:lnTo>
                <a:lnTo>
                  <a:pt x="24" y="8"/>
                </a:lnTo>
                <a:lnTo>
                  <a:pt x="20" y="8"/>
                </a:lnTo>
                <a:lnTo>
                  <a:pt x="21" y="8"/>
                </a:lnTo>
                <a:lnTo>
                  <a:pt x="20" y="7"/>
                </a:lnTo>
                <a:lnTo>
                  <a:pt x="22" y="7"/>
                </a:lnTo>
                <a:lnTo>
                  <a:pt x="25" y="7"/>
                </a:lnTo>
                <a:lnTo>
                  <a:pt x="26" y="7"/>
                </a:lnTo>
                <a:lnTo>
                  <a:pt x="32" y="7"/>
                </a:lnTo>
                <a:lnTo>
                  <a:pt x="33" y="7"/>
                </a:lnTo>
                <a:lnTo>
                  <a:pt x="34" y="7"/>
                </a:lnTo>
                <a:lnTo>
                  <a:pt x="37" y="7"/>
                </a:lnTo>
                <a:lnTo>
                  <a:pt x="38" y="7"/>
                </a:lnTo>
                <a:lnTo>
                  <a:pt x="41" y="7"/>
                </a:lnTo>
                <a:lnTo>
                  <a:pt x="38" y="7"/>
                </a:lnTo>
                <a:lnTo>
                  <a:pt x="38" y="5"/>
                </a:lnTo>
                <a:lnTo>
                  <a:pt x="35" y="5"/>
                </a:lnTo>
                <a:lnTo>
                  <a:pt x="34" y="5"/>
                </a:lnTo>
                <a:lnTo>
                  <a:pt x="39" y="5"/>
                </a:lnTo>
                <a:lnTo>
                  <a:pt x="41" y="5"/>
                </a:lnTo>
                <a:lnTo>
                  <a:pt x="47" y="5"/>
                </a:lnTo>
                <a:lnTo>
                  <a:pt x="53" y="5"/>
                </a:lnTo>
                <a:lnTo>
                  <a:pt x="55" y="3"/>
                </a:lnTo>
                <a:lnTo>
                  <a:pt x="54" y="3"/>
                </a:lnTo>
                <a:lnTo>
                  <a:pt x="55" y="3"/>
                </a:lnTo>
                <a:lnTo>
                  <a:pt x="51" y="3"/>
                </a:lnTo>
                <a:lnTo>
                  <a:pt x="50" y="3"/>
                </a:lnTo>
                <a:lnTo>
                  <a:pt x="46" y="3"/>
                </a:lnTo>
                <a:lnTo>
                  <a:pt x="45" y="3"/>
                </a:lnTo>
                <a:lnTo>
                  <a:pt x="39" y="3"/>
                </a:lnTo>
                <a:lnTo>
                  <a:pt x="37" y="3"/>
                </a:lnTo>
                <a:lnTo>
                  <a:pt x="35" y="3"/>
                </a:lnTo>
                <a:lnTo>
                  <a:pt x="29" y="3"/>
                </a:lnTo>
                <a:lnTo>
                  <a:pt x="28" y="2"/>
                </a:lnTo>
                <a:lnTo>
                  <a:pt x="29" y="2"/>
                </a:lnTo>
                <a:lnTo>
                  <a:pt x="25" y="2"/>
                </a:lnTo>
                <a:lnTo>
                  <a:pt x="25" y="0"/>
                </a:lnTo>
                <a:lnTo>
                  <a:pt x="26" y="0"/>
                </a:lnTo>
                <a:lnTo>
                  <a:pt x="30" y="0"/>
                </a:lnTo>
                <a:lnTo>
                  <a:pt x="33" y="0"/>
                </a:lnTo>
                <a:lnTo>
                  <a:pt x="42" y="2"/>
                </a:lnTo>
                <a:lnTo>
                  <a:pt x="43" y="2"/>
                </a:lnTo>
                <a:lnTo>
                  <a:pt x="41" y="0"/>
                </a:lnTo>
                <a:lnTo>
                  <a:pt x="46" y="0"/>
                </a:lnTo>
                <a:lnTo>
                  <a:pt x="53" y="0"/>
                </a:lnTo>
                <a:lnTo>
                  <a:pt x="61" y="2"/>
                </a:lnTo>
                <a:lnTo>
                  <a:pt x="63" y="2"/>
                </a:lnTo>
                <a:lnTo>
                  <a:pt x="65" y="3"/>
                </a:lnTo>
                <a:lnTo>
                  <a:pt x="67" y="3"/>
                </a:lnTo>
                <a:lnTo>
                  <a:pt x="71" y="5"/>
                </a:lnTo>
                <a:lnTo>
                  <a:pt x="70" y="5"/>
                </a:lnTo>
                <a:lnTo>
                  <a:pt x="71" y="7"/>
                </a:lnTo>
                <a:lnTo>
                  <a:pt x="74" y="7"/>
                </a:lnTo>
                <a:lnTo>
                  <a:pt x="75" y="8"/>
                </a:lnTo>
                <a:lnTo>
                  <a:pt x="77" y="8"/>
                </a:lnTo>
                <a:lnTo>
                  <a:pt x="78" y="8"/>
                </a:lnTo>
                <a:lnTo>
                  <a:pt x="79" y="10"/>
                </a:lnTo>
                <a:lnTo>
                  <a:pt x="78" y="10"/>
                </a:lnTo>
                <a:lnTo>
                  <a:pt x="81" y="10"/>
                </a:lnTo>
                <a:lnTo>
                  <a:pt x="81" y="11"/>
                </a:lnTo>
                <a:lnTo>
                  <a:pt x="83" y="11"/>
                </a:lnTo>
                <a:lnTo>
                  <a:pt x="86" y="13"/>
                </a:lnTo>
                <a:lnTo>
                  <a:pt x="85" y="14"/>
                </a:lnTo>
                <a:lnTo>
                  <a:pt x="86" y="14"/>
                </a:lnTo>
                <a:lnTo>
                  <a:pt x="87" y="14"/>
                </a:lnTo>
                <a:lnTo>
                  <a:pt x="89" y="14"/>
                </a:lnTo>
                <a:lnTo>
                  <a:pt x="94" y="14"/>
                </a:lnTo>
                <a:lnTo>
                  <a:pt x="98" y="16"/>
                </a:lnTo>
                <a:lnTo>
                  <a:pt x="101" y="16"/>
                </a:lnTo>
                <a:lnTo>
                  <a:pt x="99" y="14"/>
                </a:lnTo>
                <a:lnTo>
                  <a:pt x="103" y="14"/>
                </a:lnTo>
                <a:lnTo>
                  <a:pt x="105" y="14"/>
                </a:lnTo>
                <a:lnTo>
                  <a:pt x="109" y="16"/>
                </a:lnTo>
                <a:lnTo>
                  <a:pt x="110" y="16"/>
                </a:lnTo>
                <a:lnTo>
                  <a:pt x="111" y="16"/>
                </a:lnTo>
                <a:lnTo>
                  <a:pt x="109" y="18"/>
                </a:lnTo>
                <a:lnTo>
                  <a:pt x="110" y="18"/>
                </a:lnTo>
                <a:lnTo>
                  <a:pt x="110" y="19"/>
                </a:lnTo>
                <a:lnTo>
                  <a:pt x="110" y="21"/>
                </a:lnTo>
                <a:lnTo>
                  <a:pt x="117" y="22"/>
                </a:lnTo>
                <a:lnTo>
                  <a:pt x="118" y="22"/>
                </a:lnTo>
                <a:lnTo>
                  <a:pt x="119" y="22"/>
                </a:lnTo>
                <a:lnTo>
                  <a:pt x="123" y="22"/>
                </a:lnTo>
                <a:lnTo>
                  <a:pt x="122" y="21"/>
                </a:lnTo>
                <a:lnTo>
                  <a:pt x="117" y="19"/>
                </a:lnTo>
                <a:lnTo>
                  <a:pt x="117" y="18"/>
                </a:lnTo>
                <a:lnTo>
                  <a:pt x="118" y="16"/>
                </a:lnTo>
                <a:lnTo>
                  <a:pt x="127" y="18"/>
                </a:lnTo>
                <a:lnTo>
                  <a:pt x="131" y="18"/>
                </a:lnTo>
                <a:lnTo>
                  <a:pt x="131" y="19"/>
                </a:lnTo>
                <a:lnTo>
                  <a:pt x="133" y="19"/>
                </a:lnTo>
                <a:lnTo>
                  <a:pt x="133" y="21"/>
                </a:lnTo>
                <a:lnTo>
                  <a:pt x="130" y="21"/>
                </a:lnTo>
                <a:lnTo>
                  <a:pt x="130" y="22"/>
                </a:lnTo>
                <a:lnTo>
                  <a:pt x="127" y="22"/>
                </a:lnTo>
                <a:lnTo>
                  <a:pt x="126" y="22"/>
                </a:lnTo>
                <a:lnTo>
                  <a:pt x="125" y="22"/>
                </a:lnTo>
                <a:lnTo>
                  <a:pt x="127" y="22"/>
                </a:lnTo>
                <a:lnTo>
                  <a:pt x="131" y="22"/>
                </a:lnTo>
                <a:lnTo>
                  <a:pt x="137" y="22"/>
                </a:lnTo>
                <a:lnTo>
                  <a:pt x="138" y="25"/>
                </a:lnTo>
                <a:lnTo>
                  <a:pt x="135" y="25"/>
                </a:lnTo>
                <a:lnTo>
                  <a:pt x="139" y="25"/>
                </a:lnTo>
                <a:lnTo>
                  <a:pt x="137" y="27"/>
                </a:lnTo>
                <a:lnTo>
                  <a:pt x="135" y="30"/>
                </a:lnTo>
                <a:lnTo>
                  <a:pt x="133" y="30"/>
                </a:lnTo>
                <a:lnTo>
                  <a:pt x="130" y="30"/>
                </a:lnTo>
                <a:lnTo>
                  <a:pt x="130" y="32"/>
                </a:lnTo>
                <a:lnTo>
                  <a:pt x="131" y="32"/>
                </a:lnTo>
                <a:lnTo>
                  <a:pt x="135" y="30"/>
                </a:lnTo>
                <a:lnTo>
                  <a:pt x="138" y="30"/>
                </a:lnTo>
                <a:lnTo>
                  <a:pt x="141" y="29"/>
                </a:lnTo>
                <a:lnTo>
                  <a:pt x="142" y="29"/>
                </a:lnTo>
                <a:lnTo>
                  <a:pt x="146" y="30"/>
                </a:lnTo>
                <a:lnTo>
                  <a:pt x="148" y="32"/>
                </a:lnTo>
                <a:lnTo>
                  <a:pt x="151" y="32"/>
                </a:lnTo>
                <a:lnTo>
                  <a:pt x="151" y="33"/>
                </a:lnTo>
                <a:lnTo>
                  <a:pt x="150" y="33"/>
                </a:lnTo>
                <a:lnTo>
                  <a:pt x="150" y="35"/>
                </a:lnTo>
                <a:lnTo>
                  <a:pt x="152" y="33"/>
                </a:lnTo>
                <a:lnTo>
                  <a:pt x="154" y="33"/>
                </a:lnTo>
                <a:lnTo>
                  <a:pt x="154" y="32"/>
                </a:lnTo>
                <a:lnTo>
                  <a:pt x="155" y="32"/>
                </a:lnTo>
                <a:lnTo>
                  <a:pt x="156" y="32"/>
                </a:lnTo>
                <a:lnTo>
                  <a:pt x="160" y="32"/>
                </a:lnTo>
                <a:lnTo>
                  <a:pt x="164" y="33"/>
                </a:lnTo>
                <a:lnTo>
                  <a:pt x="166" y="35"/>
                </a:lnTo>
                <a:lnTo>
                  <a:pt x="168" y="35"/>
                </a:lnTo>
                <a:lnTo>
                  <a:pt x="168" y="36"/>
                </a:lnTo>
                <a:lnTo>
                  <a:pt x="168" y="38"/>
                </a:lnTo>
                <a:lnTo>
                  <a:pt x="158" y="40"/>
                </a:lnTo>
                <a:lnTo>
                  <a:pt x="143" y="41"/>
                </a:lnTo>
                <a:lnTo>
                  <a:pt x="143" y="43"/>
                </a:lnTo>
                <a:lnTo>
                  <a:pt x="145" y="43"/>
                </a:lnTo>
                <a:lnTo>
                  <a:pt x="141" y="43"/>
                </a:lnTo>
                <a:lnTo>
                  <a:pt x="139" y="41"/>
                </a:lnTo>
                <a:lnTo>
                  <a:pt x="137" y="41"/>
                </a:lnTo>
                <a:lnTo>
                  <a:pt x="138" y="44"/>
                </a:lnTo>
                <a:lnTo>
                  <a:pt x="134" y="46"/>
                </a:lnTo>
                <a:lnTo>
                  <a:pt x="130" y="49"/>
                </a:lnTo>
                <a:lnTo>
                  <a:pt x="129" y="49"/>
                </a:lnTo>
                <a:lnTo>
                  <a:pt x="123" y="47"/>
                </a:lnTo>
                <a:lnTo>
                  <a:pt x="123" y="46"/>
                </a:lnTo>
                <a:lnTo>
                  <a:pt x="123" y="44"/>
                </a:lnTo>
                <a:lnTo>
                  <a:pt x="122" y="43"/>
                </a:lnTo>
                <a:lnTo>
                  <a:pt x="122" y="41"/>
                </a:lnTo>
                <a:lnTo>
                  <a:pt x="123" y="41"/>
                </a:lnTo>
                <a:lnTo>
                  <a:pt x="122" y="41"/>
                </a:lnTo>
                <a:lnTo>
                  <a:pt x="121" y="43"/>
                </a:lnTo>
                <a:lnTo>
                  <a:pt x="119" y="43"/>
                </a:lnTo>
                <a:lnTo>
                  <a:pt x="119" y="44"/>
                </a:lnTo>
                <a:lnTo>
                  <a:pt x="118" y="46"/>
                </a:lnTo>
                <a:lnTo>
                  <a:pt x="119" y="47"/>
                </a:lnTo>
                <a:lnTo>
                  <a:pt x="119" y="49"/>
                </a:lnTo>
                <a:lnTo>
                  <a:pt x="122" y="49"/>
                </a:lnTo>
                <a:lnTo>
                  <a:pt x="123" y="51"/>
                </a:lnTo>
                <a:lnTo>
                  <a:pt x="123" y="52"/>
                </a:lnTo>
                <a:lnTo>
                  <a:pt x="119" y="52"/>
                </a:lnTo>
                <a:lnTo>
                  <a:pt x="118" y="51"/>
                </a:lnTo>
                <a:lnTo>
                  <a:pt x="114" y="49"/>
                </a:lnTo>
                <a:lnTo>
                  <a:pt x="113" y="49"/>
                </a:lnTo>
                <a:lnTo>
                  <a:pt x="111" y="51"/>
                </a:lnTo>
                <a:lnTo>
                  <a:pt x="117" y="54"/>
                </a:lnTo>
                <a:lnTo>
                  <a:pt x="114" y="57"/>
                </a:lnTo>
                <a:lnTo>
                  <a:pt x="111" y="57"/>
                </a:lnTo>
                <a:lnTo>
                  <a:pt x="109" y="57"/>
                </a:lnTo>
                <a:lnTo>
                  <a:pt x="105" y="54"/>
                </a:lnTo>
                <a:lnTo>
                  <a:pt x="103" y="54"/>
                </a:lnTo>
                <a:lnTo>
                  <a:pt x="98" y="52"/>
                </a:lnTo>
                <a:lnTo>
                  <a:pt x="97" y="52"/>
                </a:lnTo>
                <a:lnTo>
                  <a:pt x="94" y="51"/>
                </a:lnTo>
                <a:lnTo>
                  <a:pt x="93" y="49"/>
                </a:lnTo>
                <a:lnTo>
                  <a:pt x="91" y="49"/>
                </a:lnTo>
                <a:lnTo>
                  <a:pt x="91" y="51"/>
                </a:lnTo>
                <a:lnTo>
                  <a:pt x="95" y="52"/>
                </a:lnTo>
                <a:lnTo>
                  <a:pt x="97" y="54"/>
                </a:lnTo>
                <a:lnTo>
                  <a:pt x="99" y="55"/>
                </a:lnTo>
                <a:lnTo>
                  <a:pt x="103" y="57"/>
                </a:lnTo>
                <a:lnTo>
                  <a:pt x="103" y="58"/>
                </a:lnTo>
                <a:lnTo>
                  <a:pt x="102" y="57"/>
                </a:lnTo>
                <a:lnTo>
                  <a:pt x="98" y="57"/>
                </a:lnTo>
                <a:lnTo>
                  <a:pt x="97" y="55"/>
                </a:lnTo>
                <a:lnTo>
                  <a:pt x="93" y="55"/>
                </a:lnTo>
                <a:lnTo>
                  <a:pt x="86" y="55"/>
                </a:lnTo>
                <a:lnTo>
                  <a:pt x="87" y="55"/>
                </a:lnTo>
                <a:lnTo>
                  <a:pt x="91" y="57"/>
                </a:lnTo>
                <a:lnTo>
                  <a:pt x="93" y="58"/>
                </a:lnTo>
                <a:lnTo>
                  <a:pt x="82" y="58"/>
                </a:lnTo>
                <a:lnTo>
                  <a:pt x="77" y="58"/>
                </a:lnTo>
                <a:lnTo>
                  <a:pt x="73" y="57"/>
                </a:lnTo>
                <a:lnTo>
                  <a:pt x="70" y="57"/>
                </a:lnTo>
                <a:lnTo>
                  <a:pt x="65" y="57"/>
                </a:lnTo>
                <a:lnTo>
                  <a:pt x="63" y="55"/>
                </a:lnTo>
                <a:lnTo>
                  <a:pt x="61" y="55"/>
                </a:lnTo>
                <a:lnTo>
                  <a:pt x="62" y="55"/>
                </a:lnTo>
                <a:lnTo>
                  <a:pt x="62" y="54"/>
                </a:lnTo>
                <a:lnTo>
                  <a:pt x="61" y="55"/>
                </a:lnTo>
                <a:lnTo>
                  <a:pt x="59" y="55"/>
                </a:lnTo>
                <a:lnTo>
                  <a:pt x="58" y="55"/>
                </a:lnTo>
                <a:lnTo>
                  <a:pt x="55" y="54"/>
                </a:lnTo>
                <a:lnTo>
                  <a:pt x="54" y="54"/>
                </a:lnTo>
                <a:lnTo>
                  <a:pt x="53" y="52"/>
                </a:lnTo>
                <a:lnTo>
                  <a:pt x="51" y="52"/>
                </a:lnTo>
                <a:lnTo>
                  <a:pt x="69" y="51"/>
                </a:lnTo>
                <a:lnTo>
                  <a:pt x="70" y="51"/>
                </a:lnTo>
                <a:lnTo>
                  <a:pt x="58" y="49"/>
                </a:lnTo>
                <a:lnTo>
                  <a:pt x="57" y="49"/>
                </a:lnTo>
                <a:lnTo>
                  <a:pt x="50" y="49"/>
                </a:lnTo>
                <a:lnTo>
                  <a:pt x="49" y="49"/>
                </a:lnTo>
                <a:lnTo>
                  <a:pt x="47" y="49"/>
                </a:lnTo>
                <a:lnTo>
                  <a:pt x="49" y="49"/>
                </a:lnTo>
                <a:lnTo>
                  <a:pt x="46" y="49"/>
                </a:lnTo>
                <a:lnTo>
                  <a:pt x="45" y="47"/>
                </a:lnTo>
                <a:lnTo>
                  <a:pt x="45" y="46"/>
                </a:lnTo>
                <a:lnTo>
                  <a:pt x="46" y="46"/>
                </a:lnTo>
                <a:lnTo>
                  <a:pt x="47" y="47"/>
                </a:lnTo>
                <a:lnTo>
                  <a:pt x="54" y="47"/>
                </a:lnTo>
                <a:lnTo>
                  <a:pt x="54" y="46"/>
                </a:lnTo>
                <a:lnTo>
                  <a:pt x="47" y="46"/>
                </a:lnTo>
                <a:lnTo>
                  <a:pt x="43" y="46"/>
                </a:lnTo>
                <a:lnTo>
                  <a:pt x="41" y="44"/>
                </a:lnTo>
                <a:lnTo>
                  <a:pt x="38" y="43"/>
                </a:lnTo>
                <a:lnTo>
                  <a:pt x="41" y="41"/>
                </a:lnTo>
                <a:lnTo>
                  <a:pt x="46" y="41"/>
                </a:lnTo>
                <a:lnTo>
                  <a:pt x="51" y="40"/>
                </a:lnTo>
                <a:lnTo>
                  <a:pt x="70" y="40"/>
                </a:lnTo>
                <a:lnTo>
                  <a:pt x="79" y="38"/>
                </a:lnTo>
                <a:lnTo>
                  <a:pt x="89" y="38"/>
                </a:lnTo>
                <a:lnTo>
                  <a:pt x="90" y="38"/>
                </a:lnTo>
                <a:lnTo>
                  <a:pt x="93" y="36"/>
                </a:lnTo>
                <a:lnTo>
                  <a:pt x="89" y="38"/>
                </a:lnTo>
                <a:lnTo>
                  <a:pt x="77" y="38"/>
                </a:lnTo>
                <a:lnTo>
                  <a:pt x="74" y="38"/>
                </a:lnTo>
                <a:lnTo>
                  <a:pt x="66" y="38"/>
                </a:lnTo>
                <a:lnTo>
                  <a:pt x="62" y="38"/>
                </a:lnTo>
                <a:lnTo>
                  <a:pt x="61" y="38"/>
                </a:lnTo>
                <a:lnTo>
                  <a:pt x="61" y="36"/>
                </a:lnTo>
                <a:lnTo>
                  <a:pt x="63" y="36"/>
                </a:lnTo>
                <a:lnTo>
                  <a:pt x="65" y="36"/>
                </a:lnTo>
                <a:lnTo>
                  <a:pt x="74" y="36"/>
                </a:lnTo>
                <a:lnTo>
                  <a:pt x="78" y="36"/>
                </a:lnTo>
                <a:lnTo>
                  <a:pt x="79" y="36"/>
                </a:lnTo>
                <a:lnTo>
                  <a:pt x="66" y="36"/>
                </a:lnTo>
                <a:lnTo>
                  <a:pt x="62" y="35"/>
                </a:lnTo>
                <a:lnTo>
                  <a:pt x="63" y="35"/>
                </a:lnTo>
                <a:lnTo>
                  <a:pt x="57" y="35"/>
                </a:lnTo>
                <a:lnTo>
                  <a:pt x="55" y="35"/>
                </a:lnTo>
                <a:lnTo>
                  <a:pt x="55" y="36"/>
                </a:lnTo>
                <a:lnTo>
                  <a:pt x="51" y="36"/>
                </a:lnTo>
                <a:lnTo>
                  <a:pt x="50" y="36"/>
                </a:lnTo>
                <a:lnTo>
                  <a:pt x="51" y="35"/>
                </a:lnTo>
                <a:lnTo>
                  <a:pt x="51" y="33"/>
                </a:lnTo>
                <a:lnTo>
                  <a:pt x="50" y="35"/>
                </a:lnTo>
                <a:lnTo>
                  <a:pt x="49" y="35"/>
                </a:lnTo>
                <a:lnTo>
                  <a:pt x="46" y="36"/>
                </a:lnTo>
                <a:lnTo>
                  <a:pt x="43" y="38"/>
                </a:lnTo>
                <a:lnTo>
                  <a:pt x="41" y="38"/>
                </a:lnTo>
                <a:lnTo>
                  <a:pt x="39" y="36"/>
                </a:lnTo>
                <a:lnTo>
                  <a:pt x="38" y="36"/>
                </a:lnTo>
                <a:lnTo>
                  <a:pt x="39" y="36"/>
                </a:lnTo>
                <a:lnTo>
                  <a:pt x="42" y="35"/>
                </a:lnTo>
                <a:lnTo>
                  <a:pt x="41" y="35"/>
                </a:lnTo>
                <a:lnTo>
                  <a:pt x="35" y="35"/>
                </a:lnTo>
                <a:lnTo>
                  <a:pt x="33" y="35"/>
                </a:lnTo>
                <a:lnTo>
                  <a:pt x="33" y="36"/>
                </a:lnTo>
                <a:lnTo>
                  <a:pt x="30" y="36"/>
                </a:lnTo>
                <a:lnTo>
                  <a:pt x="28" y="36"/>
                </a:lnTo>
                <a:lnTo>
                  <a:pt x="26" y="38"/>
                </a:lnTo>
                <a:lnTo>
                  <a:pt x="24" y="36"/>
                </a:lnTo>
                <a:lnTo>
                  <a:pt x="25" y="36"/>
                </a:lnTo>
                <a:lnTo>
                  <a:pt x="24" y="35"/>
                </a:lnTo>
                <a:lnTo>
                  <a:pt x="22" y="35"/>
                </a:lnTo>
                <a:lnTo>
                  <a:pt x="20" y="35"/>
                </a:lnTo>
                <a:lnTo>
                  <a:pt x="18" y="35"/>
                </a:lnTo>
                <a:lnTo>
                  <a:pt x="17" y="35"/>
                </a:lnTo>
                <a:lnTo>
                  <a:pt x="14" y="35"/>
                </a:lnTo>
                <a:lnTo>
                  <a:pt x="14" y="33"/>
                </a:lnTo>
                <a:lnTo>
                  <a:pt x="13" y="33"/>
                </a:lnTo>
                <a:lnTo>
                  <a:pt x="14" y="33"/>
                </a:lnTo>
                <a:lnTo>
                  <a:pt x="16" y="32"/>
                </a:lnTo>
                <a:lnTo>
                  <a:pt x="21" y="33"/>
                </a:lnTo>
                <a:lnTo>
                  <a:pt x="25" y="33"/>
                </a:lnTo>
                <a:lnTo>
                  <a:pt x="25" y="32"/>
                </a:lnTo>
                <a:lnTo>
                  <a:pt x="32" y="32"/>
                </a:lnTo>
                <a:lnTo>
                  <a:pt x="35" y="32"/>
                </a:lnTo>
                <a:lnTo>
                  <a:pt x="38" y="30"/>
                </a:lnTo>
                <a:lnTo>
                  <a:pt x="32" y="32"/>
                </a:lnTo>
                <a:lnTo>
                  <a:pt x="28" y="30"/>
                </a:lnTo>
                <a:lnTo>
                  <a:pt x="20" y="32"/>
                </a:lnTo>
                <a:lnTo>
                  <a:pt x="18" y="30"/>
                </a:lnTo>
                <a:lnTo>
                  <a:pt x="13" y="30"/>
                </a:lnTo>
                <a:lnTo>
                  <a:pt x="9" y="29"/>
                </a:lnTo>
                <a:lnTo>
                  <a:pt x="6" y="27"/>
                </a:lnTo>
                <a:lnTo>
                  <a:pt x="4" y="27"/>
                </a:lnTo>
                <a:lnTo>
                  <a:pt x="9" y="25"/>
                </a:lnTo>
                <a:lnTo>
                  <a:pt x="10" y="25"/>
                </a:lnTo>
                <a:lnTo>
                  <a:pt x="9" y="25"/>
                </a:lnTo>
                <a:lnTo>
                  <a:pt x="4" y="25"/>
                </a:lnTo>
                <a:lnTo>
                  <a:pt x="4" y="24"/>
                </a:lnTo>
                <a:lnTo>
                  <a:pt x="9" y="24"/>
                </a:lnTo>
                <a:lnTo>
                  <a:pt x="2" y="24"/>
                </a:lnTo>
                <a:lnTo>
                  <a:pt x="1" y="22"/>
                </a:lnTo>
                <a:lnTo>
                  <a:pt x="5" y="21"/>
                </a:lnTo>
                <a:lnTo>
                  <a:pt x="12" y="22"/>
                </a:lnTo>
                <a:lnTo>
                  <a:pt x="14" y="22"/>
                </a:lnTo>
                <a:lnTo>
                  <a:pt x="16" y="24"/>
                </a:lnTo>
                <a:lnTo>
                  <a:pt x="21" y="24"/>
                </a:lnTo>
                <a:lnTo>
                  <a:pt x="22" y="24"/>
                </a:lnTo>
                <a:lnTo>
                  <a:pt x="24" y="24"/>
                </a:lnTo>
                <a:lnTo>
                  <a:pt x="28" y="24"/>
                </a:lnTo>
                <a:lnTo>
                  <a:pt x="32" y="24"/>
                </a:lnTo>
                <a:lnTo>
                  <a:pt x="34" y="25"/>
                </a:lnTo>
                <a:lnTo>
                  <a:pt x="33" y="24"/>
                </a:lnTo>
                <a:lnTo>
                  <a:pt x="30" y="24"/>
                </a:lnTo>
                <a:lnTo>
                  <a:pt x="30" y="22"/>
                </a:lnTo>
                <a:lnTo>
                  <a:pt x="32" y="22"/>
                </a:lnTo>
                <a:lnTo>
                  <a:pt x="41" y="22"/>
                </a:lnTo>
                <a:lnTo>
                  <a:pt x="39" y="21"/>
                </a:lnTo>
                <a:lnTo>
                  <a:pt x="35" y="21"/>
                </a:lnTo>
                <a:lnTo>
                  <a:pt x="34" y="21"/>
                </a:lnTo>
                <a:lnTo>
                  <a:pt x="33" y="21"/>
                </a:lnTo>
                <a:lnTo>
                  <a:pt x="32" y="21"/>
                </a:lnTo>
                <a:lnTo>
                  <a:pt x="29" y="22"/>
                </a:lnTo>
                <a:lnTo>
                  <a:pt x="22" y="22"/>
                </a:lnTo>
                <a:lnTo>
                  <a:pt x="14" y="21"/>
                </a:lnTo>
                <a:lnTo>
                  <a:pt x="18" y="21"/>
                </a:lnTo>
                <a:lnTo>
                  <a:pt x="14" y="21"/>
                </a:lnTo>
                <a:lnTo>
                  <a:pt x="18" y="21"/>
                </a:lnTo>
                <a:lnTo>
                  <a:pt x="24" y="21"/>
                </a:lnTo>
                <a:lnTo>
                  <a:pt x="25" y="19"/>
                </a:lnTo>
                <a:lnTo>
                  <a:pt x="20" y="21"/>
                </a:lnTo>
                <a:lnTo>
                  <a:pt x="17" y="19"/>
                </a:lnTo>
                <a:lnTo>
                  <a:pt x="16" y="19"/>
                </a:lnTo>
                <a:lnTo>
                  <a:pt x="14" y="21"/>
                </a:lnTo>
                <a:lnTo>
                  <a:pt x="10" y="21"/>
                </a:lnTo>
                <a:lnTo>
                  <a:pt x="4" y="19"/>
                </a:lnTo>
                <a:lnTo>
                  <a:pt x="0" y="18"/>
                </a:lnTo>
                <a:lnTo>
                  <a:pt x="4" y="18"/>
                </a:lnTo>
                <a:lnTo>
                  <a:pt x="5" y="18"/>
                </a:lnTo>
                <a:lnTo>
                  <a:pt x="6" y="18"/>
                </a:lnTo>
                <a:lnTo>
                  <a:pt x="9" y="18"/>
                </a:lnTo>
                <a:lnTo>
                  <a:pt x="13" y="18"/>
                </a:lnTo>
                <a:lnTo>
                  <a:pt x="8" y="16"/>
                </a:lnTo>
                <a:lnTo>
                  <a:pt x="9" y="16"/>
                </a:lnTo>
                <a:lnTo>
                  <a:pt x="9" y="14"/>
                </a:lnTo>
                <a:lnTo>
                  <a:pt x="17" y="13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97" name="Freeform 697"/>
          <p:cNvSpPr>
            <a:spLocks/>
          </p:cNvSpPr>
          <p:nvPr/>
        </p:nvSpPr>
        <p:spPr bwMode="auto">
          <a:xfrm>
            <a:off x="2936340" y="1475057"/>
            <a:ext cx="288425" cy="113822"/>
          </a:xfrm>
          <a:custGeom>
            <a:avLst/>
            <a:gdLst/>
            <a:ahLst/>
            <a:cxnLst>
              <a:cxn ang="0">
                <a:pos x="9" y="14"/>
              </a:cxn>
              <a:cxn ang="0">
                <a:pos x="15" y="13"/>
              </a:cxn>
              <a:cxn ang="0">
                <a:pos x="22" y="11"/>
              </a:cxn>
              <a:cxn ang="0">
                <a:pos x="8" y="11"/>
              </a:cxn>
              <a:cxn ang="0">
                <a:pos x="3" y="10"/>
              </a:cxn>
              <a:cxn ang="0">
                <a:pos x="3" y="7"/>
              </a:cxn>
              <a:cxn ang="0">
                <a:pos x="15" y="7"/>
              </a:cxn>
              <a:cxn ang="0">
                <a:pos x="21" y="7"/>
              </a:cxn>
              <a:cxn ang="0">
                <a:pos x="18" y="5"/>
              </a:cxn>
              <a:cxn ang="0">
                <a:pos x="30" y="5"/>
              </a:cxn>
              <a:cxn ang="0">
                <a:pos x="38" y="3"/>
              </a:cxn>
              <a:cxn ang="0">
                <a:pos x="28" y="3"/>
              </a:cxn>
              <a:cxn ang="0">
                <a:pos x="12" y="3"/>
              </a:cxn>
              <a:cxn ang="0">
                <a:pos x="8" y="0"/>
              </a:cxn>
              <a:cxn ang="0">
                <a:pos x="25" y="2"/>
              </a:cxn>
              <a:cxn ang="0">
                <a:pos x="36" y="0"/>
              </a:cxn>
              <a:cxn ang="0">
                <a:pos x="50" y="3"/>
              </a:cxn>
              <a:cxn ang="0">
                <a:pos x="57" y="7"/>
              </a:cxn>
              <a:cxn ang="0">
                <a:pos x="62" y="10"/>
              </a:cxn>
              <a:cxn ang="0">
                <a:pos x="66" y="11"/>
              </a:cxn>
              <a:cxn ang="0">
                <a:pos x="70" y="14"/>
              </a:cxn>
              <a:cxn ang="0">
                <a:pos x="84" y="16"/>
              </a:cxn>
              <a:cxn ang="0">
                <a:pos x="92" y="16"/>
              </a:cxn>
              <a:cxn ang="0">
                <a:pos x="93" y="18"/>
              </a:cxn>
              <a:cxn ang="0">
                <a:pos x="101" y="22"/>
              </a:cxn>
              <a:cxn ang="0">
                <a:pos x="100" y="19"/>
              </a:cxn>
              <a:cxn ang="0">
                <a:pos x="114" y="18"/>
              </a:cxn>
              <a:cxn ang="0">
                <a:pos x="113" y="21"/>
              </a:cxn>
              <a:cxn ang="0">
                <a:pos x="108" y="22"/>
              </a:cxn>
              <a:cxn ang="0">
                <a:pos x="121" y="25"/>
              </a:cxn>
              <a:cxn ang="0">
                <a:pos x="118" y="30"/>
              </a:cxn>
              <a:cxn ang="0">
                <a:pos x="114" y="32"/>
              </a:cxn>
              <a:cxn ang="0">
                <a:pos x="125" y="29"/>
              </a:cxn>
              <a:cxn ang="0">
                <a:pos x="134" y="33"/>
              </a:cxn>
              <a:cxn ang="0">
                <a:pos x="137" y="33"/>
              </a:cxn>
              <a:cxn ang="0">
                <a:pos x="143" y="32"/>
              </a:cxn>
              <a:cxn ang="0">
                <a:pos x="151" y="36"/>
              </a:cxn>
              <a:cxn ang="0">
                <a:pos x="126" y="43"/>
              </a:cxn>
              <a:cxn ang="0">
                <a:pos x="120" y="41"/>
              </a:cxn>
              <a:cxn ang="0">
                <a:pos x="112" y="49"/>
              </a:cxn>
              <a:cxn ang="0">
                <a:pos x="105" y="43"/>
              </a:cxn>
              <a:cxn ang="0">
                <a:pos x="104" y="43"/>
              </a:cxn>
              <a:cxn ang="0">
                <a:pos x="102" y="47"/>
              </a:cxn>
              <a:cxn ang="0">
                <a:pos x="106" y="52"/>
              </a:cxn>
              <a:cxn ang="0">
                <a:pos x="96" y="49"/>
              </a:cxn>
              <a:cxn ang="0">
                <a:pos x="94" y="57"/>
              </a:cxn>
              <a:cxn ang="0">
                <a:pos x="81" y="52"/>
              </a:cxn>
              <a:cxn ang="0">
                <a:pos x="74" y="49"/>
              </a:cxn>
              <a:cxn ang="0">
                <a:pos x="82" y="55"/>
              </a:cxn>
            </a:cxnLst>
            <a:rect l="0" t="0" r="r" b="b"/>
            <a:pathLst>
              <a:path w="151" h="57">
                <a:moveTo>
                  <a:pt x="0" y="13"/>
                </a:moveTo>
                <a:lnTo>
                  <a:pt x="3" y="14"/>
                </a:lnTo>
                <a:lnTo>
                  <a:pt x="8" y="14"/>
                </a:lnTo>
                <a:lnTo>
                  <a:pt x="9" y="14"/>
                </a:lnTo>
                <a:lnTo>
                  <a:pt x="17" y="14"/>
                </a:lnTo>
                <a:lnTo>
                  <a:pt x="24" y="14"/>
                </a:lnTo>
                <a:lnTo>
                  <a:pt x="22" y="13"/>
                </a:lnTo>
                <a:lnTo>
                  <a:pt x="15" y="13"/>
                </a:lnTo>
                <a:lnTo>
                  <a:pt x="13" y="13"/>
                </a:lnTo>
                <a:lnTo>
                  <a:pt x="20" y="13"/>
                </a:lnTo>
                <a:lnTo>
                  <a:pt x="25" y="11"/>
                </a:lnTo>
                <a:lnTo>
                  <a:pt x="22" y="11"/>
                </a:lnTo>
                <a:lnTo>
                  <a:pt x="20" y="11"/>
                </a:lnTo>
                <a:lnTo>
                  <a:pt x="15" y="11"/>
                </a:lnTo>
                <a:lnTo>
                  <a:pt x="9" y="11"/>
                </a:lnTo>
                <a:lnTo>
                  <a:pt x="8" y="11"/>
                </a:lnTo>
                <a:lnTo>
                  <a:pt x="8" y="10"/>
                </a:lnTo>
                <a:lnTo>
                  <a:pt x="11" y="10"/>
                </a:lnTo>
                <a:lnTo>
                  <a:pt x="4" y="10"/>
                </a:lnTo>
                <a:lnTo>
                  <a:pt x="3" y="10"/>
                </a:lnTo>
                <a:lnTo>
                  <a:pt x="7" y="8"/>
                </a:lnTo>
                <a:lnTo>
                  <a:pt x="3" y="8"/>
                </a:lnTo>
                <a:lnTo>
                  <a:pt x="4" y="8"/>
                </a:lnTo>
                <a:lnTo>
                  <a:pt x="3" y="7"/>
                </a:lnTo>
                <a:lnTo>
                  <a:pt x="5" y="7"/>
                </a:lnTo>
                <a:lnTo>
                  <a:pt x="8" y="7"/>
                </a:lnTo>
                <a:lnTo>
                  <a:pt x="9" y="7"/>
                </a:lnTo>
                <a:lnTo>
                  <a:pt x="15" y="7"/>
                </a:lnTo>
                <a:lnTo>
                  <a:pt x="16" y="7"/>
                </a:lnTo>
                <a:lnTo>
                  <a:pt x="17" y="7"/>
                </a:lnTo>
                <a:lnTo>
                  <a:pt x="20" y="7"/>
                </a:lnTo>
                <a:lnTo>
                  <a:pt x="21" y="7"/>
                </a:lnTo>
                <a:lnTo>
                  <a:pt x="24" y="7"/>
                </a:lnTo>
                <a:lnTo>
                  <a:pt x="21" y="7"/>
                </a:lnTo>
                <a:lnTo>
                  <a:pt x="21" y="5"/>
                </a:lnTo>
                <a:lnTo>
                  <a:pt x="18" y="5"/>
                </a:lnTo>
                <a:lnTo>
                  <a:pt x="17" y="5"/>
                </a:lnTo>
                <a:lnTo>
                  <a:pt x="22" y="5"/>
                </a:lnTo>
                <a:lnTo>
                  <a:pt x="24" y="5"/>
                </a:lnTo>
                <a:lnTo>
                  <a:pt x="30" y="5"/>
                </a:lnTo>
                <a:lnTo>
                  <a:pt x="36" y="5"/>
                </a:lnTo>
                <a:lnTo>
                  <a:pt x="38" y="3"/>
                </a:lnTo>
                <a:lnTo>
                  <a:pt x="37" y="3"/>
                </a:lnTo>
                <a:lnTo>
                  <a:pt x="38" y="3"/>
                </a:lnTo>
                <a:lnTo>
                  <a:pt x="34" y="3"/>
                </a:lnTo>
                <a:lnTo>
                  <a:pt x="33" y="3"/>
                </a:lnTo>
                <a:lnTo>
                  <a:pt x="29" y="3"/>
                </a:lnTo>
                <a:lnTo>
                  <a:pt x="28" y="3"/>
                </a:lnTo>
                <a:lnTo>
                  <a:pt x="22" y="3"/>
                </a:lnTo>
                <a:lnTo>
                  <a:pt x="20" y="3"/>
                </a:lnTo>
                <a:lnTo>
                  <a:pt x="18" y="3"/>
                </a:lnTo>
                <a:lnTo>
                  <a:pt x="12" y="3"/>
                </a:lnTo>
                <a:lnTo>
                  <a:pt x="11" y="2"/>
                </a:lnTo>
                <a:lnTo>
                  <a:pt x="12" y="2"/>
                </a:lnTo>
                <a:lnTo>
                  <a:pt x="8" y="2"/>
                </a:lnTo>
                <a:lnTo>
                  <a:pt x="8" y="0"/>
                </a:lnTo>
                <a:lnTo>
                  <a:pt x="9" y="0"/>
                </a:lnTo>
                <a:lnTo>
                  <a:pt x="13" y="0"/>
                </a:lnTo>
                <a:lnTo>
                  <a:pt x="16" y="0"/>
                </a:lnTo>
                <a:lnTo>
                  <a:pt x="25" y="2"/>
                </a:lnTo>
                <a:lnTo>
                  <a:pt x="26" y="2"/>
                </a:lnTo>
                <a:lnTo>
                  <a:pt x="24" y="0"/>
                </a:lnTo>
                <a:lnTo>
                  <a:pt x="29" y="0"/>
                </a:lnTo>
                <a:lnTo>
                  <a:pt x="36" y="0"/>
                </a:lnTo>
                <a:lnTo>
                  <a:pt x="44" y="2"/>
                </a:lnTo>
                <a:lnTo>
                  <a:pt x="46" y="2"/>
                </a:lnTo>
                <a:lnTo>
                  <a:pt x="48" y="3"/>
                </a:lnTo>
                <a:lnTo>
                  <a:pt x="50" y="3"/>
                </a:lnTo>
                <a:lnTo>
                  <a:pt x="54" y="5"/>
                </a:lnTo>
                <a:lnTo>
                  <a:pt x="53" y="5"/>
                </a:lnTo>
                <a:lnTo>
                  <a:pt x="54" y="7"/>
                </a:lnTo>
                <a:lnTo>
                  <a:pt x="57" y="7"/>
                </a:lnTo>
                <a:lnTo>
                  <a:pt x="58" y="8"/>
                </a:lnTo>
                <a:lnTo>
                  <a:pt x="60" y="8"/>
                </a:lnTo>
                <a:lnTo>
                  <a:pt x="61" y="8"/>
                </a:lnTo>
                <a:lnTo>
                  <a:pt x="62" y="10"/>
                </a:lnTo>
                <a:lnTo>
                  <a:pt x="61" y="10"/>
                </a:lnTo>
                <a:lnTo>
                  <a:pt x="64" y="10"/>
                </a:lnTo>
                <a:lnTo>
                  <a:pt x="64" y="11"/>
                </a:lnTo>
                <a:lnTo>
                  <a:pt x="66" y="11"/>
                </a:lnTo>
                <a:lnTo>
                  <a:pt x="69" y="13"/>
                </a:lnTo>
                <a:lnTo>
                  <a:pt x="68" y="14"/>
                </a:lnTo>
                <a:lnTo>
                  <a:pt x="69" y="14"/>
                </a:lnTo>
                <a:lnTo>
                  <a:pt x="70" y="14"/>
                </a:lnTo>
                <a:lnTo>
                  <a:pt x="72" y="14"/>
                </a:lnTo>
                <a:lnTo>
                  <a:pt x="77" y="14"/>
                </a:lnTo>
                <a:lnTo>
                  <a:pt x="81" y="16"/>
                </a:lnTo>
                <a:lnTo>
                  <a:pt x="84" y="16"/>
                </a:lnTo>
                <a:lnTo>
                  <a:pt x="82" y="14"/>
                </a:lnTo>
                <a:lnTo>
                  <a:pt x="86" y="14"/>
                </a:lnTo>
                <a:lnTo>
                  <a:pt x="88" y="14"/>
                </a:lnTo>
                <a:lnTo>
                  <a:pt x="92" y="16"/>
                </a:lnTo>
                <a:lnTo>
                  <a:pt x="93" y="16"/>
                </a:lnTo>
                <a:lnTo>
                  <a:pt x="94" y="16"/>
                </a:lnTo>
                <a:lnTo>
                  <a:pt x="92" y="18"/>
                </a:lnTo>
                <a:lnTo>
                  <a:pt x="93" y="18"/>
                </a:lnTo>
                <a:lnTo>
                  <a:pt x="93" y="19"/>
                </a:lnTo>
                <a:lnTo>
                  <a:pt x="93" y="21"/>
                </a:lnTo>
                <a:lnTo>
                  <a:pt x="100" y="22"/>
                </a:lnTo>
                <a:lnTo>
                  <a:pt x="101" y="22"/>
                </a:lnTo>
                <a:lnTo>
                  <a:pt x="102" y="22"/>
                </a:lnTo>
                <a:lnTo>
                  <a:pt x="106" y="22"/>
                </a:lnTo>
                <a:lnTo>
                  <a:pt x="105" y="21"/>
                </a:lnTo>
                <a:lnTo>
                  <a:pt x="100" y="19"/>
                </a:lnTo>
                <a:lnTo>
                  <a:pt x="100" y="18"/>
                </a:lnTo>
                <a:lnTo>
                  <a:pt x="101" y="16"/>
                </a:lnTo>
                <a:lnTo>
                  <a:pt x="110" y="18"/>
                </a:lnTo>
                <a:lnTo>
                  <a:pt x="114" y="18"/>
                </a:lnTo>
                <a:lnTo>
                  <a:pt x="114" y="19"/>
                </a:lnTo>
                <a:lnTo>
                  <a:pt x="116" y="19"/>
                </a:lnTo>
                <a:lnTo>
                  <a:pt x="116" y="21"/>
                </a:lnTo>
                <a:lnTo>
                  <a:pt x="113" y="21"/>
                </a:lnTo>
                <a:lnTo>
                  <a:pt x="113" y="22"/>
                </a:lnTo>
                <a:lnTo>
                  <a:pt x="110" y="22"/>
                </a:lnTo>
                <a:lnTo>
                  <a:pt x="109" y="22"/>
                </a:lnTo>
                <a:lnTo>
                  <a:pt x="108" y="22"/>
                </a:lnTo>
                <a:lnTo>
                  <a:pt x="110" y="22"/>
                </a:lnTo>
                <a:lnTo>
                  <a:pt x="114" y="22"/>
                </a:lnTo>
                <a:lnTo>
                  <a:pt x="120" y="22"/>
                </a:lnTo>
                <a:lnTo>
                  <a:pt x="121" y="25"/>
                </a:lnTo>
                <a:lnTo>
                  <a:pt x="118" y="25"/>
                </a:lnTo>
                <a:lnTo>
                  <a:pt x="122" y="25"/>
                </a:lnTo>
                <a:lnTo>
                  <a:pt x="120" y="27"/>
                </a:lnTo>
                <a:lnTo>
                  <a:pt x="118" y="30"/>
                </a:lnTo>
                <a:lnTo>
                  <a:pt x="116" y="30"/>
                </a:lnTo>
                <a:lnTo>
                  <a:pt x="113" y="30"/>
                </a:lnTo>
                <a:lnTo>
                  <a:pt x="113" y="32"/>
                </a:lnTo>
                <a:lnTo>
                  <a:pt x="114" y="32"/>
                </a:lnTo>
                <a:lnTo>
                  <a:pt x="118" y="30"/>
                </a:lnTo>
                <a:lnTo>
                  <a:pt x="121" y="30"/>
                </a:lnTo>
                <a:lnTo>
                  <a:pt x="124" y="29"/>
                </a:lnTo>
                <a:lnTo>
                  <a:pt x="125" y="29"/>
                </a:lnTo>
                <a:lnTo>
                  <a:pt x="129" y="30"/>
                </a:lnTo>
                <a:lnTo>
                  <a:pt x="131" y="32"/>
                </a:lnTo>
                <a:lnTo>
                  <a:pt x="134" y="32"/>
                </a:lnTo>
                <a:lnTo>
                  <a:pt x="134" y="33"/>
                </a:lnTo>
                <a:lnTo>
                  <a:pt x="133" y="33"/>
                </a:lnTo>
                <a:lnTo>
                  <a:pt x="133" y="35"/>
                </a:lnTo>
                <a:lnTo>
                  <a:pt x="135" y="33"/>
                </a:lnTo>
                <a:lnTo>
                  <a:pt x="137" y="33"/>
                </a:lnTo>
                <a:lnTo>
                  <a:pt x="137" y="32"/>
                </a:lnTo>
                <a:lnTo>
                  <a:pt x="138" y="32"/>
                </a:lnTo>
                <a:lnTo>
                  <a:pt x="139" y="32"/>
                </a:lnTo>
                <a:lnTo>
                  <a:pt x="143" y="32"/>
                </a:lnTo>
                <a:lnTo>
                  <a:pt x="147" y="33"/>
                </a:lnTo>
                <a:lnTo>
                  <a:pt x="149" y="35"/>
                </a:lnTo>
                <a:lnTo>
                  <a:pt x="151" y="35"/>
                </a:lnTo>
                <a:lnTo>
                  <a:pt x="151" y="36"/>
                </a:lnTo>
                <a:lnTo>
                  <a:pt x="151" y="38"/>
                </a:lnTo>
                <a:lnTo>
                  <a:pt x="141" y="40"/>
                </a:lnTo>
                <a:lnTo>
                  <a:pt x="126" y="41"/>
                </a:lnTo>
                <a:lnTo>
                  <a:pt x="126" y="43"/>
                </a:lnTo>
                <a:lnTo>
                  <a:pt x="128" y="43"/>
                </a:lnTo>
                <a:lnTo>
                  <a:pt x="124" y="43"/>
                </a:lnTo>
                <a:lnTo>
                  <a:pt x="122" y="41"/>
                </a:lnTo>
                <a:lnTo>
                  <a:pt x="120" y="41"/>
                </a:lnTo>
                <a:lnTo>
                  <a:pt x="121" y="44"/>
                </a:lnTo>
                <a:lnTo>
                  <a:pt x="117" y="46"/>
                </a:lnTo>
                <a:lnTo>
                  <a:pt x="113" y="49"/>
                </a:lnTo>
                <a:lnTo>
                  <a:pt x="112" y="49"/>
                </a:lnTo>
                <a:lnTo>
                  <a:pt x="106" y="47"/>
                </a:lnTo>
                <a:lnTo>
                  <a:pt x="106" y="46"/>
                </a:lnTo>
                <a:lnTo>
                  <a:pt x="106" y="44"/>
                </a:lnTo>
                <a:lnTo>
                  <a:pt x="105" y="43"/>
                </a:lnTo>
                <a:lnTo>
                  <a:pt x="105" y="41"/>
                </a:lnTo>
                <a:lnTo>
                  <a:pt x="106" y="41"/>
                </a:lnTo>
                <a:lnTo>
                  <a:pt x="105" y="41"/>
                </a:lnTo>
                <a:lnTo>
                  <a:pt x="104" y="43"/>
                </a:lnTo>
                <a:lnTo>
                  <a:pt x="102" y="43"/>
                </a:lnTo>
                <a:lnTo>
                  <a:pt x="102" y="44"/>
                </a:lnTo>
                <a:lnTo>
                  <a:pt x="101" y="46"/>
                </a:lnTo>
                <a:lnTo>
                  <a:pt x="102" y="47"/>
                </a:lnTo>
                <a:lnTo>
                  <a:pt x="102" y="49"/>
                </a:lnTo>
                <a:lnTo>
                  <a:pt x="105" y="49"/>
                </a:lnTo>
                <a:lnTo>
                  <a:pt x="106" y="51"/>
                </a:lnTo>
                <a:lnTo>
                  <a:pt x="106" y="52"/>
                </a:lnTo>
                <a:lnTo>
                  <a:pt x="102" y="52"/>
                </a:lnTo>
                <a:lnTo>
                  <a:pt x="101" y="51"/>
                </a:lnTo>
                <a:lnTo>
                  <a:pt x="97" y="49"/>
                </a:lnTo>
                <a:lnTo>
                  <a:pt x="96" y="49"/>
                </a:lnTo>
                <a:lnTo>
                  <a:pt x="94" y="51"/>
                </a:lnTo>
                <a:lnTo>
                  <a:pt x="100" y="54"/>
                </a:lnTo>
                <a:lnTo>
                  <a:pt x="97" y="57"/>
                </a:lnTo>
                <a:lnTo>
                  <a:pt x="94" y="57"/>
                </a:lnTo>
                <a:lnTo>
                  <a:pt x="92" y="57"/>
                </a:lnTo>
                <a:lnTo>
                  <a:pt x="88" y="54"/>
                </a:lnTo>
                <a:lnTo>
                  <a:pt x="86" y="54"/>
                </a:lnTo>
                <a:lnTo>
                  <a:pt x="81" y="52"/>
                </a:lnTo>
                <a:lnTo>
                  <a:pt x="80" y="52"/>
                </a:lnTo>
                <a:lnTo>
                  <a:pt x="77" y="51"/>
                </a:lnTo>
                <a:lnTo>
                  <a:pt x="76" y="49"/>
                </a:lnTo>
                <a:lnTo>
                  <a:pt x="74" y="49"/>
                </a:lnTo>
                <a:lnTo>
                  <a:pt x="74" y="51"/>
                </a:lnTo>
                <a:lnTo>
                  <a:pt x="78" y="52"/>
                </a:lnTo>
                <a:lnTo>
                  <a:pt x="80" y="54"/>
                </a:lnTo>
                <a:lnTo>
                  <a:pt x="82" y="55"/>
                </a:lnTo>
                <a:lnTo>
                  <a:pt x="86" y="57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98" name="Freeform 698"/>
          <p:cNvSpPr>
            <a:spLocks/>
          </p:cNvSpPr>
          <p:nvPr/>
        </p:nvSpPr>
        <p:spPr bwMode="auto">
          <a:xfrm>
            <a:off x="2905160" y="1500829"/>
            <a:ext cx="196831" cy="90200"/>
          </a:xfrm>
          <a:custGeom>
            <a:avLst/>
            <a:gdLst/>
            <a:ahLst/>
            <a:cxnLst>
              <a:cxn ang="0">
                <a:pos x="102" y="44"/>
              </a:cxn>
              <a:cxn ang="0">
                <a:pos x="93" y="42"/>
              </a:cxn>
              <a:cxn ang="0">
                <a:pos x="91" y="44"/>
              </a:cxn>
              <a:cxn ang="0">
                <a:pos x="77" y="45"/>
              </a:cxn>
              <a:cxn ang="0">
                <a:pos x="65" y="44"/>
              </a:cxn>
              <a:cxn ang="0">
                <a:pos x="62" y="42"/>
              </a:cxn>
              <a:cxn ang="0">
                <a:pos x="59" y="42"/>
              </a:cxn>
              <a:cxn ang="0">
                <a:pos x="54" y="41"/>
              </a:cxn>
              <a:cxn ang="0">
                <a:pos x="69" y="38"/>
              </a:cxn>
              <a:cxn ang="0">
                <a:pos x="57" y="36"/>
              </a:cxn>
              <a:cxn ang="0">
                <a:pos x="47" y="36"/>
              </a:cxn>
              <a:cxn ang="0">
                <a:pos x="45" y="34"/>
              </a:cxn>
              <a:cxn ang="0">
                <a:pos x="47" y="34"/>
              </a:cxn>
              <a:cxn ang="0">
                <a:pos x="47" y="33"/>
              </a:cxn>
              <a:cxn ang="0">
                <a:pos x="38" y="30"/>
              </a:cxn>
              <a:cxn ang="0">
                <a:pos x="51" y="27"/>
              </a:cxn>
              <a:cxn ang="0">
                <a:pos x="89" y="25"/>
              </a:cxn>
              <a:cxn ang="0">
                <a:pos x="89" y="25"/>
              </a:cxn>
              <a:cxn ang="0">
                <a:pos x="66" y="25"/>
              </a:cxn>
              <a:cxn ang="0">
                <a:pos x="61" y="23"/>
              </a:cxn>
              <a:cxn ang="0">
                <a:pos x="74" y="23"/>
              </a:cxn>
              <a:cxn ang="0">
                <a:pos x="66" y="23"/>
              </a:cxn>
              <a:cxn ang="0">
                <a:pos x="57" y="22"/>
              </a:cxn>
              <a:cxn ang="0">
                <a:pos x="51" y="23"/>
              </a:cxn>
              <a:cxn ang="0">
                <a:pos x="51" y="20"/>
              </a:cxn>
              <a:cxn ang="0">
                <a:pos x="46" y="23"/>
              </a:cxn>
              <a:cxn ang="0">
                <a:pos x="39" y="23"/>
              </a:cxn>
              <a:cxn ang="0">
                <a:pos x="42" y="22"/>
              </a:cxn>
              <a:cxn ang="0">
                <a:pos x="33" y="22"/>
              </a:cxn>
              <a:cxn ang="0">
                <a:pos x="28" y="23"/>
              </a:cxn>
              <a:cxn ang="0">
                <a:pos x="25" y="23"/>
              </a:cxn>
              <a:cxn ang="0">
                <a:pos x="20" y="22"/>
              </a:cxn>
              <a:cxn ang="0">
                <a:pos x="14" y="22"/>
              </a:cxn>
              <a:cxn ang="0">
                <a:pos x="14" y="20"/>
              </a:cxn>
              <a:cxn ang="0">
                <a:pos x="25" y="20"/>
              </a:cxn>
              <a:cxn ang="0">
                <a:pos x="35" y="19"/>
              </a:cxn>
              <a:cxn ang="0">
                <a:pos x="28" y="17"/>
              </a:cxn>
              <a:cxn ang="0">
                <a:pos x="13" y="17"/>
              </a:cxn>
              <a:cxn ang="0">
                <a:pos x="4" y="14"/>
              </a:cxn>
              <a:cxn ang="0">
                <a:pos x="9" y="12"/>
              </a:cxn>
              <a:cxn ang="0">
                <a:pos x="9" y="11"/>
              </a:cxn>
              <a:cxn ang="0">
                <a:pos x="5" y="8"/>
              </a:cxn>
              <a:cxn ang="0">
                <a:pos x="16" y="11"/>
              </a:cxn>
              <a:cxn ang="0">
                <a:pos x="24" y="11"/>
              </a:cxn>
              <a:cxn ang="0">
                <a:pos x="34" y="12"/>
              </a:cxn>
              <a:cxn ang="0">
                <a:pos x="30" y="9"/>
              </a:cxn>
              <a:cxn ang="0">
                <a:pos x="39" y="8"/>
              </a:cxn>
              <a:cxn ang="0">
                <a:pos x="33" y="8"/>
              </a:cxn>
              <a:cxn ang="0">
                <a:pos x="22" y="9"/>
              </a:cxn>
              <a:cxn ang="0">
                <a:pos x="14" y="8"/>
              </a:cxn>
              <a:cxn ang="0">
                <a:pos x="25" y="6"/>
              </a:cxn>
              <a:cxn ang="0">
                <a:pos x="16" y="6"/>
              </a:cxn>
              <a:cxn ang="0">
                <a:pos x="4" y="6"/>
              </a:cxn>
              <a:cxn ang="0">
                <a:pos x="5" y="5"/>
              </a:cxn>
              <a:cxn ang="0">
                <a:pos x="13" y="5"/>
              </a:cxn>
              <a:cxn ang="0">
                <a:pos x="9" y="1"/>
              </a:cxn>
            </a:cxnLst>
            <a:rect l="0" t="0" r="r" b="b"/>
            <a:pathLst>
              <a:path w="103" h="45">
                <a:moveTo>
                  <a:pt x="103" y="44"/>
                </a:moveTo>
                <a:lnTo>
                  <a:pt x="103" y="45"/>
                </a:lnTo>
                <a:lnTo>
                  <a:pt x="102" y="44"/>
                </a:lnTo>
                <a:lnTo>
                  <a:pt x="98" y="44"/>
                </a:lnTo>
                <a:lnTo>
                  <a:pt x="97" y="42"/>
                </a:lnTo>
                <a:lnTo>
                  <a:pt x="93" y="42"/>
                </a:lnTo>
                <a:lnTo>
                  <a:pt x="86" y="42"/>
                </a:lnTo>
                <a:lnTo>
                  <a:pt x="87" y="42"/>
                </a:lnTo>
                <a:lnTo>
                  <a:pt x="91" y="44"/>
                </a:lnTo>
                <a:lnTo>
                  <a:pt x="93" y="45"/>
                </a:lnTo>
                <a:lnTo>
                  <a:pt x="82" y="45"/>
                </a:lnTo>
                <a:lnTo>
                  <a:pt x="77" y="45"/>
                </a:lnTo>
                <a:lnTo>
                  <a:pt x="73" y="44"/>
                </a:lnTo>
                <a:lnTo>
                  <a:pt x="70" y="44"/>
                </a:lnTo>
                <a:lnTo>
                  <a:pt x="65" y="44"/>
                </a:lnTo>
                <a:lnTo>
                  <a:pt x="63" y="42"/>
                </a:lnTo>
                <a:lnTo>
                  <a:pt x="61" y="42"/>
                </a:lnTo>
                <a:lnTo>
                  <a:pt x="62" y="42"/>
                </a:lnTo>
                <a:lnTo>
                  <a:pt x="62" y="41"/>
                </a:lnTo>
                <a:lnTo>
                  <a:pt x="61" y="42"/>
                </a:lnTo>
                <a:lnTo>
                  <a:pt x="59" y="42"/>
                </a:lnTo>
                <a:lnTo>
                  <a:pt x="58" y="42"/>
                </a:lnTo>
                <a:lnTo>
                  <a:pt x="55" y="41"/>
                </a:lnTo>
                <a:lnTo>
                  <a:pt x="54" y="41"/>
                </a:lnTo>
                <a:lnTo>
                  <a:pt x="53" y="39"/>
                </a:lnTo>
                <a:lnTo>
                  <a:pt x="51" y="39"/>
                </a:lnTo>
                <a:lnTo>
                  <a:pt x="69" y="38"/>
                </a:lnTo>
                <a:lnTo>
                  <a:pt x="70" y="38"/>
                </a:lnTo>
                <a:lnTo>
                  <a:pt x="58" y="36"/>
                </a:lnTo>
                <a:lnTo>
                  <a:pt x="57" y="36"/>
                </a:lnTo>
                <a:lnTo>
                  <a:pt x="50" y="36"/>
                </a:lnTo>
                <a:lnTo>
                  <a:pt x="49" y="36"/>
                </a:lnTo>
                <a:lnTo>
                  <a:pt x="47" y="36"/>
                </a:lnTo>
                <a:lnTo>
                  <a:pt x="49" y="36"/>
                </a:lnTo>
                <a:lnTo>
                  <a:pt x="46" y="36"/>
                </a:lnTo>
                <a:lnTo>
                  <a:pt x="45" y="34"/>
                </a:lnTo>
                <a:lnTo>
                  <a:pt x="45" y="33"/>
                </a:lnTo>
                <a:lnTo>
                  <a:pt x="46" y="33"/>
                </a:lnTo>
                <a:lnTo>
                  <a:pt x="47" y="34"/>
                </a:lnTo>
                <a:lnTo>
                  <a:pt x="54" y="34"/>
                </a:lnTo>
                <a:lnTo>
                  <a:pt x="54" y="33"/>
                </a:lnTo>
                <a:lnTo>
                  <a:pt x="47" y="33"/>
                </a:lnTo>
                <a:lnTo>
                  <a:pt x="43" y="33"/>
                </a:lnTo>
                <a:lnTo>
                  <a:pt x="41" y="31"/>
                </a:lnTo>
                <a:lnTo>
                  <a:pt x="38" y="30"/>
                </a:lnTo>
                <a:lnTo>
                  <a:pt x="41" y="28"/>
                </a:lnTo>
                <a:lnTo>
                  <a:pt x="46" y="28"/>
                </a:lnTo>
                <a:lnTo>
                  <a:pt x="51" y="27"/>
                </a:lnTo>
                <a:lnTo>
                  <a:pt x="70" y="27"/>
                </a:lnTo>
                <a:lnTo>
                  <a:pt x="79" y="25"/>
                </a:lnTo>
                <a:lnTo>
                  <a:pt x="89" y="25"/>
                </a:lnTo>
                <a:lnTo>
                  <a:pt x="90" y="25"/>
                </a:lnTo>
                <a:lnTo>
                  <a:pt x="93" y="23"/>
                </a:lnTo>
                <a:lnTo>
                  <a:pt x="89" y="25"/>
                </a:lnTo>
                <a:lnTo>
                  <a:pt x="77" y="25"/>
                </a:lnTo>
                <a:lnTo>
                  <a:pt x="74" y="25"/>
                </a:lnTo>
                <a:lnTo>
                  <a:pt x="66" y="25"/>
                </a:lnTo>
                <a:lnTo>
                  <a:pt x="62" y="25"/>
                </a:lnTo>
                <a:lnTo>
                  <a:pt x="61" y="25"/>
                </a:lnTo>
                <a:lnTo>
                  <a:pt x="61" y="23"/>
                </a:lnTo>
                <a:lnTo>
                  <a:pt x="63" y="23"/>
                </a:lnTo>
                <a:lnTo>
                  <a:pt x="65" y="23"/>
                </a:lnTo>
                <a:lnTo>
                  <a:pt x="74" y="23"/>
                </a:lnTo>
                <a:lnTo>
                  <a:pt x="78" y="23"/>
                </a:lnTo>
                <a:lnTo>
                  <a:pt x="79" y="23"/>
                </a:lnTo>
                <a:lnTo>
                  <a:pt x="66" y="23"/>
                </a:lnTo>
                <a:lnTo>
                  <a:pt x="62" y="22"/>
                </a:lnTo>
                <a:lnTo>
                  <a:pt x="63" y="22"/>
                </a:lnTo>
                <a:lnTo>
                  <a:pt x="57" y="22"/>
                </a:lnTo>
                <a:lnTo>
                  <a:pt x="55" y="22"/>
                </a:lnTo>
                <a:lnTo>
                  <a:pt x="55" y="23"/>
                </a:lnTo>
                <a:lnTo>
                  <a:pt x="51" y="23"/>
                </a:lnTo>
                <a:lnTo>
                  <a:pt x="50" y="23"/>
                </a:lnTo>
                <a:lnTo>
                  <a:pt x="51" y="22"/>
                </a:lnTo>
                <a:lnTo>
                  <a:pt x="51" y="20"/>
                </a:lnTo>
                <a:lnTo>
                  <a:pt x="50" y="22"/>
                </a:lnTo>
                <a:lnTo>
                  <a:pt x="49" y="22"/>
                </a:lnTo>
                <a:lnTo>
                  <a:pt x="46" y="23"/>
                </a:lnTo>
                <a:lnTo>
                  <a:pt x="43" y="25"/>
                </a:lnTo>
                <a:lnTo>
                  <a:pt x="41" y="25"/>
                </a:lnTo>
                <a:lnTo>
                  <a:pt x="39" y="23"/>
                </a:lnTo>
                <a:lnTo>
                  <a:pt x="38" y="23"/>
                </a:lnTo>
                <a:lnTo>
                  <a:pt x="39" y="23"/>
                </a:lnTo>
                <a:lnTo>
                  <a:pt x="42" y="22"/>
                </a:lnTo>
                <a:lnTo>
                  <a:pt x="41" y="22"/>
                </a:lnTo>
                <a:lnTo>
                  <a:pt x="35" y="22"/>
                </a:lnTo>
                <a:lnTo>
                  <a:pt x="33" y="22"/>
                </a:lnTo>
                <a:lnTo>
                  <a:pt x="33" y="23"/>
                </a:lnTo>
                <a:lnTo>
                  <a:pt x="30" y="23"/>
                </a:lnTo>
                <a:lnTo>
                  <a:pt x="28" y="23"/>
                </a:lnTo>
                <a:lnTo>
                  <a:pt x="26" y="25"/>
                </a:lnTo>
                <a:lnTo>
                  <a:pt x="24" y="23"/>
                </a:lnTo>
                <a:lnTo>
                  <a:pt x="25" y="23"/>
                </a:lnTo>
                <a:lnTo>
                  <a:pt x="24" y="22"/>
                </a:lnTo>
                <a:lnTo>
                  <a:pt x="22" y="22"/>
                </a:lnTo>
                <a:lnTo>
                  <a:pt x="20" y="22"/>
                </a:lnTo>
                <a:lnTo>
                  <a:pt x="18" y="22"/>
                </a:lnTo>
                <a:lnTo>
                  <a:pt x="17" y="22"/>
                </a:lnTo>
                <a:lnTo>
                  <a:pt x="14" y="22"/>
                </a:lnTo>
                <a:lnTo>
                  <a:pt x="14" y="20"/>
                </a:lnTo>
                <a:lnTo>
                  <a:pt x="13" y="20"/>
                </a:lnTo>
                <a:lnTo>
                  <a:pt x="14" y="20"/>
                </a:lnTo>
                <a:lnTo>
                  <a:pt x="16" y="19"/>
                </a:lnTo>
                <a:lnTo>
                  <a:pt x="21" y="20"/>
                </a:lnTo>
                <a:lnTo>
                  <a:pt x="25" y="20"/>
                </a:lnTo>
                <a:lnTo>
                  <a:pt x="25" y="19"/>
                </a:lnTo>
                <a:lnTo>
                  <a:pt x="32" y="19"/>
                </a:lnTo>
                <a:lnTo>
                  <a:pt x="35" y="19"/>
                </a:lnTo>
                <a:lnTo>
                  <a:pt x="38" y="17"/>
                </a:lnTo>
                <a:lnTo>
                  <a:pt x="32" y="19"/>
                </a:lnTo>
                <a:lnTo>
                  <a:pt x="28" y="17"/>
                </a:lnTo>
                <a:lnTo>
                  <a:pt x="20" y="19"/>
                </a:lnTo>
                <a:lnTo>
                  <a:pt x="18" y="17"/>
                </a:lnTo>
                <a:lnTo>
                  <a:pt x="13" y="17"/>
                </a:lnTo>
                <a:lnTo>
                  <a:pt x="9" y="16"/>
                </a:lnTo>
                <a:lnTo>
                  <a:pt x="6" y="14"/>
                </a:lnTo>
                <a:lnTo>
                  <a:pt x="4" y="14"/>
                </a:lnTo>
                <a:lnTo>
                  <a:pt x="9" y="12"/>
                </a:lnTo>
                <a:lnTo>
                  <a:pt x="10" y="12"/>
                </a:lnTo>
                <a:lnTo>
                  <a:pt x="9" y="12"/>
                </a:lnTo>
                <a:lnTo>
                  <a:pt x="4" y="12"/>
                </a:lnTo>
                <a:lnTo>
                  <a:pt x="4" y="11"/>
                </a:lnTo>
                <a:lnTo>
                  <a:pt x="9" y="11"/>
                </a:lnTo>
                <a:lnTo>
                  <a:pt x="2" y="11"/>
                </a:lnTo>
                <a:lnTo>
                  <a:pt x="1" y="9"/>
                </a:lnTo>
                <a:lnTo>
                  <a:pt x="5" y="8"/>
                </a:lnTo>
                <a:lnTo>
                  <a:pt x="12" y="9"/>
                </a:lnTo>
                <a:lnTo>
                  <a:pt x="14" y="9"/>
                </a:lnTo>
                <a:lnTo>
                  <a:pt x="16" y="11"/>
                </a:lnTo>
                <a:lnTo>
                  <a:pt x="21" y="11"/>
                </a:lnTo>
                <a:lnTo>
                  <a:pt x="22" y="11"/>
                </a:lnTo>
                <a:lnTo>
                  <a:pt x="24" y="11"/>
                </a:lnTo>
                <a:lnTo>
                  <a:pt x="28" y="11"/>
                </a:lnTo>
                <a:lnTo>
                  <a:pt x="32" y="11"/>
                </a:lnTo>
                <a:lnTo>
                  <a:pt x="34" y="12"/>
                </a:lnTo>
                <a:lnTo>
                  <a:pt x="33" y="11"/>
                </a:lnTo>
                <a:lnTo>
                  <a:pt x="30" y="11"/>
                </a:lnTo>
                <a:lnTo>
                  <a:pt x="30" y="9"/>
                </a:lnTo>
                <a:lnTo>
                  <a:pt x="32" y="9"/>
                </a:lnTo>
                <a:lnTo>
                  <a:pt x="41" y="9"/>
                </a:lnTo>
                <a:lnTo>
                  <a:pt x="39" y="8"/>
                </a:lnTo>
                <a:lnTo>
                  <a:pt x="35" y="8"/>
                </a:lnTo>
                <a:lnTo>
                  <a:pt x="34" y="8"/>
                </a:lnTo>
                <a:lnTo>
                  <a:pt x="33" y="8"/>
                </a:lnTo>
                <a:lnTo>
                  <a:pt x="32" y="8"/>
                </a:lnTo>
                <a:lnTo>
                  <a:pt x="29" y="9"/>
                </a:lnTo>
                <a:lnTo>
                  <a:pt x="22" y="9"/>
                </a:lnTo>
                <a:lnTo>
                  <a:pt x="14" y="8"/>
                </a:lnTo>
                <a:lnTo>
                  <a:pt x="18" y="8"/>
                </a:lnTo>
                <a:lnTo>
                  <a:pt x="14" y="8"/>
                </a:lnTo>
                <a:lnTo>
                  <a:pt x="18" y="8"/>
                </a:lnTo>
                <a:lnTo>
                  <a:pt x="24" y="8"/>
                </a:lnTo>
                <a:lnTo>
                  <a:pt x="25" y="6"/>
                </a:lnTo>
                <a:lnTo>
                  <a:pt x="20" y="8"/>
                </a:lnTo>
                <a:lnTo>
                  <a:pt x="17" y="6"/>
                </a:lnTo>
                <a:lnTo>
                  <a:pt x="16" y="6"/>
                </a:lnTo>
                <a:lnTo>
                  <a:pt x="14" y="8"/>
                </a:lnTo>
                <a:lnTo>
                  <a:pt x="10" y="8"/>
                </a:lnTo>
                <a:lnTo>
                  <a:pt x="4" y="6"/>
                </a:lnTo>
                <a:lnTo>
                  <a:pt x="0" y="5"/>
                </a:lnTo>
                <a:lnTo>
                  <a:pt x="4" y="5"/>
                </a:lnTo>
                <a:lnTo>
                  <a:pt x="5" y="5"/>
                </a:lnTo>
                <a:lnTo>
                  <a:pt x="6" y="5"/>
                </a:lnTo>
                <a:lnTo>
                  <a:pt x="9" y="5"/>
                </a:lnTo>
                <a:lnTo>
                  <a:pt x="13" y="5"/>
                </a:lnTo>
                <a:lnTo>
                  <a:pt x="8" y="3"/>
                </a:lnTo>
                <a:lnTo>
                  <a:pt x="9" y="3"/>
                </a:lnTo>
                <a:lnTo>
                  <a:pt x="9" y="1"/>
                </a:lnTo>
                <a:lnTo>
                  <a:pt x="17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799" name="Freeform 699"/>
          <p:cNvSpPr>
            <a:spLocks/>
          </p:cNvSpPr>
          <p:nvPr/>
        </p:nvSpPr>
        <p:spPr bwMode="auto">
          <a:xfrm>
            <a:off x="2907109" y="1599618"/>
            <a:ext cx="85747" cy="15033"/>
          </a:xfrm>
          <a:custGeom>
            <a:avLst/>
            <a:gdLst/>
            <a:ahLst/>
            <a:cxnLst>
              <a:cxn ang="0">
                <a:pos x="17" y="2"/>
              </a:cxn>
              <a:cxn ang="0">
                <a:pos x="20" y="2"/>
              </a:cxn>
              <a:cxn ang="0">
                <a:pos x="21" y="2"/>
              </a:cxn>
              <a:cxn ang="0">
                <a:pos x="25" y="0"/>
              </a:cxn>
              <a:cxn ang="0">
                <a:pos x="25" y="2"/>
              </a:cxn>
              <a:cxn ang="0">
                <a:pos x="29" y="2"/>
              </a:cxn>
              <a:cxn ang="0">
                <a:pos x="31" y="2"/>
              </a:cxn>
              <a:cxn ang="0">
                <a:pos x="34" y="2"/>
              </a:cxn>
              <a:cxn ang="0">
                <a:pos x="37" y="2"/>
              </a:cxn>
              <a:cxn ang="0">
                <a:pos x="38" y="2"/>
              </a:cxn>
              <a:cxn ang="0">
                <a:pos x="41" y="2"/>
              </a:cxn>
              <a:cxn ang="0">
                <a:pos x="44" y="2"/>
              </a:cxn>
              <a:cxn ang="0">
                <a:pos x="45" y="3"/>
              </a:cxn>
              <a:cxn ang="0">
                <a:pos x="42" y="3"/>
              </a:cxn>
              <a:cxn ang="0">
                <a:pos x="41" y="5"/>
              </a:cxn>
              <a:cxn ang="0">
                <a:pos x="42" y="5"/>
              </a:cxn>
              <a:cxn ang="0">
                <a:pos x="41" y="6"/>
              </a:cxn>
              <a:cxn ang="0">
                <a:pos x="42" y="6"/>
              </a:cxn>
              <a:cxn ang="0">
                <a:pos x="41" y="8"/>
              </a:cxn>
              <a:cxn ang="0">
                <a:pos x="36" y="8"/>
              </a:cxn>
              <a:cxn ang="0">
                <a:pos x="29" y="6"/>
              </a:cxn>
              <a:cxn ang="0">
                <a:pos x="28" y="6"/>
              </a:cxn>
              <a:cxn ang="0">
                <a:pos x="23" y="6"/>
              </a:cxn>
              <a:cxn ang="0">
                <a:pos x="19" y="6"/>
              </a:cxn>
              <a:cxn ang="0">
                <a:pos x="16" y="6"/>
              </a:cxn>
              <a:cxn ang="0">
                <a:pos x="9" y="6"/>
              </a:cxn>
              <a:cxn ang="0">
                <a:pos x="8" y="5"/>
              </a:cxn>
              <a:cxn ang="0">
                <a:pos x="5" y="5"/>
              </a:cxn>
              <a:cxn ang="0">
                <a:pos x="3" y="5"/>
              </a:cxn>
              <a:cxn ang="0">
                <a:pos x="1" y="3"/>
              </a:cxn>
              <a:cxn ang="0">
                <a:pos x="0" y="3"/>
              </a:cxn>
              <a:cxn ang="0">
                <a:pos x="1" y="2"/>
              </a:cxn>
              <a:cxn ang="0">
                <a:pos x="4" y="2"/>
              </a:cxn>
              <a:cxn ang="0">
                <a:pos x="9" y="2"/>
              </a:cxn>
              <a:cxn ang="0">
                <a:pos x="11" y="0"/>
              </a:cxn>
              <a:cxn ang="0">
                <a:pos x="12" y="0"/>
              </a:cxn>
              <a:cxn ang="0">
                <a:pos x="13" y="2"/>
              </a:cxn>
              <a:cxn ang="0">
                <a:pos x="15" y="2"/>
              </a:cxn>
              <a:cxn ang="0">
                <a:pos x="16" y="2"/>
              </a:cxn>
              <a:cxn ang="0">
                <a:pos x="17" y="2"/>
              </a:cxn>
            </a:cxnLst>
            <a:rect l="0" t="0" r="r" b="b"/>
            <a:pathLst>
              <a:path w="45" h="8">
                <a:moveTo>
                  <a:pt x="17" y="2"/>
                </a:moveTo>
                <a:lnTo>
                  <a:pt x="20" y="2"/>
                </a:lnTo>
                <a:lnTo>
                  <a:pt x="21" y="2"/>
                </a:lnTo>
                <a:lnTo>
                  <a:pt x="25" y="0"/>
                </a:lnTo>
                <a:lnTo>
                  <a:pt x="25" y="2"/>
                </a:lnTo>
                <a:lnTo>
                  <a:pt x="29" y="2"/>
                </a:lnTo>
                <a:lnTo>
                  <a:pt x="31" y="2"/>
                </a:lnTo>
                <a:lnTo>
                  <a:pt x="34" y="2"/>
                </a:lnTo>
                <a:lnTo>
                  <a:pt x="37" y="2"/>
                </a:lnTo>
                <a:lnTo>
                  <a:pt x="38" y="2"/>
                </a:lnTo>
                <a:lnTo>
                  <a:pt x="41" y="2"/>
                </a:lnTo>
                <a:lnTo>
                  <a:pt x="44" y="2"/>
                </a:lnTo>
                <a:lnTo>
                  <a:pt x="45" y="3"/>
                </a:lnTo>
                <a:lnTo>
                  <a:pt x="42" y="3"/>
                </a:lnTo>
                <a:lnTo>
                  <a:pt x="41" y="5"/>
                </a:lnTo>
                <a:lnTo>
                  <a:pt x="42" y="5"/>
                </a:lnTo>
                <a:lnTo>
                  <a:pt x="41" y="6"/>
                </a:lnTo>
                <a:lnTo>
                  <a:pt x="42" y="6"/>
                </a:lnTo>
                <a:lnTo>
                  <a:pt x="41" y="8"/>
                </a:lnTo>
                <a:lnTo>
                  <a:pt x="36" y="8"/>
                </a:lnTo>
                <a:lnTo>
                  <a:pt x="29" y="6"/>
                </a:lnTo>
                <a:lnTo>
                  <a:pt x="28" y="6"/>
                </a:lnTo>
                <a:lnTo>
                  <a:pt x="23" y="6"/>
                </a:lnTo>
                <a:lnTo>
                  <a:pt x="19" y="6"/>
                </a:lnTo>
                <a:lnTo>
                  <a:pt x="16" y="6"/>
                </a:lnTo>
                <a:lnTo>
                  <a:pt x="9" y="6"/>
                </a:lnTo>
                <a:lnTo>
                  <a:pt x="8" y="5"/>
                </a:lnTo>
                <a:lnTo>
                  <a:pt x="5" y="5"/>
                </a:lnTo>
                <a:lnTo>
                  <a:pt x="3" y="5"/>
                </a:lnTo>
                <a:lnTo>
                  <a:pt x="1" y="3"/>
                </a:lnTo>
                <a:lnTo>
                  <a:pt x="0" y="3"/>
                </a:lnTo>
                <a:lnTo>
                  <a:pt x="1" y="2"/>
                </a:lnTo>
                <a:lnTo>
                  <a:pt x="4" y="2"/>
                </a:lnTo>
                <a:lnTo>
                  <a:pt x="9" y="2"/>
                </a:lnTo>
                <a:lnTo>
                  <a:pt x="11" y="0"/>
                </a:lnTo>
                <a:lnTo>
                  <a:pt x="12" y="0"/>
                </a:lnTo>
                <a:lnTo>
                  <a:pt x="13" y="2"/>
                </a:lnTo>
                <a:lnTo>
                  <a:pt x="15" y="2"/>
                </a:lnTo>
                <a:lnTo>
                  <a:pt x="16" y="2"/>
                </a:lnTo>
                <a:lnTo>
                  <a:pt x="17" y="2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00" name="Freeform 700"/>
          <p:cNvSpPr>
            <a:spLocks/>
          </p:cNvSpPr>
          <p:nvPr/>
        </p:nvSpPr>
        <p:spPr bwMode="auto">
          <a:xfrm>
            <a:off x="2907109" y="1599618"/>
            <a:ext cx="85747" cy="15033"/>
          </a:xfrm>
          <a:custGeom>
            <a:avLst/>
            <a:gdLst/>
            <a:ahLst/>
            <a:cxnLst>
              <a:cxn ang="0">
                <a:pos x="17" y="2"/>
              </a:cxn>
              <a:cxn ang="0">
                <a:pos x="20" y="2"/>
              </a:cxn>
              <a:cxn ang="0">
                <a:pos x="21" y="2"/>
              </a:cxn>
              <a:cxn ang="0">
                <a:pos x="25" y="0"/>
              </a:cxn>
              <a:cxn ang="0">
                <a:pos x="25" y="2"/>
              </a:cxn>
              <a:cxn ang="0">
                <a:pos x="29" y="2"/>
              </a:cxn>
              <a:cxn ang="0">
                <a:pos x="31" y="2"/>
              </a:cxn>
              <a:cxn ang="0">
                <a:pos x="34" y="2"/>
              </a:cxn>
              <a:cxn ang="0">
                <a:pos x="37" y="2"/>
              </a:cxn>
              <a:cxn ang="0">
                <a:pos x="38" y="2"/>
              </a:cxn>
              <a:cxn ang="0">
                <a:pos x="41" y="2"/>
              </a:cxn>
              <a:cxn ang="0">
                <a:pos x="44" y="2"/>
              </a:cxn>
              <a:cxn ang="0">
                <a:pos x="45" y="3"/>
              </a:cxn>
              <a:cxn ang="0">
                <a:pos x="42" y="3"/>
              </a:cxn>
              <a:cxn ang="0">
                <a:pos x="41" y="5"/>
              </a:cxn>
              <a:cxn ang="0">
                <a:pos x="42" y="5"/>
              </a:cxn>
              <a:cxn ang="0">
                <a:pos x="41" y="6"/>
              </a:cxn>
              <a:cxn ang="0">
                <a:pos x="42" y="6"/>
              </a:cxn>
              <a:cxn ang="0">
                <a:pos x="41" y="8"/>
              </a:cxn>
              <a:cxn ang="0">
                <a:pos x="36" y="8"/>
              </a:cxn>
              <a:cxn ang="0">
                <a:pos x="29" y="6"/>
              </a:cxn>
              <a:cxn ang="0">
                <a:pos x="28" y="6"/>
              </a:cxn>
              <a:cxn ang="0">
                <a:pos x="23" y="6"/>
              </a:cxn>
              <a:cxn ang="0">
                <a:pos x="19" y="6"/>
              </a:cxn>
              <a:cxn ang="0">
                <a:pos x="16" y="6"/>
              </a:cxn>
              <a:cxn ang="0">
                <a:pos x="9" y="6"/>
              </a:cxn>
              <a:cxn ang="0">
                <a:pos x="8" y="5"/>
              </a:cxn>
              <a:cxn ang="0">
                <a:pos x="5" y="5"/>
              </a:cxn>
              <a:cxn ang="0">
                <a:pos x="3" y="5"/>
              </a:cxn>
              <a:cxn ang="0">
                <a:pos x="1" y="3"/>
              </a:cxn>
              <a:cxn ang="0">
                <a:pos x="0" y="3"/>
              </a:cxn>
              <a:cxn ang="0">
                <a:pos x="1" y="2"/>
              </a:cxn>
              <a:cxn ang="0">
                <a:pos x="4" y="2"/>
              </a:cxn>
              <a:cxn ang="0">
                <a:pos x="9" y="2"/>
              </a:cxn>
              <a:cxn ang="0">
                <a:pos x="11" y="0"/>
              </a:cxn>
              <a:cxn ang="0">
                <a:pos x="12" y="0"/>
              </a:cxn>
              <a:cxn ang="0">
                <a:pos x="13" y="2"/>
              </a:cxn>
              <a:cxn ang="0">
                <a:pos x="15" y="2"/>
              </a:cxn>
              <a:cxn ang="0">
                <a:pos x="16" y="2"/>
              </a:cxn>
              <a:cxn ang="0">
                <a:pos x="17" y="2"/>
              </a:cxn>
            </a:cxnLst>
            <a:rect l="0" t="0" r="r" b="b"/>
            <a:pathLst>
              <a:path w="45" h="8">
                <a:moveTo>
                  <a:pt x="17" y="2"/>
                </a:moveTo>
                <a:lnTo>
                  <a:pt x="20" y="2"/>
                </a:lnTo>
                <a:lnTo>
                  <a:pt x="21" y="2"/>
                </a:lnTo>
                <a:lnTo>
                  <a:pt x="25" y="0"/>
                </a:lnTo>
                <a:lnTo>
                  <a:pt x="25" y="2"/>
                </a:lnTo>
                <a:lnTo>
                  <a:pt x="29" y="2"/>
                </a:lnTo>
                <a:lnTo>
                  <a:pt x="31" y="2"/>
                </a:lnTo>
                <a:lnTo>
                  <a:pt x="34" y="2"/>
                </a:lnTo>
                <a:lnTo>
                  <a:pt x="37" y="2"/>
                </a:lnTo>
                <a:lnTo>
                  <a:pt x="38" y="2"/>
                </a:lnTo>
                <a:lnTo>
                  <a:pt x="41" y="2"/>
                </a:lnTo>
                <a:lnTo>
                  <a:pt x="44" y="2"/>
                </a:lnTo>
                <a:lnTo>
                  <a:pt x="45" y="3"/>
                </a:lnTo>
                <a:lnTo>
                  <a:pt x="42" y="3"/>
                </a:lnTo>
                <a:lnTo>
                  <a:pt x="41" y="5"/>
                </a:lnTo>
                <a:lnTo>
                  <a:pt x="42" y="5"/>
                </a:lnTo>
                <a:lnTo>
                  <a:pt x="41" y="6"/>
                </a:lnTo>
                <a:lnTo>
                  <a:pt x="42" y="6"/>
                </a:lnTo>
                <a:lnTo>
                  <a:pt x="41" y="8"/>
                </a:lnTo>
                <a:lnTo>
                  <a:pt x="36" y="8"/>
                </a:lnTo>
                <a:lnTo>
                  <a:pt x="29" y="6"/>
                </a:lnTo>
                <a:lnTo>
                  <a:pt x="28" y="6"/>
                </a:lnTo>
                <a:lnTo>
                  <a:pt x="23" y="6"/>
                </a:lnTo>
                <a:lnTo>
                  <a:pt x="19" y="6"/>
                </a:lnTo>
                <a:lnTo>
                  <a:pt x="16" y="6"/>
                </a:lnTo>
                <a:lnTo>
                  <a:pt x="9" y="6"/>
                </a:lnTo>
                <a:lnTo>
                  <a:pt x="8" y="5"/>
                </a:lnTo>
                <a:lnTo>
                  <a:pt x="5" y="5"/>
                </a:lnTo>
                <a:lnTo>
                  <a:pt x="3" y="5"/>
                </a:lnTo>
                <a:lnTo>
                  <a:pt x="1" y="3"/>
                </a:lnTo>
                <a:lnTo>
                  <a:pt x="0" y="3"/>
                </a:lnTo>
                <a:lnTo>
                  <a:pt x="1" y="2"/>
                </a:lnTo>
                <a:lnTo>
                  <a:pt x="4" y="2"/>
                </a:lnTo>
                <a:lnTo>
                  <a:pt x="9" y="2"/>
                </a:lnTo>
                <a:lnTo>
                  <a:pt x="11" y="0"/>
                </a:lnTo>
                <a:lnTo>
                  <a:pt x="12" y="0"/>
                </a:lnTo>
                <a:lnTo>
                  <a:pt x="13" y="2"/>
                </a:lnTo>
                <a:lnTo>
                  <a:pt x="15" y="2"/>
                </a:lnTo>
                <a:lnTo>
                  <a:pt x="16" y="2"/>
                </a:lnTo>
                <a:lnTo>
                  <a:pt x="17" y="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01" name="Freeform 701"/>
          <p:cNvSpPr>
            <a:spLocks/>
          </p:cNvSpPr>
          <p:nvPr/>
        </p:nvSpPr>
        <p:spPr bwMode="auto">
          <a:xfrm>
            <a:off x="2883723" y="1625390"/>
            <a:ext cx="498896" cy="94494"/>
          </a:xfrm>
          <a:custGeom>
            <a:avLst/>
            <a:gdLst/>
            <a:ahLst/>
            <a:cxnLst>
              <a:cxn ang="0">
                <a:pos x="8" y="0"/>
              </a:cxn>
              <a:cxn ang="0">
                <a:pos x="1" y="3"/>
              </a:cxn>
              <a:cxn ang="0">
                <a:pos x="11" y="6"/>
              </a:cxn>
              <a:cxn ang="0">
                <a:pos x="7" y="6"/>
              </a:cxn>
              <a:cxn ang="0">
                <a:pos x="15" y="9"/>
              </a:cxn>
              <a:cxn ang="0">
                <a:pos x="31" y="14"/>
              </a:cxn>
              <a:cxn ang="0">
                <a:pos x="46" y="14"/>
              </a:cxn>
              <a:cxn ang="0">
                <a:pos x="54" y="12"/>
              </a:cxn>
              <a:cxn ang="0">
                <a:pos x="64" y="19"/>
              </a:cxn>
              <a:cxn ang="0">
                <a:pos x="70" y="25"/>
              </a:cxn>
              <a:cxn ang="0">
                <a:pos x="68" y="31"/>
              </a:cxn>
              <a:cxn ang="0">
                <a:pos x="72" y="36"/>
              </a:cxn>
              <a:cxn ang="0">
                <a:pos x="80" y="42"/>
              </a:cxn>
              <a:cxn ang="0">
                <a:pos x="85" y="42"/>
              </a:cxn>
              <a:cxn ang="0">
                <a:pos x="92" y="42"/>
              </a:cxn>
              <a:cxn ang="0">
                <a:pos x="101" y="44"/>
              </a:cxn>
              <a:cxn ang="0">
                <a:pos x="113" y="41"/>
              </a:cxn>
              <a:cxn ang="0">
                <a:pos x="121" y="42"/>
              </a:cxn>
              <a:cxn ang="0">
                <a:pos x="124" y="47"/>
              </a:cxn>
              <a:cxn ang="0">
                <a:pos x="137" y="47"/>
              </a:cxn>
              <a:cxn ang="0">
                <a:pos x="146" y="47"/>
              </a:cxn>
              <a:cxn ang="0">
                <a:pos x="153" y="45"/>
              </a:cxn>
              <a:cxn ang="0">
                <a:pos x="169" y="47"/>
              </a:cxn>
              <a:cxn ang="0">
                <a:pos x="177" y="45"/>
              </a:cxn>
              <a:cxn ang="0">
                <a:pos x="181" y="45"/>
              </a:cxn>
              <a:cxn ang="0">
                <a:pos x="201" y="39"/>
              </a:cxn>
              <a:cxn ang="0">
                <a:pos x="209" y="42"/>
              </a:cxn>
              <a:cxn ang="0">
                <a:pos x="223" y="47"/>
              </a:cxn>
              <a:cxn ang="0">
                <a:pos x="249" y="44"/>
              </a:cxn>
              <a:cxn ang="0">
                <a:pos x="246" y="39"/>
              </a:cxn>
              <a:cxn ang="0">
                <a:pos x="257" y="33"/>
              </a:cxn>
              <a:cxn ang="0">
                <a:pos x="250" y="28"/>
              </a:cxn>
              <a:cxn ang="0">
                <a:pos x="242" y="25"/>
              </a:cxn>
              <a:cxn ang="0">
                <a:pos x="214" y="22"/>
              </a:cxn>
              <a:cxn ang="0">
                <a:pos x="198" y="22"/>
              </a:cxn>
              <a:cxn ang="0">
                <a:pos x="185" y="26"/>
              </a:cxn>
              <a:cxn ang="0">
                <a:pos x="175" y="28"/>
              </a:cxn>
              <a:cxn ang="0">
                <a:pos x="165" y="28"/>
              </a:cxn>
              <a:cxn ang="0">
                <a:pos x="166" y="30"/>
              </a:cxn>
              <a:cxn ang="0">
                <a:pos x="154" y="30"/>
              </a:cxn>
              <a:cxn ang="0">
                <a:pos x="138" y="30"/>
              </a:cxn>
              <a:cxn ang="0">
                <a:pos x="130" y="30"/>
              </a:cxn>
              <a:cxn ang="0">
                <a:pos x="122" y="26"/>
              </a:cxn>
              <a:cxn ang="0">
                <a:pos x="116" y="28"/>
              </a:cxn>
              <a:cxn ang="0">
                <a:pos x="106" y="28"/>
              </a:cxn>
              <a:cxn ang="0">
                <a:pos x="112" y="23"/>
              </a:cxn>
              <a:cxn ang="0">
                <a:pos x="102" y="20"/>
              </a:cxn>
              <a:cxn ang="0">
                <a:pos x="93" y="20"/>
              </a:cxn>
              <a:cxn ang="0">
                <a:pos x="88" y="22"/>
              </a:cxn>
              <a:cxn ang="0">
                <a:pos x="89" y="19"/>
              </a:cxn>
              <a:cxn ang="0">
                <a:pos x="80" y="17"/>
              </a:cxn>
              <a:cxn ang="0">
                <a:pos x="93" y="17"/>
              </a:cxn>
              <a:cxn ang="0">
                <a:pos x="106" y="17"/>
              </a:cxn>
              <a:cxn ang="0">
                <a:pos x="110" y="14"/>
              </a:cxn>
              <a:cxn ang="0">
                <a:pos x="94" y="12"/>
              </a:cxn>
              <a:cxn ang="0">
                <a:pos x="89" y="11"/>
              </a:cxn>
              <a:cxn ang="0">
                <a:pos x="97" y="9"/>
              </a:cxn>
              <a:cxn ang="0">
                <a:pos x="82" y="8"/>
              </a:cxn>
              <a:cxn ang="0">
                <a:pos x="68" y="9"/>
              </a:cxn>
              <a:cxn ang="0">
                <a:pos x="49" y="12"/>
              </a:cxn>
              <a:cxn ang="0">
                <a:pos x="53" y="6"/>
              </a:cxn>
              <a:cxn ang="0">
                <a:pos x="44" y="1"/>
              </a:cxn>
            </a:cxnLst>
            <a:rect l="0" t="0" r="r" b="b"/>
            <a:pathLst>
              <a:path w="261" h="47">
                <a:moveTo>
                  <a:pt x="31" y="1"/>
                </a:moveTo>
                <a:lnTo>
                  <a:pt x="28" y="1"/>
                </a:lnTo>
                <a:lnTo>
                  <a:pt x="21" y="0"/>
                </a:lnTo>
                <a:lnTo>
                  <a:pt x="17" y="0"/>
                </a:lnTo>
                <a:lnTo>
                  <a:pt x="8" y="0"/>
                </a:lnTo>
                <a:lnTo>
                  <a:pt x="8" y="1"/>
                </a:lnTo>
                <a:lnTo>
                  <a:pt x="5" y="1"/>
                </a:lnTo>
                <a:lnTo>
                  <a:pt x="1" y="1"/>
                </a:lnTo>
                <a:lnTo>
                  <a:pt x="3" y="1"/>
                </a:lnTo>
                <a:lnTo>
                  <a:pt x="1" y="3"/>
                </a:lnTo>
                <a:lnTo>
                  <a:pt x="3" y="3"/>
                </a:lnTo>
                <a:lnTo>
                  <a:pt x="5" y="3"/>
                </a:lnTo>
                <a:lnTo>
                  <a:pt x="8" y="4"/>
                </a:lnTo>
                <a:lnTo>
                  <a:pt x="11" y="4"/>
                </a:lnTo>
                <a:lnTo>
                  <a:pt x="11" y="6"/>
                </a:lnTo>
                <a:lnTo>
                  <a:pt x="7" y="6"/>
                </a:lnTo>
                <a:lnTo>
                  <a:pt x="1" y="4"/>
                </a:lnTo>
                <a:lnTo>
                  <a:pt x="0" y="6"/>
                </a:lnTo>
                <a:lnTo>
                  <a:pt x="1" y="6"/>
                </a:lnTo>
                <a:lnTo>
                  <a:pt x="7" y="6"/>
                </a:lnTo>
                <a:lnTo>
                  <a:pt x="7" y="8"/>
                </a:lnTo>
                <a:lnTo>
                  <a:pt x="9" y="8"/>
                </a:lnTo>
                <a:lnTo>
                  <a:pt x="11" y="8"/>
                </a:lnTo>
                <a:lnTo>
                  <a:pt x="12" y="9"/>
                </a:lnTo>
                <a:lnTo>
                  <a:pt x="15" y="9"/>
                </a:lnTo>
                <a:lnTo>
                  <a:pt x="20" y="12"/>
                </a:lnTo>
                <a:lnTo>
                  <a:pt x="25" y="12"/>
                </a:lnTo>
                <a:lnTo>
                  <a:pt x="28" y="12"/>
                </a:lnTo>
                <a:lnTo>
                  <a:pt x="31" y="15"/>
                </a:lnTo>
                <a:lnTo>
                  <a:pt x="31" y="14"/>
                </a:lnTo>
                <a:lnTo>
                  <a:pt x="33" y="15"/>
                </a:lnTo>
                <a:lnTo>
                  <a:pt x="46" y="15"/>
                </a:lnTo>
                <a:lnTo>
                  <a:pt x="48" y="15"/>
                </a:lnTo>
                <a:lnTo>
                  <a:pt x="46" y="15"/>
                </a:lnTo>
                <a:lnTo>
                  <a:pt x="46" y="14"/>
                </a:lnTo>
                <a:lnTo>
                  <a:pt x="48" y="14"/>
                </a:lnTo>
                <a:lnTo>
                  <a:pt x="49" y="14"/>
                </a:lnTo>
                <a:lnTo>
                  <a:pt x="50" y="14"/>
                </a:lnTo>
                <a:lnTo>
                  <a:pt x="53" y="14"/>
                </a:lnTo>
                <a:lnTo>
                  <a:pt x="54" y="12"/>
                </a:lnTo>
                <a:lnTo>
                  <a:pt x="57" y="14"/>
                </a:lnTo>
                <a:lnTo>
                  <a:pt x="58" y="15"/>
                </a:lnTo>
                <a:lnTo>
                  <a:pt x="60" y="15"/>
                </a:lnTo>
                <a:lnTo>
                  <a:pt x="62" y="17"/>
                </a:lnTo>
                <a:lnTo>
                  <a:pt x="64" y="19"/>
                </a:lnTo>
                <a:lnTo>
                  <a:pt x="62" y="20"/>
                </a:lnTo>
                <a:lnTo>
                  <a:pt x="65" y="20"/>
                </a:lnTo>
                <a:lnTo>
                  <a:pt x="68" y="22"/>
                </a:lnTo>
                <a:lnTo>
                  <a:pt x="70" y="23"/>
                </a:lnTo>
                <a:lnTo>
                  <a:pt x="70" y="25"/>
                </a:lnTo>
                <a:lnTo>
                  <a:pt x="72" y="26"/>
                </a:lnTo>
                <a:lnTo>
                  <a:pt x="73" y="26"/>
                </a:lnTo>
                <a:lnTo>
                  <a:pt x="70" y="28"/>
                </a:lnTo>
                <a:lnTo>
                  <a:pt x="66" y="30"/>
                </a:lnTo>
                <a:lnTo>
                  <a:pt x="68" y="31"/>
                </a:lnTo>
                <a:lnTo>
                  <a:pt x="66" y="33"/>
                </a:lnTo>
                <a:lnTo>
                  <a:pt x="65" y="34"/>
                </a:lnTo>
                <a:lnTo>
                  <a:pt x="68" y="34"/>
                </a:lnTo>
                <a:lnTo>
                  <a:pt x="73" y="34"/>
                </a:lnTo>
                <a:lnTo>
                  <a:pt x="72" y="36"/>
                </a:lnTo>
                <a:lnTo>
                  <a:pt x="70" y="37"/>
                </a:lnTo>
                <a:lnTo>
                  <a:pt x="72" y="39"/>
                </a:lnTo>
                <a:lnTo>
                  <a:pt x="70" y="41"/>
                </a:lnTo>
                <a:lnTo>
                  <a:pt x="74" y="42"/>
                </a:lnTo>
                <a:lnTo>
                  <a:pt x="80" y="42"/>
                </a:lnTo>
                <a:lnTo>
                  <a:pt x="77" y="42"/>
                </a:lnTo>
                <a:lnTo>
                  <a:pt x="78" y="44"/>
                </a:lnTo>
                <a:lnTo>
                  <a:pt x="80" y="44"/>
                </a:lnTo>
                <a:lnTo>
                  <a:pt x="85" y="44"/>
                </a:lnTo>
                <a:lnTo>
                  <a:pt x="85" y="42"/>
                </a:lnTo>
                <a:lnTo>
                  <a:pt x="86" y="42"/>
                </a:lnTo>
                <a:lnTo>
                  <a:pt x="90" y="41"/>
                </a:lnTo>
                <a:lnTo>
                  <a:pt x="88" y="42"/>
                </a:lnTo>
                <a:lnTo>
                  <a:pt x="92" y="44"/>
                </a:lnTo>
                <a:lnTo>
                  <a:pt x="92" y="42"/>
                </a:lnTo>
                <a:lnTo>
                  <a:pt x="94" y="44"/>
                </a:lnTo>
                <a:lnTo>
                  <a:pt x="98" y="44"/>
                </a:lnTo>
                <a:lnTo>
                  <a:pt x="97" y="45"/>
                </a:lnTo>
                <a:lnTo>
                  <a:pt x="100" y="45"/>
                </a:lnTo>
                <a:lnTo>
                  <a:pt x="101" y="44"/>
                </a:lnTo>
                <a:lnTo>
                  <a:pt x="101" y="45"/>
                </a:lnTo>
                <a:lnTo>
                  <a:pt x="109" y="45"/>
                </a:lnTo>
                <a:lnTo>
                  <a:pt x="114" y="44"/>
                </a:lnTo>
                <a:lnTo>
                  <a:pt x="112" y="42"/>
                </a:lnTo>
                <a:lnTo>
                  <a:pt x="113" y="41"/>
                </a:lnTo>
                <a:lnTo>
                  <a:pt x="116" y="42"/>
                </a:lnTo>
                <a:lnTo>
                  <a:pt x="116" y="41"/>
                </a:lnTo>
                <a:lnTo>
                  <a:pt x="117" y="42"/>
                </a:lnTo>
                <a:lnTo>
                  <a:pt x="118" y="44"/>
                </a:lnTo>
                <a:lnTo>
                  <a:pt x="121" y="42"/>
                </a:lnTo>
                <a:lnTo>
                  <a:pt x="122" y="41"/>
                </a:lnTo>
                <a:lnTo>
                  <a:pt x="125" y="41"/>
                </a:lnTo>
                <a:lnTo>
                  <a:pt x="125" y="42"/>
                </a:lnTo>
                <a:lnTo>
                  <a:pt x="125" y="44"/>
                </a:lnTo>
                <a:lnTo>
                  <a:pt x="124" y="47"/>
                </a:lnTo>
                <a:lnTo>
                  <a:pt x="129" y="47"/>
                </a:lnTo>
                <a:lnTo>
                  <a:pt x="130" y="47"/>
                </a:lnTo>
                <a:lnTo>
                  <a:pt x="133" y="47"/>
                </a:lnTo>
                <a:lnTo>
                  <a:pt x="136" y="45"/>
                </a:lnTo>
                <a:lnTo>
                  <a:pt x="137" y="47"/>
                </a:lnTo>
                <a:lnTo>
                  <a:pt x="142" y="47"/>
                </a:lnTo>
                <a:lnTo>
                  <a:pt x="142" y="45"/>
                </a:lnTo>
                <a:lnTo>
                  <a:pt x="144" y="45"/>
                </a:lnTo>
                <a:lnTo>
                  <a:pt x="144" y="47"/>
                </a:lnTo>
                <a:lnTo>
                  <a:pt x="146" y="47"/>
                </a:lnTo>
                <a:lnTo>
                  <a:pt x="153" y="47"/>
                </a:lnTo>
                <a:lnTo>
                  <a:pt x="154" y="47"/>
                </a:lnTo>
                <a:lnTo>
                  <a:pt x="154" y="45"/>
                </a:lnTo>
                <a:lnTo>
                  <a:pt x="152" y="45"/>
                </a:lnTo>
                <a:lnTo>
                  <a:pt x="153" y="45"/>
                </a:lnTo>
                <a:lnTo>
                  <a:pt x="157" y="47"/>
                </a:lnTo>
                <a:lnTo>
                  <a:pt x="159" y="45"/>
                </a:lnTo>
                <a:lnTo>
                  <a:pt x="162" y="45"/>
                </a:lnTo>
                <a:lnTo>
                  <a:pt x="163" y="47"/>
                </a:lnTo>
                <a:lnTo>
                  <a:pt x="169" y="47"/>
                </a:lnTo>
                <a:lnTo>
                  <a:pt x="170" y="45"/>
                </a:lnTo>
                <a:lnTo>
                  <a:pt x="170" y="44"/>
                </a:lnTo>
                <a:lnTo>
                  <a:pt x="174" y="45"/>
                </a:lnTo>
                <a:lnTo>
                  <a:pt x="175" y="47"/>
                </a:lnTo>
                <a:lnTo>
                  <a:pt x="177" y="45"/>
                </a:lnTo>
                <a:lnTo>
                  <a:pt x="179" y="45"/>
                </a:lnTo>
                <a:lnTo>
                  <a:pt x="178" y="44"/>
                </a:lnTo>
                <a:lnTo>
                  <a:pt x="178" y="42"/>
                </a:lnTo>
                <a:lnTo>
                  <a:pt x="179" y="44"/>
                </a:lnTo>
                <a:lnTo>
                  <a:pt x="181" y="45"/>
                </a:lnTo>
                <a:lnTo>
                  <a:pt x="187" y="45"/>
                </a:lnTo>
                <a:lnTo>
                  <a:pt x="201" y="45"/>
                </a:lnTo>
                <a:lnTo>
                  <a:pt x="206" y="42"/>
                </a:lnTo>
                <a:lnTo>
                  <a:pt x="202" y="41"/>
                </a:lnTo>
                <a:lnTo>
                  <a:pt x="201" y="39"/>
                </a:lnTo>
                <a:lnTo>
                  <a:pt x="199" y="39"/>
                </a:lnTo>
                <a:lnTo>
                  <a:pt x="203" y="39"/>
                </a:lnTo>
                <a:lnTo>
                  <a:pt x="205" y="41"/>
                </a:lnTo>
                <a:lnTo>
                  <a:pt x="207" y="41"/>
                </a:lnTo>
                <a:lnTo>
                  <a:pt x="209" y="42"/>
                </a:lnTo>
                <a:lnTo>
                  <a:pt x="209" y="44"/>
                </a:lnTo>
                <a:lnTo>
                  <a:pt x="213" y="45"/>
                </a:lnTo>
                <a:lnTo>
                  <a:pt x="217" y="45"/>
                </a:lnTo>
                <a:lnTo>
                  <a:pt x="219" y="45"/>
                </a:lnTo>
                <a:lnTo>
                  <a:pt x="223" y="47"/>
                </a:lnTo>
                <a:lnTo>
                  <a:pt x="227" y="47"/>
                </a:lnTo>
                <a:lnTo>
                  <a:pt x="230" y="45"/>
                </a:lnTo>
                <a:lnTo>
                  <a:pt x="237" y="45"/>
                </a:lnTo>
                <a:lnTo>
                  <a:pt x="246" y="45"/>
                </a:lnTo>
                <a:lnTo>
                  <a:pt x="249" y="44"/>
                </a:lnTo>
                <a:lnTo>
                  <a:pt x="253" y="44"/>
                </a:lnTo>
                <a:lnTo>
                  <a:pt x="253" y="42"/>
                </a:lnTo>
                <a:lnTo>
                  <a:pt x="251" y="41"/>
                </a:lnTo>
                <a:lnTo>
                  <a:pt x="250" y="39"/>
                </a:lnTo>
                <a:lnTo>
                  <a:pt x="246" y="39"/>
                </a:lnTo>
                <a:lnTo>
                  <a:pt x="246" y="36"/>
                </a:lnTo>
                <a:lnTo>
                  <a:pt x="249" y="36"/>
                </a:lnTo>
                <a:lnTo>
                  <a:pt x="253" y="34"/>
                </a:lnTo>
                <a:lnTo>
                  <a:pt x="254" y="34"/>
                </a:lnTo>
                <a:lnTo>
                  <a:pt x="257" y="33"/>
                </a:lnTo>
                <a:lnTo>
                  <a:pt x="261" y="31"/>
                </a:lnTo>
                <a:lnTo>
                  <a:pt x="259" y="28"/>
                </a:lnTo>
                <a:lnTo>
                  <a:pt x="258" y="28"/>
                </a:lnTo>
                <a:lnTo>
                  <a:pt x="257" y="28"/>
                </a:lnTo>
                <a:lnTo>
                  <a:pt x="250" y="28"/>
                </a:lnTo>
                <a:lnTo>
                  <a:pt x="247" y="28"/>
                </a:lnTo>
                <a:lnTo>
                  <a:pt x="251" y="26"/>
                </a:lnTo>
                <a:lnTo>
                  <a:pt x="250" y="26"/>
                </a:lnTo>
                <a:lnTo>
                  <a:pt x="246" y="25"/>
                </a:lnTo>
                <a:lnTo>
                  <a:pt x="242" y="25"/>
                </a:lnTo>
                <a:lnTo>
                  <a:pt x="237" y="25"/>
                </a:lnTo>
                <a:lnTo>
                  <a:pt x="237" y="23"/>
                </a:lnTo>
                <a:lnTo>
                  <a:pt x="234" y="23"/>
                </a:lnTo>
                <a:lnTo>
                  <a:pt x="219" y="22"/>
                </a:lnTo>
                <a:lnTo>
                  <a:pt x="214" y="22"/>
                </a:lnTo>
                <a:lnTo>
                  <a:pt x="207" y="23"/>
                </a:lnTo>
                <a:lnTo>
                  <a:pt x="203" y="23"/>
                </a:lnTo>
                <a:lnTo>
                  <a:pt x="202" y="23"/>
                </a:lnTo>
                <a:lnTo>
                  <a:pt x="201" y="23"/>
                </a:lnTo>
                <a:lnTo>
                  <a:pt x="198" y="22"/>
                </a:lnTo>
                <a:lnTo>
                  <a:pt x="195" y="22"/>
                </a:lnTo>
                <a:lnTo>
                  <a:pt x="194" y="23"/>
                </a:lnTo>
                <a:lnTo>
                  <a:pt x="186" y="25"/>
                </a:lnTo>
                <a:lnTo>
                  <a:pt x="185" y="25"/>
                </a:lnTo>
                <a:lnTo>
                  <a:pt x="185" y="26"/>
                </a:lnTo>
                <a:lnTo>
                  <a:pt x="179" y="25"/>
                </a:lnTo>
                <a:lnTo>
                  <a:pt x="177" y="25"/>
                </a:lnTo>
                <a:lnTo>
                  <a:pt x="175" y="26"/>
                </a:lnTo>
                <a:lnTo>
                  <a:pt x="174" y="26"/>
                </a:lnTo>
                <a:lnTo>
                  <a:pt x="175" y="28"/>
                </a:lnTo>
                <a:lnTo>
                  <a:pt x="174" y="28"/>
                </a:lnTo>
                <a:lnTo>
                  <a:pt x="171" y="26"/>
                </a:lnTo>
                <a:lnTo>
                  <a:pt x="170" y="26"/>
                </a:lnTo>
                <a:lnTo>
                  <a:pt x="167" y="28"/>
                </a:lnTo>
                <a:lnTo>
                  <a:pt x="165" y="28"/>
                </a:lnTo>
                <a:lnTo>
                  <a:pt x="161" y="28"/>
                </a:lnTo>
                <a:lnTo>
                  <a:pt x="163" y="30"/>
                </a:lnTo>
                <a:lnTo>
                  <a:pt x="169" y="30"/>
                </a:lnTo>
                <a:lnTo>
                  <a:pt x="170" y="31"/>
                </a:lnTo>
                <a:lnTo>
                  <a:pt x="166" y="30"/>
                </a:lnTo>
                <a:lnTo>
                  <a:pt x="161" y="30"/>
                </a:lnTo>
                <a:lnTo>
                  <a:pt x="153" y="31"/>
                </a:lnTo>
                <a:lnTo>
                  <a:pt x="152" y="31"/>
                </a:lnTo>
                <a:lnTo>
                  <a:pt x="156" y="30"/>
                </a:lnTo>
                <a:lnTo>
                  <a:pt x="154" y="30"/>
                </a:lnTo>
                <a:lnTo>
                  <a:pt x="148" y="28"/>
                </a:lnTo>
                <a:lnTo>
                  <a:pt x="145" y="28"/>
                </a:lnTo>
                <a:lnTo>
                  <a:pt x="141" y="26"/>
                </a:lnTo>
                <a:lnTo>
                  <a:pt x="138" y="28"/>
                </a:lnTo>
                <a:lnTo>
                  <a:pt x="138" y="30"/>
                </a:lnTo>
                <a:lnTo>
                  <a:pt x="137" y="28"/>
                </a:lnTo>
                <a:lnTo>
                  <a:pt x="136" y="26"/>
                </a:lnTo>
                <a:lnTo>
                  <a:pt x="133" y="28"/>
                </a:lnTo>
                <a:lnTo>
                  <a:pt x="132" y="28"/>
                </a:lnTo>
                <a:lnTo>
                  <a:pt x="130" y="30"/>
                </a:lnTo>
                <a:lnTo>
                  <a:pt x="128" y="30"/>
                </a:lnTo>
                <a:lnTo>
                  <a:pt x="129" y="28"/>
                </a:lnTo>
                <a:lnTo>
                  <a:pt x="126" y="26"/>
                </a:lnTo>
                <a:lnTo>
                  <a:pt x="125" y="26"/>
                </a:lnTo>
                <a:lnTo>
                  <a:pt x="122" y="26"/>
                </a:lnTo>
                <a:lnTo>
                  <a:pt x="120" y="26"/>
                </a:lnTo>
                <a:lnTo>
                  <a:pt x="121" y="30"/>
                </a:lnTo>
                <a:lnTo>
                  <a:pt x="118" y="30"/>
                </a:lnTo>
                <a:lnTo>
                  <a:pt x="117" y="30"/>
                </a:lnTo>
                <a:lnTo>
                  <a:pt x="116" y="28"/>
                </a:lnTo>
                <a:lnTo>
                  <a:pt x="112" y="26"/>
                </a:lnTo>
                <a:lnTo>
                  <a:pt x="110" y="28"/>
                </a:lnTo>
                <a:lnTo>
                  <a:pt x="109" y="28"/>
                </a:lnTo>
                <a:lnTo>
                  <a:pt x="109" y="26"/>
                </a:lnTo>
                <a:lnTo>
                  <a:pt x="106" y="28"/>
                </a:lnTo>
                <a:lnTo>
                  <a:pt x="108" y="26"/>
                </a:lnTo>
                <a:lnTo>
                  <a:pt x="113" y="26"/>
                </a:lnTo>
                <a:lnTo>
                  <a:pt x="114" y="23"/>
                </a:lnTo>
                <a:lnTo>
                  <a:pt x="113" y="23"/>
                </a:lnTo>
                <a:lnTo>
                  <a:pt x="112" y="23"/>
                </a:lnTo>
                <a:lnTo>
                  <a:pt x="108" y="23"/>
                </a:lnTo>
                <a:lnTo>
                  <a:pt x="105" y="23"/>
                </a:lnTo>
                <a:lnTo>
                  <a:pt x="106" y="22"/>
                </a:lnTo>
                <a:lnTo>
                  <a:pt x="105" y="20"/>
                </a:lnTo>
                <a:lnTo>
                  <a:pt x="102" y="20"/>
                </a:lnTo>
                <a:lnTo>
                  <a:pt x="101" y="22"/>
                </a:lnTo>
                <a:lnTo>
                  <a:pt x="98" y="20"/>
                </a:lnTo>
                <a:lnTo>
                  <a:pt x="96" y="22"/>
                </a:lnTo>
                <a:lnTo>
                  <a:pt x="96" y="20"/>
                </a:lnTo>
                <a:lnTo>
                  <a:pt x="93" y="20"/>
                </a:lnTo>
                <a:lnTo>
                  <a:pt x="92" y="20"/>
                </a:lnTo>
                <a:lnTo>
                  <a:pt x="90" y="22"/>
                </a:lnTo>
                <a:lnTo>
                  <a:pt x="85" y="23"/>
                </a:lnTo>
                <a:lnTo>
                  <a:pt x="85" y="22"/>
                </a:lnTo>
                <a:lnTo>
                  <a:pt x="88" y="22"/>
                </a:lnTo>
                <a:lnTo>
                  <a:pt x="86" y="20"/>
                </a:lnTo>
                <a:lnTo>
                  <a:pt x="97" y="20"/>
                </a:lnTo>
                <a:lnTo>
                  <a:pt x="94" y="19"/>
                </a:lnTo>
                <a:lnTo>
                  <a:pt x="92" y="19"/>
                </a:lnTo>
                <a:lnTo>
                  <a:pt x="89" y="19"/>
                </a:lnTo>
                <a:lnTo>
                  <a:pt x="90" y="19"/>
                </a:lnTo>
                <a:lnTo>
                  <a:pt x="89" y="19"/>
                </a:lnTo>
                <a:lnTo>
                  <a:pt x="88" y="17"/>
                </a:lnTo>
                <a:lnTo>
                  <a:pt x="85" y="17"/>
                </a:lnTo>
                <a:lnTo>
                  <a:pt x="80" y="17"/>
                </a:lnTo>
                <a:lnTo>
                  <a:pt x="84" y="15"/>
                </a:lnTo>
                <a:lnTo>
                  <a:pt x="81" y="15"/>
                </a:lnTo>
                <a:lnTo>
                  <a:pt x="86" y="17"/>
                </a:lnTo>
                <a:lnTo>
                  <a:pt x="90" y="17"/>
                </a:lnTo>
                <a:lnTo>
                  <a:pt x="93" y="17"/>
                </a:lnTo>
                <a:lnTo>
                  <a:pt x="96" y="19"/>
                </a:lnTo>
                <a:lnTo>
                  <a:pt x="98" y="19"/>
                </a:lnTo>
                <a:lnTo>
                  <a:pt x="96" y="17"/>
                </a:lnTo>
                <a:lnTo>
                  <a:pt x="98" y="17"/>
                </a:lnTo>
                <a:lnTo>
                  <a:pt x="106" y="17"/>
                </a:lnTo>
                <a:lnTo>
                  <a:pt x="110" y="17"/>
                </a:lnTo>
                <a:lnTo>
                  <a:pt x="114" y="17"/>
                </a:lnTo>
                <a:lnTo>
                  <a:pt x="116" y="15"/>
                </a:lnTo>
                <a:lnTo>
                  <a:pt x="116" y="14"/>
                </a:lnTo>
                <a:lnTo>
                  <a:pt x="110" y="14"/>
                </a:lnTo>
                <a:lnTo>
                  <a:pt x="106" y="14"/>
                </a:lnTo>
                <a:lnTo>
                  <a:pt x="98" y="12"/>
                </a:lnTo>
                <a:lnTo>
                  <a:pt x="97" y="12"/>
                </a:lnTo>
                <a:lnTo>
                  <a:pt x="96" y="12"/>
                </a:lnTo>
                <a:lnTo>
                  <a:pt x="94" y="12"/>
                </a:lnTo>
                <a:lnTo>
                  <a:pt x="89" y="12"/>
                </a:lnTo>
                <a:lnTo>
                  <a:pt x="82" y="11"/>
                </a:lnTo>
                <a:lnTo>
                  <a:pt x="81" y="11"/>
                </a:lnTo>
                <a:lnTo>
                  <a:pt x="88" y="11"/>
                </a:lnTo>
                <a:lnTo>
                  <a:pt x="89" y="11"/>
                </a:lnTo>
                <a:lnTo>
                  <a:pt x="90" y="11"/>
                </a:lnTo>
                <a:lnTo>
                  <a:pt x="93" y="11"/>
                </a:lnTo>
                <a:lnTo>
                  <a:pt x="96" y="12"/>
                </a:lnTo>
                <a:lnTo>
                  <a:pt x="97" y="11"/>
                </a:lnTo>
                <a:lnTo>
                  <a:pt x="97" y="9"/>
                </a:lnTo>
                <a:lnTo>
                  <a:pt x="96" y="9"/>
                </a:lnTo>
                <a:lnTo>
                  <a:pt x="88" y="8"/>
                </a:lnTo>
                <a:lnTo>
                  <a:pt x="85" y="8"/>
                </a:lnTo>
                <a:lnTo>
                  <a:pt x="84" y="8"/>
                </a:lnTo>
                <a:lnTo>
                  <a:pt x="82" y="8"/>
                </a:lnTo>
                <a:lnTo>
                  <a:pt x="81" y="6"/>
                </a:lnTo>
                <a:lnTo>
                  <a:pt x="80" y="8"/>
                </a:lnTo>
                <a:lnTo>
                  <a:pt x="74" y="8"/>
                </a:lnTo>
                <a:lnTo>
                  <a:pt x="72" y="9"/>
                </a:lnTo>
                <a:lnTo>
                  <a:pt x="68" y="9"/>
                </a:lnTo>
                <a:lnTo>
                  <a:pt x="66" y="8"/>
                </a:lnTo>
                <a:lnTo>
                  <a:pt x="64" y="9"/>
                </a:lnTo>
                <a:lnTo>
                  <a:pt x="58" y="9"/>
                </a:lnTo>
                <a:lnTo>
                  <a:pt x="53" y="11"/>
                </a:lnTo>
                <a:lnTo>
                  <a:pt x="49" y="12"/>
                </a:lnTo>
                <a:lnTo>
                  <a:pt x="50" y="11"/>
                </a:lnTo>
                <a:lnTo>
                  <a:pt x="53" y="9"/>
                </a:lnTo>
                <a:lnTo>
                  <a:pt x="53" y="8"/>
                </a:lnTo>
                <a:lnTo>
                  <a:pt x="54" y="6"/>
                </a:lnTo>
                <a:lnTo>
                  <a:pt x="53" y="6"/>
                </a:lnTo>
                <a:lnTo>
                  <a:pt x="53" y="4"/>
                </a:lnTo>
                <a:lnTo>
                  <a:pt x="52" y="4"/>
                </a:lnTo>
                <a:lnTo>
                  <a:pt x="48" y="3"/>
                </a:lnTo>
                <a:lnTo>
                  <a:pt x="46" y="3"/>
                </a:lnTo>
                <a:lnTo>
                  <a:pt x="44" y="1"/>
                </a:lnTo>
                <a:lnTo>
                  <a:pt x="44" y="3"/>
                </a:lnTo>
                <a:lnTo>
                  <a:pt x="40" y="3"/>
                </a:lnTo>
                <a:lnTo>
                  <a:pt x="37" y="3"/>
                </a:lnTo>
                <a:lnTo>
                  <a:pt x="31" y="1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02" name="Freeform 702"/>
          <p:cNvSpPr>
            <a:spLocks/>
          </p:cNvSpPr>
          <p:nvPr/>
        </p:nvSpPr>
        <p:spPr bwMode="auto">
          <a:xfrm>
            <a:off x="2883723" y="1625390"/>
            <a:ext cx="498896" cy="94494"/>
          </a:xfrm>
          <a:custGeom>
            <a:avLst/>
            <a:gdLst/>
            <a:ahLst/>
            <a:cxnLst>
              <a:cxn ang="0">
                <a:pos x="17" y="0"/>
              </a:cxn>
              <a:cxn ang="0">
                <a:pos x="1" y="1"/>
              </a:cxn>
              <a:cxn ang="0">
                <a:pos x="5" y="3"/>
              </a:cxn>
              <a:cxn ang="0">
                <a:pos x="7" y="6"/>
              </a:cxn>
              <a:cxn ang="0">
                <a:pos x="7" y="6"/>
              </a:cxn>
              <a:cxn ang="0">
                <a:pos x="12" y="9"/>
              </a:cxn>
              <a:cxn ang="0">
                <a:pos x="28" y="12"/>
              </a:cxn>
              <a:cxn ang="0">
                <a:pos x="46" y="15"/>
              </a:cxn>
              <a:cxn ang="0">
                <a:pos x="48" y="14"/>
              </a:cxn>
              <a:cxn ang="0">
                <a:pos x="54" y="12"/>
              </a:cxn>
              <a:cxn ang="0">
                <a:pos x="62" y="17"/>
              </a:cxn>
              <a:cxn ang="0">
                <a:pos x="68" y="22"/>
              </a:cxn>
              <a:cxn ang="0">
                <a:pos x="73" y="26"/>
              </a:cxn>
              <a:cxn ang="0">
                <a:pos x="66" y="33"/>
              </a:cxn>
              <a:cxn ang="0">
                <a:pos x="72" y="36"/>
              </a:cxn>
              <a:cxn ang="0">
                <a:pos x="74" y="42"/>
              </a:cxn>
              <a:cxn ang="0">
                <a:pos x="80" y="44"/>
              </a:cxn>
              <a:cxn ang="0">
                <a:pos x="90" y="41"/>
              </a:cxn>
              <a:cxn ang="0">
                <a:pos x="94" y="44"/>
              </a:cxn>
              <a:cxn ang="0">
                <a:pos x="101" y="44"/>
              </a:cxn>
              <a:cxn ang="0">
                <a:pos x="112" y="42"/>
              </a:cxn>
              <a:cxn ang="0">
                <a:pos x="117" y="42"/>
              </a:cxn>
              <a:cxn ang="0">
                <a:pos x="125" y="41"/>
              </a:cxn>
              <a:cxn ang="0">
                <a:pos x="129" y="47"/>
              </a:cxn>
              <a:cxn ang="0">
                <a:pos x="137" y="47"/>
              </a:cxn>
              <a:cxn ang="0">
                <a:pos x="144" y="47"/>
              </a:cxn>
              <a:cxn ang="0">
                <a:pos x="154" y="45"/>
              </a:cxn>
              <a:cxn ang="0">
                <a:pos x="159" y="45"/>
              </a:cxn>
              <a:cxn ang="0">
                <a:pos x="170" y="45"/>
              </a:cxn>
              <a:cxn ang="0">
                <a:pos x="177" y="45"/>
              </a:cxn>
              <a:cxn ang="0">
                <a:pos x="179" y="44"/>
              </a:cxn>
              <a:cxn ang="0">
                <a:pos x="206" y="42"/>
              </a:cxn>
              <a:cxn ang="0">
                <a:pos x="203" y="39"/>
              </a:cxn>
              <a:cxn ang="0">
                <a:pos x="209" y="44"/>
              </a:cxn>
              <a:cxn ang="0">
                <a:pos x="223" y="47"/>
              </a:cxn>
              <a:cxn ang="0">
                <a:pos x="246" y="45"/>
              </a:cxn>
              <a:cxn ang="0">
                <a:pos x="251" y="41"/>
              </a:cxn>
              <a:cxn ang="0">
                <a:pos x="249" y="36"/>
              </a:cxn>
              <a:cxn ang="0">
                <a:pos x="261" y="31"/>
              </a:cxn>
              <a:cxn ang="0">
                <a:pos x="250" y="28"/>
              </a:cxn>
              <a:cxn ang="0">
                <a:pos x="246" y="25"/>
              </a:cxn>
              <a:cxn ang="0">
                <a:pos x="234" y="23"/>
              </a:cxn>
              <a:cxn ang="0">
                <a:pos x="203" y="23"/>
              </a:cxn>
              <a:cxn ang="0">
                <a:pos x="195" y="22"/>
              </a:cxn>
              <a:cxn ang="0">
                <a:pos x="185" y="26"/>
              </a:cxn>
              <a:cxn ang="0">
                <a:pos x="174" y="26"/>
              </a:cxn>
              <a:cxn ang="0">
                <a:pos x="170" y="26"/>
              </a:cxn>
              <a:cxn ang="0">
                <a:pos x="163" y="30"/>
              </a:cxn>
              <a:cxn ang="0">
                <a:pos x="161" y="30"/>
              </a:cxn>
            </a:cxnLst>
            <a:rect l="0" t="0" r="r" b="b"/>
            <a:pathLst>
              <a:path w="261" h="47">
                <a:moveTo>
                  <a:pt x="31" y="1"/>
                </a:moveTo>
                <a:lnTo>
                  <a:pt x="28" y="1"/>
                </a:lnTo>
                <a:lnTo>
                  <a:pt x="21" y="0"/>
                </a:lnTo>
                <a:lnTo>
                  <a:pt x="17" y="0"/>
                </a:lnTo>
                <a:lnTo>
                  <a:pt x="8" y="0"/>
                </a:lnTo>
                <a:lnTo>
                  <a:pt x="8" y="1"/>
                </a:lnTo>
                <a:lnTo>
                  <a:pt x="5" y="1"/>
                </a:lnTo>
                <a:lnTo>
                  <a:pt x="1" y="1"/>
                </a:lnTo>
                <a:lnTo>
                  <a:pt x="3" y="1"/>
                </a:lnTo>
                <a:lnTo>
                  <a:pt x="1" y="3"/>
                </a:lnTo>
                <a:lnTo>
                  <a:pt x="3" y="3"/>
                </a:lnTo>
                <a:lnTo>
                  <a:pt x="5" y="3"/>
                </a:lnTo>
                <a:lnTo>
                  <a:pt x="8" y="4"/>
                </a:lnTo>
                <a:lnTo>
                  <a:pt x="11" y="4"/>
                </a:lnTo>
                <a:lnTo>
                  <a:pt x="11" y="6"/>
                </a:lnTo>
                <a:lnTo>
                  <a:pt x="7" y="6"/>
                </a:lnTo>
                <a:lnTo>
                  <a:pt x="1" y="4"/>
                </a:lnTo>
                <a:lnTo>
                  <a:pt x="0" y="6"/>
                </a:lnTo>
                <a:lnTo>
                  <a:pt x="1" y="6"/>
                </a:lnTo>
                <a:lnTo>
                  <a:pt x="7" y="6"/>
                </a:lnTo>
                <a:lnTo>
                  <a:pt x="7" y="8"/>
                </a:lnTo>
                <a:lnTo>
                  <a:pt x="9" y="8"/>
                </a:lnTo>
                <a:lnTo>
                  <a:pt x="11" y="8"/>
                </a:lnTo>
                <a:lnTo>
                  <a:pt x="12" y="9"/>
                </a:lnTo>
                <a:lnTo>
                  <a:pt x="15" y="9"/>
                </a:lnTo>
                <a:lnTo>
                  <a:pt x="20" y="12"/>
                </a:lnTo>
                <a:lnTo>
                  <a:pt x="25" y="12"/>
                </a:lnTo>
                <a:lnTo>
                  <a:pt x="28" y="12"/>
                </a:lnTo>
                <a:lnTo>
                  <a:pt x="31" y="15"/>
                </a:lnTo>
                <a:lnTo>
                  <a:pt x="31" y="14"/>
                </a:lnTo>
                <a:lnTo>
                  <a:pt x="33" y="15"/>
                </a:lnTo>
                <a:lnTo>
                  <a:pt x="46" y="15"/>
                </a:lnTo>
                <a:lnTo>
                  <a:pt x="48" y="15"/>
                </a:lnTo>
                <a:lnTo>
                  <a:pt x="46" y="15"/>
                </a:lnTo>
                <a:lnTo>
                  <a:pt x="46" y="14"/>
                </a:lnTo>
                <a:lnTo>
                  <a:pt x="48" y="14"/>
                </a:lnTo>
                <a:lnTo>
                  <a:pt x="49" y="14"/>
                </a:lnTo>
                <a:lnTo>
                  <a:pt x="50" y="14"/>
                </a:lnTo>
                <a:lnTo>
                  <a:pt x="53" y="14"/>
                </a:lnTo>
                <a:lnTo>
                  <a:pt x="54" y="12"/>
                </a:lnTo>
                <a:lnTo>
                  <a:pt x="57" y="14"/>
                </a:lnTo>
                <a:lnTo>
                  <a:pt x="58" y="15"/>
                </a:lnTo>
                <a:lnTo>
                  <a:pt x="60" y="15"/>
                </a:lnTo>
                <a:lnTo>
                  <a:pt x="62" y="17"/>
                </a:lnTo>
                <a:lnTo>
                  <a:pt x="64" y="19"/>
                </a:lnTo>
                <a:lnTo>
                  <a:pt x="62" y="20"/>
                </a:lnTo>
                <a:lnTo>
                  <a:pt x="65" y="20"/>
                </a:lnTo>
                <a:lnTo>
                  <a:pt x="68" y="22"/>
                </a:lnTo>
                <a:lnTo>
                  <a:pt x="70" y="23"/>
                </a:lnTo>
                <a:lnTo>
                  <a:pt x="70" y="25"/>
                </a:lnTo>
                <a:lnTo>
                  <a:pt x="72" y="26"/>
                </a:lnTo>
                <a:lnTo>
                  <a:pt x="73" y="26"/>
                </a:lnTo>
                <a:lnTo>
                  <a:pt x="70" y="28"/>
                </a:lnTo>
                <a:lnTo>
                  <a:pt x="66" y="30"/>
                </a:lnTo>
                <a:lnTo>
                  <a:pt x="68" y="31"/>
                </a:lnTo>
                <a:lnTo>
                  <a:pt x="66" y="33"/>
                </a:lnTo>
                <a:lnTo>
                  <a:pt x="65" y="34"/>
                </a:lnTo>
                <a:lnTo>
                  <a:pt x="68" y="34"/>
                </a:lnTo>
                <a:lnTo>
                  <a:pt x="73" y="34"/>
                </a:lnTo>
                <a:lnTo>
                  <a:pt x="72" y="36"/>
                </a:lnTo>
                <a:lnTo>
                  <a:pt x="70" y="37"/>
                </a:lnTo>
                <a:lnTo>
                  <a:pt x="72" y="39"/>
                </a:lnTo>
                <a:lnTo>
                  <a:pt x="70" y="41"/>
                </a:lnTo>
                <a:lnTo>
                  <a:pt x="74" y="42"/>
                </a:lnTo>
                <a:lnTo>
                  <a:pt x="80" y="42"/>
                </a:lnTo>
                <a:lnTo>
                  <a:pt x="77" y="42"/>
                </a:lnTo>
                <a:lnTo>
                  <a:pt x="78" y="44"/>
                </a:lnTo>
                <a:lnTo>
                  <a:pt x="80" y="44"/>
                </a:lnTo>
                <a:lnTo>
                  <a:pt x="85" y="44"/>
                </a:lnTo>
                <a:lnTo>
                  <a:pt x="85" y="42"/>
                </a:lnTo>
                <a:lnTo>
                  <a:pt x="86" y="42"/>
                </a:lnTo>
                <a:lnTo>
                  <a:pt x="90" y="41"/>
                </a:lnTo>
                <a:lnTo>
                  <a:pt x="88" y="42"/>
                </a:lnTo>
                <a:lnTo>
                  <a:pt x="92" y="44"/>
                </a:lnTo>
                <a:lnTo>
                  <a:pt x="92" y="42"/>
                </a:lnTo>
                <a:lnTo>
                  <a:pt x="94" y="44"/>
                </a:lnTo>
                <a:lnTo>
                  <a:pt x="98" y="44"/>
                </a:lnTo>
                <a:lnTo>
                  <a:pt x="97" y="45"/>
                </a:lnTo>
                <a:lnTo>
                  <a:pt x="100" y="45"/>
                </a:lnTo>
                <a:lnTo>
                  <a:pt x="101" y="44"/>
                </a:lnTo>
                <a:lnTo>
                  <a:pt x="101" y="45"/>
                </a:lnTo>
                <a:lnTo>
                  <a:pt x="109" y="45"/>
                </a:lnTo>
                <a:lnTo>
                  <a:pt x="114" y="44"/>
                </a:lnTo>
                <a:lnTo>
                  <a:pt x="112" y="42"/>
                </a:lnTo>
                <a:lnTo>
                  <a:pt x="113" y="41"/>
                </a:lnTo>
                <a:lnTo>
                  <a:pt x="116" y="42"/>
                </a:lnTo>
                <a:lnTo>
                  <a:pt x="116" y="41"/>
                </a:lnTo>
                <a:lnTo>
                  <a:pt x="117" y="42"/>
                </a:lnTo>
                <a:lnTo>
                  <a:pt x="118" y="44"/>
                </a:lnTo>
                <a:lnTo>
                  <a:pt x="121" y="42"/>
                </a:lnTo>
                <a:lnTo>
                  <a:pt x="122" y="41"/>
                </a:lnTo>
                <a:lnTo>
                  <a:pt x="125" y="41"/>
                </a:lnTo>
                <a:lnTo>
                  <a:pt x="125" y="42"/>
                </a:lnTo>
                <a:lnTo>
                  <a:pt x="125" y="44"/>
                </a:lnTo>
                <a:lnTo>
                  <a:pt x="124" y="47"/>
                </a:lnTo>
                <a:lnTo>
                  <a:pt x="129" y="47"/>
                </a:lnTo>
                <a:lnTo>
                  <a:pt x="130" y="47"/>
                </a:lnTo>
                <a:lnTo>
                  <a:pt x="133" y="47"/>
                </a:lnTo>
                <a:lnTo>
                  <a:pt x="136" y="45"/>
                </a:lnTo>
                <a:lnTo>
                  <a:pt x="137" y="47"/>
                </a:lnTo>
                <a:lnTo>
                  <a:pt x="142" y="47"/>
                </a:lnTo>
                <a:lnTo>
                  <a:pt x="142" y="45"/>
                </a:lnTo>
                <a:lnTo>
                  <a:pt x="144" y="45"/>
                </a:lnTo>
                <a:lnTo>
                  <a:pt x="144" y="47"/>
                </a:lnTo>
                <a:lnTo>
                  <a:pt x="146" y="47"/>
                </a:lnTo>
                <a:lnTo>
                  <a:pt x="153" y="47"/>
                </a:lnTo>
                <a:lnTo>
                  <a:pt x="154" y="47"/>
                </a:lnTo>
                <a:lnTo>
                  <a:pt x="154" y="45"/>
                </a:lnTo>
                <a:lnTo>
                  <a:pt x="152" y="45"/>
                </a:lnTo>
                <a:lnTo>
                  <a:pt x="153" y="45"/>
                </a:lnTo>
                <a:lnTo>
                  <a:pt x="157" y="47"/>
                </a:lnTo>
                <a:lnTo>
                  <a:pt x="159" y="45"/>
                </a:lnTo>
                <a:lnTo>
                  <a:pt x="162" y="45"/>
                </a:lnTo>
                <a:lnTo>
                  <a:pt x="163" y="47"/>
                </a:lnTo>
                <a:lnTo>
                  <a:pt x="169" y="47"/>
                </a:lnTo>
                <a:lnTo>
                  <a:pt x="170" y="45"/>
                </a:lnTo>
                <a:lnTo>
                  <a:pt x="170" y="44"/>
                </a:lnTo>
                <a:lnTo>
                  <a:pt x="174" y="45"/>
                </a:lnTo>
                <a:lnTo>
                  <a:pt x="175" y="47"/>
                </a:lnTo>
                <a:lnTo>
                  <a:pt x="177" y="45"/>
                </a:lnTo>
                <a:lnTo>
                  <a:pt x="179" y="45"/>
                </a:lnTo>
                <a:lnTo>
                  <a:pt x="178" y="44"/>
                </a:lnTo>
                <a:lnTo>
                  <a:pt x="178" y="42"/>
                </a:lnTo>
                <a:lnTo>
                  <a:pt x="179" y="44"/>
                </a:lnTo>
                <a:lnTo>
                  <a:pt x="181" y="45"/>
                </a:lnTo>
                <a:lnTo>
                  <a:pt x="187" y="45"/>
                </a:lnTo>
                <a:lnTo>
                  <a:pt x="201" y="45"/>
                </a:lnTo>
                <a:lnTo>
                  <a:pt x="206" y="42"/>
                </a:lnTo>
                <a:lnTo>
                  <a:pt x="202" y="41"/>
                </a:lnTo>
                <a:lnTo>
                  <a:pt x="201" y="39"/>
                </a:lnTo>
                <a:lnTo>
                  <a:pt x="199" y="39"/>
                </a:lnTo>
                <a:lnTo>
                  <a:pt x="203" y="39"/>
                </a:lnTo>
                <a:lnTo>
                  <a:pt x="205" y="41"/>
                </a:lnTo>
                <a:lnTo>
                  <a:pt x="207" y="41"/>
                </a:lnTo>
                <a:lnTo>
                  <a:pt x="209" y="42"/>
                </a:lnTo>
                <a:lnTo>
                  <a:pt x="209" y="44"/>
                </a:lnTo>
                <a:lnTo>
                  <a:pt x="213" y="45"/>
                </a:lnTo>
                <a:lnTo>
                  <a:pt x="217" y="45"/>
                </a:lnTo>
                <a:lnTo>
                  <a:pt x="219" y="45"/>
                </a:lnTo>
                <a:lnTo>
                  <a:pt x="223" y="47"/>
                </a:lnTo>
                <a:lnTo>
                  <a:pt x="227" y="47"/>
                </a:lnTo>
                <a:lnTo>
                  <a:pt x="230" y="45"/>
                </a:lnTo>
                <a:lnTo>
                  <a:pt x="237" y="45"/>
                </a:lnTo>
                <a:lnTo>
                  <a:pt x="246" y="45"/>
                </a:lnTo>
                <a:lnTo>
                  <a:pt x="249" y="44"/>
                </a:lnTo>
                <a:lnTo>
                  <a:pt x="253" y="44"/>
                </a:lnTo>
                <a:lnTo>
                  <a:pt x="253" y="42"/>
                </a:lnTo>
                <a:lnTo>
                  <a:pt x="251" y="41"/>
                </a:lnTo>
                <a:lnTo>
                  <a:pt x="250" y="39"/>
                </a:lnTo>
                <a:lnTo>
                  <a:pt x="246" y="39"/>
                </a:lnTo>
                <a:lnTo>
                  <a:pt x="246" y="36"/>
                </a:lnTo>
                <a:lnTo>
                  <a:pt x="249" y="36"/>
                </a:lnTo>
                <a:lnTo>
                  <a:pt x="253" y="34"/>
                </a:lnTo>
                <a:lnTo>
                  <a:pt x="254" y="34"/>
                </a:lnTo>
                <a:lnTo>
                  <a:pt x="257" y="33"/>
                </a:lnTo>
                <a:lnTo>
                  <a:pt x="261" y="31"/>
                </a:lnTo>
                <a:lnTo>
                  <a:pt x="259" y="28"/>
                </a:lnTo>
                <a:lnTo>
                  <a:pt x="258" y="28"/>
                </a:lnTo>
                <a:lnTo>
                  <a:pt x="257" y="28"/>
                </a:lnTo>
                <a:lnTo>
                  <a:pt x="250" y="28"/>
                </a:lnTo>
                <a:lnTo>
                  <a:pt x="247" y="28"/>
                </a:lnTo>
                <a:lnTo>
                  <a:pt x="251" y="26"/>
                </a:lnTo>
                <a:lnTo>
                  <a:pt x="250" y="26"/>
                </a:lnTo>
                <a:lnTo>
                  <a:pt x="246" y="25"/>
                </a:lnTo>
                <a:lnTo>
                  <a:pt x="242" y="25"/>
                </a:lnTo>
                <a:lnTo>
                  <a:pt x="237" y="25"/>
                </a:lnTo>
                <a:lnTo>
                  <a:pt x="237" y="23"/>
                </a:lnTo>
                <a:lnTo>
                  <a:pt x="234" y="23"/>
                </a:lnTo>
                <a:lnTo>
                  <a:pt x="219" y="22"/>
                </a:lnTo>
                <a:lnTo>
                  <a:pt x="214" y="22"/>
                </a:lnTo>
                <a:lnTo>
                  <a:pt x="207" y="23"/>
                </a:lnTo>
                <a:lnTo>
                  <a:pt x="203" y="23"/>
                </a:lnTo>
                <a:lnTo>
                  <a:pt x="202" y="23"/>
                </a:lnTo>
                <a:lnTo>
                  <a:pt x="201" y="23"/>
                </a:lnTo>
                <a:lnTo>
                  <a:pt x="198" y="22"/>
                </a:lnTo>
                <a:lnTo>
                  <a:pt x="195" y="22"/>
                </a:lnTo>
                <a:lnTo>
                  <a:pt x="194" y="23"/>
                </a:lnTo>
                <a:lnTo>
                  <a:pt x="186" y="25"/>
                </a:lnTo>
                <a:lnTo>
                  <a:pt x="185" y="25"/>
                </a:lnTo>
                <a:lnTo>
                  <a:pt x="185" y="26"/>
                </a:lnTo>
                <a:lnTo>
                  <a:pt x="179" y="25"/>
                </a:lnTo>
                <a:lnTo>
                  <a:pt x="177" y="25"/>
                </a:lnTo>
                <a:lnTo>
                  <a:pt x="175" y="26"/>
                </a:lnTo>
                <a:lnTo>
                  <a:pt x="174" y="26"/>
                </a:lnTo>
                <a:lnTo>
                  <a:pt x="175" y="28"/>
                </a:lnTo>
                <a:lnTo>
                  <a:pt x="174" y="28"/>
                </a:lnTo>
                <a:lnTo>
                  <a:pt x="171" y="26"/>
                </a:lnTo>
                <a:lnTo>
                  <a:pt x="170" y="26"/>
                </a:lnTo>
                <a:lnTo>
                  <a:pt x="167" y="28"/>
                </a:lnTo>
                <a:lnTo>
                  <a:pt x="165" y="28"/>
                </a:lnTo>
                <a:lnTo>
                  <a:pt x="161" y="28"/>
                </a:lnTo>
                <a:lnTo>
                  <a:pt x="163" y="30"/>
                </a:lnTo>
                <a:lnTo>
                  <a:pt x="169" y="30"/>
                </a:lnTo>
                <a:lnTo>
                  <a:pt x="170" y="31"/>
                </a:lnTo>
                <a:lnTo>
                  <a:pt x="166" y="30"/>
                </a:lnTo>
                <a:lnTo>
                  <a:pt x="161" y="30"/>
                </a:lnTo>
                <a:lnTo>
                  <a:pt x="153" y="31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03" name="Freeform 703"/>
          <p:cNvSpPr>
            <a:spLocks/>
          </p:cNvSpPr>
          <p:nvPr/>
        </p:nvSpPr>
        <p:spPr bwMode="auto">
          <a:xfrm>
            <a:off x="2942187" y="1627536"/>
            <a:ext cx="239703" cy="60133"/>
          </a:xfrm>
          <a:custGeom>
            <a:avLst/>
            <a:gdLst/>
            <a:ahLst/>
            <a:cxnLst>
              <a:cxn ang="0">
                <a:pos x="121" y="30"/>
              </a:cxn>
              <a:cxn ang="0">
                <a:pos x="123" y="29"/>
              </a:cxn>
              <a:cxn ang="0">
                <a:pos x="114" y="27"/>
              </a:cxn>
              <a:cxn ang="0">
                <a:pos x="107" y="27"/>
              </a:cxn>
              <a:cxn ang="0">
                <a:pos x="106" y="27"/>
              </a:cxn>
              <a:cxn ang="0">
                <a:pos x="102" y="27"/>
              </a:cxn>
              <a:cxn ang="0">
                <a:pos x="99" y="29"/>
              </a:cxn>
              <a:cxn ang="0">
                <a:pos x="98" y="27"/>
              </a:cxn>
              <a:cxn ang="0">
                <a:pos x="94" y="25"/>
              </a:cxn>
              <a:cxn ang="0">
                <a:pos x="89" y="25"/>
              </a:cxn>
              <a:cxn ang="0">
                <a:pos x="87" y="29"/>
              </a:cxn>
              <a:cxn ang="0">
                <a:pos x="85" y="27"/>
              </a:cxn>
              <a:cxn ang="0">
                <a:pos x="79" y="27"/>
              </a:cxn>
              <a:cxn ang="0">
                <a:pos x="78" y="25"/>
              </a:cxn>
              <a:cxn ang="0">
                <a:pos x="77" y="25"/>
              </a:cxn>
              <a:cxn ang="0">
                <a:pos x="83" y="22"/>
              </a:cxn>
              <a:cxn ang="0">
                <a:pos x="81" y="22"/>
              </a:cxn>
              <a:cxn ang="0">
                <a:pos x="74" y="22"/>
              </a:cxn>
              <a:cxn ang="0">
                <a:pos x="74" y="19"/>
              </a:cxn>
              <a:cxn ang="0">
                <a:pos x="70" y="21"/>
              </a:cxn>
              <a:cxn ang="0">
                <a:pos x="65" y="21"/>
              </a:cxn>
              <a:cxn ang="0">
                <a:pos x="62" y="19"/>
              </a:cxn>
              <a:cxn ang="0">
                <a:pos x="59" y="21"/>
              </a:cxn>
              <a:cxn ang="0">
                <a:pos x="54" y="21"/>
              </a:cxn>
              <a:cxn ang="0">
                <a:pos x="55" y="19"/>
              </a:cxn>
              <a:cxn ang="0">
                <a:pos x="63" y="18"/>
              </a:cxn>
              <a:cxn ang="0">
                <a:pos x="58" y="18"/>
              </a:cxn>
              <a:cxn ang="0">
                <a:pos x="58" y="18"/>
              </a:cxn>
              <a:cxn ang="0">
                <a:pos x="54" y="16"/>
              </a:cxn>
              <a:cxn ang="0">
                <a:pos x="53" y="14"/>
              </a:cxn>
              <a:cxn ang="0">
                <a:pos x="55" y="16"/>
              </a:cxn>
              <a:cxn ang="0">
                <a:pos x="62" y="16"/>
              </a:cxn>
              <a:cxn ang="0">
                <a:pos x="67" y="18"/>
              </a:cxn>
              <a:cxn ang="0">
                <a:pos x="67" y="16"/>
              </a:cxn>
              <a:cxn ang="0">
                <a:pos x="79" y="16"/>
              </a:cxn>
              <a:cxn ang="0">
                <a:pos x="85" y="14"/>
              </a:cxn>
              <a:cxn ang="0">
                <a:pos x="79" y="13"/>
              </a:cxn>
              <a:cxn ang="0">
                <a:pos x="67" y="11"/>
              </a:cxn>
              <a:cxn ang="0">
                <a:pos x="65" y="11"/>
              </a:cxn>
              <a:cxn ang="0">
                <a:pos x="58" y="11"/>
              </a:cxn>
              <a:cxn ang="0">
                <a:pos x="50" y="10"/>
              </a:cxn>
              <a:cxn ang="0">
                <a:pos x="58" y="10"/>
              </a:cxn>
              <a:cxn ang="0">
                <a:pos x="62" y="10"/>
              </a:cxn>
              <a:cxn ang="0">
                <a:pos x="66" y="10"/>
              </a:cxn>
              <a:cxn ang="0">
                <a:pos x="65" y="8"/>
              </a:cxn>
              <a:cxn ang="0">
                <a:pos x="54" y="7"/>
              </a:cxn>
              <a:cxn ang="0">
                <a:pos x="51" y="7"/>
              </a:cxn>
              <a:cxn ang="0">
                <a:pos x="49" y="7"/>
              </a:cxn>
              <a:cxn ang="0">
                <a:pos x="41" y="8"/>
              </a:cxn>
              <a:cxn ang="0">
                <a:pos x="35" y="7"/>
              </a:cxn>
              <a:cxn ang="0">
                <a:pos x="27" y="8"/>
              </a:cxn>
              <a:cxn ang="0">
                <a:pos x="18" y="11"/>
              </a:cxn>
              <a:cxn ang="0">
                <a:pos x="22" y="8"/>
              </a:cxn>
              <a:cxn ang="0">
                <a:pos x="23" y="5"/>
              </a:cxn>
              <a:cxn ang="0">
                <a:pos x="22" y="3"/>
              </a:cxn>
              <a:cxn ang="0">
                <a:pos x="17" y="2"/>
              </a:cxn>
              <a:cxn ang="0">
                <a:pos x="13" y="0"/>
              </a:cxn>
              <a:cxn ang="0">
                <a:pos x="9" y="2"/>
              </a:cxn>
              <a:cxn ang="0">
                <a:pos x="0" y="0"/>
              </a:cxn>
            </a:cxnLst>
            <a:rect l="0" t="0" r="r" b="b"/>
            <a:pathLst>
              <a:path w="125" h="30">
                <a:moveTo>
                  <a:pt x="122" y="30"/>
                </a:moveTo>
                <a:lnTo>
                  <a:pt x="121" y="30"/>
                </a:lnTo>
                <a:lnTo>
                  <a:pt x="125" y="29"/>
                </a:lnTo>
                <a:lnTo>
                  <a:pt x="123" y="29"/>
                </a:lnTo>
                <a:lnTo>
                  <a:pt x="117" y="27"/>
                </a:lnTo>
                <a:lnTo>
                  <a:pt x="114" y="27"/>
                </a:lnTo>
                <a:lnTo>
                  <a:pt x="110" y="25"/>
                </a:lnTo>
                <a:lnTo>
                  <a:pt x="107" y="27"/>
                </a:lnTo>
                <a:lnTo>
                  <a:pt x="107" y="29"/>
                </a:lnTo>
                <a:lnTo>
                  <a:pt x="106" y="27"/>
                </a:lnTo>
                <a:lnTo>
                  <a:pt x="105" y="25"/>
                </a:lnTo>
                <a:lnTo>
                  <a:pt x="102" y="27"/>
                </a:lnTo>
                <a:lnTo>
                  <a:pt x="101" y="27"/>
                </a:lnTo>
                <a:lnTo>
                  <a:pt x="99" y="29"/>
                </a:lnTo>
                <a:lnTo>
                  <a:pt x="97" y="29"/>
                </a:lnTo>
                <a:lnTo>
                  <a:pt x="98" y="27"/>
                </a:lnTo>
                <a:lnTo>
                  <a:pt x="95" y="25"/>
                </a:lnTo>
                <a:lnTo>
                  <a:pt x="94" y="25"/>
                </a:lnTo>
                <a:lnTo>
                  <a:pt x="91" y="25"/>
                </a:lnTo>
                <a:lnTo>
                  <a:pt x="89" y="25"/>
                </a:lnTo>
                <a:lnTo>
                  <a:pt x="90" y="29"/>
                </a:lnTo>
                <a:lnTo>
                  <a:pt x="87" y="29"/>
                </a:lnTo>
                <a:lnTo>
                  <a:pt x="86" y="29"/>
                </a:lnTo>
                <a:lnTo>
                  <a:pt x="85" y="27"/>
                </a:lnTo>
                <a:lnTo>
                  <a:pt x="81" y="25"/>
                </a:lnTo>
                <a:lnTo>
                  <a:pt x="79" y="27"/>
                </a:lnTo>
                <a:lnTo>
                  <a:pt x="78" y="27"/>
                </a:lnTo>
                <a:lnTo>
                  <a:pt x="78" y="25"/>
                </a:lnTo>
                <a:lnTo>
                  <a:pt x="75" y="27"/>
                </a:lnTo>
                <a:lnTo>
                  <a:pt x="77" y="25"/>
                </a:lnTo>
                <a:lnTo>
                  <a:pt x="82" y="25"/>
                </a:lnTo>
                <a:lnTo>
                  <a:pt x="83" y="22"/>
                </a:lnTo>
                <a:lnTo>
                  <a:pt x="82" y="22"/>
                </a:lnTo>
                <a:lnTo>
                  <a:pt x="81" y="22"/>
                </a:lnTo>
                <a:lnTo>
                  <a:pt x="77" y="22"/>
                </a:lnTo>
                <a:lnTo>
                  <a:pt x="74" y="22"/>
                </a:lnTo>
                <a:lnTo>
                  <a:pt x="75" y="21"/>
                </a:lnTo>
                <a:lnTo>
                  <a:pt x="74" y="19"/>
                </a:lnTo>
                <a:lnTo>
                  <a:pt x="71" y="19"/>
                </a:lnTo>
                <a:lnTo>
                  <a:pt x="70" y="21"/>
                </a:lnTo>
                <a:lnTo>
                  <a:pt x="67" y="19"/>
                </a:lnTo>
                <a:lnTo>
                  <a:pt x="65" y="21"/>
                </a:lnTo>
                <a:lnTo>
                  <a:pt x="65" y="19"/>
                </a:lnTo>
                <a:lnTo>
                  <a:pt x="62" y="19"/>
                </a:lnTo>
                <a:lnTo>
                  <a:pt x="61" y="19"/>
                </a:lnTo>
                <a:lnTo>
                  <a:pt x="59" y="21"/>
                </a:lnTo>
                <a:lnTo>
                  <a:pt x="54" y="22"/>
                </a:lnTo>
                <a:lnTo>
                  <a:pt x="54" y="21"/>
                </a:lnTo>
                <a:lnTo>
                  <a:pt x="57" y="21"/>
                </a:lnTo>
                <a:lnTo>
                  <a:pt x="55" y="19"/>
                </a:lnTo>
                <a:lnTo>
                  <a:pt x="66" y="19"/>
                </a:lnTo>
                <a:lnTo>
                  <a:pt x="63" y="18"/>
                </a:lnTo>
                <a:lnTo>
                  <a:pt x="61" y="18"/>
                </a:lnTo>
                <a:lnTo>
                  <a:pt x="58" y="18"/>
                </a:lnTo>
                <a:lnTo>
                  <a:pt x="59" y="18"/>
                </a:lnTo>
                <a:lnTo>
                  <a:pt x="58" y="18"/>
                </a:lnTo>
                <a:lnTo>
                  <a:pt x="57" y="16"/>
                </a:lnTo>
                <a:lnTo>
                  <a:pt x="54" y="16"/>
                </a:lnTo>
                <a:lnTo>
                  <a:pt x="49" y="16"/>
                </a:lnTo>
                <a:lnTo>
                  <a:pt x="53" y="14"/>
                </a:lnTo>
                <a:lnTo>
                  <a:pt x="50" y="14"/>
                </a:lnTo>
                <a:lnTo>
                  <a:pt x="55" y="16"/>
                </a:lnTo>
                <a:lnTo>
                  <a:pt x="59" y="16"/>
                </a:lnTo>
                <a:lnTo>
                  <a:pt x="62" y="16"/>
                </a:lnTo>
                <a:lnTo>
                  <a:pt x="65" y="18"/>
                </a:lnTo>
                <a:lnTo>
                  <a:pt x="67" y="18"/>
                </a:lnTo>
                <a:lnTo>
                  <a:pt x="65" y="16"/>
                </a:lnTo>
                <a:lnTo>
                  <a:pt x="67" y="16"/>
                </a:lnTo>
                <a:lnTo>
                  <a:pt x="75" y="16"/>
                </a:lnTo>
                <a:lnTo>
                  <a:pt x="79" y="16"/>
                </a:lnTo>
                <a:lnTo>
                  <a:pt x="83" y="16"/>
                </a:lnTo>
                <a:lnTo>
                  <a:pt x="85" y="14"/>
                </a:lnTo>
                <a:lnTo>
                  <a:pt x="85" y="13"/>
                </a:lnTo>
                <a:lnTo>
                  <a:pt x="79" y="13"/>
                </a:lnTo>
                <a:lnTo>
                  <a:pt x="75" y="13"/>
                </a:lnTo>
                <a:lnTo>
                  <a:pt x="67" y="11"/>
                </a:lnTo>
                <a:lnTo>
                  <a:pt x="66" y="11"/>
                </a:lnTo>
                <a:lnTo>
                  <a:pt x="65" y="11"/>
                </a:lnTo>
                <a:lnTo>
                  <a:pt x="63" y="11"/>
                </a:lnTo>
                <a:lnTo>
                  <a:pt x="58" y="11"/>
                </a:lnTo>
                <a:lnTo>
                  <a:pt x="51" y="10"/>
                </a:lnTo>
                <a:lnTo>
                  <a:pt x="50" y="10"/>
                </a:lnTo>
                <a:lnTo>
                  <a:pt x="57" y="10"/>
                </a:lnTo>
                <a:lnTo>
                  <a:pt x="58" y="10"/>
                </a:lnTo>
                <a:lnTo>
                  <a:pt x="59" y="10"/>
                </a:lnTo>
                <a:lnTo>
                  <a:pt x="62" y="10"/>
                </a:lnTo>
                <a:lnTo>
                  <a:pt x="65" y="11"/>
                </a:lnTo>
                <a:lnTo>
                  <a:pt x="66" y="10"/>
                </a:lnTo>
                <a:lnTo>
                  <a:pt x="66" y="8"/>
                </a:lnTo>
                <a:lnTo>
                  <a:pt x="65" y="8"/>
                </a:lnTo>
                <a:lnTo>
                  <a:pt x="57" y="7"/>
                </a:lnTo>
                <a:lnTo>
                  <a:pt x="54" y="7"/>
                </a:lnTo>
                <a:lnTo>
                  <a:pt x="53" y="7"/>
                </a:lnTo>
                <a:lnTo>
                  <a:pt x="51" y="7"/>
                </a:lnTo>
                <a:lnTo>
                  <a:pt x="50" y="5"/>
                </a:lnTo>
                <a:lnTo>
                  <a:pt x="49" y="7"/>
                </a:lnTo>
                <a:lnTo>
                  <a:pt x="43" y="7"/>
                </a:lnTo>
                <a:lnTo>
                  <a:pt x="41" y="8"/>
                </a:lnTo>
                <a:lnTo>
                  <a:pt x="37" y="8"/>
                </a:lnTo>
                <a:lnTo>
                  <a:pt x="35" y="7"/>
                </a:lnTo>
                <a:lnTo>
                  <a:pt x="33" y="8"/>
                </a:lnTo>
                <a:lnTo>
                  <a:pt x="27" y="8"/>
                </a:lnTo>
                <a:lnTo>
                  <a:pt x="22" y="10"/>
                </a:lnTo>
                <a:lnTo>
                  <a:pt x="18" y="11"/>
                </a:lnTo>
                <a:lnTo>
                  <a:pt x="19" y="10"/>
                </a:lnTo>
                <a:lnTo>
                  <a:pt x="22" y="8"/>
                </a:lnTo>
                <a:lnTo>
                  <a:pt x="22" y="7"/>
                </a:lnTo>
                <a:lnTo>
                  <a:pt x="23" y="5"/>
                </a:lnTo>
                <a:lnTo>
                  <a:pt x="22" y="5"/>
                </a:lnTo>
                <a:lnTo>
                  <a:pt x="22" y="3"/>
                </a:lnTo>
                <a:lnTo>
                  <a:pt x="21" y="3"/>
                </a:lnTo>
                <a:lnTo>
                  <a:pt x="17" y="2"/>
                </a:lnTo>
                <a:lnTo>
                  <a:pt x="15" y="2"/>
                </a:lnTo>
                <a:lnTo>
                  <a:pt x="13" y="0"/>
                </a:lnTo>
                <a:lnTo>
                  <a:pt x="13" y="2"/>
                </a:lnTo>
                <a:lnTo>
                  <a:pt x="9" y="2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04" name="Freeform 704"/>
          <p:cNvSpPr>
            <a:spLocks/>
          </p:cNvSpPr>
          <p:nvPr/>
        </p:nvSpPr>
        <p:spPr bwMode="auto">
          <a:xfrm>
            <a:off x="3376772" y="1657603"/>
            <a:ext cx="23386" cy="12885"/>
          </a:xfrm>
          <a:custGeom>
            <a:avLst/>
            <a:gdLst/>
            <a:ahLst/>
            <a:cxnLst>
              <a:cxn ang="0">
                <a:pos x="11" y="2"/>
              </a:cxn>
              <a:cxn ang="0">
                <a:pos x="9" y="2"/>
              </a:cxn>
              <a:cxn ang="0">
                <a:pos x="8" y="3"/>
              </a:cxn>
              <a:cxn ang="0">
                <a:pos x="11" y="5"/>
              </a:cxn>
              <a:cxn ang="0">
                <a:pos x="12" y="5"/>
              </a:cxn>
              <a:cxn ang="0">
                <a:pos x="7" y="6"/>
              </a:cxn>
              <a:cxn ang="0">
                <a:pos x="5" y="6"/>
              </a:cxn>
              <a:cxn ang="0">
                <a:pos x="0" y="6"/>
              </a:cxn>
              <a:cxn ang="0">
                <a:pos x="1" y="5"/>
              </a:cxn>
              <a:cxn ang="0">
                <a:pos x="1" y="3"/>
              </a:cxn>
              <a:cxn ang="0">
                <a:pos x="4" y="2"/>
              </a:cxn>
              <a:cxn ang="0">
                <a:pos x="5" y="2"/>
              </a:cxn>
              <a:cxn ang="0">
                <a:pos x="5" y="0"/>
              </a:cxn>
              <a:cxn ang="0">
                <a:pos x="7" y="0"/>
              </a:cxn>
              <a:cxn ang="0">
                <a:pos x="11" y="2"/>
              </a:cxn>
            </a:cxnLst>
            <a:rect l="0" t="0" r="r" b="b"/>
            <a:pathLst>
              <a:path w="12" h="6">
                <a:moveTo>
                  <a:pt x="11" y="2"/>
                </a:moveTo>
                <a:lnTo>
                  <a:pt x="9" y="2"/>
                </a:lnTo>
                <a:lnTo>
                  <a:pt x="8" y="3"/>
                </a:lnTo>
                <a:lnTo>
                  <a:pt x="11" y="5"/>
                </a:lnTo>
                <a:lnTo>
                  <a:pt x="12" y="5"/>
                </a:lnTo>
                <a:lnTo>
                  <a:pt x="7" y="6"/>
                </a:lnTo>
                <a:lnTo>
                  <a:pt x="5" y="6"/>
                </a:lnTo>
                <a:lnTo>
                  <a:pt x="0" y="6"/>
                </a:lnTo>
                <a:lnTo>
                  <a:pt x="1" y="5"/>
                </a:lnTo>
                <a:lnTo>
                  <a:pt x="1" y="3"/>
                </a:lnTo>
                <a:lnTo>
                  <a:pt x="4" y="2"/>
                </a:lnTo>
                <a:lnTo>
                  <a:pt x="5" y="2"/>
                </a:lnTo>
                <a:lnTo>
                  <a:pt x="5" y="0"/>
                </a:lnTo>
                <a:lnTo>
                  <a:pt x="7" y="0"/>
                </a:lnTo>
                <a:lnTo>
                  <a:pt x="11" y="2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05" name="Freeform 705"/>
          <p:cNvSpPr>
            <a:spLocks/>
          </p:cNvSpPr>
          <p:nvPr/>
        </p:nvSpPr>
        <p:spPr bwMode="auto">
          <a:xfrm>
            <a:off x="3376772" y="1657603"/>
            <a:ext cx="23386" cy="12885"/>
          </a:xfrm>
          <a:custGeom>
            <a:avLst/>
            <a:gdLst/>
            <a:ahLst/>
            <a:cxnLst>
              <a:cxn ang="0">
                <a:pos x="11" y="2"/>
              </a:cxn>
              <a:cxn ang="0">
                <a:pos x="9" y="2"/>
              </a:cxn>
              <a:cxn ang="0">
                <a:pos x="8" y="3"/>
              </a:cxn>
              <a:cxn ang="0">
                <a:pos x="11" y="5"/>
              </a:cxn>
              <a:cxn ang="0">
                <a:pos x="12" y="5"/>
              </a:cxn>
              <a:cxn ang="0">
                <a:pos x="7" y="6"/>
              </a:cxn>
              <a:cxn ang="0">
                <a:pos x="5" y="6"/>
              </a:cxn>
              <a:cxn ang="0">
                <a:pos x="0" y="6"/>
              </a:cxn>
              <a:cxn ang="0">
                <a:pos x="1" y="5"/>
              </a:cxn>
              <a:cxn ang="0">
                <a:pos x="1" y="3"/>
              </a:cxn>
              <a:cxn ang="0">
                <a:pos x="4" y="2"/>
              </a:cxn>
              <a:cxn ang="0">
                <a:pos x="5" y="2"/>
              </a:cxn>
              <a:cxn ang="0">
                <a:pos x="5" y="0"/>
              </a:cxn>
              <a:cxn ang="0">
                <a:pos x="7" y="0"/>
              </a:cxn>
              <a:cxn ang="0">
                <a:pos x="11" y="2"/>
              </a:cxn>
            </a:cxnLst>
            <a:rect l="0" t="0" r="r" b="b"/>
            <a:pathLst>
              <a:path w="12" h="6">
                <a:moveTo>
                  <a:pt x="11" y="2"/>
                </a:moveTo>
                <a:lnTo>
                  <a:pt x="9" y="2"/>
                </a:lnTo>
                <a:lnTo>
                  <a:pt x="8" y="3"/>
                </a:lnTo>
                <a:lnTo>
                  <a:pt x="11" y="5"/>
                </a:lnTo>
                <a:lnTo>
                  <a:pt x="12" y="5"/>
                </a:lnTo>
                <a:lnTo>
                  <a:pt x="7" y="6"/>
                </a:lnTo>
                <a:lnTo>
                  <a:pt x="5" y="6"/>
                </a:lnTo>
                <a:lnTo>
                  <a:pt x="0" y="6"/>
                </a:lnTo>
                <a:lnTo>
                  <a:pt x="1" y="5"/>
                </a:lnTo>
                <a:lnTo>
                  <a:pt x="1" y="3"/>
                </a:lnTo>
                <a:lnTo>
                  <a:pt x="4" y="2"/>
                </a:lnTo>
                <a:lnTo>
                  <a:pt x="5" y="2"/>
                </a:lnTo>
                <a:lnTo>
                  <a:pt x="5" y="0"/>
                </a:lnTo>
                <a:lnTo>
                  <a:pt x="7" y="0"/>
                </a:lnTo>
                <a:lnTo>
                  <a:pt x="11" y="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06" name="Freeform 706"/>
          <p:cNvSpPr>
            <a:spLocks/>
          </p:cNvSpPr>
          <p:nvPr/>
        </p:nvSpPr>
        <p:spPr bwMode="auto">
          <a:xfrm>
            <a:off x="3359233" y="1698408"/>
            <a:ext cx="31181" cy="6443"/>
          </a:xfrm>
          <a:custGeom>
            <a:avLst/>
            <a:gdLst/>
            <a:ahLst/>
            <a:cxnLst>
              <a:cxn ang="0">
                <a:pos x="12" y="3"/>
              </a:cxn>
              <a:cxn ang="0">
                <a:pos x="14" y="3"/>
              </a:cxn>
              <a:cxn ang="0">
                <a:pos x="16" y="3"/>
              </a:cxn>
              <a:cxn ang="0">
                <a:pos x="13" y="1"/>
              </a:cxn>
              <a:cxn ang="0">
                <a:pos x="13" y="0"/>
              </a:cxn>
              <a:cxn ang="0">
                <a:pos x="6" y="0"/>
              </a:cxn>
              <a:cxn ang="0">
                <a:pos x="4" y="1"/>
              </a:cxn>
              <a:cxn ang="0">
                <a:pos x="2" y="1"/>
              </a:cxn>
              <a:cxn ang="0">
                <a:pos x="0" y="1"/>
              </a:cxn>
              <a:cxn ang="0">
                <a:pos x="2" y="3"/>
              </a:cxn>
              <a:cxn ang="0">
                <a:pos x="5" y="5"/>
              </a:cxn>
              <a:cxn ang="0">
                <a:pos x="8" y="5"/>
              </a:cxn>
              <a:cxn ang="0">
                <a:pos x="12" y="3"/>
              </a:cxn>
            </a:cxnLst>
            <a:rect l="0" t="0" r="r" b="b"/>
            <a:pathLst>
              <a:path w="16" h="5">
                <a:moveTo>
                  <a:pt x="12" y="3"/>
                </a:moveTo>
                <a:lnTo>
                  <a:pt x="14" y="3"/>
                </a:lnTo>
                <a:lnTo>
                  <a:pt x="16" y="3"/>
                </a:lnTo>
                <a:lnTo>
                  <a:pt x="13" y="1"/>
                </a:lnTo>
                <a:lnTo>
                  <a:pt x="13" y="0"/>
                </a:lnTo>
                <a:lnTo>
                  <a:pt x="6" y="0"/>
                </a:lnTo>
                <a:lnTo>
                  <a:pt x="4" y="1"/>
                </a:lnTo>
                <a:lnTo>
                  <a:pt x="2" y="1"/>
                </a:lnTo>
                <a:lnTo>
                  <a:pt x="0" y="1"/>
                </a:lnTo>
                <a:lnTo>
                  <a:pt x="2" y="3"/>
                </a:lnTo>
                <a:lnTo>
                  <a:pt x="5" y="5"/>
                </a:lnTo>
                <a:lnTo>
                  <a:pt x="8" y="5"/>
                </a:lnTo>
                <a:lnTo>
                  <a:pt x="12" y="3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07" name="Freeform 707"/>
          <p:cNvSpPr>
            <a:spLocks/>
          </p:cNvSpPr>
          <p:nvPr/>
        </p:nvSpPr>
        <p:spPr bwMode="auto">
          <a:xfrm>
            <a:off x="3359233" y="1698408"/>
            <a:ext cx="31181" cy="6443"/>
          </a:xfrm>
          <a:custGeom>
            <a:avLst/>
            <a:gdLst/>
            <a:ahLst/>
            <a:cxnLst>
              <a:cxn ang="0">
                <a:pos x="12" y="3"/>
              </a:cxn>
              <a:cxn ang="0">
                <a:pos x="14" y="3"/>
              </a:cxn>
              <a:cxn ang="0">
                <a:pos x="16" y="3"/>
              </a:cxn>
              <a:cxn ang="0">
                <a:pos x="13" y="1"/>
              </a:cxn>
              <a:cxn ang="0">
                <a:pos x="13" y="0"/>
              </a:cxn>
              <a:cxn ang="0">
                <a:pos x="6" y="0"/>
              </a:cxn>
              <a:cxn ang="0">
                <a:pos x="4" y="1"/>
              </a:cxn>
              <a:cxn ang="0">
                <a:pos x="2" y="1"/>
              </a:cxn>
              <a:cxn ang="0">
                <a:pos x="0" y="1"/>
              </a:cxn>
              <a:cxn ang="0">
                <a:pos x="2" y="3"/>
              </a:cxn>
              <a:cxn ang="0">
                <a:pos x="5" y="5"/>
              </a:cxn>
              <a:cxn ang="0">
                <a:pos x="8" y="5"/>
              </a:cxn>
              <a:cxn ang="0">
                <a:pos x="12" y="3"/>
              </a:cxn>
            </a:cxnLst>
            <a:rect l="0" t="0" r="r" b="b"/>
            <a:pathLst>
              <a:path w="16" h="5">
                <a:moveTo>
                  <a:pt x="12" y="3"/>
                </a:moveTo>
                <a:lnTo>
                  <a:pt x="14" y="3"/>
                </a:lnTo>
                <a:lnTo>
                  <a:pt x="16" y="3"/>
                </a:lnTo>
                <a:lnTo>
                  <a:pt x="13" y="1"/>
                </a:lnTo>
                <a:lnTo>
                  <a:pt x="13" y="0"/>
                </a:lnTo>
                <a:lnTo>
                  <a:pt x="6" y="0"/>
                </a:lnTo>
                <a:lnTo>
                  <a:pt x="4" y="1"/>
                </a:lnTo>
                <a:lnTo>
                  <a:pt x="2" y="1"/>
                </a:lnTo>
                <a:lnTo>
                  <a:pt x="0" y="1"/>
                </a:lnTo>
                <a:lnTo>
                  <a:pt x="2" y="3"/>
                </a:lnTo>
                <a:lnTo>
                  <a:pt x="5" y="5"/>
                </a:lnTo>
                <a:lnTo>
                  <a:pt x="8" y="5"/>
                </a:lnTo>
                <a:lnTo>
                  <a:pt x="12" y="3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08" name="Freeform 708"/>
          <p:cNvSpPr>
            <a:spLocks/>
          </p:cNvSpPr>
          <p:nvPr/>
        </p:nvSpPr>
        <p:spPr bwMode="auto">
          <a:xfrm>
            <a:off x="2897365" y="1674782"/>
            <a:ext cx="83800" cy="36511"/>
          </a:xfrm>
          <a:custGeom>
            <a:avLst/>
            <a:gdLst/>
            <a:ahLst/>
            <a:cxnLst>
              <a:cxn ang="0">
                <a:pos x="23" y="0"/>
              </a:cxn>
              <a:cxn ang="0">
                <a:pos x="28" y="1"/>
              </a:cxn>
              <a:cxn ang="0">
                <a:pos x="31" y="3"/>
              </a:cxn>
              <a:cxn ang="0">
                <a:pos x="33" y="3"/>
              </a:cxn>
              <a:cxn ang="0">
                <a:pos x="35" y="3"/>
              </a:cxn>
              <a:cxn ang="0">
                <a:pos x="36" y="5"/>
              </a:cxn>
              <a:cxn ang="0">
                <a:pos x="36" y="6"/>
              </a:cxn>
              <a:cxn ang="0">
                <a:pos x="38" y="5"/>
              </a:cxn>
              <a:cxn ang="0">
                <a:pos x="40" y="6"/>
              </a:cxn>
              <a:cxn ang="0">
                <a:pos x="42" y="8"/>
              </a:cxn>
              <a:cxn ang="0">
                <a:pos x="44" y="8"/>
              </a:cxn>
              <a:cxn ang="0">
                <a:pos x="42" y="9"/>
              </a:cxn>
              <a:cxn ang="0">
                <a:pos x="44" y="9"/>
              </a:cxn>
              <a:cxn ang="0">
                <a:pos x="42" y="11"/>
              </a:cxn>
              <a:cxn ang="0">
                <a:pos x="44" y="14"/>
              </a:cxn>
              <a:cxn ang="0">
                <a:pos x="44" y="17"/>
              </a:cxn>
              <a:cxn ang="0">
                <a:pos x="42" y="17"/>
              </a:cxn>
              <a:cxn ang="0">
                <a:pos x="41" y="19"/>
              </a:cxn>
              <a:cxn ang="0">
                <a:pos x="37" y="19"/>
              </a:cxn>
              <a:cxn ang="0">
                <a:pos x="33" y="19"/>
              </a:cxn>
              <a:cxn ang="0">
                <a:pos x="31" y="19"/>
              </a:cxn>
              <a:cxn ang="0">
                <a:pos x="27" y="19"/>
              </a:cxn>
              <a:cxn ang="0">
                <a:pos x="24" y="17"/>
              </a:cxn>
              <a:cxn ang="0">
                <a:pos x="23" y="17"/>
              </a:cxn>
              <a:cxn ang="0">
                <a:pos x="21" y="17"/>
              </a:cxn>
              <a:cxn ang="0">
                <a:pos x="20" y="16"/>
              </a:cxn>
              <a:cxn ang="0">
                <a:pos x="19" y="16"/>
              </a:cxn>
              <a:cxn ang="0">
                <a:pos x="16" y="16"/>
              </a:cxn>
              <a:cxn ang="0">
                <a:pos x="15" y="16"/>
              </a:cxn>
              <a:cxn ang="0">
                <a:pos x="13" y="16"/>
              </a:cxn>
              <a:cxn ang="0">
                <a:pos x="13" y="14"/>
              </a:cxn>
              <a:cxn ang="0">
                <a:pos x="11" y="14"/>
              </a:cxn>
              <a:cxn ang="0">
                <a:pos x="9" y="14"/>
              </a:cxn>
              <a:cxn ang="0">
                <a:pos x="7" y="12"/>
              </a:cxn>
              <a:cxn ang="0">
                <a:pos x="8" y="11"/>
              </a:cxn>
              <a:cxn ang="0">
                <a:pos x="7" y="11"/>
              </a:cxn>
              <a:cxn ang="0">
                <a:pos x="4" y="12"/>
              </a:cxn>
              <a:cxn ang="0">
                <a:pos x="3" y="12"/>
              </a:cxn>
              <a:cxn ang="0">
                <a:pos x="3" y="11"/>
              </a:cxn>
              <a:cxn ang="0">
                <a:pos x="1" y="11"/>
              </a:cxn>
              <a:cxn ang="0">
                <a:pos x="0" y="9"/>
              </a:cxn>
              <a:cxn ang="0">
                <a:pos x="0" y="8"/>
              </a:cxn>
              <a:cxn ang="0">
                <a:pos x="1" y="8"/>
              </a:cxn>
              <a:cxn ang="0">
                <a:pos x="3" y="8"/>
              </a:cxn>
              <a:cxn ang="0">
                <a:pos x="1" y="8"/>
              </a:cxn>
              <a:cxn ang="0">
                <a:pos x="3" y="6"/>
              </a:cxn>
              <a:cxn ang="0">
                <a:pos x="5" y="6"/>
              </a:cxn>
              <a:cxn ang="0">
                <a:pos x="9" y="6"/>
              </a:cxn>
              <a:cxn ang="0">
                <a:pos x="7" y="6"/>
              </a:cxn>
              <a:cxn ang="0">
                <a:pos x="7" y="5"/>
              </a:cxn>
              <a:cxn ang="0">
                <a:pos x="8" y="5"/>
              </a:cxn>
              <a:cxn ang="0">
                <a:pos x="11" y="5"/>
              </a:cxn>
              <a:cxn ang="0">
                <a:pos x="11" y="3"/>
              </a:cxn>
              <a:cxn ang="0">
                <a:pos x="8" y="3"/>
              </a:cxn>
              <a:cxn ang="0">
                <a:pos x="5" y="5"/>
              </a:cxn>
              <a:cxn ang="0">
                <a:pos x="5" y="3"/>
              </a:cxn>
              <a:cxn ang="0">
                <a:pos x="7" y="3"/>
              </a:cxn>
              <a:cxn ang="0">
                <a:pos x="12" y="3"/>
              </a:cxn>
              <a:cxn ang="0">
                <a:pos x="11" y="1"/>
              </a:cxn>
              <a:cxn ang="0">
                <a:pos x="17" y="0"/>
              </a:cxn>
              <a:cxn ang="0">
                <a:pos x="20" y="0"/>
              </a:cxn>
              <a:cxn ang="0">
                <a:pos x="23" y="0"/>
              </a:cxn>
            </a:cxnLst>
            <a:rect l="0" t="0" r="r" b="b"/>
            <a:pathLst>
              <a:path w="44" h="19">
                <a:moveTo>
                  <a:pt x="23" y="0"/>
                </a:moveTo>
                <a:lnTo>
                  <a:pt x="28" y="1"/>
                </a:lnTo>
                <a:lnTo>
                  <a:pt x="31" y="3"/>
                </a:lnTo>
                <a:lnTo>
                  <a:pt x="33" y="3"/>
                </a:lnTo>
                <a:lnTo>
                  <a:pt x="35" y="3"/>
                </a:lnTo>
                <a:lnTo>
                  <a:pt x="36" y="5"/>
                </a:lnTo>
                <a:lnTo>
                  <a:pt x="36" y="6"/>
                </a:lnTo>
                <a:lnTo>
                  <a:pt x="38" y="5"/>
                </a:lnTo>
                <a:lnTo>
                  <a:pt x="40" y="6"/>
                </a:lnTo>
                <a:lnTo>
                  <a:pt x="42" y="8"/>
                </a:lnTo>
                <a:lnTo>
                  <a:pt x="44" y="8"/>
                </a:lnTo>
                <a:lnTo>
                  <a:pt x="42" y="9"/>
                </a:lnTo>
                <a:lnTo>
                  <a:pt x="44" y="9"/>
                </a:lnTo>
                <a:lnTo>
                  <a:pt x="42" y="11"/>
                </a:lnTo>
                <a:lnTo>
                  <a:pt x="44" y="14"/>
                </a:lnTo>
                <a:lnTo>
                  <a:pt x="44" y="17"/>
                </a:lnTo>
                <a:lnTo>
                  <a:pt x="42" y="17"/>
                </a:lnTo>
                <a:lnTo>
                  <a:pt x="41" y="19"/>
                </a:lnTo>
                <a:lnTo>
                  <a:pt x="37" y="19"/>
                </a:lnTo>
                <a:lnTo>
                  <a:pt x="33" y="19"/>
                </a:lnTo>
                <a:lnTo>
                  <a:pt x="31" y="19"/>
                </a:lnTo>
                <a:lnTo>
                  <a:pt x="27" y="19"/>
                </a:lnTo>
                <a:lnTo>
                  <a:pt x="24" y="17"/>
                </a:lnTo>
                <a:lnTo>
                  <a:pt x="23" y="17"/>
                </a:lnTo>
                <a:lnTo>
                  <a:pt x="21" y="17"/>
                </a:lnTo>
                <a:lnTo>
                  <a:pt x="20" y="16"/>
                </a:lnTo>
                <a:lnTo>
                  <a:pt x="19" y="16"/>
                </a:lnTo>
                <a:lnTo>
                  <a:pt x="16" y="16"/>
                </a:lnTo>
                <a:lnTo>
                  <a:pt x="15" y="16"/>
                </a:lnTo>
                <a:lnTo>
                  <a:pt x="13" y="16"/>
                </a:lnTo>
                <a:lnTo>
                  <a:pt x="13" y="14"/>
                </a:lnTo>
                <a:lnTo>
                  <a:pt x="11" y="14"/>
                </a:lnTo>
                <a:lnTo>
                  <a:pt x="9" y="14"/>
                </a:lnTo>
                <a:lnTo>
                  <a:pt x="7" y="12"/>
                </a:lnTo>
                <a:lnTo>
                  <a:pt x="8" y="11"/>
                </a:lnTo>
                <a:lnTo>
                  <a:pt x="7" y="11"/>
                </a:lnTo>
                <a:lnTo>
                  <a:pt x="4" y="12"/>
                </a:lnTo>
                <a:lnTo>
                  <a:pt x="3" y="12"/>
                </a:lnTo>
                <a:lnTo>
                  <a:pt x="3" y="11"/>
                </a:lnTo>
                <a:lnTo>
                  <a:pt x="1" y="11"/>
                </a:lnTo>
                <a:lnTo>
                  <a:pt x="0" y="9"/>
                </a:lnTo>
                <a:lnTo>
                  <a:pt x="0" y="8"/>
                </a:lnTo>
                <a:lnTo>
                  <a:pt x="1" y="8"/>
                </a:lnTo>
                <a:lnTo>
                  <a:pt x="3" y="8"/>
                </a:lnTo>
                <a:lnTo>
                  <a:pt x="1" y="8"/>
                </a:lnTo>
                <a:lnTo>
                  <a:pt x="3" y="6"/>
                </a:lnTo>
                <a:lnTo>
                  <a:pt x="5" y="6"/>
                </a:lnTo>
                <a:lnTo>
                  <a:pt x="9" y="6"/>
                </a:lnTo>
                <a:lnTo>
                  <a:pt x="7" y="6"/>
                </a:lnTo>
                <a:lnTo>
                  <a:pt x="7" y="5"/>
                </a:lnTo>
                <a:lnTo>
                  <a:pt x="8" y="5"/>
                </a:lnTo>
                <a:lnTo>
                  <a:pt x="11" y="5"/>
                </a:lnTo>
                <a:lnTo>
                  <a:pt x="11" y="3"/>
                </a:lnTo>
                <a:lnTo>
                  <a:pt x="8" y="3"/>
                </a:lnTo>
                <a:lnTo>
                  <a:pt x="5" y="5"/>
                </a:lnTo>
                <a:lnTo>
                  <a:pt x="5" y="3"/>
                </a:lnTo>
                <a:lnTo>
                  <a:pt x="7" y="3"/>
                </a:lnTo>
                <a:lnTo>
                  <a:pt x="12" y="3"/>
                </a:lnTo>
                <a:lnTo>
                  <a:pt x="11" y="1"/>
                </a:lnTo>
                <a:lnTo>
                  <a:pt x="17" y="0"/>
                </a:lnTo>
                <a:lnTo>
                  <a:pt x="20" y="0"/>
                </a:lnTo>
                <a:lnTo>
                  <a:pt x="23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09" name="Freeform 709"/>
          <p:cNvSpPr>
            <a:spLocks/>
          </p:cNvSpPr>
          <p:nvPr/>
        </p:nvSpPr>
        <p:spPr bwMode="auto">
          <a:xfrm>
            <a:off x="2897365" y="1674782"/>
            <a:ext cx="83800" cy="36511"/>
          </a:xfrm>
          <a:custGeom>
            <a:avLst/>
            <a:gdLst/>
            <a:ahLst/>
            <a:cxnLst>
              <a:cxn ang="0">
                <a:pos x="23" y="0"/>
              </a:cxn>
              <a:cxn ang="0">
                <a:pos x="28" y="1"/>
              </a:cxn>
              <a:cxn ang="0">
                <a:pos x="31" y="3"/>
              </a:cxn>
              <a:cxn ang="0">
                <a:pos x="33" y="3"/>
              </a:cxn>
              <a:cxn ang="0">
                <a:pos x="35" y="3"/>
              </a:cxn>
              <a:cxn ang="0">
                <a:pos x="36" y="5"/>
              </a:cxn>
              <a:cxn ang="0">
                <a:pos x="36" y="6"/>
              </a:cxn>
              <a:cxn ang="0">
                <a:pos x="38" y="5"/>
              </a:cxn>
              <a:cxn ang="0">
                <a:pos x="40" y="6"/>
              </a:cxn>
              <a:cxn ang="0">
                <a:pos x="42" y="8"/>
              </a:cxn>
              <a:cxn ang="0">
                <a:pos x="44" y="8"/>
              </a:cxn>
              <a:cxn ang="0">
                <a:pos x="42" y="9"/>
              </a:cxn>
              <a:cxn ang="0">
                <a:pos x="44" y="9"/>
              </a:cxn>
              <a:cxn ang="0">
                <a:pos x="42" y="11"/>
              </a:cxn>
              <a:cxn ang="0">
                <a:pos x="44" y="14"/>
              </a:cxn>
              <a:cxn ang="0">
                <a:pos x="44" y="17"/>
              </a:cxn>
              <a:cxn ang="0">
                <a:pos x="42" y="17"/>
              </a:cxn>
              <a:cxn ang="0">
                <a:pos x="41" y="19"/>
              </a:cxn>
              <a:cxn ang="0">
                <a:pos x="37" y="19"/>
              </a:cxn>
              <a:cxn ang="0">
                <a:pos x="33" y="19"/>
              </a:cxn>
              <a:cxn ang="0">
                <a:pos x="31" y="19"/>
              </a:cxn>
              <a:cxn ang="0">
                <a:pos x="27" y="19"/>
              </a:cxn>
              <a:cxn ang="0">
                <a:pos x="24" y="17"/>
              </a:cxn>
              <a:cxn ang="0">
                <a:pos x="23" y="17"/>
              </a:cxn>
              <a:cxn ang="0">
                <a:pos x="21" y="17"/>
              </a:cxn>
              <a:cxn ang="0">
                <a:pos x="20" y="16"/>
              </a:cxn>
              <a:cxn ang="0">
                <a:pos x="19" y="16"/>
              </a:cxn>
              <a:cxn ang="0">
                <a:pos x="16" y="16"/>
              </a:cxn>
              <a:cxn ang="0">
                <a:pos x="15" y="16"/>
              </a:cxn>
              <a:cxn ang="0">
                <a:pos x="13" y="16"/>
              </a:cxn>
              <a:cxn ang="0">
                <a:pos x="13" y="14"/>
              </a:cxn>
              <a:cxn ang="0">
                <a:pos x="11" y="14"/>
              </a:cxn>
              <a:cxn ang="0">
                <a:pos x="9" y="14"/>
              </a:cxn>
              <a:cxn ang="0">
                <a:pos x="7" y="12"/>
              </a:cxn>
              <a:cxn ang="0">
                <a:pos x="8" y="11"/>
              </a:cxn>
              <a:cxn ang="0">
                <a:pos x="7" y="11"/>
              </a:cxn>
              <a:cxn ang="0">
                <a:pos x="4" y="12"/>
              </a:cxn>
              <a:cxn ang="0">
                <a:pos x="3" y="12"/>
              </a:cxn>
              <a:cxn ang="0">
                <a:pos x="3" y="11"/>
              </a:cxn>
              <a:cxn ang="0">
                <a:pos x="1" y="11"/>
              </a:cxn>
              <a:cxn ang="0">
                <a:pos x="0" y="9"/>
              </a:cxn>
              <a:cxn ang="0">
                <a:pos x="0" y="8"/>
              </a:cxn>
              <a:cxn ang="0">
                <a:pos x="1" y="8"/>
              </a:cxn>
              <a:cxn ang="0">
                <a:pos x="3" y="8"/>
              </a:cxn>
              <a:cxn ang="0">
                <a:pos x="1" y="8"/>
              </a:cxn>
              <a:cxn ang="0">
                <a:pos x="3" y="6"/>
              </a:cxn>
              <a:cxn ang="0">
                <a:pos x="5" y="6"/>
              </a:cxn>
              <a:cxn ang="0">
                <a:pos x="9" y="6"/>
              </a:cxn>
              <a:cxn ang="0">
                <a:pos x="7" y="6"/>
              </a:cxn>
              <a:cxn ang="0">
                <a:pos x="7" y="5"/>
              </a:cxn>
              <a:cxn ang="0">
                <a:pos x="8" y="5"/>
              </a:cxn>
              <a:cxn ang="0">
                <a:pos x="11" y="5"/>
              </a:cxn>
              <a:cxn ang="0">
                <a:pos x="11" y="3"/>
              </a:cxn>
              <a:cxn ang="0">
                <a:pos x="8" y="3"/>
              </a:cxn>
              <a:cxn ang="0">
                <a:pos x="5" y="5"/>
              </a:cxn>
              <a:cxn ang="0">
                <a:pos x="5" y="3"/>
              </a:cxn>
              <a:cxn ang="0">
                <a:pos x="7" y="3"/>
              </a:cxn>
              <a:cxn ang="0">
                <a:pos x="12" y="3"/>
              </a:cxn>
              <a:cxn ang="0">
                <a:pos x="11" y="1"/>
              </a:cxn>
              <a:cxn ang="0">
                <a:pos x="17" y="0"/>
              </a:cxn>
              <a:cxn ang="0">
                <a:pos x="20" y="0"/>
              </a:cxn>
              <a:cxn ang="0">
                <a:pos x="23" y="0"/>
              </a:cxn>
            </a:cxnLst>
            <a:rect l="0" t="0" r="r" b="b"/>
            <a:pathLst>
              <a:path w="44" h="19">
                <a:moveTo>
                  <a:pt x="23" y="0"/>
                </a:moveTo>
                <a:lnTo>
                  <a:pt x="28" y="1"/>
                </a:lnTo>
                <a:lnTo>
                  <a:pt x="31" y="3"/>
                </a:lnTo>
                <a:lnTo>
                  <a:pt x="33" y="3"/>
                </a:lnTo>
                <a:lnTo>
                  <a:pt x="35" y="3"/>
                </a:lnTo>
                <a:lnTo>
                  <a:pt x="36" y="5"/>
                </a:lnTo>
                <a:lnTo>
                  <a:pt x="36" y="6"/>
                </a:lnTo>
                <a:lnTo>
                  <a:pt x="38" y="5"/>
                </a:lnTo>
                <a:lnTo>
                  <a:pt x="40" y="6"/>
                </a:lnTo>
                <a:lnTo>
                  <a:pt x="42" y="8"/>
                </a:lnTo>
                <a:lnTo>
                  <a:pt x="44" y="8"/>
                </a:lnTo>
                <a:lnTo>
                  <a:pt x="42" y="9"/>
                </a:lnTo>
                <a:lnTo>
                  <a:pt x="44" y="9"/>
                </a:lnTo>
                <a:lnTo>
                  <a:pt x="42" y="11"/>
                </a:lnTo>
                <a:lnTo>
                  <a:pt x="44" y="14"/>
                </a:lnTo>
                <a:lnTo>
                  <a:pt x="44" y="17"/>
                </a:lnTo>
                <a:lnTo>
                  <a:pt x="42" y="17"/>
                </a:lnTo>
                <a:lnTo>
                  <a:pt x="41" y="19"/>
                </a:lnTo>
                <a:lnTo>
                  <a:pt x="37" y="19"/>
                </a:lnTo>
                <a:lnTo>
                  <a:pt x="33" y="19"/>
                </a:lnTo>
                <a:lnTo>
                  <a:pt x="31" y="19"/>
                </a:lnTo>
                <a:lnTo>
                  <a:pt x="27" y="19"/>
                </a:lnTo>
                <a:lnTo>
                  <a:pt x="24" y="17"/>
                </a:lnTo>
                <a:lnTo>
                  <a:pt x="23" y="17"/>
                </a:lnTo>
                <a:lnTo>
                  <a:pt x="21" y="17"/>
                </a:lnTo>
                <a:lnTo>
                  <a:pt x="20" y="16"/>
                </a:lnTo>
                <a:lnTo>
                  <a:pt x="19" y="16"/>
                </a:lnTo>
                <a:lnTo>
                  <a:pt x="16" y="16"/>
                </a:lnTo>
                <a:lnTo>
                  <a:pt x="15" y="16"/>
                </a:lnTo>
                <a:lnTo>
                  <a:pt x="13" y="16"/>
                </a:lnTo>
                <a:lnTo>
                  <a:pt x="13" y="14"/>
                </a:lnTo>
                <a:lnTo>
                  <a:pt x="11" y="14"/>
                </a:lnTo>
                <a:lnTo>
                  <a:pt x="9" y="14"/>
                </a:lnTo>
                <a:lnTo>
                  <a:pt x="7" y="12"/>
                </a:lnTo>
                <a:lnTo>
                  <a:pt x="8" y="11"/>
                </a:lnTo>
                <a:lnTo>
                  <a:pt x="7" y="11"/>
                </a:lnTo>
                <a:lnTo>
                  <a:pt x="4" y="12"/>
                </a:lnTo>
                <a:lnTo>
                  <a:pt x="3" y="12"/>
                </a:lnTo>
                <a:lnTo>
                  <a:pt x="3" y="11"/>
                </a:lnTo>
                <a:lnTo>
                  <a:pt x="1" y="11"/>
                </a:lnTo>
                <a:lnTo>
                  <a:pt x="0" y="9"/>
                </a:lnTo>
                <a:lnTo>
                  <a:pt x="0" y="8"/>
                </a:lnTo>
                <a:lnTo>
                  <a:pt x="1" y="8"/>
                </a:lnTo>
                <a:lnTo>
                  <a:pt x="3" y="8"/>
                </a:lnTo>
                <a:lnTo>
                  <a:pt x="1" y="8"/>
                </a:lnTo>
                <a:lnTo>
                  <a:pt x="3" y="6"/>
                </a:lnTo>
                <a:lnTo>
                  <a:pt x="5" y="6"/>
                </a:lnTo>
                <a:lnTo>
                  <a:pt x="9" y="6"/>
                </a:lnTo>
                <a:lnTo>
                  <a:pt x="7" y="6"/>
                </a:lnTo>
                <a:lnTo>
                  <a:pt x="7" y="5"/>
                </a:lnTo>
                <a:lnTo>
                  <a:pt x="8" y="5"/>
                </a:lnTo>
                <a:lnTo>
                  <a:pt x="11" y="5"/>
                </a:lnTo>
                <a:lnTo>
                  <a:pt x="11" y="3"/>
                </a:lnTo>
                <a:lnTo>
                  <a:pt x="8" y="3"/>
                </a:lnTo>
                <a:lnTo>
                  <a:pt x="5" y="5"/>
                </a:lnTo>
                <a:lnTo>
                  <a:pt x="5" y="3"/>
                </a:lnTo>
                <a:lnTo>
                  <a:pt x="7" y="3"/>
                </a:lnTo>
                <a:lnTo>
                  <a:pt x="12" y="3"/>
                </a:lnTo>
                <a:lnTo>
                  <a:pt x="11" y="1"/>
                </a:lnTo>
                <a:lnTo>
                  <a:pt x="17" y="0"/>
                </a:lnTo>
                <a:lnTo>
                  <a:pt x="20" y="0"/>
                </a:lnTo>
                <a:lnTo>
                  <a:pt x="23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10" name="Freeform 710"/>
          <p:cNvSpPr>
            <a:spLocks/>
          </p:cNvSpPr>
          <p:nvPr/>
        </p:nvSpPr>
        <p:spPr bwMode="auto">
          <a:xfrm>
            <a:off x="3166301" y="2018401"/>
            <a:ext cx="198778" cy="98790"/>
          </a:xfrm>
          <a:custGeom>
            <a:avLst/>
            <a:gdLst/>
            <a:ahLst/>
            <a:cxnLst>
              <a:cxn ang="0">
                <a:pos x="23" y="0"/>
              </a:cxn>
              <a:cxn ang="0">
                <a:pos x="25" y="2"/>
              </a:cxn>
              <a:cxn ang="0">
                <a:pos x="30" y="3"/>
              </a:cxn>
              <a:cxn ang="0">
                <a:pos x="30" y="6"/>
              </a:cxn>
              <a:cxn ang="0">
                <a:pos x="33" y="11"/>
              </a:cxn>
              <a:cxn ang="0">
                <a:pos x="35" y="10"/>
              </a:cxn>
              <a:cxn ang="0">
                <a:pos x="41" y="8"/>
              </a:cxn>
              <a:cxn ang="0">
                <a:pos x="46" y="10"/>
              </a:cxn>
              <a:cxn ang="0">
                <a:pos x="49" y="13"/>
              </a:cxn>
              <a:cxn ang="0">
                <a:pos x="57" y="14"/>
              </a:cxn>
              <a:cxn ang="0">
                <a:pos x="61" y="17"/>
              </a:cxn>
              <a:cxn ang="0">
                <a:pos x="66" y="19"/>
              </a:cxn>
              <a:cxn ang="0">
                <a:pos x="73" y="21"/>
              </a:cxn>
              <a:cxn ang="0">
                <a:pos x="78" y="22"/>
              </a:cxn>
              <a:cxn ang="0">
                <a:pos x="81" y="25"/>
              </a:cxn>
              <a:cxn ang="0">
                <a:pos x="83" y="30"/>
              </a:cxn>
              <a:cxn ang="0">
                <a:pos x="85" y="33"/>
              </a:cxn>
              <a:cxn ang="0">
                <a:pos x="89" y="32"/>
              </a:cxn>
              <a:cxn ang="0">
                <a:pos x="94" y="32"/>
              </a:cxn>
              <a:cxn ang="0">
                <a:pos x="97" y="33"/>
              </a:cxn>
              <a:cxn ang="0">
                <a:pos x="99" y="35"/>
              </a:cxn>
              <a:cxn ang="0">
                <a:pos x="105" y="36"/>
              </a:cxn>
              <a:cxn ang="0">
                <a:pos x="103" y="38"/>
              </a:cxn>
              <a:cxn ang="0">
                <a:pos x="97" y="41"/>
              </a:cxn>
              <a:cxn ang="0">
                <a:pos x="91" y="43"/>
              </a:cxn>
              <a:cxn ang="0">
                <a:pos x="86" y="41"/>
              </a:cxn>
              <a:cxn ang="0">
                <a:pos x="82" y="39"/>
              </a:cxn>
              <a:cxn ang="0">
                <a:pos x="78" y="39"/>
              </a:cxn>
              <a:cxn ang="0">
                <a:pos x="75" y="39"/>
              </a:cxn>
              <a:cxn ang="0">
                <a:pos x="71" y="38"/>
              </a:cxn>
              <a:cxn ang="0">
                <a:pos x="71" y="35"/>
              </a:cxn>
              <a:cxn ang="0">
                <a:pos x="65" y="33"/>
              </a:cxn>
              <a:cxn ang="0">
                <a:pos x="63" y="35"/>
              </a:cxn>
              <a:cxn ang="0">
                <a:pos x="62" y="32"/>
              </a:cxn>
              <a:cxn ang="0">
                <a:pos x="63" y="30"/>
              </a:cxn>
              <a:cxn ang="0">
                <a:pos x="54" y="32"/>
              </a:cxn>
              <a:cxn ang="0">
                <a:pos x="53" y="35"/>
              </a:cxn>
              <a:cxn ang="0">
                <a:pos x="53" y="38"/>
              </a:cxn>
              <a:cxn ang="0">
                <a:pos x="50" y="39"/>
              </a:cxn>
              <a:cxn ang="0">
                <a:pos x="47" y="39"/>
              </a:cxn>
              <a:cxn ang="0">
                <a:pos x="43" y="41"/>
              </a:cxn>
              <a:cxn ang="0">
                <a:pos x="41" y="44"/>
              </a:cxn>
              <a:cxn ang="0">
                <a:pos x="39" y="46"/>
              </a:cxn>
              <a:cxn ang="0">
                <a:pos x="29" y="49"/>
              </a:cxn>
              <a:cxn ang="0">
                <a:pos x="26" y="49"/>
              </a:cxn>
              <a:cxn ang="0">
                <a:pos x="23" y="43"/>
              </a:cxn>
              <a:cxn ang="0">
                <a:pos x="22" y="39"/>
              </a:cxn>
              <a:cxn ang="0">
                <a:pos x="21" y="36"/>
              </a:cxn>
              <a:cxn ang="0">
                <a:pos x="18" y="39"/>
              </a:cxn>
              <a:cxn ang="0">
                <a:pos x="13" y="39"/>
              </a:cxn>
              <a:cxn ang="0">
                <a:pos x="9" y="39"/>
              </a:cxn>
              <a:cxn ang="0">
                <a:pos x="2" y="41"/>
              </a:cxn>
              <a:cxn ang="0">
                <a:pos x="0" y="39"/>
              </a:cxn>
              <a:cxn ang="0">
                <a:pos x="5" y="35"/>
              </a:cxn>
              <a:cxn ang="0">
                <a:pos x="14" y="30"/>
              </a:cxn>
              <a:cxn ang="0">
                <a:pos x="11" y="25"/>
              </a:cxn>
              <a:cxn ang="0">
                <a:pos x="13" y="21"/>
              </a:cxn>
              <a:cxn ang="0">
                <a:pos x="14" y="17"/>
              </a:cxn>
              <a:cxn ang="0">
                <a:pos x="15" y="14"/>
              </a:cxn>
              <a:cxn ang="0">
                <a:pos x="15" y="8"/>
              </a:cxn>
              <a:cxn ang="0">
                <a:pos x="18" y="3"/>
              </a:cxn>
              <a:cxn ang="0">
                <a:pos x="21" y="2"/>
              </a:cxn>
            </a:cxnLst>
            <a:rect l="0" t="0" r="r" b="b"/>
            <a:pathLst>
              <a:path w="105" h="49">
                <a:moveTo>
                  <a:pt x="21" y="2"/>
                </a:moveTo>
                <a:lnTo>
                  <a:pt x="23" y="0"/>
                </a:lnTo>
                <a:lnTo>
                  <a:pt x="25" y="0"/>
                </a:lnTo>
                <a:lnTo>
                  <a:pt x="25" y="2"/>
                </a:lnTo>
                <a:lnTo>
                  <a:pt x="29" y="2"/>
                </a:lnTo>
                <a:lnTo>
                  <a:pt x="30" y="3"/>
                </a:lnTo>
                <a:lnTo>
                  <a:pt x="31" y="5"/>
                </a:lnTo>
                <a:lnTo>
                  <a:pt x="30" y="6"/>
                </a:lnTo>
                <a:lnTo>
                  <a:pt x="31" y="8"/>
                </a:lnTo>
                <a:lnTo>
                  <a:pt x="33" y="11"/>
                </a:lnTo>
                <a:lnTo>
                  <a:pt x="34" y="11"/>
                </a:lnTo>
                <a:lnTo>
                  <a:pt x="35" y="10"/>
                </a:lnTo>
                <a:lnTo>
                  <a:pt x="38" y="8"/>
                </a:lnTo>
                <a:lnTo>
                  <a:pt x="41" y="8"/>
                </a:lnTo>
                <a:lnTo>
                  <a:pt x="43" y="10"/>
                </a:lnTo>
                <a:lnTo>
                  <a:pt x="46" y="10"/>
                </a:lnTo>
                <a:lnTo>
                  <a:pt x="46" y="11"/>
                </a:lnTo>
                <a:lnTo>
                  <a:pt x="49" y="13"/>
                </a:lnTo>
                <a:lnTo>
                  <a:pt x="57" y="13"/>
                </a:lnTo>
                <a:lnTo>
                  <a:pt x="57" y="14"/>
                </a:lnTo>
                <a:lnTo>
                  <a:pt x="58" y="16"/>
                </a:lnTo>
                <a:lnTo>
                  <a:pt x="61" y="17"/>
                </a:lnTo>
                <a:lnTo>
                  <a:pt x="63" y="17"/>
                </a:lnTo>
                <a:lnTo>
                  <a:pt x="66" y="19"/>
                </a:lnTo>
                <a:lnTo>
                  <a:pt x="70" y="21"/>
                </a:lnTo>
                <a:lnTo>
                  <a:pt x="73" y="21"/>
                </a:lnTo>
                <a:lnTo>
                  <a:pt x="75" y="21"/>
                </a:lnTo>
                <a:lnTo>
                  <a:pt x="78" y="22"/>
                </a:lnTo>
                <a:lnTo>
                  <a:pt x="79" y="24"/>
                </a:lnTo>
                <a:lnTo>
                  <a:pt x="81" y="25"/>
                </a:lnTo>
                <a:lnTo>
                  <a:pt x="82" y="28"/>
                </a:lnTo>
                <a:lnTo>
                  <a:pt x="83" y="30"/>
                </a:lnTo>
                <a:lnTo>
                  <a:pt x="82" y="32"/>
                </a:lnTo>
                <a:lnTo>
                  <a:pt x="85" y="33"/>
                </a:lnTo>
                <a:lnTo>
                  <a:pt x="87" y="32"/>
                </a:lnTo>
                <a:lnTo>
                  <a:pt x="89" y="32"/>
                </a:lnTo>
                <a:lnTo>
                  <a:pt x="90" y="33"/>
                </a:lnTo>
                <a:lnTo>
                  <a:pt x="94" y="32"/>
                </a:lnTo>
                <a:lnTo>
                  <a:pt x="95" y="32"/>
                </a:lnTo>
                <a:lnTo>
                  <a:pt x="97" y="33"/>
                </a:lnTo>
                <a:lnTo>
                  <a:pt x="99" y="33"/>
                </a:lnTo>
                <a:lnTo>
                  <a:pt x="99" y="35"/>
                </a:lnTo>
                <a:lnTo>
                  <a:pt x="99" y="36"/>
                </a:lnTo>
                <a:lnTo>
                  <a:pt x="105" y="36"/>
                </a:lnTo>
                <a:lnTo>
                  <a:pt x="105" y="38"/>
                </a:lnTo>
                <a:lnTo>
                  <a:pt x="103" y="38"/>
                </a:lnTo>
                <a:lnTo>
                  <a:pt x="98" y="39"/>
                </a:lnTo>
                <a:lnTo>
                  <a:pt x="97" y="41"/>
                </a:lnTo>
                <a:lnTo>
                  <a:pt x="94" y="43"/>
                </a:lnTo>
                <a:lnTo>
                  <a:pt x="91" y="43"/>
                </a:lnTo>
                <a:lnTo>
                  <a:pt x="87" y="43"/>
                </a:lnTo>
                <a:lnTo>
                  <a:pt x="86" y="41"/>
                </a:lnTo>
                <a:lnTo>
                  <a:pt x="83" y="41"/>
                </a:lnTo>
                <a:lnTo>
                  <a:pt x="82" y="39"/>
                </a:lnTo>
                <a:lnTo>
                  <a:pt x="79" y="39"/>
                </a:lnTo>
                <a:lnTo>
                  <a:pt x="78" y="39"/>
                </a:lnTo>
                <a:lnTo>
                  <a:pt x="77" y="38"/>
                </a:lnTo>
                <a:lnTo>
                  <a:pt x="75" y="39"/>
                </a:lnTo>
                <a:lnTo>
                  <a:pt x="71" y="39"/>
                </a:lnTo>
                <a:lnTo>
                  <a:pt x="71" y="38"/>
                </a:lnTo>
                <a:lnTo>
                  <a:pt x="73" y="36"/>
                </a:lnTo>
                <a:lnTo>
                  <a:pt x="71" y="35"/>
                </a:lnTo>
                <a:lnTo>
                  <a:pt x="70" y="35"/>
                </a:lnTo>
                <a:lnTo>
                  <a:pt x="65" y="33"/>
                </a:lnTo>
                <a:lnTo>
                  <a:pt x="63" y="33"/>
                </a:lnTo>
                <a:lnTo>
                  <a:pt x="63" y="35"/>
                </a:lnTo>
                <a:lnTo>
                  <a:pt x="61" y="33"/>
                </a:lnTo>
                <a:lnTo>
                  <a:pt x="62" y="32"/>
                </a:lnTo>
                <a:lnTo>
                  <a:pt x="65" y="30"/>
                </a:lnTo>
                <a:lnTo>
                  <a:pt x="63" y="30"/>
                </a:lnTo>
                <a:lnTo>
                  <a:pt x="58" y="32"/>
                </a:lnTo>
                <a:lnTo>
                  <a:pt x="54" y="32"/>
                </a:lnTo>
                <a:lnTo>
                  <a:pt x="54" y="33"/>
                </a:lnTo>
                <a:lnTo>
                  <a:pt x="53" y="35"/>
                </a:lnTo>
                <a:lnTo>
                  <a:pt x="54" y="36"/>
                </a:lnTo>
                <a:lnTo>
                  <a:pt x="53" y="38"/>
                </a:lnTo>
                <a:lnTo>
                  <a:pt x="51" y="38"/>
                </a:lnTo>
                <a:lnTo>
                  <a:pt x="50" y="39"/>
                </a:lnTo>
                <a:lnTo>
                  <a:pt x="49" y="39"/>
                </a:lnTo>
                <a:lnTo>
                  <a:pt x="47" y="39"/>
                </a:lnTo>
                <a:lnTo>
                  <a:pt x="46" y="41"/>
                </a:lnTo>
                <a:lnTo>
                  <a:pt x="43" y="41"/>
                </a:lnTo>
                <a:lnTo>
                  <a:pt x="42" y="43"/>
                </a:lnTo>
                <a:lnTo>
                  <a:pt x="41" y="44"/>
                </a:lnTo>
                <a:lnTo>
                  <a:pt x="39" y="44"/>
                </a:lnTo>
                <a:lnTo>
                  <a:pt x="39" y="46"/>
                </a:lnTo>
                <a:lnTo>
                  <a:pt x="37" y="46"/>
                </a:lnTo>
                <a:lnTo>
                  <a:pt x="29" y="49"/>
                </a:lnTo>
                <a:lnTo>
                  <a:pt x="27" y="47"/>
                </a:lnTo>
                <a:lnTo>
                  <a:pt x="26" y="49"/>
                </a:lnTo>
                <a:lnTo>
                  <a:pt x="23" y="46"/>
                </a:lnTo>
                <a:lnTo>
                  <a:pt x="23" y="43"/>
                </a:lnTo>
                <a:lnTo>
                  <a:pt x="23" y="39"/>
                </a:lnTo>
                <a:lnTo>
                  <a:pt x="22" y="39"/>
                </a:lnTo>
                <a:lnTo>
                  <a:pt x="22" y="36"/>
                </a:lnTo>
                <a:lnTo>
                  <a:pt x="21" y="36"/>
                </a:lnTo>
                <a:lnTo>
                  <a:pt x="21" y="38"/>
                </a:lnTo>
                <a:lnTo>
                  <a:pt x="18" y="39"/>
                </a:lnTo>
                <a:lnTo>
                  <a:pt x="17" y="39"/>
                </a:lnTo>
                <a:lnTo>
                  <a:pt x="13" y="39"/>
                </a:lnTo>
                <a:lnTo>
                  <a:pt x="11" y="39"/>
                </a:lnTo>
                <a:lnTo>
                  <a:pt x="9" y="39"/>
                </a:lnTo>
                <a:lnTo>
                  <a:pt x="6" y="41"/>
                </a:lnTo>
                <a:lnTo>
                  <a:pt x="2" y="41"/>
                </a:lnTo>
                <a:lnTo>
                  <a:pt x="1" y="41"/>
                </a:lnTo>
                <a:lnTo>
                  <a:pt x="0" y="39"/>
                </a:lnTo>
                <a:lnTo>
                  <a:pt x="2" y="35"/>
                </a:lnTo>
                <a:lnTo>
                  <a:pt x="5" y="35"/>
                </a:lnTo>
                <a:lnTo>
                  <a:pt x="9" y="33"/>
                </a:lnTo>
                <a:lnTo>
                  <a:pt x="14" y="30"/>
                </a:lnTo>
                <a:lnTo>
                  <a:pt x="13" y="28"/>
                </a:lnTo>
                <a:lnTo>
                  <a:pt x="11" y="25"/>
                </a:lnTo>
                <a:lnTo>
                  <a:pt x="11" y="24"/>
                </a:lnTo>
                <a:lnTo>
                  <a:pt x="13" y="21"/>
                </a:lnTo>
                <a:lnTo>
                  <a:pt x="14" y="19"/>
                </a:lnTo>
                <a:lnTo>
                  <a:pt x="14" y="17"/>
                </a:lnTo>
                <a:lnTo>
                  <a:pt x="14" y="16"/>
                </a:lnTo>
                <a:lnTo>
                  <a:pt x="15" y="14"/>
                </a:lnTo>
                <a:lnTo>
                  <a:pt x="15" y="10"/>
                </a:lnTo>
                <a:lnTo>
                  <a:pt x="15" y="8"/>
                </a:lnTo>
                <a:lnTo>
                  <a:pt x="17" y="6"/>
                </a:lnTo>
                <a:lnTo>
                  <a:pt x="18" y="3"/>
                </a:lnTo>
                <a:lnTo>
                  <a:pt x="19" y="2"/>
                </a:lnTo>
                <a:lnTo>
                  <a:pt x="21" y="2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11" name="Freeform 711"/>
          <p:cNvSpPr>
            <a:spLocks/>
          </p:cNvSpPr>
          <p:nvPr/>
        </p:nvSpPr>
        <p:spPr bwMode="auto">
          <a:xfrm>
            <a:off x="3166301" y="2018401"/>
            <a:ext cx="198778" cy="98790"/>
          </a:xfrm>
          <a:custGeom>
            <a:avLst/>
            <a:gdLst/>
            <a:ahLst/>
            <a:cxnLst>
              <a:cxn ang="0">
                <a:pos x="23" y="0"/>
              </a:cxn>
              <a:cxn ang="0">
                <a:pos x="25" y="2"/>
              </a:cxn>
              <a:cxn ang="0">
                <a:pos x="30" y="3"/>
              </a:cxn>
              <a:cxn ang="0">
                <a:pos x="30" y="6"/>
              </a:cxn>
              <a:cxn ang="0">
                <a:pos x="33" y="11"/>
              </a:cxn>
              <a:cxn ang="0">
                <a:pos x="35" y="10"/>
              </a:cxn>
              <a:cxn ang="0">
                <a:pos x="41" y="8"/>
              </a:cxn>
              <a:cxn ang="0">
                <a:pos x="46" y="10"/>
              </a:cxn>
              <a:cxn ang="0">
                <a:pos x="49" y="13"/>
              </a:cxn>
              <a:cxn ang="0">
                <a:pos x="57" y="14"/>
              </a:cxn>
              <a:cxn ang="0">
                <a:pos x="61" y="17"/>
              </a:cxn>
              <a:cxn ang="0">
                <a:pos x="66" y="19"/>
              </a:cxn>
              <a:cxn ang="0">
                <a:pos x="73" y="21"/>
              </a:cxn>
              <a:cxn ang="0">
                <a:pos x="78" y="22"/>
              </a:cxn>
              <a:cxn ang="0">
                <a:pos x="81" y="25"/>
              </a:cxn>
              <a:cxn ang="0">
                <a:pos x="83" y="30"/>
              </a:cxn>
              <a:cxn ang="0">
                <a:pos x="85" y="33"/>
              </a:cxn>
              <a:cxn ang="0">
                <a:pos x="89" y="32"/>
              </a:cxn>
              <a:cxn ang="0">
                <a:pos x="94" y="32"/>
              </a:cxn>
              <a:cxn ang="0">
                <a:pos x="97" y="33"/>
              </a:cxn>
              <a:cxn ang="0">
                <a:pos x="99" y="35"/>
              </a:cxn>
              <a:cxn ang="0">
                <a:pos x="105" y="36"/>
              </a:cxn>
              <a:cxn ang="0">
                <a:pos x="103" y="38"/>
              </a:cxn>
              <a:cxn ang="0">
                <a:pos x="97" y="41"/>
              </a:cxn>
              <a:cxn ang="0">
                <a:pos x="91" y="43"/>
              </a:cxn>
              <a:cxn ang="0">
                <a:pos x="86" y="41"/>
              </a:cxn>
              <a:cxn ang="0">
                <a:pos x="82" y="39"/>
              </a:cxn>
              <a:cxn ang="0">
                <a:pos x="78" y="39"/>
              </a:cxn>
              <a:cxn ang="0">
                <a:pos x="75" y="39"/>
              </a:cxn>
              <a:cxn ang="0">
                <a:pos x="71" y="38"/>
              </a:cxn>
              <a:cxn ang="0">
                <a:pos x="71" y="35"/>
              </a:cxn>
              <a:cxn ang="0">
                <a:pos x="65" y="33"/>
              </a:cxn>
              <a:cxn ang="0">
                <a:pos x="63" y="35"/>
              </a:cxn>
              <a:cxn ang="0">
                <a:pos x="62" y="32"/>
              </a:cxn>
              <a:cxn ang="0">
                <a:pos x="63" y="30"/>
              </a:cxn>
              <a:cxn ang="0">
                <a:pos x="54" y="32"/>
              </a:cxn>
              <a:cxn ang="0">
                <a:pos x="53" y="35"/>
              </a:cxn>
              <a:cxn ang="0">
                <a:pos x="53" y="38"/>
              </a:cxn>
              <a:cxn ang="0">
                <a:pos x="50" y="39"/>
              </a:cxn>
              <a:cxn ang="0">
                <a:pos x="47" y="39"/>
              </a:cxn>
              <a:cxn ang="0">
                <a:pos x="43" y="41"/>
              </a:cxn>
              <a:cxn ang="0">
                <a:pos x="41" y="44"/>
              </a:cxn>
              <a:cxn ang="0">
                <a:pos x="39" y="46"/>
              </a:cxn>
              <a:cxn ang="0">
                <a:pos x="29" y="49"/>
              </a:cxn>
              <a:cxn ang="0">
                <a:pos x="26" y="49"/>
              </a:cxn>
              <a:cxn ang="0">
                <a:pos x="23" y="43"/>
              </a:cxn>
              <a:cxn ang="0">
                <a:pos x="22" y="39"/>
              </a:cxn>
              <a:cxn ang="0">
                <a:pos x="21" y="36"/>
              </a:cxn>
              <a:cxn ang="0">
                <a:pos x="18" y="39"/>
              </a:cxn>
              <a:cxn ang="0">
                <a:pos x="13" y="39"/>
              </a:cxn>
              <a:cxn ang="0">
                <a:pos x="9" y="39"/>
              </a:cxn>
              <a:cxn ang="0">
                <a:pos x="2" y="41"/>
              </a:cxn>
              <a:cxn ang="0">
                <a:pos x="0" y="39"/>
              </a:cxn>
              <a:cxn ang="0">
                <a:pos x="5" y="35"/>
              </a:cxn>
              <a:cxn ang="0">
                <a:pos x="14" y="30"/>
              </a:cxn>
              <a:cxn ang="0">
                <a:pos x="11" y="25"/>
              </a:cxn>
              <a:cxn ang="0">
                <a:pos x="13" y="21"/>
              </a:cxn>
              <a:cxn ang="0">
                <a:pos x="14" y="17"/>
              </a:cxn>
              <a:cxn ang="0">
                <a:pos x="15" y="14"/>
              </a:cxn>
              <a:cxn ang="0">
                <a:pos x="15" y="8"/>
              </a:cxn>
              <a:cxn ang="0">
                <a:pos x="18" y="3"/>
              </a:cxn>
              <a:cxn ang="0">
                <a:pos x="21" y="2"/>
              </a:cxn>
            </a:cxnLst>
            <a:rect l="0" t="0" r="r" b="b"/>
            <a:pathLst>
              <a:path w="105" h="49">
                <a:moveTo>
                  <a:pt x="21" y="2"/>
                </a:moveTo>
                <a:lnTo>
                  <a:pt x="23" y="0"/>
                </a:lnTo>
                <a:lnTo>
                  <a:pt x="25" y="0"/>
                </a:lnTo>
                <a:lnTo>
                  <a:pt x="25" y="2"/>
                </a:lnTo>
                <a:lnTo>
                  <a:pt x="29" y="2"/>
                </a:lnTo>
                <a:lnTo>
                  <a:pt x="30" y="3"/>
                </a:lnTo>
                <a:lnTo>
                  <a:pt x="31" y="5"/>
                </a:lnTo>
                <a:lnTo>
                  <a:pt x="30" y="6"/>
                </a:lnTo>
                <a:lnTo>
                  <a:pt x="31" y="8"/>
                </a:lnTo>
                <a:lnTo>
                  <a:pt x="33" y="11"/>
                </a:lnTo>
                <a:lnTo>
                  <a:pt x="34" y="11"/>
                </a:lnTo>
                <a:lnTo>
                  <a:pt x="35" y="10"/>
                </a:lnTo>
                <a:lnTo>
                  <a:pt x="38" y="8"/>
                </a:lnTo>
                <a:lnTo>
                  <a:pt x="41" y="8"/>
                </a:lnTo>
                <a:lnTo>
                  <a:pt x="43" y="10"/>
                </a:lnTo>
                <a:lnTo>
                  <a:pt x="46" y="10"/>
                </a:lnTo>
                <a:lnTo>
                  <a:pt x="46" y="11"/>
                </a:lnTo>
                <a:lnTo>
                  <a:pt x="49" y="13"/>
                </a:lnTo>
                <a:lnTo>
                  <a:pt x="57" y="13"/>
                </a:lnTo>
                <a:lnTo>
                  <a:pt x="57" y="14"/>
                </a:lnTo>
                <a:lnTo>
                  <a:pt x="58" y="16"/>
                </a:lnTo>
                <a:lnTo>
                  <a:pt x="61" y="17"/>
                </a:lnTo>
                <a:lnTo>
                  <a:pt x="63" y="17"/>
                </a:lnTo>
                <a:lnTo>
                  <a:pt x="66" y="19"/>
                </a:lnTo>
                <a:lnTo>
                  <a:pt x="70" y="21"/>
                </a:lnTo>
                <a:lnTo>
                  <a:pt x="73" y="21"/>
                </a:lnTo>
                <a:lnTo>
                  <a:pt x="75" y="21"/>
                </a:lnTo>
                <a:lnTo>
                  <a:pt x="78" y="22"/>
                </a:lnTo>
                <a:lnTo>
                  <a:pt x="79" y="24"/>
                </a:lnTo>
                <a:lnTo>
                  <a:pt x="81" y="25"/>
                </a:lnTo>
                <a:lnTo>
                  <a:pt x="82" y="28"/>
                </a:lnTo>
                <a:lnTo>
                  <a:pt x="83" y="30"/>
                </a:lnTo>
                <a:lnTo>
                  <a:pt x="82" y="32"/>
                </a:lnTo>
                <a:lnTo>
                  <a:pt x="85" y="33"/>
                </a:lnTo>
                <a:lnTo>
                  <a:pt x="87" y="32"/>
                </a:lnTo>
                <a:lnTo>
                  <a:pt x="89" y="32"/>
                </a:lnTo>
                <a:lnTo>
                  <a:pt x="90" y="33"/>
                </a:lnTo>
                <a:lnTo>
                  <a:pt x="94" y="32"/>
                </a:lnTo>
                <a:lnTo>
                  <a:pt x="95" y="32"/>
                </a:lnTo>
                <a:lnTo>
                  <a:pt x="97" y="33"/>
                </a:lnTo>
                <a:lnTo>
                  <a:pt x="99" y="33"/>
                </a:lnTo>
                <a:lnTo>
                  <a:pt x="99" y="35"/>
                </a:lnTo>
                <a:lnTo>
                  <a:pt x="99" y="36"/>
                </a:lnTo>
                <a:lnTo>
                  <a:pt x="105" y="36"/>
                </a:lnTo>
                <a:lnTo>
                  <a:pt x="105" y="38"/>
                </a:lnTo>
                <a:lnTo>
                  <a:pt x="103" y="38"/>
                </a:lnTo>
                <a:lnTo>
                  <a:pt x="98" y="39"/>
                </a:lnTo>
                <a:lnTo>
                  <a:pt x="97" y="41"/>
                </a:lnTo>
                <a:lnTo>
                  <a:pt x="94" y="43"/>
                </a:lnTo>
                <a:lnTo>
                  <a:pt x="91" y="43"/>
                </a:lnTo>
                <a:lnTo>
                  <a:pt x="87" y="43"/>
                </a:lnTo>
                <a:lnTo>
                  <a:pt x="86" y="41"/>
                </a:lnTo>
                <a:lnTo>
                  <a:pt x="83" y="41"/>
                </a:lnTo>
                <a:lnTo>
                  <a:pt x="82" y="39"/>
                </a:lnTo>
                <a:lnTo>
                  <a:pt x="79" y="39"/>
                </a:lnTo>
                <a:lnTo>
                  <a:pt x="78" y="39"/>
                </a:lnTo>
                <a:lnTo>
                  <a:pt x="77" y="38"/>
                </a:lnTo>
                <a:lnTo>
                  <a:pt x="75" y="39"/>
                </a:lnTo>
                <a:lnTo>
                  <a:pt x="71" y="39"/>
                </a:lnTo>
                <a:lnTo>
                  <a:pt x="71" y="38"/>
                </a:lnTo>
                <a:lnTo>
                  <a:pt x="73" y="36"/>
                </a:lnTo>
                <a:lnTo>
                  <a:pt x="71" y="35"/>
                </a:lnTo>
                <a:lnTo>
                  <a:pt x="70" y="35"/>
                </a:lnTo>
                <a:lnTo>
                  <a:pt x="65" y="33"/>
                </a:lnTo>
                <a:lnTo>
                  <a:pt x="63" y="33"/>
                </a:lnTo>
                <a:lnTo>
                  <a:pt x="63" y="35"/>
                </a:lnTo>
                <a:lnTo>
                  <a:pt x="61" y="33"/>
                </a:lnTo>
                <a:lnTo>
                  <a:pt x="62" y="32"/>
                </a:lnTo>
                <a:lnTo>
                  <a:pt x="65" y="30"/>
                </a:lnTo>
                <a:lnTo>
                  <a:pt x="63" y="30"/>
                </a:lnTo>
                <a:lnTo>
                  <a:pt x="58" y="32"/>
                </a:lnTo>
                <a:lnTo>
                  <a:pt x="54" y="32"/>
                </a:lnTo>
                <a:lnTo>
                  <a:pt x="54" y="33"/>
                </a:lnTo>
                <a:lnTo>
                  <a:pt x="53" y="35"/>
                </a:lnTo>
                <a:lnTo>
                  <a:pt x="54" y="36"/>
                </a:lnTo>
                <a:lnTo>
                  <a:pt x="53" y="38"/>
                </a:lnTo>
                <a:lnTo>
                  <a:pt x="51" y="38"/>
                </a:lnTo>
                <a:lnTo>
                  <a:pt x="50" y="39"/>
                </a:lnTo>
                <a:lnTo>
                  <a:pt x="49" y="39"/>
                </a:lnTo>
                <a:lnTo>
                  <a:pt x="47" y="39"/>
                </a:lnTo>
                <a:lnTo>
                  <a:pt x="46" y="41"/>
                </a:lnTo>
                <a:lnTo>
                  <a:pt x="43" y="41"/>
                </a:lnTo>
                <a:lnTo>
                  <a:pt x="42" y="43"/>
                </a:lnTo>
                <a:lnTo>
                  <a:pt x="41" y="44"/>
                </a:lnTo>
                <a:lnTo>
                  <a:pt x="39" y="44"/>
                </a:lnTo>
                <a:lnTo>
                  <a:pt x="39" y="46"/>
                </a:lnTo>
                <a:lnTo>
                  <a:pt x="37" y="46"/>
                </a:lnTo>
                <a:lnTo>
                  <a:pt x="29" y="49"/>
                </a:lnTo>
                <a:lnTo>
                  <a:pt x="27" y="47"/>
                </a:lnTo>
                <a:lnTo>
                  <a:pt x="26" y="49"/>
                </a:lnTo>
                <a:lnTo>
                  <a:pt x="23" y="46"/>
                </a:lnTo>
                <a:lnTo>
                  <a:pt x="23" y="43"/>
                </a:lnTo>
                <a:lnTo>
                  <a:pt x="23" y="39"/>
                </a:lnTo>
                <a:lnTo>
                  <a:pt x="22" y="39"/>
                </a:lnTo>
                <a:lnTo>
                  <a:pt x="22" y="36"/>
                </a:lnTo>
                <a:lnTo>
                  <a:pt x="21" y="36"/>
                </a:lnTo>
                <a:lnTo>
                  <a:pt x="21" y="38"/>
                </a:lnTo>
                <a:lnTo>
                  <a:pt x="18" y="39"/>
                </a:lnTo>
                <a:lnTo>
                  <a:pt x="17" y="39"/>
                </a:lnTo>
                <a:lnTo>
                  <a:pt x="13" y="39"/>
                </a:lnTo>
                <a:lnTo>
                  <a:pt x="11" y="39"/>
                </a:lnTo>
                <a:lnTo>
                  <a:pt x="9" y="39"/>
                </a:lnTo>
                <a:lnTo>
                  <a:pt x="6" y="41"/>
                </a:lnTo>
                <a:lnTo>
                  <a:pt x="2" y="41"/>
                </a:lnTo>
                <a:lnTo>
                  <a:pt x="1" y="41"/>
                </a:lnTo>
                <a:lnTo>
                  <a:pt x="0" y="39"/>
                </a:lnTo>
                <a:lnTo>
                  <a:pt x="2" y="35"/>
                </a:lnTo>
                <a:lnTo>
                  <a:pt x="5" y="35"/>
                </a:lnTo>
                <a:lnTo>
                  <a:pt x="9" y="33"/>
                </a:lnTo>
                <a:lnTo>
                  <a:pt x="14" y="30"/>
                </a:lnTo>
                <a:lnTo>
                  <a:pt x="13" y="28"/>
                </a:lnTo>
                <a:lnTo>
                  <a:pt x="11" y="25"/>
                </a:lnTo>
                <a:lnTo>
                  <a:pt x="11" y="24"/>
                </a:lnTo>
                <a:lnTo>
                  <a:pt x="13" y="21"/>
                </a:lnTo>
                <a:lnTo>
                  <a:pt x="14" y="19"/>
                </a:lnTo>
                <a:lnTo>
                  <a:pt x="14" y="17"/>
                </a:lnTo>
                <a:lnTo>
                  <a:pt x="14" y="16"/>
                </a:lnTo>
                <a:lnTo>
                  <a:pt x="15" y="14"/>
                </a:lnTo>
                <a:lnTo>
                  <a:pt x="15" y="10"/>
                </a:lnTo>
                <a:lnTo>
                  <a:pt x="15" y="8"/>
                </a:lnTo>
                <a:lnTo>
                  <a:pt x="17" y="6"/>
                </a:lnTo>
                <a:lnTo>
                  <a:pt x="18" y="3"/>
                </a:lnTo>
                <a:lnTo>
                  <a:pt x="19" y="2"/>
                </a:lnTo>
                <a:lnTo>
                  <a:pt x="21" y="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12" name="Freeform 712"/>
          <p:cNvSpPr>
            <a:spLocks/>
          </p:cNvSpPr>
          <p:nvPr/>
        </p:nvSpPr>
        <p:spPr bwMode="auto">
          <a:xfrm>
            <a:off x="3244253" y="2009810"/>
            <a:ext cx="31181" cy="19329"/>
          </a:xfrm>
          <a:custGeom>
            <a:avLst/>
            <a:gdLst/>
            <a:ahLst/>
            <a:cxnLst>
              <a:cxn ang="0">
                <a:pos x="9" y="4"/>
              </a:cxn>
              <a:cxn ang="0">
                <a:pos x="10" y="4"/>
              </a:cxn>
              <a:cxn ang="0">
                <a:pos x="12" y="5"/>
              </a:cxn>
              <a:cxn ang="0">
                <a:pos x="12" y="7"/>
              </a:cxn>
              <a:cxn ang="0">
                <a:pos x="14" y="8"/>
              </a:cxn>
              <a:cxn ang="0">
                <a:pos x="17" y="8"/>
              </a:cxn>
              <a:cxn ang="0">
                <a:pos x="17" y="10"/>
              </a:cxn>
              <a:cxn ang="0">
                <a:pos x="10" y="10"/>
              </a:cxn>
              <a:cxn ang="0">
                <a:pos x="9" y="8"/>
              </a:cxn>
              <a:cxn ang="0">
                <a:pos x="5" y="7"/>
              </a:cxn>
              <a:cxn ang="0">
                <a:pos x="5" y="5"/>
              </a:cxn>
              <a:cxn ang="0">
                <a:pos x="2" y="4"/>
              </a:cxn>
              <a:cxn ang="0">
                <a:pos x="0" y="2"/>
              </a:cxn>
              <a:cxn ang="0">
                <a:pos x="0" y="0"/>
              </a:cxn>
              <a:cxn ang="0">
                <a:pos x="2" y="0"/>
              </a:cxn>
              <a:cxn ang="0">
                <a:pos x="5" y="2"/>
              </a:cxn>
              <a:cxn ang="0">
                <a:pos x="9" y="4"/>
              </a:cxn>
            </a:cxnLst>
            <a:rect l="0" t="0" r="r" b="b"/>
            <a:pathLst>
              <a:path w="17" h="10">
                <a:moveTo>
                  <a:pt x="9" y="4"/>
                </a:moveTo>
                <a:lnTo>
                  <a:pt x="10" y="4"/>
                </a:lnTo>
                <a:lnTo>
                  <a:pt x="12" y="5"/>
                </a:lnTo>
                <a:lnTo>
                  <a:pt x="12" y="7"/>
                </a:lnTo>
                <a:lnTo>
                  <a:pt x="14" y="8"/>
                </a:lnTo>
                <a:lnTo>
                  <a:pt x="17" y="8"/>
                </a:lnTo>
                <a:lnTo>
                  <a:pt x="17" y="10"/>
                </a:lnTo>
                <a:lnTo>
                  <a:pt x="10" y="10"/>
                </a:lnTo>
                <a:lnTo>
                  <a:pt x="9" y="8"/>
                </a:lnTo>
                <a:lnTo>
                  <a:pt x="5" y="7"/>
                </a:lnTo>
                <a:lnTo>
                  <a:pt x="5" y="5"/>
                </a:lnTo>
                <a:lnTo>
                  <a:pt x="2" y="4"/>
                </a:lnTo>
                <a:lnTo>
                  <a:pt x="0" y="2"/>
                </a:lnTo>
                <a:lnTo>
                  <a:pt x="0" y="0"/>
                </a:lnTo>
                <a:lnTo>
                  <a:pt x="2" y="0"/>
                </a:lnTo>
                <a:lnTo>
                  <a:pt x="5" y="2"/>
                </a:lnTo>
                <a:lnTo>
                  <a:pt x="9" y="4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13" name="Freeform 713"/>
          <p:cNvSpPr>
            <a:spLocks/>
          </p:cNvSpPr>
          <p:nvPr/>
        </p:nvSpPr>
        <p:spPr bwMode="auto">
          <a:xfrm>
            <a:off x="3244253" y="2009810"/>
            <a:ext cx="31181" cy="19329"/>
          </a:xfrm>
          <a:custGeom>
            <a:avLst/>
            <a:gdLst/>
            <a:ahLst/>
            <a:cxnLst>
              <a:cxn ang="0">
                <a:pos x="9" y="4"/>
              </a:cxn>
              <a:cxn ang="0">
                <a:pos x="10" y="4"/>
              </a:cxn>
              <a:cxn ang="0">
                <a:pos x="12" y="5"/>
              </a:cxn>
              <a:cxn ang="0">
                <a:pos x="12" y="7"/>
              </a:cxn>
              <a:cxn ang="0">
                <a:pos x="14" y="8"/>
              </a:cxn>
              <a:cxn ang="0">
                <a:pos x="17" y="8"/>
              </a:cxn>
              <a:cxn ang="0">
                <a:pos x="17" y="10"/>
              </a:cxn>
              <a:cxn ang="0">
                <a:pos x="10" y="10"/>
              </a:cxn>
              <a:cxn ang="0">
                <a:pos x="9" y="8"/>
              </a:cxn>
              <a:cxn ang="0">
                <a:pos x="5" y="7"/>
              </a:cxn>
              <a:cxn ang="0">
                <a:pos x="5" y="5"/>
              </a:cxn>
              <a:cxn ang="0">
                <a:pos x="2" y="4"/>
              </a:cxn>
              <a:cxn ang="0">
                <a:pos x="0" y="2"/>
              </a:cxn>
              <a:cxn ang="0">
                <a:pos x="0" y="0"/>
              </a:cxn>
              <a:cxn ang="0">
                <a:pos x="2" y="0"/>
              </a:cxn>
              <a:cxn ang="0">
                <a:pos x="5" y="2"/>
              </a:cxn>
              <a:cxn ang="0">
                <a:pos x="9" y="4"/>
              </a:cxn>
            </a:cxnLst>
            <a:rect l="0" t="0" r="r" b="b"/>
            <a:pathLst>
              <a:path w="17" h="10">
                <a:moveTo>
                  <a:pt x="9" y="4"/>
                </a:moveTo>
                <a:lnTo>
                  <a:pt x="10" y="4"/>
                </a:lnTo>
                <a:lnTo>
                  <a:pt x="12" y="5"/>
                </a:lnTo>
                <a:lnTo>
                  <a:pt x="12" y="7"/>
                </a:lnTo>
                <a:lnTo>
                  <a:pt x="14" y="8"/>
                </a:lnTo>
                <a:lnTo>
                  <a:pt x="17" y="8"/>
                </a:lnTo>
                <a:lnTo>
                  <a:pt x="17" y="10"/>
                </a:lnTo>
                <a:lnTo>
                  <a:pt x="10" y="10"/>
                </a:lnTo>
                <a:lnTo>
                  <a:pt x="9" y="8"/>
                </a:lnTo>
                <a:lnTo>
                  <a:pt x="5" y="7"/>
                </a:lnTo>
                <a:lnTo>
                  <a:pt x="5" y="5"/>
                </a:lnTo>
                <a:lnTo>
                  <a:pt x="2" y="4"/>
                </a:lnTo>
                <a:lnTo>
                  <a:pt x="0" y="2"/>
                </a:lnTo>
                <a:lnTo>
                  <a:pt x="0" y="0"/>
                </a:lnTo>
                <a:lnTo>
                  <a:pt x="2" y="0"/>
                </a:lnTo>
                <a:lnTo>
                  <a:pt x="5" y="2"/>
                </a:lnTo>
                <a:lnTo>
                  <a:pt x="9" y="4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14" name="Freeform 714"/>
          <p:cNvSpPr>
            <a:spLocks/>
          </p:cNvSpPr>
          <p:nvPr/>
        </p:nvSpPr>
        <p:spPr bwMode="auto">
          <a:xfrm>
            <a:off x="3448880" y="1932497"/>
            <a:ext cx="64310" cy="40805"/>
          </a:xfrm>
          <a:custGeom>
            <a:avLst/>
            <a:gdLst/>
            <a:ahLst/>
            <a:cxnLst>
              <a:cxn ang="0">
                <a:pos x="15" y="2"/>
              </a:cxn>
              <a:cxn ang="0">
                <a:pos x="15" y="0"/>
              </a:cxn>
              <a:cxn ang="0">
                <a:pos x="16" y="2"/>
              </a:cxn>
              <a:cxn ang="0">
                <a:pos x="18" y="2"/>
              </a:cxn>
              <a:cxn ang="0">
                <a:pos x="20" y="2"/>
              </a:cxn>
              <a:cxn ang="0">
                <a:pos x="24" y="2"/>
              </a:cxn>
              <a:cxn ang="0">
                <a:pos x="26" y="3"/>
              </a:cxn>
              <a:cxn ang="0">
                <a:pos x="27" y="3"/>
              </a:cxn>
              <a:cxn ang="0">
                <a:pos x="31" y="3"/>
              </a:cxn>
              <a:cxn ang="0">
                <a:pos x="32" y="5"/>
              </a:cxn>
              <a:cxn ang="0">
                <a:pos x="34" y="6"/>
              </a:cxn>
              <a:cxn ang="0">
                <a:pos x="32" y="10"/>
              </a:cxn>
              <a:cxn ang="0">
                <a:pos x="34" y="13"/>
              </a:cxn>
              <a:cxn ang="0">
                <a:pos x="32" y="16"/>
              </a:cxn>
              <a:cxn ang="0">
                <a:pos x="28" y="17"/>
              </a:cxn>
              <a:cxn ang="0">
                <a:pos x="24" y="19"/>
              </a:cxn>
              <a:cxn ang="0">
                <a:pos x="11" y="21"/>
              </a:cxn>
              <a:cxn ang="0">
                <a:pos x="10" y="21"/>
              </a:cxn>
              <a:cxn ang="0">
                <a:pos x="4" y="19"/>
              </a:cxn>
              <a:cxn ang="0">
                <a:pos x="2" y="17"/>
              </a:cxn>
              <a:cxn ang="0">
                <a:pos x="0" y="14"/>
              </a:cxn>
              <a:cxn ang="0">
                <a:pos x="0" y="11"/>
              </a:cxn>
              <a:cxn ang="0">
                <a:pos x="0" y="10"/>
              </a:cxn>
              <a:cxn ang="0">
                <a:pos x="3" y="8"/>
              </a:cxn>
              <a:cxn ang="0">
                <a:pos x="4" y="6"/>
              </a:cxn>
              <a:cxn ang="0">
                <a:pos x="6" y="3"/>
              </a:cxn>
              <a:cxn ang="0">
                <a:pos x="8" y="2"/>
              </a:cxn>
              <a:cxn ang="0">
                <a:pos x="12" y="2"/>
              </a:cxn>
              <a:cxn ang="0">
                <a:pos x="15" y="2"/>
              </a:cxn>
            </a:cxnLst>
            <a:rect l="0" t="0" r="r" b="b"/>
            <a:pathLst>
              <a:path w="34" h="21">
                <a:moveTo>
                  <a:pt x="15" y="2"/>
                </a:moveTo>
                <a:lnTo>
                  <a:pt x="15" y="0"/>
                </a:lnTo>
                <a:lnTo>
                  <a:pt x="16" y="2"/>
                </a:lnTo>
                <a:lnTo>
                  <a:pt x="18" y="2"/>
                </a:lnTo>
                <a:lnTo>
                  <a:pt x="20" y="2"/>
                </a:lnTo>
                <a:lnTo>
                  <a:pt x="24" y="2"/>
                </a:lnTo>
                <a:lnTo>
                  <a:pt x="26" y="3"/>
                </a:lnTo>
                <a:lnTo>
                  <a:pt x="27" y="3"/>
                </a:lnTo>
                <a:lnTo>
                  <a:pt x="31" y="3"/>
                </a:lnTo>
                <a:lnTo>
                  <a:pt x="32" y="5"/>
                </a:lnTo>
                <a:lnTo>
                  <a:pt x="34" y="6"/>
                </a:lnTo>
                <a:lnTo>
                  <a:pt x="32" y="10"/>
                </a:lnTo>
                <a:lnTo>
                  <a:pt x="34" y="13"/>
                </a:lnTo>
                <a:lnTo>
                  <a:pt x="32" y="16"/>
                </a:lnTo>
                <a:lnTo>
                  <a:pt x="28" y="17"/>
                </a:lnTo>
                <a:lnTo>
                  <a:pt x="24" y="19"/>
                </a:lnTo>
                <a:lnTo>
                  <a:pt x="11" y="21"/>
                </a:lnTo>
                <a:lnTo>
                  <a:pt x="10" y="21"/>
                </a:lnTo>
                <a:lnTo>
                  <a:pt x="4" y="19"/>
                </a:lnTo>
                <a:lnTo>
                  <a:pt x="2" y="17"/>
                </a:lnTo>
                <a:lnTo>
                  <a:pt x="0" y="14"/>
                </a:lnTo>
                <a:lnTo>
                  <a:pt x="0" y="11"/>
                </a:lnTo>
                <a:lnTo>
                  <a:pt x="0" y="10"/>
                </a:lnTo>
                <a:lnTo>
                  <a:pt x="3" y="8"/>
                </a:lnTo>
                <a:lnTo>
                  <a:pt x="4" y="6"/>
                </a:lnTo>
                <a:lnTo>
                  <a:pt x="6" y="3"/>
                </a:lnTo>
                <a:lnTo>
                  <a:pt x="8" y="2"/>
                </a:lnTo>
                <a:lnTo>
                  <a:pt x="12" y="2"/>
                </a:lnTo>
                <a:lnTo>
                  <a:pt x="15" y="2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15" name="Freeform 715"/>
          <p:cNvSpPr>
            <a:spLocks/>
          </p:cNvSpPr>
          <p:nvPr/>
        </p:nvSpPr>
        <p:spPr bwMode="auto">
          <a:xfrm>
            <a:off x="3448880" y="1932497"/>
            <a:ext cx="64310" cy="40805"/>
          </a:xfrm>
          <a:custGeom>
            <a:avLst/>
            <a:gdLst/>
            <a:ahLst/>
            <a:cxnLst>
              <a:cxn ang="0">
                <a:pos x="15" y="2"/>
              </a:cxn>
              <a:cxn ang="0">
                <a:pos x="15" y="0"/>
              </a:cxn>
              <a:cxn ang="0">
                <a:pos x="16" y="2"/>
              </a:cxn>
              <a:cxn ang="0">
                <a:pos x="18" y="2"/>
              </a:cxn>
              <a:cxn ang="0">
                <a:pos x="20" y="2"/>
              </a:cxn>
              <a:cxn ang="0">
                <a:pos x="24" y="2"/>
              </a:cxn>
              <a:cxn ang="0">
                <a:pos x="26" y="3"/>
              </a:cxn>
              <a:cxn ang="0">
                <a:pos x="27" y="3"/>
              </a:cxn>
              <a:cxn ang="0">
                <a:pos x="31" y="3"/>
              </a:cxn>
              <a:cxn ang="0">
                <a:pos x="32" y="5"/>
              </a:cxn>
              <a:cxn ang="0">
                <a:pos x="34" y="6"/>
              </a:cxn>
              <a:cxn ang="0">
                <a:pos x="32" y="10"/>
              </a:cxn>
              <a:cxn ang="0">
                <a:pos x="34" y="13"/>
              </a:cxn>
              <a:cxn ang="0">
                <a:pos x="32" y="16"/>
              </a:cxn>
              <a:cxn ang="0">
                <a:pos x="28" y="17"/>
              </a:cxn>
              <a:cxn ang="0">
                <a:pos x="24" y="19"/>
              </a:cxn>
              <a:cxn ang="0">
                <a:pos x="11" y="21"/>
              </a:cxn>
              <a:cxn ang="0">
                <a:pos x="10" y="21"/>
              </a:cxn>
              <a:cxn ang="0">
                <a:pos x="4" y="19"/>
              </a:cxn>
              <a:cxn ang="0">
                <a:pos x="2" y="17"/>
              </a:cxn>
              <a:cxn ang="0">
                <a:pos x="0" y="14"/>
              </a:cxn>
              <a:cxn ang="0">
                <a:pos x="0" y="11"/>
              </a:cxn>
              <a:cxn ang="0">
                <a:pos x="0" y="10"/>
              </a:cxn>
              <a:cxn ang="0">
                <a:pos x="3" y="8"/>
              </a:cxn>
              <a:cxn ang="0">
                <a:pos x="4" y="6"/>
              </a:cxn>
              <a:cxn ang="0">
                <a:pos x="6" y="3"/>
              </a:cxn>
              <a:cxn ang="0">
                <a:pos x="8" y="2"/>
              </a:cxn>
              <a:cxn ang="0">
                <a:pos x="12" y="2"/>
              </a:cxn>
              <a:cxn ang="0">
                <a:pos x="15" y="2"/>
              </a:cxn>
            </a:cxnLst>
            <a:rect l="0" t="0" r="r" b="b"/>
            <a:pathLst>
              <a:path w="34" h="21">
                <a:moveTo>
                  <a:pt x="15" y="2"/>
                </a:moveTo>
                <a:lnTo>
                  <a:pt x="15" y="0"/>
                </a:lnTo>
                <a:lnTo>
                  <a:pt x="16" y="2"/>
                </a:lnTo>
                <a:lnTo>
                  <a:pt x="18" y="2"/>
                </a:lnTo>
                <a:lnTo>
                  <a:pt x="20" y="2"/>
                </a:lnTo>
                <a:lnTo>
                  <a:pt x="24" y="2"/>
                </a:lnTo>
                <a:lnTo>
                  <a:pt x="26" y="3"/>
                </a:lnTo>
                <a:lnTo>
                  <a:pt x="27" y="3"/>
                </a:lnTo>
                <a:lnTo>
                  <a:pt x="31" y="3"/>
                </a:lnTo>
                <a:lnTo>
                  <a:pt x="32" y="5"/>
                </a:lnTo>
                <a:lnTo>
                  <a:pt x="34" y="6"/>
                </a:lnTo>
                <a:lnTo>
                  <a:pt x="32" y="10"/>
                </a:lnTo>
                <a:lnTo>
                  <a:pt x="34" y="13"/>
                </a:lnTo>
                <a:lnTo>
                  <a:pt x="32" y="16"/>
                </a:lnTo>
                <a:lnTo>
                  <a:pt x="28" y="17"/>
                </a:lnTo>
                <a:lnTo>
                  <a:pt x="24" y="19"/>
                </a:lnTo>
                <a:lnTo>
                  <a:pt x="11" y="21"/>
                </a:lnTo>
                <a:lnTo>
                  <a:pt x="10" y="21"/>
                </a:lnTo>
                <a:lnTo>
                  <a:pt x="4" y="19"/>
                </a:lnTo>
                <a:lnTo>
                  <a:pt x="2" y="17"/>
                </a:lnTo>
                <a:lnTo>
                  <a:pt x="0" y="14"/>
                </a:lnTo>
                <a:lnTo>
                  <a:pt x="0" y="11"/>
                </a:lnTo>
                <a:lnTo>
                  <a:pt x="0" y="10"/>
                </a:lnTo>
                <a:lnTo>
                  <a:pt x="3" y="8"/>
                </a:lnTo>
                <a:lnTo>
                  <a:pt x="4" y="6"/>
                </a:lnTo>
                <a:lnTo>
                  <a:pt x="6" y="3"/>
                </a:lnTo>
                <a:lnTo>
                  <a:pt x="8" y="2"/>
                </a:lnTo>
                <a:lnTo>
                  <a:pt x="12" y="2"/>
                </a:lnTo>
                <a:lnTo>
                  <a:pt x="15" y="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16" name="Freeform 716"/>
          <p:cNvSpPr>
            <a:spLocks/>
          </p:cNvSpPr>
          <p:nvPr/>
        </p:nvSpPr>
        <p:spPr bwMode="auto">
          <a:xfrm>
            <a:off x="3524882" y="1938940"/>
            <a:ext cx="35079" cy="1503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" y="2"/>
              </a:cxn>
              <a:cxn ang="0">
                <a:pos x="3" y="2"/>
              </a:cxn>
              <a:cxn ang="0">
                <a:pos x="7" y="0"/>
              </a:cxn>
              <a:cxn ang="0">
                <a:pos x="7" y="2"/>
              </a:cxn>
              <a:cxn ang="0">
                <a:pos x="13" y="3"/>
              </a:cxn>
              <a:cxn ang="0">
                <a:pos x="16" y="3"/>
              </a:cxn>
              <a:cxn ang="0">
                <a:pos x="19" y="7"/>
              </a:cxn>
              <a:cxn ang="0">
                <a:pos x="15" y="8"/>
              </a:cxn>
              <a:cxn ang="0">
                <a:pos x="9" y="7"/>
              </a:cxn>
              <a:cxn ang="0">
                <a:pos x="4" y="8"/>
              </a:cxn>
              <a:cxn ang="0">
                <a:pos x="0" y="5"/>
              </a:cxn>
              <a:cxn ang="0">
                <a:pos x="0" y="3"/>
              </a:cxn>
            </a:cxnLst>
            <a:rect l="0" t="0" r="r" b="b"/>
            <a:pathLst>
              <a:path w="19" h="8">
                <a:moveTo>
                  <a:pt x="0" y="3"/>
                </a:moveTo>
                <a:lnTo>
                  <a:pt x="1" y="2"/>
                </a:lnTo>
                <a:lnTo>
                  <a:pt x="3" y="2"/>
                </a:lnTo>
                <a:lnTo>
                  <a:pt x="7" y="0"/>
                </a:lnTo>
                <a:lnTo>
                  <a:pt x="7" y="2"/>
                </a:lnTo>
                <a:lnTo>
                  <a:pt x="13" y="3"/>
                </a:lnTo>
                <a:lnTo>
                  <a:pt x="16" y="3"/>
                </a:lnTo>
                <a:lnTo>
                  <a:pt x="19" y="7"/>
                </a:lnTo>
                <a:lnTo>
                  <a:pt x="15" y="8"/>
                </a:lnTo>
                <a:lnTo>
                  <a:pt x="9" y="7"/>
                </a:lnTo>
                <a:lnTo>
                  <a:pt x="4" y="8"/>
                </a:lnTo>
                <a:lnTo>
                  <a:pt x="0" y="5"/>
                </a:lnTo>
                <a:lnTo>
                  <a:pt x="0" y="3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17" name="Freeform 717"/>
          <p:cNvSpPr>
            <a:spLocks/>
          </p:cNvSpPr>
          <p:nvPr/>
        </p:nvSpPr>
        <p:spPr bwMode="auto">
          <a:xfrm>
            <a:off x="3524882" y="1938940"/>
            <a:ext cx="35079" cy="1503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" y="2"/>
              </a:cxn>
              <a:cxn ang="0">
                <a:pos x="3" y="2"/>
              </a:cxn>
              <a:cxn ang="0">
                <a:pos x="7" y="0"/>
              </a:cxn>
              <a:cxn ang="0">
                <a:pos x="7" y="2"/>
              </a:cxn>
              <a:cxn ang="0">
                <a:pos x="13" y="3"/>
              </a:cxn>
              <a:cxn ang="0">
                <a:pos x="16" y="3"/>
              </a:cxn>
              <a:cxn ang="0">
                <a:pos x="19" y="7"/>
              </a:cxn>
              <a:cxn ang="0">
                <a:pos x="15" y="8"/>
              </a:cxn>
              <a:cxn ang="0">
                <a:pos x="9" y="7"/>
              </a:cxn>
              <a:cxn ang="0">
                <a:pos x="4" y="8"/>
              </a:cxn>
              <a:cxn ang="0">
                <a:pos x="0" y="5"/>
              </a:cxn>
              <a:cxn ang="0">
                <a:pos x="0" y="3"/>
              </a:cxn>
            </a:cxnLst>
            <a:rect l="0" t="0" r="r" b="b"/>
            <a:pathLst>
              <a:path w="19" h="8">
                <a:moveTo>
                  <a:pt x="0" y="3"/>
                </a:moveTo>
                <a:lnTo>
                  <a:pt x="1" y="2"/>
                </a:lnTo>
                <a:lnTo>
                  <a:pt x="3" y="2"/>
                </a:lnTo>
                <a:lnTo>
                  <a:pt x="7" y="0"/>
                </a:lnTo>
                <a:lnTo>
                  <a:pt x="7" y="2"/>
                </a:lnTo>
                <a:lnTo>
                  <a:pt x="13" y="3"/>
                </a:lnTo>
                <a:lnTo>
                  <a:pt x="16" y="3"/>
                </a:lnTo>
                <a:lnTo>
                  <a:pt x="19" y="7"/>
                </a:lnTo>
                <a:lnTo>
                  <a:pt x="15" y="8"/>
                </a:lnTo>
                <a:lnTo>
                  <a:pt x="9" y="7"/>
                </a:lnTo>
                <a:lnTo>
                  <a:pt x="4" y="8"/>
                </a:lnTo>
                <a:lnTo>
                  <a:pt x="0" y="5"/>
                </a:lnTo>
                <a:lnTo>
                  <a:pt x="0" y="3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18" name="Freeform 718"/>
          <p:cNvSpPr>
            <a:spLocks/>
          </p:cNvSpPr>
          <p:nvPr/>
        </p:nvSpPr>
        <p:spPr bwMode="auto">
          <a:xfrm>
            <a:off x="3390414" y="1898135"/>
            <a:ext cx="29232" cy="17181"/>
          </a:xfrm>
          <a:custGeom>
            <a:avLst/>
            <a:gdLst/>
            <a:ahLst/>
            <a:cxnLst>
              <a:cxn ang="0">
                <a:pos x="13" y="3"/>
              </a:cxn>
              <a:cxn ang="0">
                <a:pos x="11" y="3"/>
              </a:cxn>
              <a:cxn ang="0">
                <a:pos x="9" y="6"/>
              </a:cxn>
              <a:cxn ang="0">
                <a:pos x="6" y="8"/>
              </a:cxn>
              <a:cxn ang="0">
                <a:pos x="0" y="8"/>
              </a:cxn>
              <a:cxn ang="0">
                <a:pos x="0" y="6"/>
              </a:cxn>
              <a:cxn ang="0">
                <a:pos x="2" y="5"/>
              </a:cxn>
              <a:cxn ang="0">
                <a:pos x="6" y="3"/>
              </a:cxn>
              <a:cxn ang="0">
                <a:pos x="9" y="1"/>
              </a:cxn>
              <a:cxn ang="0">
                <a:pos x="10" y="0"/>
              </a:cxn>
              <a:cxn ang="0">
                <a:pos x="11" y="0"/>
              </a:cxn>
              <a:cxn ang="0">
                <a:pos x="14" y="0"/>
              </a:cxn>
              <a:cxn ang="0">
                <a:pos x="15" y="0"/>
              </a:cxn>
              <a:cxn ang="0">
                <a:pos x="15" y="1"/>
              </a:cxn>
              <a:cxn ang="0">
                <a:pos x="14" y="1"/>
              </a:cxn>
              <a:cxn ang="0">
                <a:pos x="13" y="3"/>
              </a:cxn>
            </a:cxnLst>
            <a:rect l="0" t="0" r="r" b="b"/>
            <a:pathLst>
              <a:path w="15" h="8">
                <a:moveTo>
                  <a:pt x="13" y="3"/>
                </a:moveTo>
                <a:lnTo>
                  <a:pt x="11" y="3"/>
                </a:lnTo>
                <a:lnTo>
                  <a:pt x="9" y="6"/>
                </a:lnTo>
                <a:lnTo>
                  <a:pt x="6" y="8"/>
                </a:lnTo>
                <a:lnTo>
                  <a:pt x="0" y="8"/>
                </a:lnTo>
                <a:lnTo>
                  <a:pt x="0" y="6"/>
                </a:lnTo>
                <a:lnTo>
                  <a:pt x="2" y="5"/>
                </a:lnTo>
                <a:lnTo>
                  <a:pt x="6" y="3"/>
                </a:lnTo>
                <a:lnTo>
                  <a:pt x="9" y="1"/>
                </a:lnTo>
                <a:lnTo>
                  <a:pt x="10" y="0"/>
                </a:lnTo>
                <a:lnTo>
                  <a:pt x="11" y="0"/>
                </a:lnTo>
                <a:lnTo>
                  <a:pt x="14" y="0"/>
                </a:lnTo>
                <a:lnTo>
                  <a:pt x="15" y="0"/>
                </a:lnTo>
                <a:lnTo>
                  <a:pt x="15" y="1"/>
                </a:lnTo>
                <a:lnTo>
                  <a:pt x="14" y="1"/>
                </a:lnTo>
                <a:lnTo>
                  <a:pt x="13" y="3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19" name="Freeform 719"/>
          <p:cNvSpPr>
            <a:spLocks/>
          </p:cNvSpPr>
          <p:nvPr/>
        </p:nvSpPr>
        <p:spPr bwMode="auto">
          <a:xfrm>
            <a:off x="3390414" y="1898135"/>
            <a:ext cx="29232" cy="17181"/>
          </a:xfrm>
          <a:custGeom>
            <a:avLst/>
            <a:gdLst/>
            <a:ahLst/>
            <a:cxnLst>
              <a:cxn ang="0">
                <a:pos x="13" y="3"/>
              </a:cxn>
              <a:cxn ang="0">
                <a:pos x="11" y="3"/>
              </a:cxn>
              <a:cxn ang="0">
                <a:pos x="9" y="6"/>
              </a:cxn>
              <a:cxn ang="0">
                <a:pos x="6" y="8"/>
              </a:cxn>
              <a:cxn ang="0">
                <a:pos x="0" y="8"/>
              </a:cxn>
              <a:cxn ang="0">
                <a:pos x="0" y="6"/>
              </a:cxn>
              <a:cxn ang="0">
                <a:pos x="2" y="5"/>
              </a:cxn>
              <a:cxn ang="0">
                <a:pos x="6" y="3"/>
              </a:cxn>
              <a:cxn ang="0">
                <a:pos x="9" y="1"/>
              </a:cxn>
              <a:cxn ang="0">
                <a:pos x="10" y="0"/>
              </a:cxn>
              <a:cxn ang="0">
                <a:pos x="11" y="0"/>
              </a:cxn>
              <a:cxn ang="0">
                <a:pos x="14" y="0"/>
              </a:cxn>
              <a:cxn ang="0">
                <a:pos x="15" y="0"/>
              </a:cxn>
              <a:cxn ang="0">
                <a:pos x="15" y="1"/>
              </a:cxn>
              <a:cxn ang="0">
                <a:pos x="14" y="1"/>
              </a:cxn>
              <a:cxn ang="0">
                <a:pos x="13" y="3"/>
              </a:cxn>
            </a:cxnLst>
            <a:rect l="0" t="0" r="r" b="b"/>
            <a:pathLst>
              <a:path w="15" h="8">
                <a:moveTo>
                  <a:pt x="13" y="3"/>
                </a:moveTo>
                <a:lnTo>
                  <a:pt x="11" y="3"/>
                </a:lnTo>
                <a:lnTo>
                  <a:pt x="9" y="6"/>
                </a:lnTo>
                <a:lnTo>
                  <a:pt x="6" y="8"/>
                </a:lnTo>
                <a:lnTo>
                  <a:pt x="0" y="8"/>
                </a:lnTo>
                <a:lnTo>
                  <a:pt x="0" y="6"/>
                </a:lnTo>
                <a:lnTo>
                  <a:pt x="2" y="5"/>
                </a:lnTo>
                <a:lnTo>
                  <a:pt x="6" y="3"/>
                </a:lnTo>
                <a:lnTo>
                  <a:pt x="9" y="1"/>
                </a:lnTo>
                <a:lnTo>
                  <a:pt x="10" y="0"/>
                </a:lnTo>
                <a:lnTo>
                  <a:pt x="11" y="0"/>
                </a:lnTo>
                <a:lnTo>
                  <a:pt x="14" y="0"/>
                </a:lnTo>
                <a:lnTo>
                  <a:pt x="15" y="0"/>
                </a:lnTo>
                <a:lnTo>
                  <a:pt x="15" y="1"/>
                </a:lnTo>
                <a:lnTo>
                  <a:pt x="14" y="1"/>
                </a:lnTo>
                <a:lnTo>
                  <a:pt x="13" y="3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20" name="Freeform 720"/>
          <p:cNvSpPr>
            <a:spLocks/>
          </p:cNvSpPr>
          <p:nvPr/>
        </p:nvSpPr>
        <p:spPr bwMode="auto">
          <a:xfrm>
            <a:off x="3359233" y="1883103"/>
            <a:ext cx="31181" cy="10737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5" y="0"/>
              </a:cxn>
              <a:cxn ang="0">
                <a:pos x="6" y="0"/>
              </a:cxn>
              <a:cxn ang="0">
                <a:pos x="8" y="2"/>
              </a:cxn>
              <a:cxn ang="0">
                <a:pos x="10" y="0"/>
              </a:cxn>
              <a:cxn ang="0">
                <a:pos x="12" y="0"/>
              </a:cxn>
              <a:cxn ang="0">
                <a:pos x="14" y="0"/>
              </a:cxn>
              <a:cxn ang="0">
                <a:pos x="16" y="0"/>
              </a:cxn>
              <a:cxn ang="0">
                <a:pos x="16" y="2"/>
              </a:cxn>
              <a:cxn ang="0">
                <a:pos x="9" y="3"/>
              </a:cxn>
              <a:cxn ang="0">
                <a:pos x="6" y="2"/>
              </a:cxn>
              <a:cxn ang="0">
                <a:pos x="6" y="5"/>
              </a:cxn>
              <a:cxn ang="0">
                <a:pos x="1" y="3"/>
              </a:cxn>
              <a:cxn ang="0">
                <a:pos x="0" y="0"/>
              </a:cxn>
              <a:cxn ang="0">
                <a:pos x="4" y="0"/>
              </a:cxn>
            </a:cxnLst>
            <a:rect l="0" t="0" r="r" b="b"/>
            <a:pathLst>
              <a:path w="16" h="5">
                <a:moveTo>
                  <a:pt x="4" y="0"/>
                </a:moveTo>
                <a:lnTo>
                  <a:pt x="5" y="0"/>
                </a:lnTo>
                <a:lnTo>
                  <a:pt x="6" y="0"/>
                </a:lnTo>
                <a:lnTo>
                  <a:pt x="8" y="2"/>
                </a:lnTo>
                <a:lnTo>
                  <a:pt x="10" y="0"/>
                </a:lnTo>
                <a:lnTo>
                  <a:pt x="12" y="0"/>
                </a:lnTo>
                <a:lnTo>
                  <a:pt x="14" y="0"/>
                </a:lnTo>
                <a:lnTo>
                  <a:pt x="16" y="0"/>
                </a:lnTo>
                <a:lnTo>
                  <a:pt x="16" y="2"/>
                </a:lnTo>
                <a:lnTo>
                  <a:pt x="9" y="3"/>
                </a:lnTo>
                <a:lnTo>
                  <a:pt x="6" y="2"/>
                </a:lnTo>
                <a:lnTo>
                  <a:pt x="6" y="5"/>
                </a:lnTo>
                <a:lnTo>
                  <a:pt x="1" y="3"/>
                </a:lnTo>
                <a:lnTo>
                  <a:pt x="0" y="0"/>
                </a:lnTo>
                <a:lnTo>
                  <a:pt x="4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21" name="Freeform 721"/>
          <p:cNvSpPr>
            <a:spLocks/>
          </p:cNvSpPr>
          <p:nvPr/>
        </p:nvSpPr>
        <p:spPr bwMode="auto">
          <a:xfrm>
            <a:off x="3359233" y="1883103"/>
            <a:ext cx="31181" cy="10737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5" y="0"/>
              </a:cxn>
              <a:cxn ang="0">
                <a:pos x="6" y="0"/>
              </a:cxn>
              <a:cxn ang="0">
                <a:pos x="8" y="2"/>
              </a:cxn>
              <a:cxn ang="0">
                <a:pos x="10" y="0"/>
              </a:cxn>
              <a:cxn ang="0">
                <a:pos x="12" y="0"/>
              </a:cxn>
              <a:cxn ang="0">
                <a:pos x="14" y="0"/>
              </a:cxn>
              <a:cxn ang="0">
                <a:pos x="16" y="0"/>
              </a:cxn>
              <a:cxn ang="0">
                <a:pos x="16" y="2"/>
              </a:cxn>
              <a:cxn ang="0">
                <a:pos x="9" y="3"/>
              </a:cxn>
              <a:cxn ang="0">
                <a:pos x="6" y="2"/>
              </a:cxn>
              <a:cxn ang="0">
                <a:pos x="6" y="5"/>
              </a:cxn>
              <a:cxn ang="0">
                <a:pos x="1" y="3"/>
              </a:cxn>
              <a:cxn ang="0">
                <a:pos x="0" y="0"/>
              </a:cxn>
              <a:cxn ang="0">
                <a:pos x="4" y="0"/>
              </a:cxn>
            </a:cxnLst>
            <a:rect l="0" t="0" r="r" b="b"/>
            <a:pathLst>
              <a:path w="16" h="5">
                <a:moveTo>
                  <a:pt x="4" y="0"/>
                </a:moveTo>
                <a:lnTo>
                  <a:pt x="5" y="0"/>
                </a:lnTo>
                <a:lnTo>
                  <a:pt x="6" y="0"/>
                </a:lnTo>
                <a:lnTo>
                  <a:pt x="8" y="2"/>
                </a:lnTo>
                <a:lnTo>
                  <a:pt x="10" y="0"/>
                </a:lnTo>
                <a:lnTo>
                  <a:pt x="12" y="0"/>
                </a:lnTo>
                <a:lnTo>
                  <a:pt x="14" y="0"/>
                </a:lnTo>
                <a:lnTo>
                  <a:pt x="16" y="0"/>
                </a:lnTo>
                <a:lnTo>
                  <a:pt x="16" y="2"/>
                </a:lnTo>
                <a:lnTo>
                  <a:pt x="9" y="3"/>
                </a:lnTo>
                <a:lnTo>
                  <a:pt x="6" y="2"/>
                </a:lnTo>
                <a:lnTo>
                  <a:pt x="6" y="5"/>
                </a:lnTo>
                <a:lnTo>
                  <a:pt x="1" y="3"/>
                </a:lnTo>
                <a:lnTo>
                  <a:pt x="0" y="0"/>
                </a:lnTo>
                <a:lnTo>
                  <a:pt x="4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22" name="Freeform 722"/>
          <p:cNvSpPr>
            <a:spLocks/>
          </p:cNvSpPr>
          <p:nvPr/>
        </p:nvSpPr>
        <p:spPr bwMode="auto">
          <a:xfrm>
            <a:off x="3415749" y="2104306"/>
            <a:ext cx="25335" cy="15033"/>
          </a:xfrm>
          <a:custGeom>
            <a:avLst/>
            <a:gdLst/>
            <a:ahLst/>
            <a:cxnLst>
              <a:cxn ang="0">
                <a:pos x="1" y="1"/>
              </a:cxn>
              <a:cxn ang="0">
                <a:pos x="0" y="1"/>
              </a:cxn>
              <a:cxn ang="0">
                <a:pos x="1" y="1"/>
              </a:cxn>
              <a:cxn ang="0">
                <a:pos x="5" y="0"/>
              </a:cxn>
              <a:cxn ang="0">
                <a:pos x="8" y="0"/>
              </a:cxn>
              <a:cxn ang="0">
                <a:pos x="9" y="1"/>
              </a:cxn>
              <a:cxn ang="0">
                <a:pos x="12" y="1"/>
              </a:cxn>
              <a:cxn ang="0">
                <a:pos x="14" y="3"/>
              </a:cxn>
              <a:cxn ang="0">
                <a:pos x="14" y="4"/>
              </a:cxn>
              <a:cxn ang="0">
                <a:pos x="10" y="7"/>
              </a:cxn>
              <a:cxn ang="0">
                <a:pos x="1" y="1"/>
              </a:cxn>
            </a:cxnLst>
            <a:rect l="0" t="0" r="r" b="b"/>
            <a:pathLst>
              <a:path w="14" h="7">
                <a:moveTo>
                  <a:pt x="1" y="1"/>
                </a:moveTo>
                <a:lnTo>
                  <a:pt x="0" y="1"/>
                </a:lnTo>
                <a:lnTo>
                  <a:pt x="1" y="1"/>
                </a:lnTo>
                <a:lnTo>
                  <a:pt x="5" y="0"/>
                </a:lnTo>
                <a:lnTo>
                  <a:pt x="8" y="0"/>
                </a:lnTo>
                <a:lnTo>
                  <a:pt x="9" y="1"/>
                </a:lnTo>
                <a:lnTo>
                  <a:pt x="12" y="1"/>
                </a:lnTo>
                <a:lnTo>
                  <a:pt x="14" y="3"/>
                </a:lnTo>
                <a:lnTo>
                  <a:pt x="14" y="4"/>
                </a:lnTo>
                <a:lnTo>
                  <a:pt x="10" y="7"/>
                </a:lnTo>
                <a:lnTo>
                  <a:pt x="1" y="1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23" name="Freeform 723"/>
          <p:cNvSpPr>
            <a:spLocks/>
          </p:cNvSpPr>
          <p:nvPr/>
        </p:nvSpPr>
        <p:spPr bwMode="auto">
          <a:xfrm>
            <a:off x="3415749" y="2104306"/>
            <a:ext cx="25335" cy="15033"/>
          </a:xfrm>
          <a:custGeom>
            <a:avLst/>
            <a:gdLst/>
            <a:ahLst/>
            <a:cxnLst>
              <a:cxn ang="0">
                <a:pos x="1" y="1"/>
              </a:cxn>
              <a:cxn ang="0">
                <a:pos x="0" y="1"/>
              </a:cxn>
              <a:cxn ang="0">
                <a:pos x="1" y="1"/>
              </a:cxn>
              <a:cxn ang="0">
                <a:pos x="5" y="0"/>
              </a:cxn>
              <a:cxn ang="0">
                <a:pos x="8" y="0"/>
              </a:cxn>
              <a:cxn ang="0">
                <a:pos x="9" y="1"/>
              </a:cxn>
              <a:cxn ang="0">
                <a:pos x="12" y="1"/>
              </a:cxn>
              <a:cxn ang="0">
                <a:pos x="14" y="3"/>
              </a:cxn>
              <a:cxn ang="0">
                <a:pos x="14" y="4"/>
              </a:cxn>
              <a:cxn ang="0">
                <a:pos x="10" y="7"/>
              </a:cxn>
              <a:cxn ang="0">
                <a:pos x="1" y="1"/>
              </a:cxn>
            </a:cxnLst>
            <a:rect l="0" t="0" r="r" b="b"/>
            <a:pathLst>
              <a:path w="14" h="7">
                <a:moveTo>
                  <a:pt x="1" y="1"/>
                </a:moveTo>
                <a:lnTo>
                  <a:pt x="0" y="1"/>
                </a:lnTo>
                <a:lnTo>
                  <a:pt x="1" y="1"/>
                </a:lnTo>
                <a:lnTo>
                  <a:pt x="5" y="0"/>
                </a:lnTo>
                <a:lnTo>
                  <a:pt x="8" y="0"/>
                </a:lnTo>
                <a:lnTo>
                  <a:pt x="9" y="1"/>
                </a:lnTo>
                <a:lnTo>
                  <a:pt x="12" y="1"/>
                </a:lnTo>
                <a:lnTo>
                  <a:pt x="14" y="3"/>
                </a:lnTo>
                <a:lnTo>
                  <a:pt x="14" y="4"/>
                </a:lnTo>
                <a:lnTo>
                  <a:pt x="10" y="7"/>
                </a:lnTo>
                <a:lnTo>
                  <a:pt x="1" y="1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24" name="Freeform 724"/>
          <p:cNvSpPr>
            <a:spLocks/>
          </p:cNvSpPr>
          <p:nvPr/>
        </p:nvSpPr>
        <p:spPr bwMode="auto">
          <a:xfrm>
            <a:off x="3446930" y="2097863"/>
            <a:ext cx="19488" cy="85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0"/>
              </a:cxn>
              <a:cxn ang="0">
                <a:pos x="5" y="0"/>
              </a:cxn>
              <a:cxn ang="0">
                <a:pos x="9" y="2"/>
              </a:cxn>
              <a:cxn ang="0">
                <a:pos x="11" y="4"/>
              </a:cxn>
              <a:cxn ang="0">
                <a:pos x="11" y="5"/>
              </a:cxn>
              <a:cxn ang="0">
                <a:pos x="8" y="5"/>
              </a:cxn>
              <a:cxn ang="0">
                <a:pos x="4" y="4"/>
              </a:cxn>
              <a:cxn ang="0">
                <a:pos x="1" y="2"/>
              </a:cxn>
              <a:cxn ang="0">
                <a:pos x="0" y="0"/>
              </a:cxn>
            </a:cxnLst>
            <a:rect l="0" t="0" r="r" b="b"/>
            <a:pathLst>
              <a:path w="11" h="5">
                <a:moveTo>
                  <a:pt x="0" y="0"/>
                </a:moveTo>
                <a:lnTo>
                  <a:pt x="1" y="0"/>
                </a:lnTo>
                <a:lnTo>
                  <a:pt x="5" y="0"/>
                </a:lnTo>
                <a:lnTo>
                  <a:pt x="9" y="2"/>
                </a:lnTo>
                <a:lnTo>
                  <a:pt x="11" y="4"/>
                </a:lnTo>
                <a:lnTo>
                  <a:pt x="11" y="5"/>
                </a:lnTo>
                <a:lnTo>
                  <a:pt x="8" y="5"/>
                </a:lnTo>
                <a:lnTo>
                  <a:pt x="4" y="4"/>
                </a:lnTo>
                <a:lnTo>
                  <a:pt x="1" y="2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25" name="Freeform 725"/>
          <p:cNvSpPr>
            <a:spLocks/>
          </p:cNvSpPr>
          <p:nvPr/>
        </p:nvSpPr>
        <p:spPr bwMode="auto">
          <a:xfrm>
            <a:off x="3446930" y="2097863"/>
            <a:ext cx="19488" cy="85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0"/>
              </a:cxn>
              <a:cxn ang="0">
                <a:pos x="5" y="0"/>
              </a:cxn>
              <a:cxn ang="0">
                <a:pos x="9" y="2"/>
              </a:cxn>
              <a:cxn ang="0">
                <a:pos x="11" y="4"/>
              </a:cxn>
              <a:cxn ang="0">
                <a:pos x="11" y="5"/>
              </a:cxn>
              <a:cxn ang="0">
                <a:pos x="8" y="5"/>
              </a:cxn>
              <a:cxn ang="0">
                <a:pos x="4" y="4"/>
              </a:cxn>
              <a:cxn ang="0">
                <a:pos x="1" y="2"/>
              </a:cxn>
              <a:cxn ang="0">
                <a:pos x="0" y="0"/>
              </a:cxn>
            </a:cxnLst>
            <a:rect l="0" t="0" r="r" b="b"/>
            <a:pathLst>
              <a:path w="11" h="5">
                <a:moveTo>
                  <a:pt x="0" y="0"/>
                </a:moveTo>
                <a:lnTo>
                  <a:pt x="1" y="0"/>
                </a:lnTo>
                <a:lnTo>
                  <a:pt x="5" y="0"/>
                </a:lnTo>
                <a:lnTo>
                  <a:pt x="9" y="2"/>
                </a:lnTo>
                <a:lnTo>
                  <a:pt x="11" y="4"/>
                </a:lnTo>
                <a:lnTo>
                  <a:pt x="11" y="5"/>
                </a:lnTo>
                <a:lnTo>
                  <a:pt x="8" y="5"/>
                </a:lnTo>
                <a:lnTo>
                  <a:pt x="4" y="4"/>
                </a:lnTo>
                <a:lnTo>
                  <a:pt x="1" y="2"/>
                </a:lnTo>
                <a:lnTo>
                  <a:pt x="0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26" name="Freeform 726"/>
          <p:cNvSpPr>
            <a:spLocks/>
          </p:cNvSpPr>
          <p:nvPr/>
        </p:nvSpPr>
        <p:spPr bwMode="auto">
          <a:xfrm>
            <a:off x="3027936" y="1412776"/>
            <a:ext cx="886709" cy="244827"/>
          </a:xfrm>
          <a:custGeom>
            <a:avLst/>
            <a:gdLst/>
            <a:ahLst/>
            <a:cxnLst>
              <a:cxn ang="0">
                <a:pos x="407" y="5"/>
              </a:cxn>
              <a:cxn ang="0">
                <a:pos x="347" y="8"/>
              </a:cxn>
              <a:cxn ang="0">
                <a:pos x="299" y="0"/>
              </a:cxn>
              <a:cxn ang="0">
                <a:pos x="238" y="1"/>
              </a:cxn>
              <a:cxn ang="0">
                <a:pos x="214" y="5"/>
              </a:cxn>
              <a:cxn ang="0">
                <a:pos x="177" y="8"/>
              </a:cxn>
              <a:cxn ang="0">
                <a:pos x="135" y="11"/>
              </a:cxn>
              <a:cxn ang="0">
                <a:pos x="133" y="19"/>
              </a:cxn>
              <a:cxn ang="0">
                <a:pos x="86" y="16"/>
              </a:cxn>
              <a:cxn ang="0">
                <a:pos x="70" y="19"/>
              </a:cxn>
              <a:cxn ang="0">
                <a:pos x="41" y="22"/>
              </a:cxn>
              <a:cxn ang="0">
                <a:pos x="16" y="27"/>
              </a:cxn>
              <a:cxn ang="0">
                <a:pos x="70" y="28"/>
              </a:cxn>
              <a:cxn ang="0">
                <a:pos x="42" y="38"/>
              </a:cxn>
              <a:cxn ang="0">
                <a:pos x="45" y="41"/>
              </a:cxn>
              <a:cxn ang="0">
                <a:pos x="106" y="38"/>
              </a:cxn>
              <a:cxn ang="0">
                <a:pos x="87" y="42"/>
              </a:cxn>
              <a:cxn ang="0">
                <a:pos x="117" y="44"/>
              </a:cxn>
              <a:cxn ang="0">
                <a:pos x="150" y="41"/>
              </a:cxn>
              <a:cxn ang="0">
                <a:pos x="182" y="39"/>
              </a:cxn>
              <a:cxn ang="0">
                <a:pos x="198" y="34"/>
              </a:cxn>
              <a:cxn ang="0">
                <a:pos x="230" y="41"/>
              </a:cxn>
              <a:cxn ang="0">
                <a:pos x="203" y="45"/>
              </a:cxn>
              <a:cxn ang="0">
                <a:pos x="155" y="56"/>
              </a:cxn>
              <a:cxn ang="0">
                <a:pos x="154" y="63"/>
              </a:cxn>
              <a:cxn ang="0">
                <a:pos x="80" y="52"/>
              </a:cxn>
              <a:cxn ang="0">
                <a:pos x="105" y="64"/>
              </a:cxn>
              <a:cxn ang="0">
                <a:pos x="119" y="72"/>
              </a:cxn>
              <a:cxn ang="0">
                <a:pos x="153" y="75"/>
              </a:cxn>
              <a:cxn ang="0">
                <a:pos x="139" y="80"/>
              </a:cxn>
              <a:cxn ang="0">
                <a:pos x="66" y="82"/>
              </a:cxn>
              <a:cxn ang="0">
                <a:pos x="91" y="85"/>
              </a:cxn>
              <a:cxn ang="0">
                <a:pos x="106" y="85"/>
              </a:cxn>
              <a:cxn ang="0">
                <a:pos x="98" y="91"/>
              </a:cxn>
              <a:cxn ang="0">
                <a:pos x="99" y="96"/>
              </a:cxn>
              <a:cxn ang="0">
                <a:pos x="138" y="91"/>
              </a:cxn>
              <a:cxn ang="0">
                <a:pos x="110" y="104"/>
              </a:cxn>
              <a:cxn ang="0">
                <a:pos x="53" y="96"/>
              </a:cxn>
              <a:cxn ang="0">
                <a:pos x="76" y="107"/>
              </a:cxn>
              <a:cxn ang="0">
                <a:pos x="36" y="115"/>
              </a:cxn>
              <a:cxn ang="0">
                <a:pos x="64" y="119"/>
              </a:cxn>
              <a:cxn ang="0">
                <a:pos x="80" y="118"/>
              </a:cxn>
              <a:cxn ang="0">
                <a:pos x="129" y="116"/>
              </a:cxn>
              <a:cxn ang="0">
                <a:pos x="165" y="119"/>
              </a:cxn>
              <a:cxn ang="0">
                <a:pos x="200" y="110"/>
              </a:cxn>
              <a:cxn ang="0">
                <a:pos x="159" y="105"/>
              </a:cxn>
              <a:cxn ang="0">
                <a:pos x="208" y="100"/>
              </a:cxn>
              <a:cxn ang="0">
                <a:pos x="243" y="91"/>
              </a:cxn>
              <a:cxn ang="0">
                <a:pos x="240" y="82"/>
              </a:cxn>
              <a:cxn ang="0">
                <a:pos x="218" y="74"/>
              </a:cxn>
              <a:cxn ang="0">
                <a:pos x="240" y="71"/>
              </a:cxn>
              <a:cxn ang="0">
                <a:pos x="215" y="67"/>
              </a:cxn>
              <a:cxn ang="0">
                <a:pos x="252" y="66"/>
              </a:cxn>
              <a:cxn ang="0">
                <a:pos x="278" y="60"/>
              </a:cxn>
              <a:cxn ang="0">
                <a:pos x="312" y="53"/>
              </a:cxn>
              <a:cxn ang="0">
                <a:pos x="328" y="50"/>
              </a:cxn>
              <a:cxn ang="0">
                <a:pos x="395" y="33"/>
              </a:cxn>
              <a:cxn ang="0">
                <a:pos x="332" y="33"/>
              </a:cxn>
              <a:cxn ang="0">
                <a:pos x="359" y="27"/>
              </a:cxn>
              <a:cxn ang="0">
                <a:pos x="424" y="22"/>
              </a:cxn>
            </a:cxnLst>
            <a:rect l="0" t="0" r="r" b="b"/>
            <a:pathLst>
              <a:path w="464" h="124">
                <a:moveTo>
                  <a:pt x="445" y="11"/>
                </a:moveTo>
                <a:lnTo>
                  <a:pt x="441" y="11"/>
                </a:lnTo>
                <a:lnTo>
                  <a:pt x="438" y="11"/>
                </a:lnTo>
                <a:lnTo>
                  <a:pt x="437" y="11"/>
                </a:lnTo>
                <a:lnTo>
                  <a:pt x="430" y="12"/>
                </a:lnTo>
                <a:lnTo>
                  <a:pt x="432" y="11"/>
                </a:lnTo>
                <a:lnTo>
                  <a:pt x="433" y="9"/>
                </a:lnTo>
                <a:lnTo>
                  <a:pt x="436" y="9"/>
                </a:lnTo>
                <a:lnTo>
                  <a:pt x="428" y="9"/>
                </a:lnTo>
                <a:lnTo>
                  <a:pt x="426" y="8"/>
                </a:lnTo>
                <a:lnTo>
                  <a:pt x="421" y="6"/>
                </a:lnTo>
                <a:lnTo>
                  <a:pt x="425" y="6"/>
                </a:lnTo>
                <a:lnTo>
                  <a:pt x="425" y="5"/>
                </a:lnTo>
                <a:lnTo>
                  <a:pt x="424" y="5"/>
                </a:lnTo>
                <a:lnTo>
                  <a:pt x="417" y="5"/>
                </a:lnTo>
                <a:lnTo>
                  <a:pt x="412" y="6"/>
                </a:lnTo>
                <a:lnTo>
                  <a:pt x="407" y="5"/>
                </a:lnTo>
                <a:lnTo>
                  <a:pt x="405" y="3"/>
                </a:lnTo>
                <a:lnTo>
                  <a:pt x="401" y="3"/>
                </a:lnTo>
                <a:lnTo>
                  <a:pt x="400" y="3"/>
                </a:lnTo>
                <a:lnTo>
                  <a:pt x="401" y="5"/>
                </a:lnTo>
                <a:lnTo>
                  <a:pt x="396" y="5"/>
                </a:lnTo>
                <a:lnTo>
                  <a:pt x="399" y="6"/>
                </a:lnTo>
                <a:lnTo>
                  <a:pt x="397" y="6"/>
                </a:lnTo>
                <a:lnTo>
                  <a:pt x="396" y="6"/>
                </a:lnTo>
                <a:lnTo>
                  <a:pt x="392" y="5"/>
                </a:lnTo>
                <a:lnTo>
                  <a:pt x="393" y="5"/>
                </a:lnTo>
                <a:lnTo>
                  <a:pt x="389" y="5"/>
                </a:lnTo>
                <a:lnTo>
                  <a:pt x="381" y="5"/>
                </a:lnTo>
                <a:lnTo>
                  <a:pt x="373" y="6"/>
                </a:lnTo>
                <a:lnTo>
                  <a:pt x="365" y="8"/>
                </a:lnTo>
                <a:lnTo>
                  <a:pt x="360" y="8"/>
                </a:lnTo>
                <a:lnTo>
                  <a:pt x="344" y="8"/>
                </a:lnTo>
                <a:lnTo>
                  <a:pt x="347" y="8"/>
                </a:lnTo>
                <a:lnTo>
                  <a:pt x="372" y="5"/>
                </a:lnTo>
                <a:lnTo>
                  <a:pt x="376" y="5"/>
                </a:lnTo>
                <a:lnTo>
                  <a:pt x="379" y="3"/>
                </a:lnTo>
                <a:lnTo>
                  <a:pt x="367" y="1"/>
                </a:lnTo>
                <a:lnTo>
                  <a:pt x="363" y="3"/>
                </a:lnTo>
                <a:lnTo>
                  <a:pt x="357" y="1"/>
                </a:lnTo>
                <a:lnTo>
                  <a:pt x="352" y="1"/>
                </a:lnTo>
                <a:lnTo>
                  <a:pt x="345" y="1"/>
                </a:lnTo>
                <a:lnTo>
                  <a:pt x="336" y="1"/>
                </a:lnTo>
                <a:lnTo>
                  <a:pt x="336" y="3"/>
                </a:lnTo>
                <a:lnTo>
                  <a:pt x="335" y="1"/>
                </a:lnTo>
                <a:lnTo>
                  <a:pt x="331" y="1"/>
                </a:lnTo>
                <a:lnTo>
                  <a:pt x="325" y="1"/>
                </a:lnTo>
                <a:lnTo>
                  <a:pt x="323" y="0"/>
                </a:lnTo>
                <a:lnTo>
                  <a:pt x="320" y="0"/>
                </a:lnTo>
                <a:lnTo>
                  <a:pt x="312" y="0"/>
                </a:lnTo>
                <a:lnTo>
                  <a:pt x="299" y="0"/>
                </a:lnTo>
                <a:lnTo>
                  <a:pt x="298" y="1"/>
                </a:lnTo>
                <a:lnTo>
                  <a:pt x="294" y="1"/>
                </a:lnTo>
                <a:lnTo>
                  <a:pt x="295" y="0"/>
                </a:lnTo>
                <a:lnTo>
                  <a:pt x="287" y="0"/>
                </a:lnTo>
                <a:lnTo>
                  <a:pt x="282" y="0"/>
                </a:lnTo>
                <a:lnTo>
                  <a:pt x="275" y="0"/>
                </a:lnTo>
                <a:lnTo>
                  <a:pt x="268" y="1"/>
                </a:lnTo>
                <a:lnTo>
                  <a:pt x="266" y="3"/>
                </a:lnTo>
                <a:lnTo>
                  <a:pt x="267" y="5"/>
                </a:lnTo>
                <a:lnTo>
                  <a:pt x="270" y="5"/>
                </a:lnTo>
                <a:lnTo>
                  <a:pt x="274" y="6"/>
                </a:lnTo>
                <a:lnTo>
                  <a:pt x="268" y="6"/>
                </a:lnTo>
                <a:lnTo>
                  <a:pt x="259" y="3"/>
                </a:lnTo>
                <a:lnTo>
                  <a:pt x="256" y="1"/>
                </a:lnTo>
                <a:lnTo>
                  <a:pt x="252" y="1"/>
                </a:lnTo>
                <a:lnTo>
                  <a:pt x="246" y="1"/>
                </a:lnTo>
                <a:lnTo>
                  <a:pt x="238" y="1"/>
                </a:lnTo>
                <a:lnTo>
                  <a:pt x="228" y="0"/>
                </a:lnTo>
                <a:lnTo>
                  <a:pt x="218" y="1"/>
                </a:lnTo>
                <a:lnTo>
                  <a:pt x="206" y="1"/>
                </a:lnTo>
                <a:lnTo>
                  <a:pt x="206" y="3"/>
                </a:lnTo>
                <a:lnTo>
                  <a:pt x="212" y="3"/>
                </a:lnTo>
                <a:lnTo>
                  <a:pt x="222" y="6"/>
                </a:lnTo>
                <a:lnTo>
                  <a:pt x="226" y="6"/>
                </a:lnTo>
                <a:lnTo>
                  <a:pt x="224" y="6"/>
                </a:lnTo>
                <a:lnTo>
                  <a:pt x="227" y="8"/>
                </a:lnTo>
                <a:lnTo>
                  <a:pt x="240" y="9"/>
                </a:lnTo>
                <a:lnTo>
                  <a:pt x="228" y="12"/>
                </a:lnTo>
                <a:lnTo>
                  <a:pt x="228" y="11"/>
                </a:lnTo>
                <a:lnTo>
                  <a:pt x="231" y="9"/>
                </a:lnTo>
                <a:lnTo>
                  <a:pt x="230" y="9"/>
                </a:lnTo>
                <a:lnTo>
                  <a:pt x="219" y="8"/>
                </a:lnTo>
                <a:lnTo>
                  <a:pt x="218" y="6"/>
                </a:lnTo>
                <a:lnTo>
                  <a:pt x="214" y="5"/>
                </a:lnTo>
                <a:lnTo>
                  <a:pt x="211" y="5"/>
                </a:lnTo>
                <a:lnTo>
                  <a:pt x="199" y="3"/>
                </a:lnTo>
                <a:lnTo>
                  <a:pt x="196" y="3"/>
                </a:lnTo>
                <a:lnTo>
                  <a:pt x="194" y="5"/>
                </a:lnTo>
                <a:lnTo>
                  <a:pt x="191" y="5"/>
                </a:lnTo>
                <a:lnTo>
                  <a:pt x="189" y="3"/>
                </a:lnTo>
                <a:lnTo>
                  <a:pt x="185" y="3"/>
                </a:lnTo>
                <a:lnTo>
                  <a:pt x="182" y="3"/>
                </a:lnTo>
                <a:lnTo>
                  <a:pt x="181" y="3"/>
                </a:lnTo>
                <a:lnTo>
                  <a:pt x="177" y="1"/>
                </a:lnTo>
                <a:lnTo>
                  <a:pt x="167" y="3"/>
                </a:lnTo>
                <a:lnTo>
                  <a:pt x="162" y="3"/>
                </a:lnTo>
                <a:lnTo>
                  <a:pt x="165" y="5"/>
                </a:lnTo>
                <a:lnTo>
                  <a:pt x="169" y="5"/>
                </a:lnTo>
                <a:lnTo>
                  <a:pt x="167" y="6"/>
                </a:lnTo>
                <a:lnTo>
                  <a:pt x="170" y="6"/>
                </a:lnTo>
                <a:lnTo>
                  <a:pt x="177" y="8"/>
                </a:lnTo>
                <a:lnTo>
                  <a:pt x="167" y="6"/>
                </a:lnTo>
                <a:lnTo>
                  <a:pt x="169" y="8"/>
                </a:lnTo>
                <a:lnTo>
                  <a:pt x="161" y="6"/>
                </a:lnTo>
                <a:lnTo>
                  <a:pt x="146" y="5"/>
                </a:lnTo>
                <a:lnTo>
                  <a:pt x="145" y="6"/>
                </a:lnTo>
                <a:lnTo>
                  <a:pt x="149" y="6"/>
                </a:lnTo>
                <a:lnTo>
                  <a:pt x="150" y="8"/>
                </a:lnTo>
                <a:lnTo>
                  <a:pt x="155" y="9"/>
                </a:lnTo>
                <a:lnTo>
                  <a:pt x="158" y="9"/>
                </a:lnTo>
                <a:lnTo>
                  <a:pt x="161" y="11"/>
                </a:lnTo>
                <a:lnTo>
                  <a:pt x="158" y="11"/>
                </a:lnTo>
                <a:lnTo>
                  <a:pt x="146" y="9"/>
                </a:lnTo>
                <a:lnTo>
                  <a:pt x="135" y="8"/>
                </a:lnTo>
                <a:lnTo>
                  <a:pt x="131" y="8"/>
                </a:lnTo>
                <a:lnTo>
                  <a:pt x="130" y="9"/>
                </a:lnTo>
                <a:lnTo>
                  <a:pt x="131" y="9"/>
                </a:lnTo>
                <a:lnTo>
                  <a:pt x="135" y="11"/>
                </a:lnTo>
                <a:lnTo>
                  <a:pt x="141" y="11"/>
                </a:lnTo>
                <a:lnTo>
                  <a:pt x="143" y="11"/>
                </a:lnTo>
                <a:lnTo>
                  <a:pt x="130" y="11"/>
                </a:lnTo>
                <a:lnTo>
                  <a:pt x="127" y="12"/>
                </a:lnTo>
                <a:lnTo>
                  <a:pt x="129" y="14"/>
                </a:lnTo>
                <a:lnTo>
                  <a:pt x="145" y="17"/>
                </a:lnTo>
                <a:lnTo>
                  <a:pt x="155" y="17"/>
                </a:lnTo>
                <a:lnTo>
                  <a:pt x="158" y="17"/>
                </a:lnTo>
                <a:lnTo>
                  <a:pt x="157" y="19"/>
                </a:lnTo>
                <a:lnTo>
                  <a:pt x="162" y="20"/>
                </a:lnTo>
                <a:lnTo>
                  <a:pt x="149" y="19"/>
                </a:lnTo>
                <a:lnTo>
                  <a:pt x="141" y="17"/>
                </a:lnTo>
                <a:lnTo>
                  <a:pt x="129" y="16"/>
                </a:lnTo>
                <a:lnTo>
                  <a:pt x="122" y="14"/>
                </a:lnTo>
                <a:lnTo>
                  <a:pt x="122" y="16"/>
                </a:lnTo>
                <a:lnTo>
                  <a:pt x="127" y="17"/>
                </a:lnTo>
                <a:lnTo>
                  <a:pt x="133" y="19"/>
                </a:lnTo>
                <a:lnTo>
                  <a:pt x="122" y="17"/>
                </a:lnTo>
                <a:lnTo>
                  <a:pt x="121" y="16"/>
                </a:lnTo>
                <a:lnTo>
                  <a:pt x="118" y="16"/>
                </a:lnTo>
                <a:lnTo>
                  <a:pt x="117" y="14"/>
                </a:lnTo>
                <a:lnTo>
                  <a:pt x="110" y="14"/>
                </a:lnTo>
                <a:lnTo>
                  <a:pt x="107" y="14"/>
                </a:lnTo>
                <a:lnTo>
                  <a:pt x="105" y="14"/>
                </a:lnTo>
                <a:lnTo>
                  <a:pt x="99" y="12"/>
                </a:lnTo>
                <a:lnTo>
                  <a:pt x="98" y="12"/>
                </a:lnTo>
                <a:lnTo>
                  <a:pt x="101" y="11"/>
                </a:lnTo>
                <a:lnTo>
                  <a:pt x="91" y="11"/>
                </a:lnTo>
                <a:lnTo>
                  <a:pt x="83" y="12"/>
                </a:lnTo>
                <a:lnTo>
                  <a:pt x="81" y="12"/>
                </a:lnTo>
                <a:lnTo>
                  <a:pt x="85" y="12"/>
                </a:lnTo>
                <a:lnTo>
                  <a:pt x="86" y="14"/>
                </a:lnTo>
                <a:lnTo>
                  <a:pt x="87" y="14"/>
                </a:lnTo>
                <a:lnTo>
                  <a:pt x="86" y="16"/>
                </a:lnTo>
                <a:lnTo>
                  <a:pt x="78" y="16"/>
                </a:lnTo>
                <a:lnTo>
                  <a:pt x="70" y="16"/>
                </a:lnTo>
                <a:lnTo>
                  <a:pt x="69" y="16"/>
                </a:lnTo>
                <a:lnTo>
                  <a:pt x="70" y="17"/>
                </a:lnTo>
                <a:lnTo>
                  <a:pt x="74" y="17"/>
                </a:lnTo>
                <a:lnTo>
                  <a:pt x="78" y="17"/>
                </a:lnTo>
                <a:lnTo>
                  <a:pt x="91" y="19"/>
                </a:lnTo>
                <a:lnTo>
                  <a:pt x="101" y="19"/>
                </a:lnTo>
                <a:lnTo>
                  <a:pt x="98" y="19"/>
                </a:lnTo>
                <a:lnTo>
                  <a:pt x="99" y="20"/>
                </a:lnTo>
                <a:lnTo>
                  <a:pt x="94" y="19"/>
                </a:lnTo>
                <a:lnTo>
                  <a:pt x="89" y="19"/>
                </a:lnTo>
                <a:lnTo>
                  <a:pt x="89" y="20"/>
                </a:lnTo>
                <a:lnTo>
                  <a:pt x="91" y="22"/>
                </a:lnTo>
                <a:lnTo>
                  <a:pt x="83" y="19"/>
                </a:lnTo>
                <a:lnTo>
                  <a:pt x="78" y="19"/>
                </a:lnTo>
                <a:lnTo>
                  <a:pt x="70" y="19"/>
                </a:lnTo>
                <a:lnTo>
                  <a:pt x="69" y="20"/>
                </a:lnTo>
                <a:lnTo>
                  <a:pt x="72" y="20"/>
                </a:lnTo>
                <a:lnTo>
                  <a:pt x="69" y="20"/>
                </a:lnTo>
                <a:lnTo>
                  <a:pt x="66" y="20"/>
                </a:lnTo>
                <a:lnTo>
                  <a:pt x="66" y="19"/>
                </a:lnTo>
                <a:lnTo>
                  <a:pt x="65" y="19"/>
                </a:lnTo>
                <a:lnTo>
                  <a:pt x="60" y="17"/>
                </a:lnTo>
                <a:lnTo>
                  <a:pt x="58" y="19"/>
                </a:lnTo>
                <a:lnTo>
                  <a:pt x="56" y="17"/>
                </a:lnTo>
                <a:lnTo>
                  <a:pt x="50" y="17"/>
                </a:lnTo>
                <a:lnTo>
                  <a:pt x="49" y="19"/>
                </a:lnTo>
                <a:lnTo>
                  <a:pt x="45" y="19"/>
                </a:lnTo>
                <a:lnTo>
                  <a:pt x="41" y="19"/>
                </a:lnTo>
                <a:lnTo>
                  <a:pt x="36" y="20"/>
                </a:lnTo>
                <a:lnTo>
                  <a:pt x="37" y="20"/>
                </a:lnTo>
                <a:lnTo>
                  <a:pt x="40" y="22"/>
                </a:lnTo>
                <a:lnTo>
                  <a:pt x="41" y="22"/>
                </a:lnTo>
                <a:lnTo>
                  <a:pt x="34" y="20"/>
                </a:lnTo>
                <a:lnTo>
                  <a:pt x="36" y="23"/>
                </a:lnTo>
                <a:lnTo>
                  <a:pt x="30" y="22"/>
                </a:lnTo>
                <a:lnTo>
                  <a:pt x="29" y="22"/>
                </a:lnTo>
                <a:lnTo>
                  <a:pt x="26" y="20"/>
                </a:lnTo>
                <a:lnTo>
                  <a:pt x="20" y="22"/>
                </a:lnTo>
                <a:lnTo>
                  <a:pt x="13" y="22"/>
                </a:lnTo>
                <a:lnTo>
                  <a:pt x="12" y="23"/>
                </a:lnTo>
                <a:lnTo>
                  <a:pt x="10" y="23"/>
                </a:lnTo>
                <a:lnTo>
                  <a:pt x="8" y="23"/>
                </a:lnTo>
                <a:lnTo>
                  <a:pt x="4" y="23"/>
                </a:lnTo>
                <a:lnTo>
                  <a:pt x="2" y="25"/>
                </a:lnTo>
                <a:lnTo>
                  <a:pt x="0" y="27"/>
                </a:lnTo>
                <a:lnTo>
                  <a:pt x="8" y="27"/>
                </a:lnTo>
                <a:lnTo>
                  <a:pt x="9" y="27"/>
                </a:lnTo>
                <a:lnTo>
                  <a:pt x="9" y="28"/>
                </a:lnTo>
                <a:lnTo>
                  <a:pt x="16" y="27"/>
                </a:lnTo>
                <a:lnTo>
                  <a:pt x="17" y="28"/>
                </a:lnTo>
                <a:lnTo>
                  <a:pt x="21" y="27"/>
                </a:lnTo>
                <a:lnTo>
                  <a:pt x="24" y="27"/>
                </a:lnTo>
                <a:lnTo>
                  <a:pt x="26" y="27"/>
                </a:lnTo>
                <a:lnTo>
                  <a:pt x="28" y="25"/>
                </a:lnTo>
                <a:lnTo>
                  <a:pt x="29" y="25"/>
                </a:lnTo>
                <a:lnTo>
                  <a:pt x="29" y="27"/>
                </a:lnTo>
                <a:lnTo>
                  <a:pt x="32" y="27"/>
                </a:lnTo>
                <a:lnTo>
                  <a:pt x="38" y="27"/>
                </a:lnTo>
                <a:lnTo>
                  <a:pt x="30" y="28"/>
                </a:lnTo>
                <a:lnTo>
                  <a:pt x="20" y="30"/>
                </a:lnTo>
                <a:lnTo>
                  <a:pt x="25" y="31"/>
                </a:lnTo>
                <a:lnTo>
                  <a:pt x="45" y="28"/>
                </a:lnTo>
                <a:lnTo>
                  <a:pt x="58" y="27"/>
                </a:lnTo>
                <a:lnTo>
                  <a:pt x="60" y="28"/>
                </a:lnTo>
                <a:lnTo>
                  <a:pt x="68" y="28"/>
                </a:lnTo>
                <a:lnTo>
                  <a:pt x="70" y="28"/>
                </a:lnTo>
                <a:lnTo>
                  <a:pt x="80" y="28"/>
                </a:lnTo>
                <a:lnTo>
                  <a:pt x="82" y="28"/>
                </a:lnTo>
                <a:lnTo>
                  <a:pt x="78" y="30"/>
                </a:lnTo>
                <a:lnTo>
                  <a:pt x="61" y="28"/>
                </a:lnTo>
                <a:lnTo>
                  <a:pt x="58" y="28"/>
                </a:lnTo>
                <a:lnTo>
                  <a:pt x="53" y="28"/>
                </a:lnTo>
                <a:lnTo>
                  <a:pt x="38" y="31"/>
                </a:lnTo>
                <a:lnTo>
                  <a:pt x="33" y="31"/>
                </a:lnTo>
                <a:lnTo>
                  <a:pt x="41" y="33"/>
                </a:lnTo>
                <a:lnTo>
                  <a:pt x="48" y="33"/>
                </a:lnTo>
                <a:lnTo>
                  <a:pt x="45" y="33"/>
                </a:lnTo>
                <a:lnTo>
                  <a:pt x="32" y="34"/>
                </a:lnTo>
                <a:lnTo>
                  <a:pt x="30" y="34"/>
                </a:lnTo>
                <a:lnTo>
                  <a:pt x="30" y="36"/>
                </a:lnTo>
                <a:lnTo>
                  <a:pt x="33" y="38"/>
                </a:lnTo>
                <a:lnTo>
                  <a:pt x="37" y="38"/>
                </a:lnTo>
                <a:lnTo>
                  <a:pt x="42" y="38"/>
                </a:lnTo>
                <a:lnTo>
                  <a:pt x="48" y="36"/>
                </a:lnTo>
                <a:lnTo>
                  <a:pt x="72" y="36"/>
                </a:lnTo>
                <a:lnTo>
                  <a:pt x="83" y="36"/>
                </a:lnTo>
                <a:lnTo>
                  <a:pt x="91" y="34"/>
                </a:lnTo>
                <a:lnTo>
                  <a:pt x="113" y="33"/>
                </a:lnTo>
                <a:lnTo>
                  <a:pt x="111" y="33"/>
                </a:lnTo>
                <a:lnTo>
                  <a:pt x="109" y="34"/>
                </a:lnTo>
                <a:lnTo>
                  <a:pt x="103" y="34"/>
                </a:lnTo>
                <a:lnTo>
                  <a:pt x="93" y="36"/>
                </a:lnTo>
                <a:lnTo>
                  <a:pt x="82" y="38"/>
                </a:lnTo>
                <a:lnTo>
                  <a:pt x="70" y="38"/>
                </a:lnTo>
                <a:lnTo>
                  <a:pt x="62" y="38"/>
                </a:lnTo>
                <a:lnTo>
                  <a:pt x="53" y="38"/>
                </a:lnTo>
                <a:lnTo>
                  <a:pt x="52" y="38"/>
                </a:lnTo>
                <a:lnTo>
                  <a:pt x="42" y="39"/>
                </a:lnTo>
                <a:lnTo>
                  <a:pt x="40" y="39"/>
                </a:lnTo>
                <a:lnTo>
                  <a:pt x="45" y="41"/>
                </a:lnTo>
                <a:lnTo>
                  <a:pt x="49" y="41"/>
                </a:lnTo>
                <a:lnTo>
                  <a:pt x="53" y="42"/>
                </a:lnTo>
                <a:lnTo>
                  <a:pt x="57" y="44"/>
                </a:lnTo>
                <a:lnTo>
                  <a:pt x="65" y="44"/>
                </a:lnTo>
                <a:lnTo>
                  <a:pt x="70" y="45"/>
                </a:lnTo>
                <a:lnTo>
                  <a:pt x="74" y="45"/>
                </a:lnTo>
                <a:lnTo>
                  <a:pt x="77" y="44"/>
                </a:lnTo>
                <a:lnTo>
                  <a:pt x="78" y="44"/>
                </a:lnTo>
                <a:lnTo>
                  <a:pt x="78" y="42"/>
                </a:lnTo>
                <a:lnTo>
                  <a:pt x="81" y="42"/>
                </a:lnTo>
                <a:lnTo>
                  <a:pt x="83" y="41"/>
                </a:lnTo>
                <a:lnTo>
                  <a:pt x="85" y="41"/>
                </a:lnTo>
                <a:lnTo>
                  <a:pt x="87" y="39"/>
                </a:lnTo>
                <a:lnTo>
                  <a:pt x="91" y="39"/>
                </a:lnTo>
                <a:lnTo>
                  <a:pt x="93" y="38"/>
                </a:lnTo>
                <a:lnTo>
                  <a:pt x="98" y="38"/>
                </a:lnTo>
                <a:lnTo>
                  <a:pt x="106" y="38"/>
                </a:lnTo>
                <a:lnTo>
                  <a:pt x="118" y="36"/>
                </a:lnTo>
                <a:lnTo>
                  <a:pt x="122" y="36"/>
                </a:lnTo>
                <a:lnTo>
                  <a:pt x="149" y="36"/>
                </a:lnTo>
                <a:lnTo>
                  <a:pt x="141" y="36"/>
                </a:lnTo>
                <a:lnTo>
                  <a:pt x="131" y="36"/>
                </a:lnTo>
                <a:lnTo>
                  <a:pt x="125" y="38"/>
                </a:lnTo>
                <a:lnTo>
                  <a:pt x="122" y="38"/>
                </a:lnTo>
                <a:lnTo>
                  <a:pt x="117" y="38"/>
                </a:lnTo>
                <a:lnTo>
                  <a:pt x="107" y="38"/>
                </a:lnTo>
                <a:lnTo>
                  <a:pt x="99" y="39"/>
                </a:lnTo>
                <a:lnTo>
                  <a:pt x="97" y="39"/>
                </a:lnTo>
                <a:lnTo>
                  <a:pt x="94" y="39"/>
                </a:lnTo>
                <a:lnTo>
                  <a:pt x="93" y="39"/>
                </a:lnTo>
                <a:lnTo>
                  <a:pt x="93" y="41"/>
                </a:lnTo>
                <a:lnTo>
                  <a:pt x="90" y="41"/>
                </a:lnTo>
                <a:lnTo>
                  <a:pt x="89" y="42"/>
                </a:lnTo>
                <a:lnTo>
                  <a:pt x="87" y="42"/>
                </a:lnTo>
                <a:lnTo>
                  <a:pt x="86" y="44"/>
                </a:lnTo>
                <a:lnTo>
                  <a:pt x="85" y="44"/>
                </a:lnTo>
                <a:lnTo>
                  <a:pt x="83" y="45"/>
                </a:lnTo>
                <a:lnTo>
                  <a:pt x="90" y="45"/>
                </a:lnTo>
                <a:lnTo>
                  <a:pt x="95" y="45"/>
                </a:lnTo>
                <a:lnTo>
                  <a:pt x="97" y="45"/>
                </a:lnTo>
                <a:lnTo>
                  <a:pt x="98" y="45"/>
                </a:lnTo>
                <a:lnTo>
                  <a:pt x="99" y="45"/>
                </a:lnTo>
                <a:lnTo>
                  <a:pt x="102" y="45"/>
                </a:lnTo>
                <a:lnTo>
                  <a:pt x="98" y="45"/>
                </a:lnTo>
                <a:lnTo>
                  <a:pt x="99" y="47"/>
                </a:lnTo>
                <a:lnTo>
                  <a:pt x="105" y="47"/>
                </a:lnTo>
                <a:lnTo>
                  <a:pt x="106" y="47"/>
                </a:lnTo>
                <a:lnTo>
                  <a:pt x="115" y="47"/>
                </a:lnTo>
                <a:lnTo>
                  <a:pt x="117" y="47"/>
                </a:lnTo>
                <a:lnTo>
                  <a:pt x="118" y="45"/>
                </a:lnTo>
                <a:lnTo>
                  <a:pt x="117" y="44"/>
                </a:lnTo>
                <a:lnTo>
                  <a:pt x="122" y="42"/>
                </a:lnTo>
                <a:lnTo>
                  <a:pt x="125" y="41"/>
                </a:lnTo>
                <a:lnTo>
                  <a:pt x="125" y="42"/>
                </a:lnTo>
                <a:lnTo>
                  <a:pt x="123" y="42"/>
                </a:lnTo>
                <a:lnTo>
                  <a:pt x="122" y="42"/>
                </a:lnTo>
                <a:lnTo>
                  <a:pt x="121" y="44"/>
                </a:lnTo>
                <a:lnTo>
                  <a:pt x="123" y="44"/>
                </a:lnTo>
                <a:lnTo>
                  <a:pt x="127" y="44"/>
                </a:lnTo>
                <a:lnTo>
                  <a:pt x="129" y="44"/>
                </a:lnTo>
                <a:lnTo>
                  <a:pt x="134" y="44"/>
                </a:lnTo>
                <a:lnTo>
                  <a:pt x="141" y="42"/>
                </a:lnTo>
                <a:lnTo>
                  <a:pt x="143" y="41"/>
                </a:lnTo>
                <a:lnTo>
                  <a:pt x="141" y="41"/>
                </a:lnTo>
                <a:lnTo>
                  <a:pt x="145" y="39"/>
                </a:lnTo>
                <a:lnTo>
                  <a:pt x="147" y="39"/>
                </a:lnTo>
                <a:lnTo>
                  <a:pt x="146" y="41"/>
                </a:lnTo>
                <a:lnTo>
                  <a:pt x="150" y="41"/>
                </a:lnTo>
                <a:lnTo>
                  <a:pt x="142" y="42"/>
                </a:lnTo>
                <a:lnTo>
                  <a:pt x="141" y="44"/>
                </a:lnTo>
                <a:lnTo>
                  <a:pt x="134" y="44"/>
                </a:lnTo>
                <a:lnTo>
                  <a:pt x="129" y="44"/>
                </a:lnTo>
                <a:lnTo>
                  <a:pt x="127" y="45"/>
                </a:lnTo>
                <a:lnTo>
                  <a:pt x="126" y="45"/>
                </a:lnTo>
                <a:lnTo>
                  <a:pt x="129" y="47"/>
                </a:lnTo>
                <a:lnTo>
                  <a:pt x="130" y="47"/>
                </a:lnTo>
                <a:lnTo>
                  <a:pt x="149" y="45"/>
                </a:lnTo>
                <a:lnTo>
                  <a:pt x="165" y="44"/>
                </a:lnTo>
                <a:lnTo>
                  <a:pt x="179" y="41"/>
                </a:lnTo>
                <a:lnTo>
                  <a:pt x="182" y="41"/>
                </a:lnTo>
                <a:lnTo>
                  <a:pt x="182" y="39"/>
                </a:lnTo>
                <a:lnTo>
                  <a:pt x="185" y="39"/>
                </a:lnTo>
                <a:lnTo>
                  <a:pt x="185" y="38"/>
                </a:lnTo>
                <a:lnTo>
                  <a:pt x="183" y="38"/>
                </a:lnTo>
                <a:lnTo>
                  <a:pt x="182" y="39"/>
                </a:lnTo>
                <a:lnTo>
                  <a:pt x="182" y="38"/>
                </a:lnTo>
                <a:lnTo>
                  <a:pt x="183" y="38"/>
                </a:lnTo>
                <a:lnTo>
                  <a:pt x="185" y="36"/>
                </a:lnTo>
                <a:lnTo>
                  <a:pt x="178" y="34"/>
                </a:lnTo>
                <a:lnTo>
                  <a:pt x="179" y="34"/>
                </a:lnTo>
                <a:lnTo>
                  <a:pt x="181" y="34"/>
                </a:lnTo>
                <a:lnTo>
                  <a:pt x="187" y="36"/>
                </a:lnTo>
                <a:lnTo>
                  <a:pt x="190" y="36"/>
                </a:lnTo>
                <a:lnTo>
                  <a:pt x="189" y="34"/>
                </a:lnTo>
                <a:lnTo>
                  <a:pt x="191" y="34"/>
                </a:lnTo>
                <a:lnTo>
                  <a:pt x="196" y="31"/>
                </a:lnTo>
                <a:lnTo>
                  <a:pt x="215" y="28"/>
                </a:lnTo>
                <a:lnTo>
                  <a:pt x="216" y="28"/>
                </a:lnTo>
                <a:lnTo>
                  <a:pt x="212" y="30"/>
                </a:lnTo>
                <a:lnTo>
                  <a:pt x="200" y="33"/>
                </a:lnTo>
                <a:lnTo>
                  <a:pt x="199" y="33"/>
                </a:lnTo>
                <a:lnTo>
                  <a:pt x="198" y="34"/>
                </a:lnTo>
                <a:lnTo>
                  <a:pt x="195" y="34"/>
                </a:lnTo>
                <a:lnTo>
                  <a:pt x="194" y="34"/>
                </a:lnTo>
                <a:lnTo>
                  <a:pt x="194" y="36"/>
                </a:lnTo>
                <a:lnTo>
                  <a:pt x="187" y="38"/>
                </a:lnTo>
                <a:lnTo>
                  <a:pt x="189" y="39"/>
                </a:lnTo>
                <a:lnTo>
                  <a:pt x="190" y="41"/>
                </a:lnTo>
                <a:lnTo>
                  <a:pt x="211" y="39"/>
                </a:lnTo>
                <a:lnTo>
                  <a:pt x="224" y="39"/>
                </a:lnTo>
                <a:lnTo>
                  <a:pt x="248" y="38"/>
                </a:lnTo>
                <a:lnTo>
                  <a:pt x="244" y="39"/>
                </a:lnTo>
                <a:lnTo>
                  <a:pt x="239" y="39"/>
                </a:lnTo>
                <a:lnTo>
                  <a:pt x="238" y="39"/>
                </a:lnTo>
                <a:lnTo>
                  <a:pt x="235" y="39"/>
                </a:lnTo>
                <a:lnTo>
                  <a:pt x="231" y="39"/>
                </a:lnTo>
                <a:lnTo>
                  <a:pt x="231" y="41"/>
                </a:lnTo>
                <a:lnTo>
                  <a:pt x="232" y="41"/>
                </a:lnTo>
                <a:lnTo>
                  <a:pt x="230" y="41"/>
                </a:lnTo>
                <a:lnTo>
                  <a:pt x="227" y="41"/>
                </a:lnTo>
                <a:lnTo>
                  <a:pt x="220" y="41"/>
                </a:lnTo>
                <a:lnTo>
                  <a:pt x="215" y="41"/>
                </a:lnTo>
                <a:lnTo>
                  <a:pt x="214" y="41"/>
                </a:lnTo>
                <a:lnTo>
                  <a:pt x="212" y="41"/>
                </a:lnTo>
                <a:lnTo>
                  <a:pt x="207" y="41"/>
                </a:lnTo>
                <a:lnTo>
                  <a:pt x="193" y="42"/>
                </a:lnTo>
                <a:lnTo>
                  <a:pt x="186" y="42"/>
                </a:lnTo>
                <a:lnTo>
                  <a:pt x="181" y="44"/>
                </a:lnTo>
                <a:lnTo>
                  <a:pt x="177" y="44"/>
                </a:lnTo>
                <a:lnTo>
                  <a:pt x="174" y="44"/>
                </a:lnTo>
                <a:lnTo>
                  <a:pt x="177" y="45"/>
                </a:lnTo>
                <a:lnTo>
                  <a:pt x="191" y="44"/>
                </a:lnTo>
                <a:lnTo>
                  <a:pt x="194" y="44"/>
                </a:lnTo>
                <a:lnTo>
                  <a:pt x="204" y="44"/>
                </a:lnTo>
                <a:lnTo>
                  <a:pt x="204" y="45"/>
                </a:lnTo>
                <a:lnTo>
                  <a:pt x="203" y="45"/>
                </a:lnTo>
                <a:lnTo>
                  <a:pt x="187" y="45"/>
                </a:lnTo>
                <a:lnTo>
                  <a:pt x="178" y="45"/>
                </a:lnTo>
                <a:lnTo>
                  <a:pt x="171" y="45"/>
                </a:lnTo>
                <a:lnTo>
                  <a:pt x="169" y="47"/>
                </a:lnTo>
                <a:lnTo>
                  <a:pt x="174" y="47"/>
                </a:lnTo>
                <a:lnTo>
                  <a:pt x="173" y="47"/>
                </a:lnTo>
                <a:lnTo>
                  <a:pt x="169" y="47"/>
                </a:lnTo>
                <a:lnTo>
                  <a:pt x="167" y="47"/>
                </a:lnTo>
                <a:lnTo>
                  <a:pt x="159" y="47"/>
                </a:lnTo>
                <a:lnTo>
                  <a:pt x="151" y="49"/>
                </a:lnTo>
                <a:lnTo>
                  <a:pt x="145" y="49"/>
                </a:lnTo>
                <a:lnTo>
                  <a:pt x="137" y="49"/>
                </a:lnTo>
                <a:lnTo>
                  <a:pt x="129" y="50"/>
                </a:lnTo>
                <a:lnTo>
                  <a:pt x="142" y="53"/>
                </a:lnTo>
                <a:lnTo>
                  <a:pt x="142" y="55"/>
                </a:lnTo>
                <a:lnTo>
                  <a:pt x="143" y="55"/>
                </a:lnTo>
                <a:lnTo>
                  <a:pt x="155" y="56"/>
                </a:lnTo>
                <a:lnTo>
                  <a:pt x="151" y="58"/>
                </a:lnTo>
                <a:lnTo>
                  <a:pt x="153" y="58"/>
                </a:lnTo>
                <a:lnTo>
                  <a:pt x="153" y="60"/>
                </a:lnTo>
                <a:lnTo>
                  <a:pt x="154" y="60"/>
                </a:lnTo>
                <a:lnTo>
                  <a:pt x="155" y="61"/>
                </a:lnTo>
                <a:lnTo>
                  <a:pt x="162" y="61"/>
                </a:lnTo>
                <a:lnTo>
                  <a:pt x="166" y="63"/>
                </a:lnTo>
                <a:lnTo>
                  <a:pt x="177" y="61"/>
                </a:lnTo>
                <a:lnTo>
                  <a:pt x="179" y="61"/>
                </a:lnTo>
                <a:lnTo>
                  <a:pt x="175" y="61"/>
                </a:lnTo>
                <a:lnTo>
                  <a:pt x="167" y="63"/>
                </a:lnTo>
                <a:lnTo>
                  <a:pt x="166" y="63"/>
                </a:lnTo>
                <a:lnTo>
                  <a:pt x="166" y="64"/>
                </a:lnTo>
                <a:lnTo>
                  <a:pt x="167" y="64"/>
                </a:lnTo>
                <a:lnTo>
                  <a:pt x="166" y="64"/>
                </a:lnTo>
                <a:lnTo>
                  <a:pt x="157" y="63"/>
                </a:lnTo>
                <a:lnTo>
                  <a:pt x="154" y="63"/>
                </a:lnTo>
                <a:lnTo>
                  <a:pt x="151" y="63"/>
                </a:lnTo>
                <a:lnTo>
                  <a:pt x="150" y="61"/>
                </a:lnTo>
                <a:lnTo>
                  <a:pt x="149" y="61"/>
                </a:lnTo>
                <a:lnTo>
                  <a:pt x="147" y="61"/>
                </a:lnTo>
                <a:lnTo>
                  <a:pt x="147" y="60"/>
                </a:lnTo>
                <a:lnTo>
                  <a:pt x="146" y="60"/>
                </a:lnTo>
                <a:lnTo>
                  <a:pt x="146" y="58"/>
                </a:lnTo>
                <a:lnTo>
                  <a:pt x="119" y="52"/>
                </a:lnTo>
                <a:lnTo>
                  <a:pt x="117" y="50"/>
                </a:lnTo>
                <a:lnTo>
                  <a:pt x="111" y="50"/>
                </a:lnTo>
                <a:lnTo>
                  <a:pt x="106" y="50"/>
                </a:lnTo>
                <a:lnTo>
                  <a:pt x="103" y="50"/>
                </a:lnTo>
                <a:lnTo>
                  <a:pt x="93" y="49"/>
                </a:lnTo>
                <a:lnTo>
                  <a:pt x="85" y="49"/>
                </a:lnTo>
                <a:lnTo>
                  <a:pt x="82" y="50"/>
                </a:lnTo>
                <a:lnTo>
                  <a:pt x="81" y="50"/>
                </a:lnTo>
                <a:lnTo>
                  <a:pt x="80" y="52"/>
                </a:lnTo>
                <a:lnTo>
                  <a:pt x="78" y="53"/>
                </a:lnTo>
                <a:lnTo>
                  <a:pt x="80" y="55"/>
                </a:lnTo>
                <a:lnTo>
                  <a:pt x="95" y="56"/>
                </a:lnTo>
                <a:lnTo>
                  <a:pt x="98" y="56"/>
                </a:lnTo>
                <a:lnTo>
                  <a:pt x="97" y="56"/>
                </a:lnTo>
                <a:lnTo>
                  <a:pt x="87" y="56"/>
                </a:lnTo>
                <a:lnTo>
                  <a:pt x="85" y="55"/>
                </a:lnTo>
                <a:lnTo>
                  <a:pt x="82" y="55"/>
                </a:lnTo>
                <a:lnTo>
                  <a:pt x="81" y="55"/>
                </a:lnTo>
                <a:lnTo>
                  <a:pt x="81" y="58"/>
                </a:lnTo>
                <a:lnTo>
                  <a:pt x="83" y="60"/>
                </a:lnTo>
                <a:lnTo>
                  <a:pt x="90" y="60"/>
                </a:lnTo>
                <a:lnTo>
                  <a:pt x="94" y="60"/>
                </a:lnTo>
                <a:lnTo>
                  <a:pt x="101" y="61"/>
                </a:lnTo>
                <a:lnTo>
                  <a:pt x="102" y="61"/>
                </a:lnTo>
                <a:lnTo>
                  <a:pt x="103" y="63"/>
                </a:lnTo>
                <a:lnTo>
                  <a:pt x="105" y="64"/>
                </a:lnTo>
                <a:lnTo>
                  <a:pt x="111" y="66"/>
                </a:lnTo>
                <a:lnTo>
                  <a:pt x="111" y="67"/>
                </a:lnTo>
                <a:lnTo>
                  <a:pt x="113" y="67"/>
                </a:lnTo>
                <a:lnTo>
                  <a:pt x="111" y="69"/>
                </a:lnTo>
                <a:lnTo>
                  <a:pt x="113" y="69"/>
                </a:lnTo>
                <a:lnTo>
                  <a:pt x="114" y="71"/>
                </a:lnTo>
                <a:lnTo>
                  <a:pt x="118" y="69"/>
                </a:lnTo>
                <a:lnTo>
                  <a:pt x="119" y="69"/>
                </a:lnTo>
                <a:lnTo>
                  <a:pt x="118" y="71"/>
                </a:lnTo>
                <a:lnTo>
                  <a:pt x="121" y="71"/>
                </a:lnTo>
                <a:lnTo>
                  <a:pt x="123" y="71"/>
                </a:lnTo>
                <a:lnTo>
                  <a:pt x="123" y="72"/>
                </a:lnTo>
                <a:lnTo>
                  <a:pt x="125" y="72"/>
                </a:lnTo>
                <a:lnTo>
                  <a:pt x="129" y="72"/>
                </a:lnTo>
                <a:lnTo>
                  <a:pt x="127" y="74"/>
                </a:lnTo>
                <a:lnTo>
                  <a:pt x="122" y="74"/>
                </a:lnTo>
                <a:lnTo>
                  <a:pt x="119" y="72"/>
                </a:lnTo>
                <a:lnTo>
                  <a:pt x="115" y="72"/>
                </a:lnTo>
                <a:lnTo>
                  <a:pt x="111" y="72"/>
                </a:lnTo>
                <a:lnTo>
                  <a:pt x="110" y="71"/>
                </a:lnTo>
                <a:lnTo>
                  <a:pt x="109" y="71"/>
                </a:lnTo>
                <a:lnTo>
                  <a:pt x="106" y="72"/>
                </a:lnTo>
                <a:lnTo>
                  <a:pt x="107" y="72"/>
                </a:lnTo>
                <a:lnTo>
                  <a:pt x="110" y="74"/>
                </a:lnTo>
                <a:lnTo>
                  <a:pt x="115" y="74"/>
                </a:lnTo>
                <a:lnTo>
                  <a:pt x="131" y="75"/>
                </a:lnTo>
                <a:lnTo>
                  <a:pt x="138" y="75"/>
                </a:lnTo>
                <a:lnTo>
                  <a:pt x="146" y="75"/>
                </a:lnTo>
                <a:lnTo>
                  <a:pt x="147" y="75"/>
                </a:lnTo>
                <a:lnTo>
                  <a:pt x="150" y="75"/>
                </a:lnTo>
                <a:lnTo>
                  <a:pt x="154" y="74"/>
                </a:lnTo>
                <a:lnTo>
                  <a:pt x="157" y="74"/>
                </a:lnTo>
                <a:lnTo>
                  <a:pt x="154" y="75"/>
                </a:lnTo>
                <a:lnTo>
                  <a:pt x="153" y="75"/>
                </a:lnTo>
                <a:lnTo>
                  <a:pt x="154" y="75"/>
                </a:lnTo>
                <a:lnTo>
                  <a:pt x="151" y="77"/>
                </a:lnTo>
                <a:lnTo>
                  <a:pt x="150" y="77"/>
                </a:lnTo>
                <a:lnTo>
                  <a:pt x="149" y="77"/>
                </a:lnTo>
                <a:lnTo>
                  <a:pt x="146" y="77"/>
                </a:lnTo>
                <a:lnTo>
                  <a:pt x="143" y="77"/>
                </a:lnTo>
                <a:lnTo>
                  <a:pt x="133" y="77"/>
                </a:lnTo>
                <a:lnTo>
                  <a:pt x="130" y="77"/>
                </a:lnTo>
                <a:lnTo>
                  <a:pt x="131" y="77"/>
                </a:lnTo>
                <a:lnTo>
                  <a:pt x="134" y="78"/>
                </a:lnTo>
                <a:lnTo>
                  <a:pt x="137" y="78"/>
                </a:lnTo>
                <a:lnTo>
                  <a:pt x="138" y="78"/>
                </a:lnTo>
                <a:lnTo>
                  <a:pt x="146" y="78"/>
                </a:lnTo>
                <a:lnTo>
                  <a:pt x="145" y="78"/>
                </a:lnTo>
                <a:lnTo>
                  <a:pt x="141" y="78"/>
                </a:lnTo>
                <a:lnTo>
                  <a:pt x="145" y="82"/>
                </a:lnTo>
                <a:lnTo>
                  <a:pt x="139" y="80"/>
                </a:lnTo>
                <a:lnTo>
                  <a:pt x="138" y="80"/>
                </a:lnTo>
                <a:lnTo>
                  <a:pt x="135" y="78"/>
                </a:lnTo>
                <a:lnTo>
                  <a:pt x="133" y="78"/>
                </a:lnTo>
                <a:lnTo>
                  <a:pt x="121" y="75"/>
                </a:lnTo>
                <a:lnTo>
                  <a:pt x="109" y="75"/>
                </a:lnTo>
                <a:lnTo>
                  <a:pt x="101" y="75"/>
                </a:lnTo>
                <a:lnTo>
                  <a:pt x="98" y="75"/>
                </a:lnTo>
                <a:lnTo>
                  <a:pt x="97" y="75"/>
                </a:lnTo>
                <a:lnTo>
                  <a:pt x="78" y="77"/>
                </a:lnTo>
                <a:lnTo>
                  <a:pt x="77" y="77"/>
                </a:lnTo>
                <a:lnTo>
                  <a:pt x="74" y="78"/>
                </a:lnTo>
                <a:lnTo>
                  <a:pt x="73" y="80"/>
                </a:lnTo>
                <a:lnTo>
                  <a:pt x="72" y="80"/>
                </a:lnTo>
                <a:lnTo>
                  <a:pt x="76" y="82"/>
                </a:lnTo>
                <a:lnTo>
                  <a:pt x="74" y="82"/>
                </a:lnTo>
                <a:lnTo>
                  <a:pt x="69" y="82"/>
                </a:lnTo>
                <a:lnTo>
                  <a:pt x="66" y="82"/>
                </a:lnTo>
                <a:lnTo>
                  <a:pt x="65" y="83"/>
                </a:lnTo>
                <a:lnTo>
                  <a:pt x="66" y="85"/>
                </a:lnTo>
                <a:lnTo>
                  <a:pt x="66" y="86"/>
                </a:lnTo>
                <a:lnTo>
                  <a:pt x="66" y="88"/>
                </a:lnTo>
                <a:lnTo>
                  <a:pt x="69" y="86"/>
                </a:lnTo>
                <a:lnTo>
                  <a:pt x="73" y="88"/>
                </a:lnTo>
                <a:lnTo>
                  <a:pt x="69" y="88"/>
                </a:lnTo>
                <a:lnTo>
                  <a:pt x="68" y="88"/>
                </a:lnTo>
                <a:lnTo>
                  <a:pt x="66" y="89"/>
                </a:lnTo>
                <a:lnTo>
                  <a:pt x="74" y="89"/>
                </a:lnTo>
                <a:lnTo>
                  <a:pt x="81" y="88"/>
                </a:lnTo>
                <a:lnTo>
                  <a:pt x="83" y="88"/>
                </a:lnTo>
                <a:lnTo>
                  <a:pt x="85" y="88"/>
                </a:lnTo>
                <a:lnTo>
                  <a:pt x="86" y="86"/>
                </a:lnTo>
                <a:lnTo>
                  <a:pt x="87" y="86"/>
                </a:lnTo>
                <a:lnTo>
                  <a:pt x="87" y="85"/>
                </a:lnTo>
                <a:lnTo>
                  <a:pt x="91" y="85"/>
                </a:lnTo>
                <a:lnTo>
                  <a:pt x="89" y="86"/>
                </a:lnTo>
                <a:lnTo>
                  <a:pt x="85" y="88"/>
                </a:lnTo>
                <a:lnTo>
                  <a:pt x="86" y="88"/>
                </a:lnTo>
                <a:lnTo>
                  <a:pt x="86" y="89"/>
                </a:lnTo>
                <a:lnTo>
                  <a:pt x="87" y="89"/>
                </a:lnTo>
                <a:lnTo>
                  <a:pt x="95" y="89"/>
                </a:lnTo>
                <a:lnTo>
                  <a:pt x="97" y="89"/>
                </a:lnTo>
                <a:lnTo>
                  <a:pt x="98" y="89"/>
                </a:lnTo>
                <a:lnTo>
                  <a:pt x="102" y="86"/>
                </a:lnTo>
                <a:lnTo>
                  <a:pt x="103" y="86"/>
                </a:lnTo>
                <a:lnTo>
                  <a:pt x="105" y="85"/>
                </a:lnTo>
                <a:lnTo>
                  <a:pt x="105" y="83"/>
                </a:lnTo>
                <a:lnTo>
                  <a:pt x="106" y="83"/>
                </a:lnTo>
                <a:lnTo>
                  <a:pt x="107" y="82"/>
                </a:lnTo>
                <a:lnTo>
                  <a:pt x="109" y="80"/>
                </a:lnTo>
                <a:lnTo>
                  <a:pt x="107" y="83"/>
                </a:lnTo>
                <a:lnTo>
                  <a:pt x="106" y="85"/>
                </a:lnTo>
                <a:lnTo>
                  <a:pt x="107" y="85"/>
                </a:lnTo>
                <a:lnTo>
                  <a:pt x="109" y="85"/>
                </a:lnTo>
                <a:lnTo>
                  <a:pt x="110" y="85"/>
                </a:lnTo>
                <a:lnTo>
                  <a:pt x="106" y="86"/>
                </a:lnTo>
                <a:lnTo>
                  <a:pt x="106" y="88"/>
                </a:lnTo>
                <a:lnTo>
                  <a:pt x="110" y="88"/>
                </a:lnTo>
                <a:lnTo>
                  <a:pt x="113" y="88"/>
                </a:lnTo>
                <a:lnTo>
                  <a:pt x="115" y="88"/>
                </a:lnTo>
                <a:lnTo>
                  <a:pt x="118" y="88"/>
                </a:lnTo>
                <a:lnTo>
                  <a:pt x="117" y="89"/>
                </a:lnTo>
                <a:lnTo>
                  <a:pt x="110" y="88"/>
                </a:lnTo>
                <a:lnTo>
                  <a:pt x="103" y="88"/>
                </a:lnTo>
                <a:lnTo>
                  <a:pt x="102" y="89"/>
                </a:lnTo>
                <a:lnTo>
                  <a:pt x="101" y="89"/>
                </a:lnTo>
                <a:lnTo>
                  <a:pt x="105" y="91"/>
                </a:lnTo>
                <a:lnTo>
                  <a:pt x="102" y="91"/>
                </a:lnTo>
                <a:lnTo>
                  <a:pt x="98" y="91"/>
                </a:lnTo>
                <a:lnTo>
                  <a:pt x="97" y="91"/>
                </a:lnTo>
                <a:lnTo>
                  <a:pt x="91" y="93"/>
                </a:lnTo>
                <a:lnTo>
                  <a:pt x="93" y="93"/>
                </a:lnTo>
                <a:lnTo>
                  <a:pt x="94" y="93"/>
                </a:lnTo>
                <a:lnTo>
                  <a:pt x="98" y="93"/>
                </a:lnTo>
                <a:lnTo>
                  <a:pt x="105" y="93"/>
                </a:lnTo>
                <a:lnTo>
                  <a:pt x="106" y="93"/>
                </a:lnTo>
                <a:lnTo>
                  <a:pt x="107" y="93"/>
                </a:lnTo>
                <a:lnTo>
                  <a:pt x="106" y="93"/>
                </a:lnTo>
                <a:lnTo>
                  <a:pt x="103" y="94"/>
                </a:lnTo>
                <a:lnTo>
                  <a:pt x="103" y="93"/>
                </a:lnTo>
                <a:lnTo>
                  <a:pt x="102" y="93"/>
                </a:lnTo>
                <a:lnTo>
                  <a:pt x="98" y="94"/>
                </a:lnTo>
                <a:lnTo>
                  <a:pt x="97" y="94"/>
                </a:lnTo>
                <a:lnTo>
                  <a:pt x="102" y="94"/>
                </a:lnTo>
                <a:lnTo>
                  <a:pt x="99" y="94"/>
                </a:lnTo>
                <a:lnTo>
                  <a:pt x="99" y="96"/>
                </a:lnTo>
                <a:lnTo>
                  <a:pt x="99" y="97"/>
                </a:lnTo>
                <a:lnTo>
                  <a:pt x="105" y="97"/>
                </a:lnTo>
                <a:lnTo>
                  <a:pt x="107" y="96"/>
                </a:lnTo>
                <a:lnTo>
                  <a:pt x="109" y="96"/>
                </a:lnTo>
                <a:lnTo>
                  <a:pt x="106" y="97"/>
                </a:lnTo>
                <a:lnTo>
                  <a:pt x="106" y="99"/>
                </a:lnTo>
                <a:lnTo>
                  <a:pt x="111" y="99"/>
                </a:lnTo>
                <a:lnTo>
                  <a:pt x="115" y="99"/>
                </a:lnTo>
                <a:lnTo>
                  <a:pt x="121" y="99"/>
                </a:lnTo>
                <a:lnTo>
                  <a:pt x="126" y="99"/>
                </a:lnTo>
                <a:lnTo>
                  <a:pt x="129" y="97"/>
                </a:lnTo>
                <a:lnTo>
                  <a:pt x="131" y="96"/>
                </a:lnTo>
                <a:lnTo>
                  <a:pt x="133" y="94"/>
                </a:lnTo>
                <a:lnTo>
                  <a:pt x="135" y="94"/>
                </a:lnTo>
                <a:lnTo>
                  <a:pt x="137" y="93"/>
                </a:lnTo>
                <a:lnTo>
                  <a:pt x="137" y="91"/>
                </a:lnTo>
                <a:lnTo>
                  <a:pt x="138" y="91"/>
                </a:lnTo>
                <a:lnTo>
                  <a:pt x="139" y="89"/>
                </a:lnTo>
                <a:lnTo>
                  <a:pt x="143" y="91"/>
                </a:lnTo>
                <a:lnTo>
                  <a:pt x="139" y="91"/>
                </a:lnTo>
                <a:lnTo>
                  <a:pt x="139" y="93"/>
                </a:lnTo>
                <a:lnTo>
                  <a:pt x="138" y="94"/>
                </a:lnTo>
                <a:lnTo>
                  <a:pt x="135" y="96"/>
                </a:lnTo>
                <a:lnTo>
                  <a:pt x="134" y="97"/>
                </a:lnTo>
                <a:lnTo>
                  <a:pt x="129" y="99"/>
                </a:lnTo>
                <a:lnTo>
                  <a:pt x="123" y="100"/>
                </a:lnTo>
                <a:lnTo>
                  <a:pt x="126" y="102"/>
                </a:lnTo>
                <a:lnTo>
                  <a:pt x="125" y="102"/>
                </a:lnTo>
                <a:lnTo>
                  <a:pt x="121" y="102"/>
                </a:lnTo>
                <a:lnTo>
                  <a:pt x="118" y="100"/>
                </a:lnTo>
                <a:lnTo>
                  <a:pt x="111" y="102"/>
                </a:lnTo>
                <a:lnTo>
                  <a:pt x="113" y="102"/>
                </a:lnTo>
                <a:lnTo>
                  <a:pt x="113" y="104"/>
                </a:lnTo>
                <a:lnTo>
                  <a:pt x="110" y="104"/>
                </a:lnTo>
                <a:lnTo>
                  <a:pt x="105" y="102"/>
                </a:lnTo>
                <a:lnTo>
                  <a:pt x="98" y="102"/>
                </a:lnTo>
                <a:lnTo>
                  <a:pt x="94" y="100"/>
                </a:lnTo>
                <a:lnTo>
                  <a:pt x="93" y="100"/>
                </a:lnTo>
                <a:lnTo>
                  <a:pt x="91" y="100"/>
                </a:lnTo>
                <a:lnTo>
                  <a:pt x="91" y="99"/>
                </a:lnTo>
                <a:lnTo>
                  <a:pt x="89" y="97"/>
                </a:lnTo>
                <a:lnTo>
                  <a:pt x="87" y="97"/>
                </a:lnTo>
                <a:lnTo>
                  <a:pt x="86" y="96"/>
                </a:lnTo>
                <a:lnTo>
                  <a:pt x="81" y="94"/>
                </a:lnTo>
                <a:lnTo>
                  <a:pt x="68" y="93"/>
                </a:lnTo>
                <a:lnTo>
                  <a:pt x="58" y="94"/>
                </a:lnTo>
                <a:lnTo>
                  <a:pt x="57" y="94"/>
                </a:lnTo>
                <a:lnTo>
                  <a:pt x="56" y="94"/>
                </a:lnTo>
                <a:lnTo>
                  <a:pt x="53" y="94"/>
                </a:lnTo>
                <a:lnTo>
                  <a:pt x="54" y="96"/>
                </a:lnTo>
                <a:lnTo>
                  <a:pt x="53" y="96"/>
                </a:lnTo>
                <a:lnTo>
                  <a:pt x="54" y="96"/>
                </a:lnTo>
                <a:lnTo>
                  <a:pt x="54" y="97"/>
                </a:lnTo>
                <a:lnTo>
                  <a:pt x="58" y="99"/>
                </a:lnTo>
                <a:lnTo>
                  <a:pt x="62" y="100"/>
                </a:lnTo>
                <a:lnTo>
                  <a:pt x="61" y="102"/>
                </a:lnTo>
                <a:lnTo>
                  <a:pt x="62" y="102"/>
                </a:lnTo>
                <a:lnTo>
                  <a:pt x="68" y="104"/>
                </a:lnTo>
                <a:lnTo>
                  <a:pt x="70" y="102"/>
                </a:lnTo>
                <a:lnTo>
                  <a:pt x="74" y="102"/>
                </a:lnTo>
                <a:lnTo>
                  <a:pt x="74" y="104"/>
                </a:lnTo>
                <a:lnTo>
                  <a:pt x="69" y="104"/>
                </a:lnTo>
                <a:lnTo>
                  <a:pt x="73" y="104"/>
                </a:lnTo>
                <a:lnTo>
                  <a:pt x="73" y="105"/>
                </a:lnTo>
                <a:lnTo>
                  <a:pt x="70" y="105"/>
                </a:lnTo>
                <a:lnTo>
                  <a:pt x="72" y="105"/>
                </a:lnTo>
                <a:lnTo>
                  <a:pt x="77" y="105"/>
                </a:lnTo>
                <a:lnTo>
                  <a:pt x="76" y="107"/>
                </a:lnTo>
                <a:lnTo>
                  <a:pt x="74" y="107"/>
                </a:lnTo>
                <a:lnTo>
                  <a:pt x="72" y="107"/>
                </a:lnTo>
                <a:lnTo>
                  <a:pt x="72" y="105"/>
                </a:lnTo>
                <a:lnTo>
                  <a:pt x="66" y="107"/>
                </a:lnTo>
                <a:lnTo>
                  <a:pt x="64" y="107"/>
                </a:lnTo>
                <a:lnTo>
                  <a:pt x="62" y="107"/>
                </a:lnTo>
                <a:lnTo>
                  <a:pt x="60" y="108"/>
                </a:lnTo>
                <a:lnTo>
                  <a:pt x="58" y="107"/>
                </a:lnTo>
                <a:lnTo>
                  <a:pt x="54" y="107"/>
                </a:lnTo>
                <a:lnTo>
                  <a:pt x="53" y="107"/>
                </a:lnTo>
                <a:lnTo>
                  <a:pt x="53" y="108"/>
                </a:lnTo>
                <a:lnTo>
                  <a:pt x="50" y="108"/>
                </a:lnTo>
                <a:lnTo>
                  <a:pt x="48" y="108"/>
                </a:lnTo>
                <a:lnTo>
                  <a:pt x="46" y="110"/>
                </a:lnTo>
                <a:lnTo>
                  <a:pt x="37" y="111"/>
                </a:lnTo>
                <a:lnTo>
                  <a:pt x="36" y="113"/>
                </a:lnTo>
                <a:lnTo>
                  <a:pt x="36" y="115"/>
                </a:lnTo>
                <a:lnTo>
                  <a:pt x="36" y="116"/>
                </a:lnTo>
                <a:lnTo>
                  <a:pt x="34" y="116"/>
                </a:lnTo>
                <a:lnTo>
                  <a:pt x="40" y="119"/>
                </a:lnTo>
                <a:lnTo>
                  <a:pt x="42" y="119"/>
                </a:lnTo>
                <a:lnTo>
                  <a:pt x="45" y="118"/>
                </a:lnTo>
                <a:lnTo>
                  <a:pt x="46" y="116"/>
                </a:lnTo>
                <a:lnTo>
                  <a:pt x="48" y="119"/>
                </a:lnTo>
                <a:lnTo>
                  <a:pt x="49" y="116"/>
                </a:lnTo>
                <a:lnTo>
                  <a:pt x="48" y="113"/>
                </a:lnTo>
                <a:lnTo>
                  <a:pt x="49" y="113"/>
                </a:lnTo>
                <a:lnTo>
                  <a:pt x="50" y="115"/>
                </a:lnTo>
                <a:lnTo>
                  <a:pt x="50" y="116"/>
                </a:lnTo>
                <a:lnTo>
                  <a:pt x="50" y="119"/>
                </a:lnTo>
                <a:lnTo>
                  <a:pt x="56" y="119"/>
                </a:lnTo>
                <a:lnTo>
                  <a:pt x="57" y="121"/>
                </a:lnTo>
                <a:lnTo>
                  <a:pt x="62" y="119"/>
                </a:lnTo>
                <a:lnTo>
                  <a:pt x="64" y="119"/>
                </a:lnTo>
                <a:lnTo>
                  <a:pt x="62" y="116"/>
                </a:lnTo>
                <a:lnTo>
                  <a:pt x="65" y="118"/>
                </a:lnTo>
                <a:lnTo>
                  <a:pt x="69" y="119"/>
                </a:lnTo>
                <a:lnTo>
                  <a:pt x="70" y="119"/>
                </a:lnTo>
                <a:lnTo>
                  <a:pt x="74" y="121"/>
                </a:lnTo>
                <a:lnTo>
                  <a:pt x="74" y="119"/>
                </a:lnTo>
                <a:lnTo>
                  <a:pt x="78" y="118"/>
                </a:lnTo>
                <a:lnTo>
                  <a:pt x="78" y="116"/>
                </a:lnTo>
                <a:lnTo>
                  <a:pt x="80" y="116"/>
                </a:lnTo>
                <a:lnTo>
                  <a:pt x="80" y="118"/>
                </a:lnTo>
                <a:lnTo>
                  <a:pt x="78" y="119"/>
                </a:lnTo>
                <a:lnTo>
                  <a:pt x="78" y="121"/>
                </a:lnTo>
                <a:lnTo>
                  <a:pt x="86" y="121"/>
                </a:lnTo>
                <a:lnTo>
                  <a:pt x="78" y="118"/>
                </a:lnTo>
                <a:lnTo>
                  <a:pt x="78" y="116"/>
                </a:lnTo>
                <a:lnTo>
                  <a:pt x="80" y="116"/>
                </a:lnTo>
                <a:lnTo>
                  <a:pt x="80" y="118"/>
                </a:lnTo>
                <a:lnTo>
                  <a:pt x="78" y="119"/>
                </a:lnTo>
                <a:lnTo>
                  <a:pt x="78" y="121"/>
                </a:lnTo>
                <a:lnTo>
                  <a:pt x="86" y="121"/>
                </a:lnTo>
                <a:lnTo>
                  <a:pt x="90" y="121"/>
                </a:lnTo>
                <a:lnTo>
                  <a:pt x="97" y="121"/>
                </a:lnTo>
                <a:lnTo>
                  <a:pt x="97" y="122"/>
                </a:lnTo>
                <a:lnTo>
                  <a:pt x="110" y="122"/>
                </a:lnTo>
                <a:lnTo>
                  <a:pt x="101" y="118"/>
                </a:lnTo>
                <a:lnTo>
                  <a:pt x="101" y="116"/>
                </a:lnTo>
                <a:lnTo>
                  <a:pt x="105" y="119"/>
                </a:lnTo>
                <a:lnTo>
                  <a:pt x="109" y="119"/>
                </a:lnTo>
                <a:lnTo>
                  <a:pt x="113" y="118"/>
                </a:lnTo>
                <a:lnTo>
                  <a:pt x="113" y="116"/>
                </a:lnTo>
                <a:lnTo>
                  <a:pt x="119" y="118"/>
                </a:lnTo>
                <a:lnTo>
                  <a:pt x="125" y="119"/>
                </a:lnTo>
                <a:lnTo>
                  <a:pt x="129" y="119"/>
                </a:lnTo>
                <a:lnTo>
                  <a:pt x="129" y="116"/>
                </a:lnTo>
                <a:lnTo>
                  <a:pt x="126" y="115"/>
                </a:lnTo>
                <a:lnTo>
                  <a:pt x="126" y="113"/>
                </a:lnTo>
                <a:lnTo>
                  <a:pt x="127" y="115"/>
                </a:lnTo>
                <a:lnTo>
                  <a:pt x="133" y="119"/>
                </a:lnTo>
                <a:lnTo>
                  <a:pt x="137" y="119"/>
                </a:lnTo>
                <a:lnTo>
                  <a:pt x="145" y="119"/>
                </a:lnTo>
                <a:lnTo>
                  <a:pt x="146" y="118"/>
                </a:lnTo>
                <a:lnTo>
                  <a:pt x="143" y="116"/>
                </a:lnTo>
                <a:lnTo>
                  <a:pt x="141" y="115"/>
                </a:lnTo>
                <a:lnTo>
                  <a:pt x="143" y="115"/>
                </a:lnTo>
                <a:lnTo>
                  <a:pt x="147" y="116"/>
                </a:lnTo>
                <a:lnTo>
                  <a:pt x="149" y="118"/>
                </a:lnTo>
                <a:lnTo>
                  <a:pt x="150" y="118"/>
                </a:lnTo>
                <a:lnTo>
                  <a:pt x="155" y="118"/>
                </a:lnTo>
                <a:lnTo>
                  <a:pt x="159" y="118"/>
                </a:lnTo>
                <a:lnTo>
                  <a:pt x="162" y="118"/>
                </a:lnTo>
                <a:lnTo>
                  <a:pt x="165" y="119"/>
                </a:lnTo>
                <a:lnTo>
                  <a:pt x="165" y="121"/>
                </a:lnTo>
                <a:lnTo>
                  <a:pt x="163" y="122"/>
                </a:lnTo>
                <a:lnTo>
                  <a:pt x="162" y="122"/>
                </a:lnTo>
                <a:lnTo>
                  <a:pt x="163" y="124"/>
                </a:lnTo>
                <a:lnTo>
                  <a:pt x="175" y="122"/>
                </a:lnTo>
                <a:lnTo>
                  <a:pt x="183" y="121"/>
                </a:lnTo>
                <a:lnTo>
                  <a:pt x="189" y="119"/>
                </a:lnTo>
                <a:lnTo>
                  <a:pt x="194" y="116"/>
                </a:lnTo>
                <a:lnTo>
                  <a:pt x="195" y="119"/>
                </a:lnTo>
                <a:lnTo>
                  <a:pt x="202" y="118"/>
                </a:lnTo>
                <a:lnTo>
                  <a:pt x="203" y="116"/>
                </a:lnTo>
                <a:lnTo>
                  <a:pt x="208" y="116"/>
                </a:lnTo>
                <a:lnTo>
                  <a:pt x="208" y="115"/>
                </a:lnTo>
                <a:lnTo>
                  <a:pt x="210" y="113"/>
                </a:lnTo>
                <a:lnTo>
                  <a:pt x="208" y="111"/>
                </a:lnTo>
                <a:lnTo>
                  <a:pt x="206" y="110"/>
                </a:lnTo>
                <a:lnTo>
                  <a:pt x="200" y="110"/>
                </a:lnTo>
                <a:lnTo>
                  <a:pt x="198" y="111"/>
                </a:lnTo>
                <a:lnTo>
                  <a:pt x="195" y="111"/>
                </a:lnTo>
                <a:lnTo>
                  <a:pt x="193" y="111"/>
                </a:lnTo>
                <a:lnTo>
                  <a:pt x="193" y="110"/>
                </a:lnTo>
                <a:lnTo>
                  <a:pt x="187" y="110"/>
                </a:lnTo>
                <a:lnTo>
                  <a:pt x="190" y="108"/>
                </a:lnTo>
                <a:lnTo>
                  <a:pt x="193" y="108"/>
                </a:lnTo>
                <a:lnTo>
                  <a:pt x="194" y="107"/>
                </a:lnTo>
                <a:lnTo>
                  <a:pt x="191" y="105"/>
                </a:lnTo>
                <a:lnTo>
                  <a:pt x="187" y="105"/>
                </a:lnTo>
                <a:lnTo>
                  <a:pt x="183" y="105"/>
                </a:lnTo>
                <a:lnTo>
                  <a:pt x="175" y="108"/>
                </a:lnTo>
                <a:lnTo>
                  <a:pt x="174" y="108"/>
                </a:lnTo>
                <a:lnTo>
                  <a:pt x="177" y="107"/>
                </a:lnTo>
                <a:lnTo>
                  <a:pt x="177" y="105"/>
                </a:lnTo>
                <a:lnTo>
                  <a:pt x="165" y="105"/>
                </a:lnTo>
                <a:lnTo>
                  <a:pt x="159" y="105"/>
                </a:lnTo>
                <a:lnTo>
                  <a:pt x="151" y="107"/>
                </a:lnTo>
                <a:lnTo>
                  <a:pt x="150" y="107"/>
                </a:lnTo>
                <a:lnTo>
                  <a:pt x="150" y="105"/>
                </a:lnTo>
                <a:lnTo>
                  <a:pt x="149" y="105"/>
                </a:lnTo>
                <a:lnTo>
                  <a:pt x="153" y="105"/>
                </a:lnTo>
                <a:lnTo>
                  <a:pt x="161" y="104"/>
                </a:lnTo>
                <a:lnTo>
                  <a:pt x="155" y="102"/>
                </a:lnTo>
                <a:lnTo>
                  <a:pt x="155" y="100"/>
                </a:lnTo>
                <a:lnTo>
                  <a:pt x="163" y="104"/>
                </a:lnTo>
                <a:lnTo>
                  <a:pt x="171" y="104"/>
                </a:lnTo>
                <a:lnTo>
                  <a:pt x="194" y="104"/>
                </a:lnTo>
                <a:lnTo>
                  <a:pt x="195" y="104"/>
                </a:lnTo>
                <a:lnTo>
                  <a:pt x="198" y="104"/>
                </a:lnTo>
                <a:lnTo>
                  <a:pt x="196" y="104"/>
                </a:lnTo>
                <a:lnTo>
                  <a:pt x="198" y="104"/>
                </a:lnTo>
                <a:lnTo>
                  <a:pt x="206" y="104"/>
                </a:lnTo>
                <a:lnTo>
                  <a:pt x="208" y="100"/>
                </a:lnTo>
                <a:lnTo>
                  <a:pt x="210" y="100"/>
                </a:lnTo>
                <a:lnTo>
                  <a:pt x="210" y="99"/>
                </a:lnTo>
                <a:lnTo>
                  <a:pt x="214" y="99"/>
                </a:lnTo>
                <a:lnTo>
                  <a:pt x="208" y="97"/>
                </a:lnTo>
                <a:lnTo>
                  <a:pt x="208" y="96"/>
                </a:lnTo>
                <a:lnTo>
                  <a:pt x="210" y="96"/>
                </a:lnTo>
                <a:lnTo>
                  <a:pt x="207" y="94"/>
                </a:lnTo>
                <a:lnTo>
                  <a:pt x="206" y="94"/>
                </a:lnTo>
                <a:lnTo>
                  <a:pt x="206" y="93"/>
                </a:lnTo>
                <a:lnTo>
                  <a:pt x="208" y="93"/>
                </a:lnTo>
                <a:lnTo>
                  <a:pt x="222" y="93"/>
                </a:lnTo>
                <a:lnTo>
                  <a:pt x="223" y="93"/>
                </a:lnTo>
                <a:lnTo>
                  <a:pt x="228" y="93"/>
                </a:lnTo>
                <a:lnTo>
                  <a:pt x="234" y="91"/>
                </a:lnTo>
                <a:lnTo>
                  <a:pt x="239" y="91"/>
                </a:lnTo>
                <a:lnTo>
                  <a:pt x="239" y="93"/>
                </a:lnTo>
                <a:lnTo>
                  <a:pt x="243" y="91"/>
                </a:lnTo>
                <a:lnTo>
                  <a:pt x="243" y="89"/>
                </a:lnTo>
                <a:lnTo>
                  <a:pt x="246" y="89"/>
                </a:lnTo>
                <a:lnTo>
                  <a:pt x="231" y="88"/>
                </a:lnTo>
                <a:lnTo>
                  <a:pt x="224" y="88"/>
                </a:lnTo>
                <a:lnTo>
                  <a:pt x="228" y="86"/>
                </a:lnTo>
                <a:lnTo>
                  <a:pt x="235" y="86"/>
                </a:lnTo>
                <a:lnTo>
                  <a:pt x="244" y="88"/>
                </a:lnTo>
                <a:lnTo>
                  <a:pt x="248" y="86"/>
                </a:lnTo>
                <a:lnTo>
                  <a:pt x="252" y="86"/>
                </a:lnTo>
                <a:lnTo>
                  <a:pt x="254" y="85"/>
                </a:lnTo>
                <a:lnTo>
                  <a:pt x="251" y="83"/>
                </a:lnTo>
                <a:lnTo>
                  <a:pt x="247" y="83"/>
                </a:lnTo>
                <a:lnTo>
                  <a:pt x="240" y="83"/>
                </a:lnTo>
                <a:lnTo>
                  <a:pt x="238" y="83"/>
                </a:lnTo>
                <a:lnTo>
                  <a:pt x="234" y="82"/>
                </a:lnTo>
                <a:lnTo>
                  <a:pt x="236" y="82"/>
                </a:lnTo>
                <a:lnTo>
                  <a:pt x="240" y="82"/>
                </a:lnTo>
                <a:lnTo>
                  <a:pt x="251" y="82"/>
                </a:lnTo>
                <a:lnTo>
                  <a:pt x="254" y="82"/>
                </a:lnTo>
                <a:lnTo>
                  <a:pt x="255" y="82"/>
                </a:lnTo>
                <a:lnTo>
                  <a:pt x="260" y="80"/>
                </a:lnTo>
                <a:lnTo>
                  <a:pt x="258" y="80"/>
                </a:lnTo>
                <a:lnTo>
                  <a:pt x="258" y="78"/>
                </a:lnTo>
                <a:lnTo>
                  <a:pt x="259" y="78"/>
                </a:lnTo>
                <a:lnTo>
                  <a:pt x="259" y="77"/>
                </a:lnTo>
                <a:lnTo>
                  <a:pt x="258" y="75"/>
                </a:lnTo>
                <a:lnTo>
                  <a:pt x="255" y="75"/>
                </a:lnTo>
                <a:lnTo>
                  <a:pt x="247" y="75"/>
                </a:lnTo>
                <a:lnTo>
                  <a:pt x="236" y="75"/>
                </a:lnTo>
                <a:lnTo>
                  <a:pt x="240" y="74"/>
                </a:lnTo>
                <a:lnTo>
                  <a:pt x="242" y="74"/>
                </a:lnTo>
                <a:lnTo>
                  <a:pt x="240" y="72"/>
                </a:lnTo>
                <a:lnTo>
                  <a:pt x="220" y="74"/>
                </a:lnTo>
                <a:lnTo>
                  <a:pt x="218" y="74"/>
                </a:lnTo>
                <a:lnTo>
                  <a:pt x="215" y="74"/>
                </a:lnTo>
                <a:lnTo>
                  <a:pt x="212" y="75"/>
                </a:lnTo>
                <a:lnTo>
                  <a:pt x="215" y="74"/>
                </a:lnTo>
                <a:lnTo>
                  <a:pt x="215" y="72"/>
                </a:lnTo>
                <a:lnTo>
                  <a:pt x="212" y="72"/>
                </a:lnTo>
                <a:lnTo>
                  <a:pt x="211" y="72"/>
                </a:lnTo>
                <a:lnTo>
                  <a:pt x="218" y="72"/>
                </a:lnTo>
                <a:lnTo>
                  <a:pt x="230" y="72"/>
                </a:lnTo>
                <a:lnTo>
                  <a:pt x="238" y="72"/>
                </a:lnTo>
                <a:lnTo>
                  <a:pt x="231" y="71"/>
                </a:lnTo>
                <a:lnTo>
                  <a:pt x="214" y="71"/>
                </a:lnTo>
                <a:lnTo>
                  <a:pt x="211" y="71"/>
                </a:lnTo>
                <a:lnTo>
                  <a:pt x="215" y="71"/>
                </a:lnTo>
                <a:lnTo>
                  <a:pt x="227" y="71"/>
                </a:lnTo>
                <a:lnTo>
                  <a:pt x="231" y="69"/>
                </a:lnTo>
                <a:lnTo>
                  <a:pt x="235" y="69"/>
                </a:lnTo>
                <a:lnTo>
                  <a:pt x="240" y="71"/>
                </a:lnTo>
                <a:lnTo>
                  <a:pt x="242" y="71"/>
                </a:lnTo>
                <a:lnTo>
                  <a:pt x="243" y="72"/>
                </a:lnTo>
                <a:lnTo>
                  <a:pt x="246" y="72"/>
                </a:lnTo>
                <a:lnTo>
                  <a:pt x="259" y="72"/>
                </a:lnTo>
                <a:lnTo>
                  <a:pt x="262" y="72"/>
                </a:lnTo>
                <a:lnTo>
                  <a:pt x="262" y="71"/>
                </a:lnTo>
                <a:lnTo>
                  <a:pt x="258" y="71"/>
                </a:lnTo>
                <a:lnTo>
                  <a:pt x="262" y="69"/>
                </a:lnTo>
                <a:lnTo>
                  <a:pt x="259" y="69"/>
                </a:lnTo>
                <a:lnTo>
                  <a:pt x="240" y="69"/>
                </a:lnTo>
                <a:lnTo>
                  <a:pt x="239" y="69"/>
                </a:lnTo>
                <a:lnTo>
                  <a:pt x="223" y="69"/>
                </a:lnTo>
                <a:lnTo>
                  <a:pt x="216" y="69"/>
                </a:lnTo>
                <a:lnTo>
                  <a:pt x="219" y="69"/>
                </a:lnTo>
                <a:lnTo>
                  <a:pt x="212" y="67"/>
                </a:lnTo>
                <a:lnTo>
                  <a:pt x="211" y="67"/>
                </a:lnTo>
                <a:lnTo>
                  <a:pt x="215" y="67"/>
                </a:lnTo>
                <a:lnTo>
                  <a:pt x="222" y="67"/>
                </a:lnTo>
                <a:lnTo>
                  <a:pt x="220" y="66"/>
                </a:lnTo>
                <a:lnTo>
                  <a:pt x="219" y="66"/>
                </a:lnTo>
                <a:lnTo>
                  <a:pt x="220" y="66"/>
                </a:lnTo>
                <a:lnTo>
                  <a:pt x="223" y="66"/>
                </a:lnTo>
                <a:lnTo>
                  <a:pt x="224" y="66"/>
                </a:lnTo>
                <a:lnTo>
                  <a:pt x="226" y="67"/>
                </a:lnTo>
                <a:lnTo>
                  <a:pt x="239" y="67"/>
                </a:lnTo>
                <a:lnTo>
                  <a:pt x="240" y="66"/>
                </a:lnTo>
                <a:lnTo>
                  <a:pt x="238" y="66"/>
                </a:lnTo>
                <a:lnTo>
                  <a:pt x="236" y="66"/>
                </a:lnTo>
                <a:lnTo>
                  <a:pt x="223" y="64"/>
                </a:lnTo>
                <a:lnTo>
                  <a:pt x="222" y="64"/>
                </a:lnTo>
                <a:lnTo>
                  <a:pt x="223" y="64"/>
                </a:lnTo>
                <a:lnTo>
                  <a:pt x="232" y="64"/>
                </a:lnTo>
                <a:lnTo>
                  <a:pt x="244" y="66"/>
                </a:lnTo>
                <a:lnTo>
                  <a:pt x="252" y="66"/>
                </a:lnTo>
                <a:lnTo>
                  <a:pt x="255" y="66"/>
                </a:lnTo>
                <a:lnTo>
                  <a:pt x="254" y="64"/>
                </a:lnTo>
                <a:lnTo>
                  <a:pt x="256" y="66"/>
                </a:lnTo>
                <a:lnTo>
                  <a:pt x="264" y="66"/>
                </a:lnTo>
                <a:lnTo>
                  <a:pt x="267" y="64"/>
                </a:lnTo>
                <a:lnTo>
                  <a:pt x="268" y="64"/>
                </a:lnTo>
                <a:lnTo>
                  <a:pt x="270" y="63"/>
                </a:lnTo>
                <a:lnTo>
                  <a:pt x="271" y="64"/>
                </a:lnTo>
                <a:lnTo>
                  <a:pt x="275" y="64"/>
                </a:lnTo>
                <a:lnTo>
                  <a:pt x="276" y="63"/>
                </a:lnTo>
                <a:lnTo>
                  <a:pt x="275" y="61"/>
                </a:lnTo>
                <a:lnTo>
                  <a:pt x="274" y="60"/>
                </a:lnTo>
                <a:lnTo>
                  <a:pt x="258" y="60"/>
                </a:lnTo>
                <a:lnTo>
                  <a:pt x="259" y="58"/>
                </a:lnTo>
                <a:lnTo>
                  <a:pt x="264" y="58"/>
                </a:lnTo>
                <a:lnTo>
                  <a:pt x="270" y="60"/>
                </a:lnTo>
                <a:lnTo>
                  <a:pt x="278" y="60"/>
                </a:lnTo>
                <a:lnTo>
                  <a:pt x="276" y="60"/>
                </a:lnTo>
                <a:lnTo>
                  <a:pt x="278" y="61"/>
                </a:lnTo>
                <a:lnTo>
                  <a:pt x="282" y="61"/>
                </a:lnTo>
                <a:lnTo>
                  <a:pt x="286" y="61"/>
                </a:lnTo>
                <a:lnTo>
                  <a:pt x="292" y="61"/>
                </a:lnTo>
                <a:lnTo>
                  <a:pt x="299" y="61"/>
                </a:lnTo>
                <a:lnTo>
                  <a:pt x="300" y="61"/>
                </a:lnTo>
                <a:lnTo>
                  <a:pt x="304" y="61"/>
                </a:lnTo>
                <a:lnTo>
                  <a:pt x="311" y="58"/>
                </a:lnTo>
                <a:lnTo>
                  <a:pt x="308" y="58"/>
                </a:lnTo>
                <a:lnTo>
                  <a:pt x="303" y="58"/>
                </a:lnTo>
                <a:lnTo>
                  <a:pt x="304" y="58"/>
                </a:lnTo>
                <a:lnTo>
                  <a:pt x="307" y="56"/>
                </a:lnTo>
                <a:lnTo>
                  <a:pt x="312" y="56"/>
                </a:lnTo>
                <a:lnTo>
                  <a:pt x="313" y="56"/>
                </a:lnTo>
                <a:lnTo>
                  <a:pt x="317" y="55"/>
                </a:lnTo>
                <a:lnTo>
                  <a:pt x="312" y="53"/>
                </a:lnTo>
                <a:lnTo>
                  <a:pt x="298" y="55"/>
                </a:lnTo>
                <a:lnTo>
                  <a:pt x="290" y="55"/>
                </a:lnTo>
                <a:lnTo>
                  <a:pt x="294" y="55"/>
                </a:lnTo>
                <a:lnTo>
                  <a:pt x="295" y="53"/>
                </a:lnTo>
                <a:lnTo>
                  <a:pt x="298" y="53"/>
                </a:lnTo>
                <a:lnTo>
                  <a:pt x="303" y="53"/>
                </a:lnTo>
                <a:lnTo>
                  <a:pt x="315" y="52"/>
                </a:lnTo>
                <a:lnTo>
                  <a:pt x="325" y="53"/>
                </a:lnTo>
                <a:lnTo>
                  <a:pt x="325" y="52"/>
                </a:lnTo>
                <a:lnTo>
                  <a:pt x="323" y="50"/>
                </a:lnTo>
                <a:lnTo>
                  <a:pt x="319" y="50"/>
                </a:lnTo>
                <a:lnTo>
                  <a:pt x="317" y="49"/>
                </a:lnTo>
                <a:lnTo>
                  <a:pt x="319" y="49"/>
                </a:lnTo>
                <a:lnTo>
                  <a:pt x="320" y="47"/>
                </a:lnTo>
                <a:lnTo>
                  <a:pt x="320" y="49"/>
                </a:lnTo>
                <a:lnTo>
                  <a:pt x="321" y="50"/>
                </a:lnTo>
                <a:lnTo>
                  <a:pt x="328" y="50"/>
                </a:lnTo>
                <a:lnTo>
                  <a:pt x="335" y="49"/>
                </a:lnTo>
                <a:lnTo>
                  <a:pt x="336" y="49"/>
                </a:lnTo>
                <a:lnTo>
                  <a:pt x="339" y="47"/>
                </a:lnTo>
                <a:lnTo>
                  <a:pt x="340" y="45"/>
                </a:lnTo>
                <a:lnTo>
                  <a:pt x="349" y="44"/>
                </a:lnTo>
                <a:lnTo>
                  <a:pt x="351" y="42"/>
                </a:lnTo>
                <a:lnTo>
                  <a:pt x="353" y="42"/>
                </a:lnTo>
                <a:lnTo>
                  <a:pt x="357" y="42"/>
                </a:lnTo>
                <a:lnTo>
                  <a:pt x="361" y="41"/>
                </a:lnTo>
                <a:lnTo>
                  <a:pt x="367" y="39"/>
                </a:lnTo>
                <a:lnTo>
                  <a:pt x="368" y="39"/>
                </a:lnTo>
                <a:lnTo>
                  <a:pt x="375" y="38"/>
                </a:lnTo>
                <a:lnTo>
                  <a:pt x="377" y="38"/>
                </a:lnTo>
                <a:lnTo>
                  <a:pt x="381" y="36"/>
                </a:lnTo>
                <a:lnTo>
                  <a:pt x="383" y="36"/>
                </a:lnTo>
                <a:lnTo>
                  <a:pt x="389" y="33"/>
                </a:lnTo>
                <a:lnTo>
                  <a:pt x="395" y="33"/>
                </a:lnTo>
                <a:lnTo>
                  <a:pt x="408" y="31"/>
                </a:lnTo>
                <a:lnTo>
                  <a:pt x="412" y="30"/>
                </a:lnTo>
                <a:lnTo>
                  <a:pt x="413" y="28"/>
                </a:lnTo>
                <a:lnTo>
                  <a:pt x="412" y="28"/>
                </a:lnTo>
                <a:lnTo>
                  <a:pt x="405" y="28"/>
                </a:lnTo>
                <a:lnTo>
                  <a:pt x="396" y="28"/>
                </a:lnTo>
                <a:lnTo>
                  <a:pt x="377" y="31"/>
                </a:lnTo>
                <a:lnTo>
                  <a:pt x="365" y="31"/>
                </a:lnTo>
                <a:lnTo>
                  <a:pt x="341" y="34"/>
                </a:lnTo>
                <a:lnTo>
                  <a:pt x="337" y="34"/>
                </a:lnTo>
                <a:lnTo>
                  <a:pt x="325" y="36"/>
                </a:lnTo>
                <a:lnTo>
                  <a:pt x="328" y="34"/>
                </a:lnTo>
                <a:lnTo>
                  <a:pt x="317" y="36"/>
                </a:lnTo>
                <a:lnTo>
                  <a:pt x="315" y="34"/>
                </a:lnTo>
                <a:lnTo>
                  <a:pt x="327" y="34"/>
                </a:lnTo>
                <a:lnTo>
                  <a:pt x="331" y="34"/>
                </a:lnTo>
                <a:lnTo>
                  <a:pt x="332" y="33"/>
                </a:lnTo>
                <a:lnTo>
                  <a:pt x="337" y="33"/>
                </a:lnTo>
                <a:lnTo>
                  <a:pt x="341" y="33"/>
                </a:lnTo>
                <a:lnTo>
                  <a:pt x="375" y="28"/>
                </a:lnTo>
                <a:lnTo>
                  <a:pt x="373" y="28"/>
                </a:lnTo>
                <a:lnTo>
                  <a:pt x="367" y="28"/>
                </a:lnTo>
                <a:lnTo>
                  <a:pt x="359" y="28"/>
                </a:lnTo>
                <a:lnTo>
                  <a:pt x="349" y="28"/>
                </a:lnTo>
                <a:lnTo>
                  <a:pt x="344" y="28"/>
                </a:lnTo>
                <a:lnTo>
                  <a:pt x="343" y="28"/>
                </a:lnTo>
                <a:lnTo>
                  <a:pt x="343" y="27"/>
                </a:lnTo>
                <a:lnTo>
                  <a:pt x="349" y="28"/>
                </a:lnTo>
                <a:lnTo>
                  <a:pt x="349" y="27"/>
                </a:lnTo>
                <a:lnTo>
                  <a:pt x="343" y="25"/>
                </a:lnTo>
                <a:lnTo>
                  <a:pt x="339" y="25"/>
                </a:lnTo>
                <a:lnTo>
                  <a:pt x="348" y="27"/>
                </a:lnTo>
                <a:lnTo>
                  <a:pt x="353" y="27"/>
                </a:lnTo>
                <a:lnTo>
                  <a:pt x="359" y="27"/>
                </a:lnTo>
                <a:lnTo>
                  <a:pt x="356" y="27"/>
                </a:lnTo>
                <a:lnTo>
                  <a:pt x="371" y="27"/>
                </a:lnTo>
                <a:lnTo>
                  <a:pt x="380" y="27"/>
                </a:lnTo>
                <a:lnTo>
                  <a:pt x="384" y="27"/>
                </a:lnTo>
                <a:lnTo>
                  <a:pt x="389" y="27"/>
                </a:lnTo>
                <a:lnTo>
                  <a:pt x="392" y="27"/>
                </a:lnTo>
                <a:lnTo>
                  <a:pt x="399" y="25"/>
                </a:lnTo>
                <a:lnTo>
                  <a:pt x="391" y="25"/>
                </a:lnTo>
                <a:lnTo>
                  <a:pt x="393" y="25"/>
                </a:lnTo>
                <a:lnTo>
                  <a:pt x="405" y="23"/>
                </a:lnTo>
                <a:lnTo>
                  <a:pt x="407" y="25"/>
                </a:lnTo>
                <a:lnTo>
                  <a:pt x="411" y="25"/>
                </a:lnTo>
                <a:lnTo>
                  <a:pt x="416" y="25"/>
                </a:lnTo>
                <a:lnTo>
                  <a:pt x="416" y="23"/>
                </a:lnTo>
                <a:lnTo>
                  <a:pt x="419" y="23"/>
                </a:lnTo>
                <a:lnTo>
                  <a:pt x="420" y="23"/>
                </a:lnTo>
                <a:lnTo>
                  <a:pt x="424" y="22"/>
                </a:lnTo>
                <a:lnTo>
                  <a:pt x="436" y="22"/>
                </a:lnTo>
                <a:lnTo>
                  <a:pt x="440" y="20"/>
                </a:lnTo>
                <a:lnTo>
                  <a:pt x="442" y="20"/>
                </a:lnTo>
                <a:lnTo>
                  <a:pt x="449" y="19"/>
                </a:lnTo>
                <a:lnTo>
                  <a:pt x="452" y="17"/>
                </a:lnTo>
                <a:lnTo>
                  <a:pt x="461" y="16"/>
                </a:lnTo>
                <a:lnTo>
                  <a:pt x="462" y="16"/>
                </a:lnTo>
                <a:lnTo>
                  <a:pt x="464" y="14"/>
                </a:lnTo>
                <a:lnTo>
                  <a:pt x="460" y="12"/>
                </a:lnTo>
                <a:lnTo>
                  <a:pt x="457" y="11"/>
                </a:lnTo>
                <a:lnTo>
                  <a:pt x="448" y="11"/>
                </a:lnTo>
                <a:lnTo>
                  <a:pt x="445" y="11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27" name="Freeform 727"/>
          <p:cNvSpPr>
            <a:spLocks/>
          </p:cNvSpPr>
          <p:nvPr/>
        </p:nvSpPr>
        <p:spPr bwMode="auto">
          <a:xfrm>
            <a:off x="3043526" y="1412776"/>
            <a:ext cx="836041" cy="47248"/>
          </a:xfrm>
          <a:custGeom>
            <a:avLst/>
            <a:gdLst/>
            <a:ahLst/>
            <a:cxnLst>
              <a:cxn ang="0">
                <a:pos x="429" y="11"/>
              </a:cxn>
              <a:cxn ang="0">
                <a:pos x="428" y="9"/>
              </a:cxn>
              <a:cxn ang="0">
                <a:pos x="417" y="6"/>
              </a:cxn>
              <a:cxn ang="0">
                <a:pos x="404" y="6"/>
              </a:cxn>
              <a:cxn ang="0">
                <a:pos x="392" y="3"/>
              </a:cxn>
              <a:cxn ang="0">
                <a:pos x="389" y="6"/>
              </a:cxn>
              <a:cxn ang="0">
                <a:pos x="381" y="5"/>
              </a:cxn>
              <a:cxn ang="0">
                <a:pos x="352" y="8"/>
              </a:cxn>
              <a:cxn ang="0">
                <a:pos x="368" y="5"/>
              </a:cxn>
              <a:cxn ang="0">
                <a:pos x="349" y="1"/>
              </a:cxn>
              <a:cxn ang="0">
                <a:pos x="328" y="3"/>
              </a:cxn>
              <a:cxn ang="0">
                <a:pos x="315" y="0"/>
              </a:cxn>
              <a:cxn ang="0">
                <a:pos x="290" y="1"/>
              </a:cxn>
              <a:cxn ang="0">
                <a:pos x="274" y="0"/>
              </a:cxn>
              <a:cxn ang="0">
                <a:pos x="259" y="5"/>
              </a:cxn>
              <a:cxn ang="0">
                <a:pos x="251" y="3"/>
              </a:cxn>
              <a:cxn ang="0">
                <a:pos x="230" y="1"/>
              </a:cxn>
              <a:cxn ang="0">
                <a:pos x="198" y="3"/>
              </a:cxn>
              <a:cxn ang="0">
                <a:pos x="216" y="6"/>
              </a:cxn>
              <a:cxn ang="0">
                <a:pos x="220" y="11"/>
              </a:cxn>
              <a:cxn ang="0">
                <a:pos x="210" y="6"/>
              </a:cxn>
              <a:cxn ang="0">
                <a:pos x="188" y="3"/>
              </a:cxn>
              <a:cxn ang="0">
                <a:pos x="177" y="3"/>
              </a:cxn>
              <a:cxn ang="0">
                <a:pos x="159" y="3"/>
              </a:cxn>
              <a:cxn ang="0">
                <a:pos x="159" y="6"/>
              </a:cxn>
              <a:cxn ang="0">
                <a:pos x="161" y="8"/>
              </a:cxn>
              <a:cxn ang="0">
                <a:pos x="141" y="6"/>
              </a:cxn>
              <a:cxn ang="0">
                <a:pos x="153" y="11"/>
              </a:cxn>
              <a:cxn ang="0">
                <a:pos x="123" y="8"/>
              </a:cxn>
              <a:cxn ang="0">
                <a:pos x="133" y="11"/>
              </a:cxn>
              <a:cxn ang="0">
                <a:pos x="121" y="14"/>
              </a:cxn>
              <a:cxn ang="0">
                <a:pos x="149" y="19"/>
              </a:cxn>
              <a:cxn ang="0">
                <a:pos x="121" y="16"/>
              </a:cxn>
              <a:cxn ang="0">
                <a:pos x="125" y="19"/>
              </a:cxn>
              <a:cxn ang="0">
                <a:pos x="109" y="14"/>
              </a:cxn>
              <a:cxn ang="0">
                <a:pos x="91" y="12"/>
              </a:cxn>
              <a:cxn ang="0">
                <a:pos x="75" y="12"/>
              </a:cxn>
              <a:cxn ang="0">
                <a:pos x="79" y="14"/>
              </a:cxn>
              <a:cxn ang="0">
                <a:pos x="61" y="16"/>
              </a:cxn>
              <a:cxn ang="0">
                <a:pos x="83" y="19"/>
              </a:cxn>
              <a:cxn ang="0">
                <a:pos x="86" y="19"/>
              </a:cxn>
              <a:cxn ang="0">
                <a:pos x="75" y="19"/>
              </a:cxn>
              <a:cxn ang="0">
                <a:pos x="64" y="20"/>
              </a:cxn>
              <a:cxn ang="0">
                <a:pos x="57" y="19"/>
              </a:cxn>
              <a:cxn ang="0">
                <a:pos x="42" y="17"/>
              </a:cxn>
              <a:cxn ang="0">
                <a:pos x="28" y="20"/>
              </a:cxn>
              <a:cxn ang="0">
                <a:pos x="26" y="20"/>
              </a:cxn>
              <a:cxn ang="0">
                <a:pos x="18" y="20"/>
              </a:cxn>
              <a:cxn ang="0">
                <a:pos x="2" y="23"/>
              </a:cxn>
            </a:cxnLst>
            <a:rect l="0" t="0" r="r" b="b"/>
            <a:pathLst>
              <a:path w="437" h="23">
                <a:moveTo>
                  <a:pt x="437" y="11"/>
                </a:moveTo>
                <a:lnTo>
                  <a:pt x="433" y="11"/>
                </a:lnTo>
                <a:lnTo>
                  <a:pt x="430" y="11"/>
                </a:lnTo>
                <a:lnTo>
                  <a:pt x="429" y="11"/>
                </a:lnTo>
                <a:lnTo>
                  <a:pt x="422" y="12"/>
                </a:lnTo>
                <a:lnTo>
                  <a:pt x="424" y="11"/>
                </a:lnTo>
                <a:lnTo>
                  <a:pt x="425" y="9"/>
                </a:lnTo>
                <a:lnTo>
                  <a:pt x="428" y="9"/>
                </a:lnTo>
                <a:lnTo>
                  <a:pt x="420" y="9"/>
                </a:lnTo>
                <a:lnTo>
                  <a:pt x="418" y="8"/>
                </a:lnTo>
                <a:lnTo>
                  <a:pt x="413" y="6"/>
                </a:lnTo>
                <a:lnTo>
                  <a:pt x="417" y="6"/>
                </a:lnTo>
                <a:lnTo>
                  <a:pt x="417" y="5"/>
                </a:lnTo>
                <a:lnTo>
                  <a:pt x="416" y="5"/>
                </a:lnTo>
                <a:lnTo>
                  <a:pt x="409" y="5"/>
                </a:lnTo>
                <a:lnTo>
                  <a:pt x="404" y="6"/>
                </a:lnTo>
                <a:lnTo>
                  <a:pt x="399" y="5"/>
                </a:lnTo>
                <a:lnTo>
                  <a:pt x="397" y="3"/>
                </a:lnTo>
                <a:lnTo>
                  <a:pt x="393" y="3"/>
                </a:lnTo>
                <a:lnTo>
                  <a:pt x="392" y="3"/>
                </a:lnTo>
                <a:lnTo>
                  <a:pt x="393" y="5"/>
                </a:lnTo>
                <a:lnTo>
                  <a:pt x="388" y="5"/>
                </a:lnTo>
                <a:lnTo>
                  <a:pt x="391" y="6"/>
                </a:lnTo>
                <a:lnTo>
                  <a:pt x="389" y="6"/>
                </a:lnTo>
                <a:lnTo>
                  <a:pt x="388" y="6"/>
                </a:lnTo>
                <a:lnTo>
                  <a:pt x="384" y="5"/>
                </a:lnTo>
                <a:lnTo>
                  <a:pt x="385" y="5"/>
                </a:lnTo>
                <a:lnTo>
                  <a:pt x="381" y="5"/>
                </a:lnTo>
                <a:lnTo>
                  <a:pt x="373" y="5"/>
                </a:lnTo>
                <a:lnTo>
                  <a:pt x="365" y="6"/>
                </a:lnTo>
                <a:lnTo>
                  <a:pt x="357" y="8"/>
                </a:lnTo>
                <a:lnTo>
                  <a:pt x="352" y="8"/>
                </a:lnTo>
                <a:lnTo>
                  <a:pt x="336" y="8"/>
                </a:lnTo>
                <a:lnTo>
                  <a:pt x="339" y="8"/>
                </a:lnTo>
                <a:lnTo>
                  <a:pt x="364" y="5"/>
                </a:lnTo>
                <a:lnTo>
                  <a:pt x="368" y="5"/>
                </a:lnTo>
                <a:lnTo>
                  <a:pt x="371" y="3"/>
                </a:lnTo>
                <a:lnTo>
                  <a:pt x="359" y="1"/>
                </a:lnTo>
                <a:lnTo>
                  <a:pt x="355" y="3"/>
                </a:lnTo>
                <a:lnTo>
                  <a:pt x="349" y="1"/>
                </a:lnTo>
                <a:lnTo>
                  <a:pt x="344" y="1"/>
                </a:lnTo>
                <a:lnTo>
                  <a:pt x="337" y="1"/>
                </a:lnTo>
                <a:lnTo>
                  <a:pt x="328" y="1"/>
                </a:lnTo>
                <a:lnTo>
                  <a:pt x="328" y="3"/>
                </a:lnTo>
                <a:lnTo>
                  <a:pt x="327" y="1"/>
                </a:lnTo>
                <a:lnTo>
                  <a:pt x="323" y="1"/>
                </a:lnTo>
                <a:lnTo>
                  <a:pt x="317" y="1"/>
                </a:lnTo>
                <a:lnTo>
                  <a:pt x="315" y="0"/>
                </a:lnTo>
                <a:lnTo>
                  <a:pt x="312" y="0"/>
                </a:lnTo>
                <a:lnTo>
                  <a:pt x="304" y="0"/>
                </a:lnTo>
                <a:lnTo>
                  <a:pt x="291" y="0"/>
                </a:lnTo>
                <a:lnTo>
                  <a:pt x="290" y="1"/>
                </a:lnTo>
                <a:lnTo>
                  <a:pt x="286" y="1"/>
                </a:lnTo>
                <a:lnTo>
                  <a:pt x="287" y="0"/>
                </a:lnTo>
                <a:lnTo>
                  <a:pt x="279" y="0"/>
                </a:lnTo>
                <a:lnTo>
                  <a:pt x="274" y="0"/>
                </a:lnTo>
                <a:lnTo>
                  <a:pt x="267" y="0"/>
                </a:lnTo>
                <a:lnTo>
                  <a:pt x="260" y="1"/>
                </a:lnTo>
                <a:lnTo>
                  <a:pt x="258" y="3"/>
                </a:lnTo>
                <a:lnTo>
                  <a:pt x="259" y="5"/>
                </a:lnTo>
                <a:lnTo>
                  <a:pt x="262" y="5"/>
                </a:lnTo>
                <a:lnTo>
                  <a:pt x="266" y="6"/>
                </a:lnTo>
                <a:lnTo>
                  <a:pt x="260" y="6"/>
                </a:lnTo>
                <a:lnTo>
                  <a:pt x="251" y="3"/>
                </a:lnTo>
                <a:lnTo>
                  <a:pt x="248" y="1"/>
                </a:lnTo>
                <a:lnTo>
                  <a:pt x="244" y="1"/>
                </a:lnTo>
                <a:lnTo>
                  <a:pt x="238" y="1"/>
                </a:lnTo>
                <a:lnTo>
                  <a:pt x="230" y="1"/>
                </a:lnTo>
                <a:lnTo>
                  <a:pt x="220" y="0"/>
                </a:lnTo>
                <a:lnTo>
                  <a:pt x="210" y="1"/>
                </a:lnTo>
                <a:lnTo>
                  <a:pt x="198" y="1"/>
                </a:lnTo>
                <a:lnTo>
                  <a:pt x="198" y="3"/>
                </a:lnTo>
                <a:lnTo>
                  <a:pt x="204" y="3"/>
                </a:lnTo>
                <a:lnTo>
                  <a:pt x="214" y="6"/>
                </a:lnTo>
                <a:lnTo>
                  <a:pt x="218" y="6"/>
                </a:lnTo>
                <a:lnTo>
                  <a:pt x="216" y="6"/>
                </a:lnTo>
                <a:lnTo>
                  <a:pt x="219" y="8"/>
                </a:lnTo>
                <a:lnTo>
                  <a:pt x="232" y="9"/>
                </a:lnTo>
                <a:lnTo>
                  <a:pt x="220" y="12"/>
                </a:lnTo>
                <a:lnTo>
                  <a:pt x="220" y="11"/>
                </a:lnTo>
                <a:lnTo>
                  <a:pt x="223" y="9"/>
                </a:lnTo>
                <a:lnTo>
                  <a:pt x="222" y="9"/>
                </a:lnTo>
                <a:lnTo>
                  <a:pt x="211" y="8"/>
                </a:lnTo>
                <a:lnTo>
                  <a:pt x="210" y="6"/>
                </a:lnTo>
                <a:lnTo>
                  <a:pt x="206" y="5"/>
                </a:lnTo>
                <a:lnTo>
                  <a:pt x="203" y="5"/>
                </a:lnTo>
                <a:lnTo>
                  <a:pt x="191" y="3"/>
                </a:lnTo>
                <a:lnTo>
                  <a:pt x="188" y="3"/>
                </a:lnTo>
                <a:lnTo>
                  <a:pt x="186" y="5"/>
                </a:lnTo>
                <a:lnTo>
                  <a:pt x="183" y="5"/>
                </a:lnTo>
                <a:lnTo>
                  <a:pt x="181" y="3"/>
                </a:lnTo>
                <a:lnTo>
                  <a:pt x="177" y="3"/>
                </a:lnTo>
                <a:lnTo>
                  <a:pt x="174" y="3"/>
                </a:lnTo>
                <a:lnTo>
                  <a:pt x="173" y="3"/>
                </a:lnTo>
                <a:lnTo>
                  <a:pt x="169" y="1"/>
                </a:lnTo>
                <a:lnTo>
                  <a:pt x="159" y="3"/>
                </a:lnTo>
                <a:lnTo>
                  <a:pt x="154" y="3"/>
                </a:lnTo>
                <a:lnTo>
                  <a:pt x="157" y="5"/>
                </a:lnTo>
                <a:lnTo>
                  <a:pt x="161" y="5"/>
                </a:lnTo>
                <a:lnTo>
                  <a:pt x="159" y="6"/>
                </a:lnTo>
                <a:lnTo>
                  <a:pt x="162" y="6"/>
                </a:lnTo>
                <a:lnTo>
                  <a:pt x="169" y="8"/>
                </a:lnTo>
                <a:lnTo>
                  <a:pt x="159" y="6"/>
                </a:lnTo>
                <a:lnTo>
                  <a:pt x="161" y="8"/>
                </a:lnTo>
                <a:lnTo>
                  <a:pt x="153" y="6"/>
                </a:lnTo>
                <a:lnTo>
                  <a:pt x="138" y="5"/>
                </a:lnTo>
                <a:lnTo>
                  <a:pt x="137" y="6"/>
                </a:lnTo>
                <a:lnTo>
                  <a:pt x="141" y="6"/>
                </a:lnTo>
                <a:lnTo>
                  <a:pt x="142" y="8"/>
                </a:lnTo>
                <a:lnTo>
                  <a:pt x="147" y="9"/>
                </a:lnTo>
                <a:lnTo>
                  <a:pt x="150" y="9"/>
                </a:lnTo>
                <a:lnTo>
                  <a:pt x="153" y="11"/>
                </a:lnTo>
                <a:lnTo>
                  <a:pt x="150" y="11"/>
                </a:lnTo>
                <a:lnTo>
                  <a:pt x="138" y="9"/>
                </a:lnTo>
                <a:lnTo>
                  <a:pt x="127" y="8"/>
                </a:lnTo>
                <a:lnTo>
                  <a:pt x="123" y="8"/>
                </a:lnTo>
                <a:lnTo>
                  <a:pt x="122" y="9"/>
                </a:lnTo>
                <a:lnTo>
                  <a:pt x="123" y="9"/>
                </a:lnTo>
                <a:lnTo>
                  <a:pt x="127" y="11"/>
                </a:lnTo>
                <a:lnTo>
                  <a:pt x="133" y="11"/>
                </a:lnTo>
                <a:lnTo>
                  <a:pt x="135" y="11"/>
                </a:lnTo>
                <a:lnTo>
                  <a:pt x="122" y="11"/>
                </a:lnTo>
                <a:lnTo>
                  <a:pt x="119" y="12"/>
                </a:lnTo>
                <a:lnTo>
                  <a:pt x="121" y="14"/>
                </a:lnTo>
                <a:lnTo>
                  <a:pt x="137" y="17"/>
                </a:lnTo>
                <a:lnTo>
                  <a:pt x="147" y="17"/>
                </a:lnTo>
                <a:lnTo>
                  <a:pt x="150" y="17"/>
                </a:lnTo>
                <a:lnTo>
                  <a:pt x="149" y="19"/>
                </a:lnTo>
                <a:lnTo>
                  <a:pt x="154" y="20"/>
                </a:lnTo>
                <a:lnTo>
                  <a:pt x="141" y="19"/>
                </a:lnTo>
                <a:lnTo>
                  <a:pt x="133" y="17"/>
                </a:lnTo>
                <a:lnTo>
                  <a:pt x="121" y="16"/>
                </a:lnTo>
                <a:lnTo>
                  <a:pt x="114" y="14"/>
                </a:lnTo>
                <a:lnTo>
                  <a:pt x="114" y="16"/>
                </a:lnTo>
                <a:lnTo>
                  <a:pt x="119" y="17"/>
                </a:lnTo>
                <a:lnTo>
                  <a:pt x="125" y="19"/>
                </a:lnTo>
                <a:lnTo>
                  <a:pt x="114" y="17"/>
                </a:lnTo>
                <a:lnTo>
                  <a:pt x="113" y="16"/>
                </a:lnTo>
                <a:lnTo>
                  <a:pt x="110" y="16"/>
                </a:lnTo>
                <a:lnTo>
                  <a:pt x="109" y="14"/>
                </a:lnTo>
                <a:lnTo>
                  <a:pt x="102" y="14"/>
                </a:lnTo>
                <a:lnTo>
                  <a:pt x="99" y="14"/>
                </a:lnTo>
                <a:lnTo>
                  <a:pt x="97" y="14"/>
                </a:lnTo>
                <a:lnTo>
                  <a:pt x="91" y="12"/>
                </a:lnTo>
                <a:lnTo>
                  <a:pt x="90" y="12"/>
                </a:lnTo>
                <a:lnTo>
                  <a:pt x="93" y="11"/>
                </a:lnTo>
                <a:lnTo>
                  <a:pt x="83" y="11"/>
                </a:lnTo>
                <a:lnTo>
                  <a:pt x="75" y="12"/>
                </a:lnTo>
                <a:lnTo>
                  <a:pt x="73" y="12"/>
                </a:lnTo>
                <a:lnTo>
                  <a:pt x="77" y="12"/>
                </a:lnTo>
                <a:lnTo>
                  <a:pt x="78" y="14"/>
                </a:lnTo>
                <a:lnTo>
                  <a:pt x="79" y="14"/>
                </a:lnTo>
                <a:lnTo>
                  <a:pt x="78" y="16"/>
                </a:lnTo>
                <a:lnTo>
                  <a:pt x="70" y="16"/>
                </a:lnTo>
                <a:lnTo>
                  <a:pt x="62" y="16"/>
                </a:lnTo>
                <a:lnTo>
                  <a:pt x="61" y="16"/>
                </a:lnTo>
                <a:lnTo>
                  <a:pt x="62" y="17"/>
                </a:lnTo>
                <a:lnTo>
                  <a:pt x="66" y="17"/>
                </a:lnTo>
                <a:lnTo>
                  <a:pt x="70" y="17"/>
                </a:lnTo>
                <a:lnTo>
                  <a:pt x="83" y="19"/>
                </a:lnTo>
                <a:lnTo>
                  <a:pt x="93" y="19"/>
                </a:lnTo>
                <a:lnTo>
                  <a:pt x="90" y="19"/>
                </a:lnTo>
                <a:lnTo>
                  <a:pt x="91" y="20"/>
                </a:lnTo>
                <a:lnTo>
                  <a:pt x="86" y="19"/>
                </a:lnTo>
                <a:lnTo>
                  <a:pt x="81" y="19"/>
                </a:lnTo>
                <a:lnTo>
                  <a:pt x="81" y="20"/>
                </a:lnTo>
                <a:lnTo>
                  <a:pt x="83" y="22"/>
                </a:lnTo>
                <a:lnTo>
                  <a:pt x="75" y="19"/>
                </a:lnTo>
                <a:lnTo>
                  <a:pt x="70" y="19"/>
                </a:lnTo>
                <a:lnTo>
                  <a:pt x="62" y="19"/>
                </a:lnTo>
                <a:lnTo>
                  <a:pt x="61" y="20"/>
                </a:lnTo>
                <a:lnTo>
                  <a:pt x="64" y="20"/>
                </a:lnTo>
                <a:lnTo>
                  <a:pt x="61" y="20"/>
                </a:lnTo>
                <a:lnTo>
                  <a:pt x="58" y="20"/>
                </a:lnTo>
                <a:lnTo>
                  <a:pt x="58" y="19"/>
                </a:lnTo>
                <a:lnTo>
                  <a:pt x="57" y="19"/>
                </a:lnTo>
                <a:lnTo>
                  <a:pt x="52" y="17"/>
                </a:lnTo>
                <a:lnTo>
                  <a:pt x="50" y="19"/>
                </a:lnTo>
                <a:lnTo>
                  <a:pt x="48" y="17"/>
                </a:lnTo>
                <a:lnTo>
                  <a:pt x="42" y="17"/>
                </a:lnTo>
                <a:lnTo>
                  <a:pt x="41" y="19"/>
                </a:lnTo>
                <a:lnTo>
                  <a:pt x="37" y="19"/>
                </a:lnTo>
                <a:lnTo>
                  <a:pt x="33" y="19"/>
                </a:lnTo>
                <a:lnTo>
                  <a:pt x="28" y="20"/>
                </a:lnTo>
                <a:lnTo>
                  <a:pt x="29" y="20"/>
                </a:lnTo>
                <a:lnTo>
                  <a:pt x="32" y="22"/>
                </a:lnTo>
                <a:lnTo>
                  <a:pt x="33" y="22"/>
                </a:lnTo>
                <a:lnTo>
                  <a:pt x="26" y="20"/>
                </a:lnTo>
                <a:lnTo>
                  <a:pt x="28" y="23"/>
                </a:lnTo>
                <a:lnTo>
                  <a:pt x="22" y="22"/>
                </a:lnTo>
                <a:lnTo>
                  <a:pt x="21" y="22"/>
                </a:lnTo>
                <a:lnTo>
                  <a:pt x="18" y="20"/>
                </a:lnTo>
                <a:lnTo>
                  <a:pt x="12" y="22"/>
                </a:lnTo>
                <a:lnTo>
                  <a:pt x="5" y="22"/>
                </a:lnTo>
                <a:lnTo>
                  <a:pt x="4" y="23"/>
                </a:lnTo>
                <a:lnTo>
                  <a:pt x="2" y="23"/>
                </a:lnTo>
                <a:lnTo>
                  <a:pt x="0" y="23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28" name="Freeform 728"/>
          <p:cNvSpPr>
            <a:spLocks/>
          </p:cNvSpPr>
          <p:nvPr/>
        </p:nvSpPr>
        <p:spPr bwMode="auto">
          <a:xfrm>
            <a:off x="3027935" y="1460022"/>
            <a:ext cx="475511" cy="45100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16" y="4"/>
              </a:cxn>
              <a:cxn ang="0">
                <a:pos x="26" y="4"/>
              </a:cxn>
              <a:cxn ang="0">
                <a:pos x="32" y="4"/>
              </a:cxn>
              <a:cxn ang="0">
                <a:pos x="25" y="8"/>
              </a:cxn>
              <a:cxn ang="0">
                <a:pos x="68" y="5"/>
              </a:cxn>
              <a:cxn ang="0">
                <a:pos x="78" y="7"/>
              </a:cxn>
              <a:cxn ang="0">
                <a:pos x="38" y="8"/>
              </a:cxn>
              <a:cxn ang="0">
                <a:pos x="45" y="10"/>
              </a:cxn>
              <a:cxn ang="0">
                <a:pos x="33" y="15"/>
              </a:cxn>
              <a:cxn ang="0">
                <a:pos x="72" y="13"/>
              </a:cxn>
              <a:cxn ang="0">
                <a:pos x="111" y="10"/>
              </a:cxn>
              <a:cxn ang="0">
                <a:pos x="82" y="15"/>
              </a:cxn>
              <a:cxn ang="0">
                <a:pos x="52" y="15"/>
              </a:cxn>
              <a:cxn ang="0">
                <a:pos x="49" y="18"/>
              </a:cxn>
              <a:cxn ang="0">
                <a:pos x="70" y="22"/>
              </a:cxn>
              <a:cxn ang="0">
                <a:pos x="78" y="19"/>
              </a:cxn>
              <a:cxn ang="0">
                <a:pos x="87" y="16"/>
              </a:cxn>
              <a:cxn ang="0">
                <a:pos x="106" y="15"/>
              </a:cxn>
              <a:cxn ang="0">
                <a:pos x="141" y="13"/>
              </a:cxn>
              <a:cxn ang="0">
                <a:pos x="117" y="15"/>
              </a:cxn>
              <a:cxn ang="0">
                <a:pos x="94" y="16"/>
              </a:cxn>
              <a:cxn ang="0">
                <a:pos x="89" y="19"/>
              </a:cxn>
              <a:cxn ang="0">
                <a:pos x="83" y="22"/>
              </a:cxn>
              <a:cxn ang="0">
                <a:pos x="98" y="22"/>
              </a:cxn>
              <a:cxn ang="0">
                <a:pos x="99" y="24"/>
              </a:cxn>
              <a:cxn ang="0">
                <a:pos x="117" y="24"/>
              </a:cxn>
              <a:cxn ang="0">
                <a:pos x="125" y="18"/>
              </a:cxn>
              <a:cxn ang="0">
                <a:pos x="121" y="21"/>
              </a:cxn>
              <a:cxn ang="0">
                <a:pos x="134" y="21"/>
              </a:cxn>
              <a:cxn ang="0">
                <a:pos x="145" y="16"/>
              </a:cxn>
              <a:cxn ang="0">
                <a:pos x="142" y="19"/>
              </a:cxn>
              <a:cxn ang="0">
                <a:pos x="127" y="22"/>
              </a:cxn>
              <a:cxn ang="0">
                <a:pos x="149" y="22"/>
              </a:cxn>
              <a:cxn ang="0">
                <a:pos x="182" y="16"/>
              </a:cxn>
              <a:cxn ang="0">
                <a:pos x="182" y="16"/>
              </a:cxn>
              <a:cxn ang="0">
                <a:pos x="178" y="11"/>
              </a:cxn>
              <a:cxn ang="0">
                <a:pos x="190" y="13"/>
              </a:cxn>
              <a:cxn ang="0">
                <a:pos x="215" y="5"/>
              </a:cxn>
              <a:cxn ang="0">
                <a:pos x="199" y="10"/>
              </a:cxn>
              <a:cxn ang="0">
                <a:pos x="194" y="13"/>
              </a:cxn>
              <a:cxn ang="0">
                <a:pos x="211" y="16"/>
              </a:cxn>
              <a:cxn ang="0">
                <a:pos x="239" y="16"/>
              </a:cxn>
              <a:cxn ang="0">
                <a:pos x="231" y="18"/>
              </a:cxn>
              <a:cxn ang="0">
                <a:pos x="220" y="18"/>
              </a:cxn>
              <a:cxn ang="0">
                <a:pos x="207" y="18"/>
              </a:cxn>
              <a:cxn ang="0">
                <a:pos x="177" y="21"/>
              </a:cxn>
              <a:cxn ang="0">
                <a:pos x="194" y="21"/>
              </a:cxn>
              <a:cxn ang="0">
                <a:pos x="187" y="22"/>
              </a:cxn>
            </a:cxnLst>
            <a:rect l="0" t="0" r="r" b="b"/>
            <a:pathLst>
              <a:path w="248" h="24">
                <a:moveTo>
                  <a:pt x="8" y="0"/>
                </a:moveTo>
                <a:lnTo>
                  <a:pt x="4" y="0"/>
                </a:lnTo>
                <a:lnTo>
                  <a:pt x="2" y="2"/>
                </a:lnTo>
                <a:lnTo>
                  <a:pt x="0" y="4"/>
                </a:lnTo>
                <a:lnTo>
                  <a:pt x="8" y="4"/>
                </a:lnTo>
                <a:lnTo>
                  <a:pt x="9" y="4"/>
                </a:lnTo>
                <a:lnTo>
                  <a:pt x="9" y="5"/>
                </a:lnTo>
                <a:lnTo>
                  <a:pt x="16" y="4"/>
                </a:lnTo>
                <a:lnTo>
                  <a:pt x="17" y="5"/>
                </a:lnTo>
                <a:lnTo>
                  <a:pt x="21" y="4"/>
                </a:lnTo>
                <a:lnTo>
                  <a:pt x="24" y="4"/>
                </a:lnTo>
                <a:lnTo>
                  <a:pt x="26" y="4"/>
                </a:lnTo>
                <a:lnTo>
                  <a:pt x="28" y="2"/>
                </a:lnTo>
                <a:lnTo>
                  <a:pt x="29" y="2"/>
                </a:lnTo>
                <a:lnTo>
                  <a:pt x="29" y="4"/>
                </a:lnTo>
                <a:lnTo>
                  <a:pt x="32" y="4"/>
                </a:lnTo>
                <a:lnTo>
                  <a:pt x="38" y="4"/>
                </a:lnTo>
                <a:lnTo>
                  <a:pt x="30" y="5"/>
                </a:lnTo>
                <a:lnTo>
                  <a:pt x="20" y="7"/>
                </a:lnTo>
                <a:lnTo>
                  <a:pt x="25" y="8"/>
                </a:lnTo>
                <a:lnTo>
                  <a:pt x="45" y="5"/>
                </a:lnTo>
                <a:lnTo>
                  <a:pt x="58" y="4"/>
                </a:lnTo>
                <a:lnTo>
                  <a:pt x="60" y="5"/>
                </a:lnTo>
                <a:lnTo>
                  <a:pt x="68" y="5"/>
                </a:lnTo>
                <a:lnTo>
                  <a:pt x="70" y="5"/>
                </a:lnTo>
                <a:lnTo>
                  <a:pt x="80" y="5"/>
                </a:lnTo>
                <a:lnTo>
                  <a:pt x="82" y="5"/>
                </a:lnTo>
                <a:lnTo>
                  <a:pt x="78" y="7"/>
                </a:lnTo>
                <a:lnTo>
                  <a:pt x="61" y="5"/>
                </a:lnTo>
                <a:lnTo>
                  <a:pt x="58" y="5"/>
                </a:lnTo>
                <a:lnTo>
                  <a:pt x="53" y="5"/>
                </a:lnTo>
                <a:lnTo>
                  <a:pt x="38" y="8"/>
                </a:lnTo>
                <a:lnTo>
                  <a:pt x="33" y="8"/>
                </a:lnTo>
                <a:lnTo>
                  <a:pt x="41" y="10"/>
                </a:lnTo>
                <a:lnTo>
                  <a:pt x="48" y="10"/>
                </a:lnTo>
                <a:lnTo>
                  <a:pt x="45" y="10"/>
                </a:lnTo>
                <a:lnTo>
                  <a:pt x="32" y="11"/>
                </a:lnTo>
                <a:lnTo>
                  <a:pt x="30" y="11"/>
                </a:lnTo>
                <a:lnTo>
                  <a:pt x="30" y="13"/>
                </a:lnTo>
                <a:lnTo>
                  <a:pt x="33" y="15"/>
                </a:lnTo>
                <a:lnTo>
                  <a:pt x="37" y="15"/>
                </a:lnTo>
                <a:lnTo>
                  <a:pt x="42" y="15"/>
                </a:lnTo>
                <a:lnTo>
                  <a:pt x="48" y="13"/>
                </a:lnTo>
                <a:lnTo>
                  <a:pt x="72" y="13"/>
                </a:lnTo>
                <a:lnTo>
                  <a:pt x="83" y="13"/>
                </a:lnTo>
                <a:lnTo>
                  <a:pt x="91" y="11"/>
                </a:lnTo>
                <a:lnTo>
                  <a:pt x="113" y="10"/>
                </a:lnTo>
                <a:lnTo>
                  <a:pt x="111" y="10"/>
                </a:lnTo>
                <a:lnTo>
                  <a:pt x="109" y="11"/>
                </a:lnTo>
                <a:lnTo>
                  <a:pt x="103" y="11"/>
                </a:lnTo>
                <a:lnTo>
                  <a:pt x="93" y="13"/>
                </a:lnTo>
                <a:lnTo>
                  <a:pt x="82" y="15"/>
                </a:lnTo>
                <a:lnTo>
                  <a:pt x="70" y="15"/>
                </a:lnTo>
                <a:lnTo>
                  <a:pt x="62" y="15"/>
                </a:lnTo>
                <a:lnTo>
                  <a:pt x="53" y="15"/>
                </a:lnTo>
                <a:lnTo>
                  <a:pt x="52" y="15"/>
                </a:lnTo>
                <a:lnTo>
                  <a:pt x="42" y="16"/>
                </a:lnTo>
                <a:lnTo>
                  <a:pt x="40" y="16"/>
                </a:lnTo>
                <a:lnTo>
                  <a:pt x="45" y="18"/>
                </a:lnTo>
                <a:lnTo>
                  <a:pt x="49" y="18"/>
                </a:lnTo>
                <a:lnTo>
                  <a:pt x="53" y="19"/>
                </a:lnTo>
                <a:lnTo>
                  <a:pt x="57" y="21"/>
                </a:lnTo>
                <a:lnTo>
                  <a:pt x="65" y="21"/>
                </a:lnTo>
                <a:lnTo>
                  <a:pt x="70" y="22"/>
                </a:lnTo>
                <a:lnTo>
                  <a:pt x="74" y="22"/>
                </a:lnTo>
                <a:lnTo>
                  <a:pt x="77" y="21"/>
                </a:lnTo>
                <a:lnTo>
                  <a:pt x="78" y="21"/>
                </a:lnTo>
                <a:lnTo>
                  <a:pt x="78" y="19"/>
                </a:lnTo>
                <a:lnTo>
                  <a:pt x="81" y="19"/>
                </a:lnTo>
                <a:lnTo>
                  <a:pt x="83" y="18"/>
                </a:lnTo>
                <a:lnTo>
                  <a:pt x="85" y="18"/>
                </a:lnTo>
                <a:lnTo>
                  <a:pt x="87" y="16"/>
                </a:lnTo>
                <a:lnTo>
                  <a:pt x="91" y="16"/>
                </a:lnTo>
                <a:lnTo>
                  <a:pt x="93" y="15"/>
                </a:lnTo>
                <a:lnTo>
                  <a:pt x="98" y="15"/>
                </a:lnTo>
                <a:lnTo>
                  <a:pt x="106" y="15"/>
                </a:lnTo>
                <a:lnTo>
                  <a:pt x="118" y="13"/>
                </a:lnTo>
                <a:lnTo>
                  <a:pt x="122" y="13"/>
                </a:lnTo>
                <a:lnTo>
                  <a:pt x="149" y="13"/>
                </a:lnTo>
                <a:lnTo>
                  <a:pt x="141" y="13"/>
                </a:lnTo>
                <a:lnTo>
                  <a:pt x="131" y="13"/>
                </a:lnTo>
                <a:lnTo>
                  <a:pt x="125" y="15"/>
                </a:lnTo>
                <a:lnTo>
                  <a:pt x="122" y="15"/>
                </a:lnTo>
                <a:lnTo>
                  <a:pt x="117" y="15"/>
                </a:lnTo>
                <a:lnTo>
                  <a:pt x="107" y="15"/>
                </a:lnTo>
                <a:lnTo>
                  <a:pt x="99" y="16"/>
                </a:lnTo>
                <a:lnTo>
                  <a:pt x="97" y="16"/>
                </a:lnTo>
                <a:lnTo>
                  <a:pt x="94" y="16"/>
                </a:lnTo>
                <a:lnTo>
                  <a:pt x="93" y="16"/>
                </a:lnTo>
                <a:lnTo>
                  <a:pt x="93" y="18"/>
                </a:lnTo>
                <a:lnTo>
                  <a:pt x="90" y="18"/>
                </a:lnTo>
                <a:lnTo>
                  <a:pt x="89" y="19"/>
                </a:lnTo>
                <a:lnTo>
                  <a:pt x="87" y="19"/>
                </a:lnTo>
                <a:lnTo>
                  <a:pt x="86" y="21"/>
                </a:lnTo>
                <a:lnTo>
                  <a:pt x="85" y="21"/>
                </a:lnTo>
                <a:lnTo>
                  <a:pt x="83" y="22"/>
                </a:lnTo>
                <a:lnTo>
                  <a:pt x="90" y="22"/>
                </a:lnTo>
                <a:lnTo>
                  <a:pt x="95" y="22"/>
                </a:lnTo>
                <a:lnTo>
                  <a:pt x="97" y="22"/>
                </a:lnTo>
                <a:lnTo>
                  <a:pt x="98" y="22"/>
                </a:lnTo>
                <a:lnTo>
                  <a:pt x="99" y="22"/>
                </a:lnTo>
                <a:lnTo>
                  <a:pt x="102" y="22"/>
                </a:lnTo>
                <a:lnTo>
                  <a:pt x="98" y="22"/>
                </a:lnTo>
                <a:lnTo>
                  <a:pt x="99" y="24"/>
                </a:lnTo>
                <a:lnTo>
                  <a:pt x="105" y="24"/>
                </a:lnTo>
                <a:lnTo>
                  <a:pt x="106" y="24"/>
                </a:lnTo>
                <a:lnTo>
                  <a:pt x="115" y="24"/>
                </a:lnTo>
                <a:lnTo>
                  <a:pt x="117" y="24"/>
                </a:lnTo>
                <a:lnTo>
                  <a:pt x="118" y="22"/>
                </a:lnTo>
                <a:lnTo>
                  <a:pt x="117" y="21"/>
                </a:lnTo>
                <a:lnTo>
                  <a:pt x="122" y="19"/>
                </a:lnTo>
                <a:lnTo>
                  <a:pt x="125" y="18"/>
                </a:lnTo>
                <a:lnTo>
                  <a:pt x="125" y="19"/>
                </a:lnTo>
                <a:lnTo>
                  <a:pt x="123" y="19"/>
                </a:lnTo>
                <a:lnTo>
                  <a:pt x="122" y="19"/>
                </a:lnTo>
                <a:lnTo>
                  <a:pt x="121" y="21"/>
                </a:lnTo>
                <a:lnTo>
                  <a:pt x="123" y="21"/>
                </a:lnTo>
                <a:lnTo>
                  <a:pt x="127" y="21"/>
                </a:lnTo>
                <a:lnTo>
                  <a:pt x="129" y="21"/>
                </a:lnTo>
                <a:lnTo>
                  <a:pt x="134" y="21"/>
                </a:lnTo>
                <a:lnTo>
                  <a:pt x="141" y="19"/>
                </a:lnTo>
                <a:lnTo>
                  <a:pt x="143" y="18"/>
                </a:lnTo>
                <a:lnTo>
                  <a:pt x="141" y="18"/>
                </a:lnTo>
                <a:lnTo>
                  <a:pt x="145" y="16"/>
                </a:lnTo>
                <a:lnTo>
                  <a:pt x="147" y="16"/>
                </a:lnTo>
                <a:lnTo>
                  <a:pt x="146" y="18"/>
                </a:lnTo>
                <a:lnTo>
                  <a:pt x="150" y="18"/>
                </a:lnTo>
                <a:lnTo>
                  <a:pt x="142" y="19"/>
                </a:lnTo>
                <a:lnTo>
                  <a:pt x="141" y="21"/>
                </a:lnTo>
                <a:lnTo>
                  <a:pt x="134" y="21"/>
                </a:lnTo>
                <a:lnTo>
                  <a:pt x="129" y="21"/>
                </a:lnTo>
                <a:lnTo>
                  <a:pt x="127" y="22"/>
                </a:lnTo>
                <a:lnTo>
                  <a:pt x="126" y="22"/>
                </a:lnTo>
                <a:lnTo>
                  <a:pt x="129" y="24"/>
                </a:lnTo>
                <a:lnTo>
                  <a:pt x="130" y="24"/>
                </a:lnTo>
                <a:lnTo>
                  <a:pt x="149" y="22"/>
                </a:lnTo>
                <a:lnTo>
                  <a:pt x="165" y="21"/>
                </a:lnTo>
                <a:lnTo>
                  <a:pt x="179" y="18"/>
                </a:lnTo>
                <a:lnTo>
                  <a:pt x="182" y="18"/>
                </a:lnTo>
                <a:lnTo>
                  <a:pt x="182" y="16"/>
                </a:lnTo>
                <a:lnTo>
                  <a:pt x="185" y="16"/>
                </a:lnTo>
                <a:lnTo>
                  <a:pt x="185" y="15"/>
                </a:lnTo>
                <a:lnTo>
                  <a:pt x="183" y="15"/>
                </a:lnTo>
                <a:lnTo>
                  <a:pt x="182" y="16"/>
                </a:lnTo>
                <a:lnTo>
                  <a:pt x="182" y="15"/>
                </a:lnTo>
                <a:lnTo>
                  <a:pt x="183" y="15"/>
                </a:lnTo>
                <a:lnTo>
                  <a:pt x="185" y="13"/>
                </a:lnTo>
                <a:lnTo>
                  <a:pt x="178" y="11"/>
                </a:lnTo>
                <a:lnTo>
                  <a:pt x="179" y="11"/>
                </a:lnTo>
                <a:lnTo>
                  <a:pt x="181" y="11"/>
                </a:lnTo>
                <a:lnTo>
                  <a:pt x="187" y="13"/>
                </a:lnTo>
                <a:lnTo>
                  <a:pt x="190" y="13"/>
                </a:lnTo>
                <a:lnTo>
                  <a:pt x="189" y="11"/>
                </a:lnTo>
                <a:lnTo>
                  <a:pt x="191" y="11"/>
                </a:lnTo>
                <a:lnTo>
                  <a:pt x="196" y="8"/>
                </a:lnTo>
                <a:lnTo>
                  <a:pt x="215" y="5"/>
                </a:lnTo>
                <a:lnTo>
                  <a:pt x="216" y="5"/>
                </a:lnTo>
                <a:lnTo>
                  <a:pt x="212" y="7"/>
                </a:lnTo>
                <a:lnTo>
                  <a:pt x="200" y="10"/>
                </a:lnTo>
                <a:lnTo>
                  <a:pt x="199" y="10"/>
                </a:lnTo>
                <a:lnTo>
                  <a:pt x="198" y="11"/>
                </a:lnTo>
                <a:lnTo>
                  <a:pt x="195" y="11"/>
                </a:lnTo>
                <a:lnTo>
                  <a:pt x="194" y="11"/>
                </a:lnTo>
                <a:lnTo>
                  <a:pt x="194" y="13"/>
                </a:lnTo>
                <a:lnTo>
                  <a:pt x="187" y="15"/>
                </a:lnTo>
                <a:lnTo>
                  <a:pt x="189" y="16"/>
                </a:lnTo>
                <a:lnTo>
                  <a:pt x="190" y="18"/>
                </a:lnTo>
                <a:lnTo>
                  <a:pt x="211" y="16"/>
                </a:lnTo>
                <a:lnTo>
                  <a:pt x="224" y="16"/>
                </a:lnTo>
                <a:lnTo>
                  <a:pt x="248" y="15"/>
                </a:lnTo>
                <a:lnTo>
                  <a:pt x="244" y="16"/>
                </a:lnTo>
                <a:lnTo>
                  <a:pt x="239" y="16"/>
                </a:lnTo>
                <a:lnTo>
                  <a:pt x="238" y="16"/>
                </a:lnTo>
                <a:lnTo>
                  <a:pt x="235" y="16"/>
                </a:lnTo>
                <a:lnTo>
                  <a:pt x="231" y="16"/>
                </a:lnTo>
                <a:lnTo>
                  <a:pt x="231" y="18"/>
                </a:lnTo>
                <a:lnTo>
                  <a:pt x="232" y="18"/>
                </a:lnTo>
                <a:lnTo>
                  <a:pt x="230" y="18"/>
                </a:lnTo>
                <a:lnTo>
                  <a:pt x="227" y="18"/>
                </a:lnTo>
                <a:lnTo>
                  <a:pt x="220" y="18"/>
                </a:lnTo>
                <a:lnTo>
                  <a:pt x="215" y="18"/>
                </a:lnTo>
                <a:lnTo>
                  <a:pt x="214" y="18"/>
                </a:lnTo>
                <a:lnTo>
                  <a:pt x="212" y="18"/>
                </a:lnTo>
                <a:lnTo>
                  <a:pt x="207" y="18"/>
                </a:lnTo>
                <a:lnTo>
                  <a:pt x="193" y="19"/>
                </a:lnTo>
                <a:lnTo>
                  <a:pt x="186" y="19"/>
                </a:lnTo>
                <a:lnTo>
                  <a:pt x="181" y="21"/>
                </a:lnTo>
                <a:lnTo>
                  <a:pt x="177" y="21"/>
                </a:lnTo>
                <a:lnTo>
                  <a:pt x="174" y="21"/>
                </a:lnTo>
                <a:lnTo>
                  <a:pt x="177" y="22"/>
                </a:lnTo>
                <a:lnTo>
                  <a:pt x="191" y="21"/>
                </a:lnTo>
                <a:lnTo>
                  <a:pt x="194" y="21"/>
                </a:lnTo>
                <a:lnTo>
                  <a:pt x="204" y="21"/>
                </a:lnTo>
                <a:lnTo>
                  <a:pt x="204" y="22"/>
                </a:lnTo>
                <a:lnTo>
                  <a:pt x="203" y="22"/>
                </a:lnTo>
                <a:lnTo>
                  <a:pt x="187" y="22"/>
                </a:lnTo>
                <a:lnTo>
                  <a:pt x="178" y="2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29" name="Freeform 729"/>
          <p:cNvSpPr>
            <a:spLocks/>
          </p:cNvSpPr>
          <p:nvPr/>
        </p:nvSpPr>
        <p:spPr bwMode="auto">
          <a:xfrm>
            <a:off x="3150710" y="1502974"/>
            <a:ext cx="220217" cy="96644"/>
          </a:xfrm>
          <a:custGeom>
            <a:avLst/>
            <a:gdLst/>
            <a:ahLst/>
            <a:cxnLst>
              <a:cxn ang="0">
                <a:pos x="109" y="2"/>
              </a:cxn>
              <a:cxn ang="0">
                <a:pos x="94" y="2"/>
              </a:cxn>
              <a:cxn ang="0">
                <a:pos x="64" y="5"/>
              </a:cxn>
              <a:cxn ang="0">
                <a:pos x="90" y="11"/>
              </a:cxn>
              <a:cxn ang="0">
                <a:pos x="89" y="15"/>
              </a:cxn>
              <a:cxn ang="0">
                <a:pos x="112" y="16"/>
              </a:cxn>
              <a:cxn ang="0">
                <a:pos x="101" y="18"/>
              </a:cxn>
              <a:cxn ang="0">
                <a:pos x="92" y="18"/>
              </a:cxn>
              <a:cxn ang="0">
                <a:pos x="84" y="16"/>
              </a:cxn>
              <a:cxn ang="0">
                <a:pos x="81" y="13"/>
              </a:cxn>
              <a:cxn ang="0">
                <a:pos x="41" y="5"/>
              </a:cxn>
              <a:cxn ang="0">
                <a:pos x="17" y="5"/>
              </a:cxn>
              <a:cxn ang="0">
                <a:pos x="15" y="10"/>
              </a:cxn>
              <a:cxn ang="0">
                <a:pos x="22" y="11"/>
              </a:cxn>
              <a:cxn ang="0">
                <a:pos x="16" y="13"/>
              </a:cxn>
              <a:cxn ang="0">
                <a:pos x="36" y="16"/>
              </a:cxn>
              <a:cxn ang="0">
                <a:pos x="46" y="21"/>
              </a:cxn>
              <a:cxn ang="0">
                <a:pos x="48" y="24"/>
              </a:cxn>
              <a:cxn ang="0">
                <a:pos x="53" y="26"/>
              </a:cxn>
              <a:cxn ang="0">
                <a:pos x="60" y="27"/>
              </a:cxn>
              <a:cxn ang="0">
                <a:pos x="54" y="27"/>
              </a:cxn>
              <a:cxn ang="0">
                <a:pos x="44" y="26"/>
              </a:cxn>
              <a:cxn ang="0">
                <a:pos x="50" y="29"/>
              </a:cxn>
              <a:cxn ang="0">
                <a:pos x="82" y="30"/>
              </a:cxn>
              <a:cxn ang="0">
                <a:pos x="89" y="30"/>
              </a:cxn>
              <a:cxn ang="0">
                <a:pos x="85" y="32"/>
              </a:cxn>
              <a:cxn ang="0">
                <a:pos x="68" y="32"/>
              </a:cxn>
              <a:cxn ang="0">
                <a:pos x="72" y="33"/>
              </a:cxn>
              <a:cxn ang="0">
                <a:pos x="76" y="33"/>
              </a:cxn>
              <a:cxn ang="0">
                <a:pos x="70" y="33"/>
              </a:cxn>
              <a:cxn ang="0">
                <a:pos x="36" y="30"/>
              </a:cxn>
              <a:cxn ang="0">
                <a:pos x="12" y="32"/>
              </a:cxn>
              <a:cxn ang="0">
                <a:pos x="11" y="37"/>
              </a:cxn>
              <a:cxn ang="0">
                <a:pos x="0" y="38"/>
              </a:cxn>
              <a:cxn ang="0">
                <a:pos x="4" y="41"/>
              </a:cxn>
              <a:cxn ang="0">
                <a:pos x="1" y="44"/>
              </a:cxn>
              <a:cxn ang="0">
                <a:pos x="20" y="43"/>
              </a:cxn>
              <a:cxn ang="0">
                <a:pos x="26" y="40"/>
              </a:cxn>
              <a:cxn ang="0">
                <a:pos x="21" y="44"/>
              </a:cxn>
              <a:cxn ang="0">
                <a:pos x="33" y="44"/>
              </a:cxn>
              <a:cxn ang="0">
                <a:pos x="40" y="38"/>
              </a:cxn>
              <a:cxn ang="0">
                <a:pos x="42" y="38"/>
              </a:cxn>
              <a:cxn ang="0">
                <a:pos x="45" y="40"/>
              </a:cxn>
              <a:cxn ang="0">
                <a:pos x="48" y="43"/>
              </a:cxn>
              <a:cxn ang="0">
                <a:pos x="45" y="43"/>
              </a:cxn>
              <a:cxn ang="0">
                <a:pos x="40" y="46"/>
              </a:cxn>
              <a:cxn ang="0">
                <a:pos x="26" y="48"/>
              </a:cxn>
              <a:cxn ang="0">
                <a:pos x="40" y="48"/>
              </a:cxn>
              <a:cxn ang="0">
                <a:pos x="38" y="49"/>
              </a:cxn>
            </a:cxnLst>
            <a:rect l="0" t="0" r="r" b="b"/>
            <a:pathLst>
              <a:path w="114" h="49">
                <a:moveTo>
                  <a:pt x="113" y="0"/>
                </a:moveTo>
                <a:lnTo>
                  <a:pt x="106" y="0"/>
                </a:lnTo>
                <a:lnTo>
                  <a:pt x="104" y="2"/>
                </a:lnTo>
                <a:lnTo>
                  <a:pt x="109" y="2"/>
                </a:lnTo>
                <a:lnTo>
                  <a:pt x="108" y="2"/>
                </a:lnTo>
                <a:lnTo>
                  <a:pt x="104" y="2"/>
                </a:lnTo>
                <a:lnTo>
                  <a:pt x="102" y="2"/>
                </a:lnTo>
                <a:lnTo>
                  <a:pt x="94" y="2"/>
                </a:lnTo>
                <a:lnTo>
                  <a:pt x="86" y="4"/>
                </a:lnTo>
                <a:lnTo>
                  <a:pt x="80" y="4"/>
                </a:lnTo>
                <a:lnTo>
                  <a:pt x="72" y="4"/>
                </a:lnTo>
                <a:lnTo>
                  <a:pt x="64" y="5"/>
                </a:lnTo>
                <a:lnTo>
                  <a:pt x="77" y="8"/>
                </a:lnTo>
                <a:lnTo>
                  <a:pt x="77" y="10"/>
                </a:lnTo>
                <a:lnTo>
                  <a:pt x="78" y="10"/>
                </a:lnTo>
                <a:lnTo>
                  <a:pt x="90" y="11"/>
                </a:lnTo>
                <a:lnTo>
                  <a:pt x="86" y="13"/>
                </a:lnTo>
                <a:lnTo>
                  <a:pt x="88" y="13"/>
                </a:lnTo>
                <a:lnTo>
                  <a:pt x="88" y="15"/>
                </a:lnTo>
                <a:lnTo>
                  <a:pt x="89" y="15"/>
                </a:lnTo>
                <a:lnTo>
                  <a:pt x="90" y="16"/>
                </a:lnTo>
                <a:lnTo>
                  <a:pt x="97" y="16"/>
                </a:lnTo>
                <a:lnTo>
                  <a:pt x="101" y="18"/>
                </a:lnTo>
                <a:lnTo>
                  <a:pt x="112" y="16"/>
                </a:lnTo>
                <a:lnTo>
                  <a:pt x="114" y="16"/>
                </a:lnTo>
                <a:lnTo>
                  <a:pt x="110" y="16"/>
                </a:lnTo>
                <a:lnTo>
                  <a:pt x="102" y="18"/>
                </a:lnTo>
                <a:lnTo>
                  <a:pt x="101" y="18"/>
                </a:lnTo>
                <a:lnTo>
                  <a:pt x="101" y="19"/>
                </a:lnTo>
                <a:lnTo>
                  <a:pt x="102" y="19"/>
                </a:lnTo>
                <a:lnTo>
                  <a:pt x="101" y="19"/>
                </a:lnTo>
                <a:lnTo>
                  <a:pt x="92" y="18"/>
                </a:lnTo>
                <a:lnTo>
                  <a:pt x="89" y="18"/>
                </a:lnTo>
                <a:lnTo>
                  <a:pt x="86" y="18"/>
                </a:lnTo>
                <a:lnTo>
                  <a:pt x="85" y="16"/>
                </a:lnTo>
                <a:lnTo>
                  <a:pt x="84" y="16"/>
                </a:lnTo>
                <a:lnTo>
                  <a:pt x="82" y="16"/>
                </a:lnTo>
                <a:lnTo>
                  <a:pt x="82" y="15"/>
                </a:lnTo>
                <a:lnTo>
                  <a:pt x="81" y="15"/>
                </a:lnTo>
                <a:lnTo>
                  <a:pt x="81" y="13"/>
                </a:lnTo>
                <a:lnTo>
                  <a:pt x="54" y="7"/>
                </a:lnTo>
                <a:lnTo>
                  <a:pt x="52" y="5"/>
                </a:lnTo>
                <a:lnTo>
                  <a:pt x="46" y="5"/>
                </a:lnTo>
                <a:lnTo>
                  <a:pt x="41" y="5"/>
                </a:lnTo>
                <a:lnTo>
                  <a:pt x="38" y="5"/>
                </a:lnTo>
                <a:lnTo>
                  <a:pt x="28" y="4"/>
                </a:lnTo>
                <a:lnTo>
                  <a:pt x="20" y="4"/>
                </a:lnTo>
                <a:lnTo>
                  <a:pt x="17" y="5"/>
                </a:lnTo>
                <a:lnTo>
                  <a:pt x="16" y="5"/>
                </a:lnTo>
                <a:lnTo>
                  <a:pt x="15" y="7"/>
                </a:lnTo>
                <a:lnTo>
                  <a:pt x="13" y="8"/>
                </a:lnTo>
                <a:lnTo>
                  <a:pt x="15" y="10"/>
                </a:lnTo>
                <a:lnTo>
                  <a:pt x="30" y="11"/>
                </a:lnTo>
                <a:lnTo>
                  <a:pt x="33" y="11"/>
                </a:lnTo>
                <a:lnTo>
                  <a:pt x="32" y="11"/>
                </a:lnTo>
                <a:lnTo>
                  <a:pt x="22" y="11"/>
                </a:lnTo>
                <a:lnTo>
                  <a:pt x="20" y="10"/>
                </a:lnTo>
                <a:lnTo>
                  <a:pt x="17" y="10"/>
                </a:lnTo>
                <a:lnTo>
                  <a:pt x="16" y="10"/>
                </a:lnTo>
                <a:lnTo>
                  <a:pt x="16" y="13"/>
                </a:lnTo>
                <a:lnTo>
                  <a:pt x="18" y="15"/>
                </a:lnTo>
                <a:lnTo>
                  <a:pt x="25" y="15"/>
                </a:lnTo>
                <a:lnTo>
                  <a:pt x="29" y="15"/>
                </a:lnTo>
                <a:lnTo>
                  <a:pt x="36" y="16"/>
                </a:lnTo>
                <a:lnTo>
                  <a:pt x="37" y="16"/>
                </a:lnTo>
                <a:lnTo>
                  <a:pt x="38" y="18"/>
                </a:lnTo>
                <a:lnTo>
                  <a:pt x="40" y="19"/>
                </a:lnTo>
                <a:lnTo>
                  <a:pt x="46" y="21"/>
                </a:lnTo>
                <a:lnTo>
                  <a:pt x="46" y="22"/>
                </a:lnTo>
                <a:lnTo>
                  <a:pt x="48" y="22"/>
                </a:lnTo>
                <a:lnTo>
                  <a:pt x="46" y="24"/>
                </a:lnTo>
                <a:lnTo>
                  <a:pt x="48" y="24"/>
                </a:lnTo>
                <a:lnTo>
                  <a:pt x="49" y="26"/>
                </a:lnTo>
                <a:lnTo>
                  <a:pt x="53" y="24"/>
                </a:lnTo>
                <a:lnTo>
                  <a:pt x="54" y="24"/>
                </a:lnTo>
                <a:lnTo>
                  <a:pt x="53" y="26"/>
                </a:lnTo>
                <a:lnTo>
                  <a:pt x="56" y="26"/>
                </a:lnTo>
                <a:lnTo>
                  <a:pt x="58" y="26"/>
                </a:lnTo>
                <a:lnTo>
                  <a:pt x="58" y="27"/>
                </a:lnTo>
                <a:lnTo>
                  <a:pt x="60" y="27"/>
                </a:lnTo>
                <a:lnTo>
                  <a:pt x="64" y="27"/>
                </a:lnTo>
                <a:lnTo>
                  <a:pt x="62" y="29"/>
                </a:lnTo>
                <a:lnTo>
                  <a:pt x="57" y="29"/>
                </a:lnTo>
                <a:lnTo>
                  <a:pt x="54" y="27"/>
                </a:lnTo>
                <a:lnTo>
                  <a:pt x="50" y="27"/>
                </a:lnTo>
                <a:lnTo>
                  <a:pt x="46" y="27"/>
                </a:lnTo>
                <a:lnTo>
                  <a:pt x="45" y="26"/>
                </a:lnTo>
                <a:lnTo>
                  <a:pt x="44" y="26"/>
                </a:lnTo>
                <a:lnTo>
                  <a:pt x="41" y="27"/>
                </a:lnTo>
                <a:lnTo>
                  <a:pt x="42" y="27"/>
                </a:lnTo>
                <a:lnTo>
                  <a:pt x="45" y="29"/>
                </a:lnTo>
                <a:lnTo>
                  <a:pt x="50" y="29"/>
                </a:lnTo>
                <a:lnTo>
                  <a:pt x="66" y="30"/>
                </a:lnTo>
                <a:lnTo>
                  <a:pt x="73" y="30"/>
                </a:lnTo>
                <a:lnTo>
                  <a:pt x="81" y="30"/>
                </a:lnTo>
                <a:lnTo>
                  <a:pt x="82" y="30"/>
                </a:lnTo>
                <a:lnTo>
                  <a:pt x="85" y="30"/>
                </a:lnTo>
                <a:lnTo>
                  <a:pt x="89" y="29"/>
                </a:lnTo>
                <a:lnTo>
                  <a:pt x="92" y="29"/>
                </a:lnTo>
                <a:lnTo>
                  <a:pt x="89" y="30"/>
                </a:lnTo>
                <a:lnTo>
                  <a:pt x="88" y="30"/>
                </a:lnTo>
                <a:lnTo>
                  <a:pt x="89" y="30"/>
                </a:lnTo>
                <a:lnTo>
                  <a:pt x="86" y="32"/>
                </a:lnTo>
                <a:lnTo>
                  <a:pt x="85" y="32"/>
                </a:lnTo>
                <a:lnTo>
                  <a:pt x="84" y="32"/>
                </a:lnTo>
                <a:lnTo>
                  <a:pt x="81" y="32"/>
                </a:lnTo>
                <a:lnTo>
                  <a:pt x="78" y="32"/>
                </a:lnTo>
                <a:lnTo>
                  <a:pt x="68" y="32"/>
                </a:lnTo>
                <a:lnTo>
                  <a:pt x="65" y="32"/>
                </a:lnTo>
                <a:lnTo>
                  <a:pt x="66" y="32"/>
                </a:lnTo>
                <a:lnTo>
                  <a:pt x="69" y="33"/>
                </a:lnTo>
                <a:lnTo>
                  <a:pt x="72" y="33"/>
                </a:lnTo>
                <a:lnTo>
                  <a:pt x="73" y="33"/>
                </a:lnTo>
                <a:lnTo>
                  <a:pt x="81" y="33"/>
                </a:lnTo>
                <a:lnTo>
                  <a:pt x="80" y="33"/>
                </a:lnTo>
                <a:lnTo>
                  <a:pt x="76" y="33"/>
                </a:lnTo>
                <a:lnTo>
                  <a:pt x="80" y="37"/>
                </a:lnTo>
                <a:lnTo>
                  <a:pt x="74" y="35"/>
                </a:lnTo>
                <a:lnTo>
                  <a:pt x="73" y="35"/>
                </a:lnTo>
                <a:lnTo>
                  <a:pt x="70" y="33"/>
                </a:lnTo>
                <a:lnTo>
                  <a:pt x="68" y="33"/>
                </a:lnTo>
                <a:lnTo>
                  <a:pt x="56" y="30"/>
                </a:lnTo>
                <a:lnTo>
                  <a:pt x="44" y="30"/>
                </a:lnTo>
                <a:lnTo>
                  <a:pt x="36" y="30"/>
                </a:lnTo>
                <a:lnTo>
                  <a:pt x="33" y="30"/>
                </a:lnTo>
                <a:lnTo>
                  <a:pt x="32" y="30"/>
                </a:lnTo>
                <a:lnTo>
                  <a:pt x="13" y="32"/>
                </a:lnTo>
                <a:lnTo>
                  <a:pt x="12" y="32"/>
                </a:lnTo>
                <a:lnTo>
                  <a:pt x="9" y="33"/>
                </a:lnTo>
                <a:lnTo>
                  <a:pt x="8" y="35"/>
                </a:lnTo>
                <a:lnTo>
                  <a:pt x="7" y="35"/>
                </a:lnTo>
                <a:lnTo>
                  <a:pt x="11" y="37"/>
                </a:lnTo>
                <a:lnTo>
                  <a:pt x="9" y="37"/>
                </a:lnTo>
                <a:lnTo>
                  <a:pt x="4" y="37"/>
                </a:lnTo>
                <a:lnTo>
                  <a:pt x="1" y="37"/>
                </a:lnTo>
                <a:lnTo>
                  <a:pt x="0" y="38"/>
                </a:lnTo>
                <a:lnTo>
                  <a:pt x="1" y="40"/>
                </a:lnTo>
                <a:lnTo>
                  <a:pt x="1" y="41"/>
                </a:lnTo>
                <a:lnTo>
                  <a:pt x="1" y="43"/>
                </a:lnTo>
                <a:lnTo>
                  <a:pt x="4" y="41"/>
                </a:lnTo>
                <a:lnTo>
                  <a:pt x="8" y="43"/>
                </a:lnTo>
                <a:lnTo>
                  <a:pt x="4" y="43"/>
                </a:lnTo>
                <a:lnTo>
                  <a:pt x="3" y="43"/>
                </a:lnTo>
                <a:lnTo>
                  <a:pt x="1" y="44"/>
                </a:lnTo>
                <a:lnTo>
                  <a:pt x="9" y="44"/>
                </a:lnTo>
                <a:lnTo>
                  <a:pt x="16" y="43"/>
                </a:lnTo>
                <a:lnTo>
                  <a:pt x="18" y="43"/>
                </a:lnTo>
                <a:lnTo>
                  <a:pt x="20" y="43"/>
                </a:lnTo>
                <a:lnTo>
                  <a:pt x="21" y="41"/>
                </a:lnTo>
                <a:lnTo>
                  <a:pt x="22" y="41"/>
                </a:lnTo>
                <a:lnTo>
                  <a:pt x="22" y="40"/>
                </a:lnTo>
                <a:lnTo>
                  <a:pt x="26" y="40"/>
                </a:lnTo>
                <a:lnTo>
                  <a:pt x="24" y="41"/>
                </a:lnTo>
                <a:lnTo>
                  <a:pt x="20" y="43"/>
                </a:lnTo>
                <a:lnTo>
                  <a:pt x="21" y="43"/>
                </a:lnTo>
                <a:lnTo>
                  <a:pt x="21" y="44"/>
                </a:lnTo>
                <a:lnTo>
                  <a:pt x="22" y="44"/>
                </a:lnTo>
                <a:lnTo>
                  <a:pt x="30" y="44"/>
                </a:lnTo>
                <a:lnTo>
                  <a:pt x="32" y="44"/>
                </a:lnTo>
                <a:lnTo>
                  <a:pt x="33" y="44"/>
                </a:lnTo>
                <a:lnTo>
                  <a:pt x="37" y="41"/>
                </a:lnTo>
                <a:lnTo>
                  <a:pt x="38" y="41"/>
                </a:lnTo>
                <a:lnTo>
                  <a:pt x="40" y="40"/>
                </a:lnTo>
                <a:lnTo>
                  <a:pt x="40" y="38"/>
                </a:lnTo>
                <a:lnTo>
                  <a:pt x="41" y="38"/>
                </a:lnTo>
                <a:lnTo>
                  <a:pt x="42" y="37"/>
                </a:lnTo>
                <a:lnTo>
                  <a:pt x="44" y="35"/>
                </a:lnTo>
                <a:lnTo>
                  <a:pt x="42" y="38"/>
                </a:lnTo>
                <a:lnTo>
                  <a:pt x="41" y="40"/>
                </a:lnTo>
                <a:lnTo>
                  <a:pt x="42" y="40"/>
                </a:lnTo>
                <a:lnTo>
                  <a:pt x="44" y="40"/>
                </a:lnTo>
                <a:lnTo>
                  <a:pt x="45" y="40"/>
                </a:lnTo>
                <a:lnTo>
                  <a:pt x="41" y="41"/>
                </a:lnTo>
                <a:lnTo>
                  <a:pt x="41" y="43"/>
                </a:lnTo>
                <a:lnTo>
                  <a:pt x="45" y="43"/>
                </a:lnTo>
                <a:lnTo>
                  <a:pt x="48" y="43"/>
                </a:lnTo>
                <a:lnTo>
                  <a:pt x="50" y="43"/>
                </a:lnTo>
                <a:lnTo>
                  <a:pt x="53" y="43"/>
                </a:lnTo>
                <a:lnTo>
                  <a:pt x="52" y="44"/>
                </a:lnTo>
                <a:lnTo>
                  <a:pt x="45" y="43"/>
                </a:lnTo>
                <a:lnTo>
                  <a:pt x="38" y="43"/>
                </a:lnTo>
                <a:lnTo>
                  <a:pt x="37" y="44"/>
                </a:lnTo>
                <a:lnTo>
                  <a:pt x="36" y="44"/>
                </a:lnTo>
                <a:lnTo>
                  <a:pt x="40" y="46"/>
                </a:lnTo>
                <a:lnTo>
                  <a:pt x="37" y="46"/>
                </a:lnTo>
                <a:lnTo>
                  <a:pt x="33" y="46"/>
                </a:lnTo>
                <a:lnTo>
                  <a:pt x="32" y="46"/>
                </a:lnTo>
                <a:lnTo>
                  <a:pt x="26" y="48"/>
                </a:lnTo>
                <a:lnTo>
                  <a:pt x="28" y="48"/>
                </a:lnTo>
                <a:lnTo>
                  <a:pt x="29" y="48"/>
                </a:lnTo>
                <a:lnTo>
                  <a:pt x="33" y="48"/>
                </a:lnTo>
                <a:lnTo>
                  <a:pt x="40" y="48"/>
                </a:lnTo>
                <a:lnTo>
                  <a:pt x="41" y="48"/>
                </a:lnTo>
                <a:lnTo>
                  <a:pt x="42" y="48"/>
                </a:lnTo>
                <a:lnTo>
                  <a:pt x="41" y="48"/>
                </a:lnTo>
                <a:lnTo>
                  <a:pt x="38" y="49"/>
                </a:lnTo>
                <a:lnTo>
                  <a:pt x="38" y="48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30" name="Freeform 730"/>
          <p:cNvSpPr>
            <a:spLocks/>
          </p:cNvSpPr>
          <p:nvPr/>
        </p:nvSpPr>
        <p:spPr bwMode="auto">
          <a:xfrm>
            <a:off x="3094196" y="1591027"/>
            <a:ext cx="335195" cy="66576"/>
          </a:xfrm>
          <a:custGeom>
            <a:avLst/>
            <a:gdLst/>
            <a:ahLst/>
            <a:cxnLst>
              <a:cxn ang="0">
                <a:pos x="63" y="5"/>
              </a:cxn>
              <a:cxn ang="0">
                <a:pos x="65" y="8"/>
              </a:cxn>
              <a:cxn ang="0">
                <a:pos x="72" y="8"/>
              </a:cxn>
              <a:cxn ang="0">
                <a:pos x="87" y="10"/>
              </a:cxn>
              <a:cxn ang="0">
                <a:pos x="99" y="5"/>
              </a:cxn>
              <a:cxn ang="0">
                <a:pos x="104" y="2"/>
              </a:cxn>
              <a:cxn ang="0">
                <a:pos x="105" y="4"/>
              </a:cxn>
              <a:cxn ang="0">
                <a:pos x="95" y="10"/>
              </a:cxn>
              <a:cxn ang="0">
                <a:pos x="87" y="13"/>
              </a:cxn>
              <a:cxn ang="0">
                <a:pos x="79" y="15"/>
              </a:cxn>
              <a:cxn ang="0">
                <a:pos x="60" y="11"/>
              </a:cxn>
              <a:cxn ang="0">
                <a:pos x="55" y="8"/>
              </a:cxn>
              <a:cxn ang="0">
                <a:pos x="34" y="4"/>
              </a:cxn>
              <a:cxn ang="0">
                <a:pos x="19" y="5"/>
              </a:cxn>
              <a:cxn ang="0">
                <a:pos x="20" y="8"/>
              </a:cxn>
              <a:cxn ang="0">
                <a:pos x="28" y="13"/>
              </a:cxn>
              <a:cxn ang="0">
                <a:pos x="40" y="15"/>
              </a:cxn>
              <a:cxn ang="0">
                <a:pos x="36" y="16"/>
              </a:cxn>
              <a:cxn ang="0">
                <a:pos x="40" y="18"/>
              </a:cxn>
              <a:cxn ang="0">
                <a:pos x="30" y="18"/>
              </a:cxn>
              <a:cxn ang="0">
                <a:pos x="20" y="18"/>
              </a:cxn>
              <a:cxn ang="0">
                <a:pos x="14" y="19"/>
              </a:cxn>
              <a:cxn ang="0">
                <a:pos x="2" y="26"/>
              </a:cxn>
              <a:cxn ang="0">
                <a:pos x="8" y="30"/>
              </a:cxn>
              <a:cxn ang="0">
                <a:pos x="15" y="27"/>
              </a:cxn>
              <a:cxn ang="0">
                <a:pos x="16" y="27"/>
              </a:cxn>
              <a:cxn ang="0">
                <a:pos x="28" y="30"/>
              </a:cxn>
              <a:cxn ang="0">
                <a:pos x="35" y="30"/>
              </a:cxn>
              <a:cxn ang="0">
                <a:pos x="44" y="29"/>
              </a:cxn>
              <a:cxn ang="0">
                <a:pos x="44" y="30"/>
              </a:cxn>
              <a:cxn ang="0">
                <a:pos x="44" y="27"/>
              </a:cxn>
              <a:cxn ang="0">
                <a:pos x="44" y="32"/>
              </a:cxn>
              <a:cxn ang="0">
                <a:pos x="63" y="33"/>
              </a:cxn>
              <a:cxn ang="0">
                <a:pos x="71" y="30"/>
              </a:cxn>
              <a:cxn ang="0">
                <a:pos x="85" y="29"/>
              </a:cxn>
              <a:cxn ang="0">
                <a:pos x="92" y="26"/>
              </a:cxn>
              <a:cxn ang="0">
                <a:pos x="103" y="30"/>
              </a:cxn>
              <a:cxn ang="0">
                <a:pos x="107" y="26"/>
              </a:cxn>
              <a:cxn ang="0">
                <a:pos x="116" y="29"/>
              </a:cxn>
              <a:cxn ang="0">
                <a:pos x="131" y="30"/>
              </a:cxn>
              <a:cxn ang="0">
                <a:pos x="129" y="35"/>
              </a:cxn>
              <a:cxn ang="0">
                <a:pos x="160" y="27"/>
              </a:cxn>
              <a:cxn ang="0">
                <a:pos x="174" y="27"/>
              </a:cxn>
              <a:cxn ang="0">
                <a:pos x="172" y="21"/>
              </a:cxn>
              <a:cxn ang="0">
                <a:pos x="159" y="22"/>
              </a:cxn>
              <a:cxn ang="0">
                <a:pos x="159" y="19"/>
              </a:cxn>
              <a:cxn ang="0">
                <a:pos x="149" y="16"/>
              </a:cxn>
              <a:cxn ang="0">
                <a:pos x="143" y="16"/>
              </a:cxn>
              <a:cxn ang="0">
                <a:pos x="116" y="18"/>
              </a:cxn>
            </a:cxnLst>
            <a:rect l="0" t="0" r="r" b="b"/>
            <a:pathLst>
              <a:path w="176" h="35">
                <a:moveTo>
                  <a:pt x="69" y="4"/>
                </a:moveTo>
                <a:lnTo>
                  <a:pt x="68" y="4"/>
                </a:lnTo>
                <a:lnTo>
                  <a:pt x="64" y="5"/>
                </a:lnTo>
                <a:lnTo>
                  <a:pt x="63" y="5"/>
                </a:lnTo>
                <a:lnTo>
                  <a:pt x="68" y="5"/>
                </a:lnTo>
                <a:lnTo>
                  <a:pt x="65" y="5"/>
                </a:lnTo>
                <a:lnTo>
                  <a:pt x="65" y="7"/>
                </a:lnTo>
                <a:lnTo>
                  <a:pt x="65" y="8"/>
                </a:lnTo>
                <a:lnTo>
                  <a:pt x="71" y="8"/>
                </a:lnTo>
                <a:lnTo>
                  <a:pt x="73" y="7"/>
                </a:lnTo>
                <a:lnTo>
                  <a:pt x="75" y="7"/>
                </a:lnTo>
                <a:lnTo>
                  <a:pt x="72" y="8"/>
                </a:lnTo>
                <a:lnTo>
                  <a:pt x="72" y="10"/>
                </a:lnTo>
                <a:lnTo>
                  <a:pt x="77" y="10"/>
                </a:lnTo>
                <a:lnTo>
                  <a:pt x="81" y="10"/>
                </a:lnTo>
                <a:lnTo>
                  <a:pt x="87" y="10"/>
                </a:lnTo>
                <a:lnTo>
                  <a:pt x="92" y="10"/>
                </a:lnTo>
                <a:lnTo>
                  <a:pt x="95" y="8"/>
                </a:lnTo>
                <a:lnTo>
                  <a:pt x="97" y="7"/>
                </a:lnTo>
                <a:lnTo>
                  <a:pt x="99" y="5"/>
                </a:lnTo>
                <a:lnTo>
                  <a:pt x="101" y="5"/>
                </a:lnTo>
                <a:lnTo>
                  <a:pt x="103" y="4"/>
                </a:lnTo>
                <a:lnTo>
                  <a:pt x="103" y="2"/>
                </a:lnTo>
                <a:lnTo>
                  <a:pt x="104" y="2"/>
                </a:lnTo>
                <a:lnTo>
                  <a:pt x="105" y="0"/>
                </a:lnTo>
                <a:lnTo>
                  <a:pt x="109" y="2"/>
                </a:lnTo>
                <a:lnTo>
                  <a:pt x="105" y="2"/>
                </a:lnTo>
                <a:lnTo>
                  <a:pt x="105" y="4"/>
                </a:lnTo>
                <a:lnTo>
                  <a:pt x="104" y="5"/>
                </a:lnTo>
                <a:lnTo>
                  <a:pt x="101" y="7"/>
                </a:lnTo>
                <a:lnTo>
                  <a:pt x="100" y="8"/>
                </a:lnTo>
                <a:lnTo>
                  <a:pt x="95" y="10"/>
                </a:lnTo>
                <a:lnTo>
                  <a:pt x="89" y="11"/>
                </a:lnTo>
                <a:lnTo>
                  <a:pt x="92" y="13"/>
                </a:lnTo>
                <a:lnTo>
                  <a:pt x="91" y="13"/>
                </a:lnTo>
                <a:lnTo>
                  <a:pt x="87" y="13"/>
                </a:lnTo>
                <a:lnTo>
                  <a:pt x="84" y="11"/>
                </a:lnTo>
                <a:lnTo>
                  <a:pt x="77" y="13"/>
                </a:lnTo>
                <a:lnTo>
                  <a:pt x="79" y="13"/>
                </a:lnTo>
                <a:lnTo>
                  <a:pt x="79" y="15"/>
                </a:lnTo>
                <a:lnTo>
                  <a:pt x="76" y="15"/>
                </a:lnTo>
                <a:lnTo>
                  <a:pt x="71" y="13"/>
                </a:lnTo>
                <a:lnTo>
                  <a:pt x="64" y="13"/>
                </a:lnTo>
                <a:lnTo>
                  <a:pt x="60" y="11"/>
                </a:lnTo>
                <a:lnTo>
                  <a:pt x="59" y="11"/>
                </a:lnTo>
                <a:lnTo>
                  <a:pt x="57" y="11"/>
                </a:lnTo>
                <a:lnTo>
                  <a:pt x="57" y="10"/>
                </a:lnTo>
                <a:lnTo>
                  <a:pt x="55" y="8"/>
                </a:lnTo>
                <a:lnTo>
                  <a:pt x="53" y="8"/>
                </a:lnTo>
                <a:lnTo>
                  <a:pt x="52" y="7"/>
                </a:lnTo>
                <a:lnTo>
                  <a:pt x="47" y="5"/>
                </a:lnTo>
                <a:lnTo>
                  <a:pt x="34" y="4"/>
                </a:lnTo>
                <a:lnTo>
                  <a:pt x="24" y="5"/>
                </a:lnTo>
                <a:lnTo>
                  <a:pt x="23" y="5"/>
                </a:lnTo>
                <a:lnTo>
                  <a:pt x="22" y="5"/>
                </a:lnTo>
                <a:lnTo>
                  <a:pt x="19" y="5"/>
                </a:lnTo>
                <a:lnTo>
                  <a:pt x="20" y="7"/>
                </a:lnTo>
                <a:lnTo>
                  <a:pt x="19" y="7"/>
                </a:lnTo>
                <a:lnTo>
                  <a:pt x="20" y="7"/>
                </a:lnTo>
                <a:lnTo>
                  <a:pt x="20" y="8"/>
                </a:lnTo>
                <a:lnTo>
                  <a:pt x="24" y="10"/>
                </a:lnTo>
                <a:lnTo>
                  <a:pt x="28" y="11"/>
                </a:lnTo>
                <a:lnTo>
                  <a:pt x="27" y="13"/>
                </a:lnTo>
                <a:lnTo>
                  <a:pt x="28" y="13"/>
                </a:lnTo>
                <a:lnTo>
                  <a:pt x="34" y="15"/>
                </a:lnTo>
                <a:lnTo>
                  <a:pt x="36" y="13"/>
                </a:lnTo>
                <a:lnTo>
                  <a:pt x="40" y="13"/>
                </a:lnTo>
                <a:lnTo>
                  <a:pt x="40" y="15"/>
                </a:lnTo>
                <a:lnTo>
                  <a:pt x="35" y="15"/>
                </a:lnTo>
                <a:lnTo>
                  <a:pt x="39" y="15"/>
                </a:lnTo>
                <a:lnTo>
                  <a:pt x="39" y="16"/>
                </a:lnTo>
                <a:lnTo>
                  <a:pt x="36" y="16"/>
                </a:lnTo>
                <a:lnTo>
                  <a:pt x="38" y="16"/>
                </a:lnTo>
                <a:lnTo>
                  <a:pt x="43" y="16"/>
                </a:lnTo>
                <a:lnTo>
                  <a:pt x="42" y="18"/>
                </a:lnTo>
                <a:lnTo>
                  <a:pt x="40" y="18"/>
                </a:lnTo>
                <a:lnTo>
                  <a:pt x="38" y="18"/>
                </a:lnTo>
                <a:lnTo>
                  <a:pt x="38" y="16"/>
                </a:lnTo>
                <a:lnTo>
                  <a:pt x="32" y="18"/>
                </a:lnTo>
                <a:lnTo>
                  <a:pt x="30" y="18"/>
                </a:lnTo>
                <a:lnTo>
                  <a:pt x="28" y="18"/>
                </a:lnTo>
                <a:lnTo>
                  <a:pt x="26" y="19"/>
                </a:lnTo>
                <a:lnTo>
                  <a:pt x="24" y="18"/>
                </a:lnTo>
                <a:lnTo>
                  <a:pt x="20" y="18"/>
                </a:lnTo>
                <a:lnTo>
                  <a:pt x="19" y="18"/>
                </a:lnTo>
                <a:lnTo>
                  <a:pt x="19" y="19"/>
                </a:lnTo>
                <a:lnTo>
                  <a:pt x="16" y="19"/>
                </a:lnTo>
                <a:lnTo>
                  <a:pt x="14" y="19"/>
                </a:lnTo>
                <a:lnTo>
                  <a:pt x="12" y="21"/>
                </a:lnTo>
                <a:lnTo>
                  <a:pt x="3" y="22"/>
                </a:lnTo>
                <a:lnTo>
                  <a:pt x="2" y="24"/>
                </a:lnTo>
                <a:lnTo>
                  <a:pt x="2" y="26"/>
                </a:lnTo>
                <a:lnTo>
                  <a:pt x="2" y="27"/>
                </a:lnTo>
                <a:lnTo>
                  <a:pt x="0" y="27"/>
                </a:lnTo>
                <a:lnTo>
                  <a:pt x="6" y="30"/>
                </a:lnTo>
                <a:lnTo>
                  <a:pt x="8" y="30"/>
                </a:lnTo>
                <a:lnTo>
                  <a:pt x="11" y="29"/>
                </a:lnTo>
                <a:lnTo>
                  <a:pt x="12" y="27"/>
                </a:lnTo>
                <a:lnTo>
                  <a:pt x="14" y="30"/>
                </a:lnTo>
                <a:lnTo>
                  <a:pt x="15" y="27"/>
                </a:lnTo>
                <a:lnTo>
                  <a:pt x="14" y="24"/>
                </a:lnTo>
                <a:lnTo>
                  <a:pt x="15" y="24"/>
                </a:lnTo>
                <a:lnTo>
                  <a:pt x="16" y="26"/>
                </a:lnTo>
                <a:lnTo>
                  <a:pt x="16" y="27"/>
                </a:lnTo>
                <a:lnTo>
                  <a:pt x="16" y="30"/>
                </a:lnTo>
                <a:lnTo>
                  <a:pt x="22" y="30"/>
                </a:lnTo>
                <a:lnTo>
                  <a:pt x="23" y="32"/>
                </a:lnTo>
                <a:lnTo>
                  <a:pt x="28" y="30"/>
                </a:lnTo>
                <a:lnTo>
                  <a:pt x="30" y="30"/>
                </a:lnTo>
                <a:lnTo>
                  <a:pt x="28" y="27"/>
                </a:lnTo>
                <a:lnTo>
                  <a:pt x="31" y="29"/>
                </a:lnTo>
                <a:lnTo>
                  <a:pt x="35" y="30"/>
                </a:lnTo>
                <a:lnTo>
                  <a:pt x="36" y="30"/>
                </a:lnTo>
                <a:lnTo>
                  <a:pt x="40" y="32"/>
                </a:lnTo>
                <a:lnTo>
                  <a:pt x="40" y="30"/>
                </a:lnTo>
                <a:lnTo>
                  <a:pt x="44" y="29"/>
                </a:lnTo>
                <a:lnTo>
                  <a:pt x="44" y="27"/>
                </a:lnTo>
                <a:lnTo>
                  <a:pt x="46" y="27"/>
                </a:lnTo>
                <a:lnTo>
                  <a:pt x="46" y="29"/>
                </a:lnTo>
                <a:lnTo>
                  <a:pt x="44" y="30"/>
                </a:lnTo>
                <a:lnTo>
                  <a:pt x="44" y="32"/>
                </a:lnTo>
                <a:lnTo>
                  <a:pt x="52" y="32"/>
                </a:lnTo>
                <a:lnTo>
                  <a:pt x="44" y="29"/>
                </a:lnTo>
                <a:lnTo>
                  <a:pt x="44" y="27"/>
                </a:lnTo>
                <a:lnTo>
                  <a:pt x="46" y="27"/>
                </a:lnTo>
                <a:lnTo>
                  <a:pt x="46" y="29"/>
                </a:lnTo>
                <a:lnTo>
                  <a:pt x="44" y="30"/>
                </a:lnTo>
                <a:lnTo>
                  <a:pt x="44" y="32"/>
                </a:lnTo>
                <a:lnTo>
                  <a:pt x="52" y="32"/>
                </a:lnTo>
                <a:lnTo>
                  <a:pt x="56" y="32"/>
                </a:lnTo>
                <a:lnTo>
                  <a:pt x="63" y="32"/>
                </a:lnTo>
                <a:lnTo>
                  <a:pt x="63" y="33"/>
                </a:lnTo>
                <a:lnTo>
                  <a:pt x="76" y="33"/>
                </a:lnTo>
                <a:lnTo>
                  <a:pt x="67" y="29"/>
                </a:lnTo>
                <a:lnTo>
                  <a:pt x="67" y="27"/>
                </a:lnTo>
                <a:lnTo>
                  <a:pt x="71" y="30"/>
                </a:lnTo>
                <a:lnTo>
                  <a:pt x="75" y="30"/>
                </a:lnTo>
                <a:lnTo>
                  <a:pt x="79" y="29"/>
                </a:lnTo>
                <a:lnTo>
                  <a:pt x="79" y="27"/>
                </a:lnTo>
                <a:lnTo>
                  <a:pt x="85" y="29"/>
                </a:lnTo>
                <a:lnTo>
                  <a:pt x="91" y="30"/>
                </a:lnTo>
                <a:lnTo>
                  <a:pt x="95" y="30"/>
                </a:lnTo>
                <a:lnTo>
                  <a:pt x="95" y="27"/>
                </a:lnTo>
                <a:lnTo>
                  <a:pt x="92" y="26"/>
                </a:lnTo>
                <a:lnTo>
                  <a:pt x="92" y="24"/>
                </a:lnTo>
                <a:lnTo>
                  <a:pt x="93" y="26"/>
                </a:lnTo>
                <a:lnTo>
                  <a:pt x="99" y="30"/>
                </a:lnTo>
                <a:lnTo>
                  <a:pt x="103" y="30"/>
                </a:lnTo>
                <a:lnTo>
                  <a:pt x="111" y="30"/>
                </a:lnTo>
                <a:lnTo>
                  <a:pt x="112" y="29"/>
                </a:lnTo>
                <a:lnTo>
                  <a:pt x="109" y="27"/>
                </a:lnTo>
                <a:lnTo>
                  <a:pt x="107" y="26"/>
                </a:lnTo>
                <a:lnTo>
                  <a:pt x="109" y="26"/>
                </a:lnTo>
                <a:lnTo>
                  <a:pt x="113" y="27"/>
                </a:lnTo>
                <a:lnTo>
                  <a:pt x="115" y="29"/>
                </a:lnTo>
                <a:lnTo>
                  <a:pt x="116" y="29"/>
                </a:lnTo>
                <a:lnTo>
                  <a:pt x="121" y="29"/>
                </a:lnTo>
                <a:lnTo>
                  <a:pt x="125" y="29"/>
                </a:lnTo>
                <a:lnTo>
                  <a:pt x="128" y="29"/>
                </a:lnTo>
                <a:lnTo>
                  <a:pt x="131" y="30"/>
                </a:lnTo>
                <a:lnTo>
                  <a:pt x="131" y="32"/>
                </a:lnTo>
                <a:lnTo>
                  <a:pt x="129" y="33"/>
                </a:lnTo>
                <a:lnTo>
                  <a:pt x="128" y="33"/>
                </a:lnTo>
                <a:lnTo>
                  <a:pt x="129" y="35"/>
                </a:lnTo>
                <a:lnTo>
                  <a:pt x="141" y="33"/>
                </a:lnTo>
                <a:lnTo>
                  <a:pt x="149" y="32"/>
                </a:lnTo>
                <a:lnTo>
                  <a:pt x="155" y="30"/>
                </a:lnTo>
                <a:lnTo>
                  <a:pt x="160" y="27"/>
                </a:lnTo>
                <a:lnTo>
                  <a:pt x="161" y="30"/>
                </a:lnTo>
                <a:lnTo>
                  <a:pt x="168" y="29"/>
                </a:lnTo>
                <a:lnTo>
                  <a:pt x="169" y="27"/>
                </a:lnTo>
                <a:lnTo>
                  <a:pt x="174" y="27"/>
                </a:lnTo>
                <a:lnTo>
                  <a:pt x="174" y="26"/>
                </a:lnTo>
                <a:lnTo>
                  <a:pt x="176" y="24"/>
                </a:lnTo>
                <a:lnTo>
                  <a:pt x="174" y="22"/>
                </a:lnTo>
                <a:lnTo>
                  <a:pt x="172" y="21"/>
                </a:lnTo>
                <a:lnTo>
                  <a:pt x="166" y="21"/>
                </a:lnTo>
                <a:lnTo>
                  <a:pt x="164" y="22"/>
                </a:lnTo>
                <a:lnTo>
                  <a:pt x="161" y="22"/>
                </a:lnTo>
                <a:lnTo>
                  <a:pt x="159" y="22"/>
                </a:lnTo>
                <a:lnTo>
                  <a:pt x="159" y="21"/>
                </a:lnTo>
                <a:lnTo>
                  <a:pt x="153" y="21"/>
                </a:lnTo>
                <a:lnTo>
                  <a:pt x="156" y="19"/>
                </a:lnTo>
                <a:lnTo>
                  <a:pt x="159" y="19"/>
                </a:lnTo>
                <a:lnTo>
                  <a:pt x="160" y="18"/>
                </a:lnTo>
                <a:lnTo>
                  <a:pt x="157" y="16"/>
                </a:lnTo>
                <a:lnTo>
                  <a:pt x="153" y="16"/>
                </a:lnTo>
                <a:lnTo>
                  <a:pt x="149" y="16"/>
                </a:lnTo>
                <a:lnTo>
                  <a:pt x="141" y="19"/>
                </a:lnTo>
                <a:lnTo>
                  <a:pt x="140" y="19"/>
                </a:lnTo>
                <a:lnTo>
                  <a:pt x="143" y="18"/>
                </a:lnTo>
                <a:lnTo>
                  <a:pt x="143" y="16"/>
                </a:lnTo>
                <a:lnTo>
                  <a:pt x="131" y="16"/>
                </a:lnTo>
                <a:lnTo>
                  <a:pt x="125" y="16"/>
                </a:lnTo>
                <a:lnTo>
                  <a:pt x="117" y="18"/>
                </a:lnTo>
                <a:lnTo>
                  <a:pt x="116" y="18"/>
                </a:lnTo>
                <a:lnTo>
                  <a:pt x="116" y="16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31" name="Freeform 731"/>
          <p:cNvSpPr>
            <a:spLocks/>
          </p:cNvSpPr>
          <p:nvPr/>
        </p:nvSpPr>
        <p:spPr bwMode="auto">
          <a:xfrm>
            <a:off x="3312462" y="1468614"/>
            <a:ext cx="506691" cy="152481"/>
          </a:xfrm>
          <a:custGeom>
            <a:avLst/>
            <a:gdLst/>
            <a:ahLst/>
            <a:cxnLst>
              <a:cxn ang="0">
                <a:pos x="12" y="76"/>
              </a:cxn>
              <a:cxn ang="0">
                <a:pos x="22" y="76"/>
              </a:cxn>
              <a:cxn ang="0">
                <a:pos x="47" y="76"/>
              </a:cxn>
              <a:cxn ang="0">
                <a:pos x="61" y="72"/>
              </a:cxn>
              <a:cxn ang="0">
                <a:pos x="59" y="68"/>
              </a:cxn>
              <a:cxn ang="0">
                <a:pos x="57" y="65"/>
              </a:cxn>
              <a:cxn ang="0">
                <a:pos x="79" y="65"/>
              </a:cxn>
              <a:cxn ang="0">
                <a:pos x="94" y="63"/>
              </a:cxn>
              <a:cxn ang="0">
                <a:pos x="75" y="60"/>
              </a:cxn>
              <a:cxn ang="0">
                <a:pos x="99" y="58"/>
              </a:cxn>
              <a:cxn ang="0">
                <a:pos x="98" y="55"/>
              </a:cxn>
              <a:cxn ang="0">
                <a:pos x="87" y="54"/>
              </a:cxn>
              <a:cxn ang="0">
                <a:pos x="106" y="54"/>
              </a:cxn>
              <a:cxn ang="0">
                <a:pos x="110" y="50"/>
              </a:cxn>
              <a:cxn ang="0">
                <a:pos x="98" y="47"/>
              </a:cxn>
              <a:cxn ang="0">
                <a:pos x="91" y="44"/>
              </a:cxn>
              <a:cxn ang="0">
                <a:pos x="63" y="47"/>
              </a:cxn>
              <a:cxn ang="0">
                <a:pos x="62" y="44"/>
              </a:cxn>
              <a:cxn ang="0">
                <a:pos x="82" y="43"/>
              </a:cxn>
              <a:cxn ang="0">
                <a:pos x="78" y="43"/>
              </a:cxn>
              <a:cxn ang="0">
                <a:pos x="93" y="43"/>
              </a:cxn>
              <a:cxn ang="0">
                <a:pos x="113" y="44"/>
              </a:cxn>
              <a:cxn ang="0">
                <a:pos x="110" y="41"/>
              </a:cxn>
              <a:cxn ang="0">
                <a:pos x="67" y="41"/>
              </a:cxn>
              <a:cxn ang="0">
                <a:pos x="66" y="39"/>
              </a:cxn>
              <a:cxn ang="0">
                <a:pos x="71" y="38"/>
              </a:cxn>
              <a:cxn ang="0">
                <a:pos x="90" y="39"/>
              </a:cxn>
              <a:cxn ang="0">
                <a:pos x="74" y="36"/>
              </a:cxn>
              <a:cxn ang="0">
                <a:pos x="95" y="38"/>
              </a:cxn>
              <a:cxn ang="0">
                <a:pos x="107" y="38"/>
              </a:cxn>
              <a:cxn ang="0">
                <a:pos x="121" y="35"/>
              </a:cxn>
              <a:cxn ang="0">
                <a:pos x="126" y="33"/>
              </a:cxn>
              <a:cxn ang="0">
                <a:pos x="115" y="30"/>
              </a:cxn>
              <a:cxn ang="0">
                <a:pos x="129" y="33"/>
              </a:cxn>
              <a:cxn ang="0">
                <a:pos x="150" y="33"/>
              </a:cxn>
              <a:cxn ang="0">
                <a:pos x="159" y="30"/>
              </a:cxn>
              <a:cxn ang="0">
                <a:pos x="163" y="28"/>
              </a:cxn>
              <a:cxn ang="0">
                <a:pos x="149" y="27"/>
              </a:cxn>
              <a:cxn ang="0">
                <a:pos x="149" y="25"/>
              </a:cxn>
              <a:cxn ang="0">
                <a:pos x="176" y="24"/>
              </a:cxn>
              <a:cxn ang="0">
                <a:pos x="170" y="21"/>
              </a:cxn>
              <a:cxn ang="0">
                <a:pos x="179" y="22"/>
              </a:cxn>
              <a:cxn ang="0">
                <a:pos x="191" y="17"/>
              </a:cxn>
              <a:cxn ang="0">
                <a:pos x="208" y="14"/>
              </a:cxn>
              <a:cxn ang="0">
                <a:pos x="226" y="10"/>
              </a:cxn>
              <a:cxn ang="0">
                <a:pos x="240" y="5"/>
              </a:cxn>
              <a:cxn ang="0">
                <a:pos x="264" y="0"/>
              </a:cxn>
              <a:cxn ang="0">
                <a:pos x="228" y="3"/>
              </a:cxn>
              <a:cxn ang="0">
                <a:pos x="176" y="8"/>
              </a:cxn>
            </a:cxnLst>
            <a:rect l="0" t="0" r="r" b="b"/>
            <a:pathLst>
              <a:path w="264" h="77">
                <a:moveTo>
                  <a:pt x="1" y="77"/>
                </a:moveTo>
                <a:lnTo>
                  <a:pt x="0" y="77"/>
                </a:lnTo>
                <a:lnTo>
                  <a:pt x="4" y="77"/>
                </a:lnTo>
                <a:lnTo>
                  <a:pt x="12" y="76"/>
                </a:lnTo>
                <a:lnTo>
                  <a:pt x="6" y="74"/>
                </a:lnTo>
                <a:lnTo>
                  <a:pt x="6" y="72"/>
                </a:lnTo>
                <a:lnTo>
                  <a:pt x="14" y="76"/>
                </a:lnTo>
                <a:lnTo>
                  <a:pt x="22" y="76"/>
                </a:lnTo>
                <a:lnTo>
                  <a:pt x="45" y="76"/>
                </a:lnTo>
                <a:lnTo>
                  <a:pt x="46" y="76"/>
                </a:lnTo>
                <a:lnTo>
                  <a:pt x="49" y="76"/>
                </a:lnTo>
                <a:lnTo>
                  <a:pt x="47" y="76"/>
                </a:lnTo>
                <a:lnTo>
                  <a:pt x="49" y="76"/>
                </a:lnTo>
                <a:lnTo>
                  <a:pt x="57" y="76"/>
                </a:lnTo>
                <a:lnTo>
                  <a:pt x="59" y="72"/>
                </a:lnTo>
                <a:lnTo>
                  <a:pt x="61" y="72"/>
                </a:lnTo>
                <a:lnTo>
                  <a:pt x="61" y="71"/>
                </a:lnTo>
                <a:lnTo>
                  <a:pt x="65" y="71"/>
                </a:lnTo>
                <a:lnTo>
                  <a:pt x="59" y="69"/>
                </a:lnTo>
                <a:lnTo>
                  <a:pt x="59" y="68"/>
                </a:lnTo>
                <a:lnTo>
                  <a:pt x="61" y="68"/>
                </a:lnTo>
                <a:lnTo>
                  <a:pt x="58" y="66"/>
                </a:lnTo>
                <a:lnTo>
                  <a:pt x="57" y="66"/>
                </a:lnTo>
                <a:lnTo>
                  <a:pt x="57" y="65"/>
                </a:lnTo>
                <a:lnTo>
                  <a:pt x="59" y="65"/>
                </a:lnTo>
                <a:lnTo>
                  <a:pt x="73" y="65"/>
                </a:lnTo>
                <a:lnTo>
                  <a:pt x="74" y="65"/>
                </a:lnTo>
                <a:lnTo>
                  <a:pt x="79" y="65"/>
                </a:lnTo>
                <a:lnTo>
                  <a:pt x="85" y="63"/>
                </a:lnTo>
                <a:lnTo>
                  <a:pt x="90" y="63"/>
                </a:lnTo>
                <a:lnTo>
                  <a:pt x="90" y="65"/>
                </a:lnTo>
                <a:lnTo>
                  <a:pt x="94" y="63"/>
                </a:lnTo>
                <a:lnTo>
                  <a:pt x="94" y="61"/>
                </a:lnTo>
                <a:lnTo>
                  <a:pt x="97" y="61"/>
                </a:lnTo>
                <a:lnTo>
                  <a:pt x="82" y="60"/>
                </a:lnTo>
                <a:lnTo>
                  <a:pt x="75" y="60"/>
                </a:lnTo>
                <a:lnTo>
                  <a:pt x="79" y="58"/>
                </a:lnTo>
                <a:lnTo>
                  <a:pt x="86" y="58"/>
                </a:lnTo>
                <a:lnTo>
                  <a:pt x="95" y="60"/>
                </a:lnTo>
                <a:lnTo>
                  <a:pt x="99" y="58"/>
                </a:lnTo>
                <a:lnTo>
                  <a:pt x="103" y="58"/>
                </a:lnTo>
                <a:lnTo>
                  <a:pt x="105" y="57"/>
                </a:lnTo>
                <a:lnTo>
                  <a:pt x="102" y="55"/>
                </a:lnTo>
                <a:lnTo>
                  <a:pt x="98" y="55"/>
                </a:lnTo>
                <a:lnTo>
                  <a:pt x="91" y="55"/>
                </a:lnTo>
                <a:lnTo>
                  <a:pt x="89" y="55"/>
                </a:lnTo>
                <a:lnTo>
                  <a:pt x="85" y="54"/>
                </a:lnTo>
                <a:lnTo>
                  <a:pt x="87" y="54"/>
                </a:lnTo>
                <a:lnTo>
                  <a:pt x="91" y="54"/>
                </a:lnTo>
                <a:lnTo>
                  <a:pt x="102" y="54"/>
                </a:lnTo>
                <a:lnTo>
                  <a:pt x="105" y="54"/>
                </a:lnTo>
                <a:lnTo>
                  <a:pt x="106" y="54"/>
                </a:lnTo>
                <a:lnTo>
                  <a:pt x="111" y="52"/>
                </a:lnTo>
                <a:lnTo>
                  <a:pt x="109" y="52"/>
                </a:lnTo>
                <a:lnTo>
                  <a:pt x="109" y="50"/>
                </a:lnTo>
                <a:lnTo>
                  <a:pt x="110" y="50"/>
                </a:lnTo>
                <a:lnTo>
                  <a:pt x="110" y="49"/>
                </a:lnTo>
                <a:lnTo>
                  <a:pt x="109" y="47"/>
                </a:lnTo>
                <a:lnTo>
                  <a:pt x="106" y="47"/>
                </a:lnTo>
                <a:lnTo>
                  <a:pt x="98" y="47"/>
                </a:lnTo>
                <a:lnTo>
                  <a:pt x="87" y="47"/>
                </a:lnTo>
                <a:lnTo>
                  <a:pt x="91" y="46"/>
                </a:lnTo>
                <a:lnTo>
                  <a:pt x="93" y="46"/>
                </a:lnTo>
                <a:lnTo>
                  <a:pt x="91" y="44"/>
                </a:lnTo>
                <a:lnTo>
                  <a:pt x="71" y="46"/>
                </a:lnTo>
                <a:lnTo>
                  <a:pt x="69" y="46"/>
                </a:lnTo>
                <a:lnTo>
                  <a:pt x="66" y="46"/>
                </a:lnTo>
                <a:lnTo>
                  <a:pt x="63" y="47"/>
                </a:lnTo>
                <a:lnTo>
                  <a:pt x="66" y="46"/>
                </a:lnTo>
                <a:lnTo>
                  <a:pt x="66" y="44"/>
                </a:lnTo>
                <a:lnTo>
                  <a:pt x="63" y="44"/>
                </a:lnTo>
                <a:lnTo>
                  <a:pt x="62" y="44"/>
                </a:lnTo>
                <a:lnTo>
                  <a:pt x="69" y="44"/>
                </a:lnTo>
                <a:lnTo>
                  <a:pt x="81" y="44"/>
                </a:lnTo>
                <a:lnTo>
                  <a:pt x="89" y="44"/>
                </a:lnTo>
                <a:lnTo>
                  <a:pt x="82" y="43"/>
                </a:lnTo>
                <a:lnTo>
                  <a:pt x="65" y="43"/>
                </a:lnTo>
                <a:lnTo>
                  <a:pt x="62" y="43"/>
                </a:lnTo>
                <a:lnTo>
                  <a:pt x="66" y="43"/>
                </a:lnTo>
                <a:lnTo>
                  <a:pt x="78" y="43"/>
                </a:lnTo>
                <a:lnTo>
                  <a:pt x="82" y="41"/>
                </a:lnTo>
                <a:lnTo>
                  <a:pt x="86" y="41"/>
                </a:lnTo>
                <a:lnTo>
                  <a:pt x="91" y="43"/>
                </a:lnTo>
                <a:lnTo>
                  <a:pt x="93" y="43"/>
                </a:lnTo>
                <a:lnTo>
                  <a:pt x="94" y="44"/>
                </a:lnTo>
                <a:lnTo>
                  <a:pt x="97" y="44"/>
                </a:lnTo>
                <a:lnTo>
                  <a:pt x="110" y="44"/>
                </a:lnTo>
                <a:lnTo>
                  <a:pt x="113" y="44"/>
                </a:lnTo>
                <a:lnTo>
                  <a:pt x="113" y="43"/>
                </a:lnTo>
                <a:lnTo>
                  <a:pt x="109" y="43"/>
                </a:lnTo>
                <a:lnTo>
                  <a:pt x="113" y="41"/>
                </a:lnTo>
                <a:lnTo>
                  <a:pt x="110" y="41"/>
                </a:lnTo>
                <a:lnTo>
                  <a:pt x="91" y="41"/>
                </a:lnTo>
                <a:lnTo>
                  <a:pt x="90" y="41"/>
                </a:lnTo>
                <a:lnTo>
                  <a:pt x="74" y="41"/>
                </a:lnTo>
                <a:lnTo>
                  <a:pt x="67" y="41"/>
                </a:lnTo>
                <a:lnTo>
                  <a:pt x="70" y="41"/>
                </a:lnTo>
                <a:lnTo>
                  <a:pt x="63" y="39"/>
                </a:lnTo>
                <a:lnTo>
                  <a:pt x="62" y="39"/>
                </a:lnTo>
                <a:lnTo>
                  <a:pt x="66" y="39"/>
                </a:lnTo>
                <a:lnTo>
                  <a:pt x="73" y="39"/>
                </a:lnTo>
                <a:lnTo>
                  <a:pt x="71" y="38"/>
                </a:lnTo>
                <a:lnTo>
                  <a:pt x="70" y="38"/>
                </a:lnTo>
                <a:lnTo>
                  <a:pt x="71" y="38"/>
                </a:lnTo>
                <a:lnTo>
                  <a:pt x="74" y="38"/>
                </a:lnTo>
                <a:lnTo>
                  <a:pt x="75" y="38"/>
                </a:lnTo>
                <a:lnTo>
                  <a:pt x="77" y="39"/>
                </a:lnTo>
                <a:lnTo>
                  <a:pt x="90" y="39"/>
                </a:lnTo>
                <a:lnTo>
                  <a:pt x="91" y="38"/>
                </a:lnTo>
                <a:lnTo>
                  <a:pt x="89" y="38"/>
                </a:lnTo>
                <a:lnTo>
                  <a:pt x="87" y="38"/>
                </a:lnTo>
                <a:lnTo>
                  <a:pt x="74" y="36"/>
                </a:lnTo>
                <a:lnTo>
                  <a:pt x="73" y="36"/>
                </a:lnTo>
                <a:lnTo>
                  <a:pt x="74" y="36"/>
                </a:lnTo>
                <a:lnTo>
                  <a:pt x="83" y="36"/>
                </a:lnTo>
                <a:lnTo>
                  <a:pt x="95" y="38"/>
                </a:lnTo>
                <a:lnTo>
                  <a:pt x="103" y="38"/>
                </a:lnTo>
                <a:lnTo>
                  <a:pt x="106" y="38"/>
                </a:lnTo>
                <a:lnTo>
                  <a:pt x="105" y="36"/>
                </a:lnTo>
                <a:lnTo>
                  <a:pt x="107" y="38"/>
                </a:lnTo>
                <a:lnTo>
                  <a:pt x="115" y="38"/>
                </a:lnTo>
                <a:lnTo>
                  <a:pt x="118" y="36"/>
                </a:lnTo>
                <a:lnTo>
                  <a:pt x="119" y="36"/>
                </a:lnTo>
                <a:lnTo>
                  <a:pt x="121" y="35"/>
                </a:lnTo>
                <a:lnTo>
                  <a:pt x="122" y="36"/>
                </a:lnTo>
                <a:lnTo>
                  <a:pt x="126" y="36"/>
                </a:lnTo>
                <a:lnTo>
                  <a:pt x="127" y="35"/>
                </a:lnTo>
                <a:lnTo>
                  <a:pt x="126" y="33"/>
                </a:lnTo>
                <a:lnTo>
                  <a:pt x="125" y="32"/>
                </a:lnTo>
                <a:lnTo>
                  <a:pt x="109" y="32"/>
                </a:lnTo>
                <a:lnTo>
                  <a:pt x="110" y="30"/>
                </a:lnTo>
                <a:lnTo>
                  <a:pt x="115" y="30"/>
                </a:lnTo>
                <a:lnTo>
                  <a:pt x="121" y="32"/>
                </a:lnTo>
                <a:lnTo>
                  <a:pt x="129" y="32"/>
                </a:lnTo>
                <a:lnTo>
                  <a:pt x="127" y="32"/>
                </a:lnTo>
                <a:lnTo>
                  <a:pt x="129" y="33"/>
                </a:lnTo>
                <a:lnTo>
                  <a:pt x="133" y="33"/>
                </a:lnTo>
                <a:lnTo>
                  <a:pt x="137" y="33"/>
                </a:lnTo>
                <a:lnTo>
                  <a:pt x="143" y="33"/>
                </a:lnTo>
                <a:lnTo>
                  <a:pt x="150" y="33"/>
                </a:lnTo>
                <a:lnTo>
                  <a:pt x="151" y="33"/>
                </a:lnTo>
                <a:lnTo>
                  <a:pt x="155" y="33"/>
                </a:lnTo>
                <a:lnTo>
                  <a:pt x="162" y="30"/>
                </a:lnTo>
                <a:lnTo>
                  <a:pt x="159" y="30"/>
                </a:lnTo>
                <a:lnTo>
                  <a:pt x="154" y="30"/>
                </a:lnTo>
                <a:lnTo>
                  <a:pt x="155" y="30"/>
                </a:lnTo>
                <a:lnTo>
                  <a:pt x="158" y="28"/>
                </a:lnTo>
                <a:lnTo>
                  <a:pt x="163" y="28"/>
                </a:lnTo>
                <a:lnTo>
                  <a:pt x="164" y="28"/>
                </a:lnTo>
                <a:lnTo>
                  <a:pt x="168" y="27"/>
                </a:lnTo>
                <a:lnTo>
                  <a:pt x="163" y="25"/>
                </a:lnTo>
                <a:lnTo>
                  <a:pt x="149" y="27"/>
                </a:lnTo>
                <a:lnTo>
                  <a:pt x="141" y="27"/>
                </a:lnTo>
                <a:lnTo>
                  <a:pt x="145" y="27"/>
                </a:lnTo>
                <a:lnTo>
                  <a:pt x="146" y="25"/>
                </a:lnTo>
                <a:lnTo>
                  <a:pt x="149" y="25"/>
                </a:lnTo>
                <a:lnTo>
                  <a:pt x="154" y="25"/>
                </a:lnTo>
                <a:lnTo>
                  <a:pt x="166" y="24"/>
                </a:lnTo>
                <a:lnTo>
                  <a:pt x="176" y="25"/>
                </a:lnTo>
                <a:lnTo>
                  <a:pt x="176" y="24"/>
                </a:lnTo>
                <a:lnTo>
                  <a:pt x="174" y="22"/>
                </a:lnTo>
                <a:lnTo>
                  <a:pt x="170" y="22"/>
                </a:lnTo>
                <a:lnTo>
                  <a:pt x="168" y="21"/>
                </a:lnTo>
                <a:lnTo>
                  <a:pt x="170" y="21"/>
                </a:lnTo>
                <a:lnTo>
                  <a:pt x="171" y="19"/>
                </a:lnTo>
                <a:lnTo>
                  <a:pt x="171" y="21"/>
                </a:lnTo>
                <a:lnTo>
                  <a:pt x="172" y="22"/>
                </a:lnTo>
                <a:lnTo>
                  <a:pt x="179" y="22"/>
                </a:lnTo>
                <a:lnTo>
                  <a:pt x="186" y="21"/>
                </a:lnTo>
                <a:lnTo>
                  <a:pt x="187" y="21"/>
                </a:lnTo>
                <a:lnTo>
                  <a:pt x="190" y="19"/>
                </a:lnTo>
                <a:lnTo>
                  <a:pt x="191" y="17"/>
                </a:lnTo>
                <a:lnTo>
                  <a:pt x="200" y="16"/>
                </a:lnTo>
                <a:lnTo>
                  <a:pt x="202" y="14"/>
                </a:lnTo>
                <a:lnTo>
                  <a:pt x="204" y="14"/>
                </a:lnTo>
                <a:lnTo>
                  <a:pt x="208" y="14"/>
                </a:lnTo>
                <a:lnTo>
                  <a:pt x="212" y="13"/>
                </a:lnTo>
                <a:lnTo>
                  <a:pt x="218" y="11"/>
                </a:lnTo>
                <a:lnTo>
                  <a:pt x="219" y="11"/>
                </a:lnTo>
                <a:lnTo>
                  <a:pt x="226" y="10"/>
                </a:lnTo>
                <a:lnTo>
                  <a:pt x="228" y="10"/>
                </a:lnTo>
                <a:lnTo>
                  <a:pt x="232" y="8"/>
                </a:lnTo>
                <a:lnTo>
                  <a:pt x="234" y="8"/>
                </a:lnTo>
                <a:lnTo>
                  <a:pt x="240" y="5"/>
                </a:lnTo>
                <a:lnTo>
                  <a:pt x="246" y="5"/>
                </a:lnTo>
                <a:lnTo>
                  <a:pt x="259" y="3"/>
                </a:lnTo>
                <a:lnTo>
                  <a:pt x="263" y="2"/>
                </a:lnTo>
                <a:lnTo>
                  <a:pt x="264" y="0"/>
                </a:lnTo>
                <a:lnTo>
                  <a:pt x="263" y="0"/>
                </a:lnTo>
                <a:lnTo>
                  <a:pt x="256" y="0"/>
                </a:lnTo>
                <a:lnTo>
                  <a:pt x="247" y="0"/>
                </a:lnTo>
                <a:lnTo>
                  <a:pt x="228" y="3"/>
                </a:lnTo>
                <a:lnTo>
                  <a:pt x="216" y="3"/>
                </a:lnTo>
                <a:lnTo>
                  <a:pt x="192" y="6"/>
                </a:lnTo>
                <a:lnTo>
                  <a:pt x="188" y="6"/>
                </a:lnTo>
                <a:lnTo>
                  <a:pt x="176" y="8"/>
                </a:lnTo>
                <a:lnTo>
                  <a:pt x="179" y="6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32" name="Freeform 732"/>
          <p:cNvSpPr>
            <a:spLocks/>
          </p:cNvSpPr>
          <p:nvPr/>
        </p:nvSpPr>
        <p:spPr bwMode="auto">
          <a:xfrm>
            <a:off x="3630118" y="1436400"/>
            <a:ext cx="284527" cy="47248"/>
          </a:xfrm>
          <a:custGeom>
            <a:avLst/>
            <a:gdLst/>
            <a:ahLst/>
            <a:cxnLst>
              <a:cxn ang="0">
                <a:pos x="13" y="23"/>
              </a:cxn>
              <a:cxn ang="0">
                <a:pos x="2" y="25"/>
              </a:cxn>
              <a:cxn ang="0">
                <a:pos x="0" y="23"/>
              </a:cxn>
              <a:cxn ang="0">
                <a:pos x="12" y="23"/>
              </a:cxn>
              <a:cxn ang="0">
                <a:pos x="16" y="23"/>
              </a:cxn>
              <a:cxn ang="0">
                <a:pos x="17" y="22"/>
              </a:cxn>
              <a:cxn ang="0">
                <a:pos x="22" y="22"/>
              </a:cxn>
              <a:cxn ang="0">
                <a:pos x="26" y="22"/>
              </a:cxn>
              <a:cxn ang="0">
                <a:pos x="60" y="17"/>
              </a:cxn>
              <a:cxn ang="0">
                <a:pos x="58" y="17"/>
              </a:cxn>
              <a:cxn ang="0">
                <a:pos x="52" y="17"/>
              </a:cxn>
              <a:cxn ang="0">
                <a:pos x="44" y="17"/>
              </a:cxn>
              <a:cxn ang="0">
                <a:pos x="34" y="17"/>
              </a:cxn>
              <a:cxn ang="0">
                <a:pos x="29" y="17"/>
              </a:cxn>
              <a:cxn ang="0">
                <a:pos x="28" y="17"/>
              </a:cxn>
              <a:cxn ang="0">
                <a:pos x="28" y="16"/>
              </a:cxn>
              <a:cxn ang="0">
                <a:pos x="34" y="17"/>
              </a:cxn>
              <a:cxn ang="0">
                <a:pos x="34" y="16"/>
              </a:cxn>
              <a:cxn ang="0">
                <a:pos x="28" y="14"/>
              </a:cxn>
              <a:cxn ang="0">
                <a:pos x="24" y="14"/>
              </a:cxn>
              <a:cxn ang="0">
                <a:pos x="33" y="16"/>
              </a:cxn>
              <a:cxn ang="0">
                <a:pos x="38" y="16"/>
              </a:cxn>
              <a:cxn ang="0">
                <a:pos x="44" y="16"/>
              </a:cxn>
              <a:cxn ang="0">
                <a:pos x="41" y="16"/>
              </a:cxn>
              <a:cxn ang="0">
                <a:pos x="56" y="16"/>
              </a:cxn>
              <a:cxn ang="0">
                <a:pos x="65" y="16"/>
              </a:cxn>
              <a:cxn ang="0">
                <a:pos x="69" y="16"/>
              </a:cxn>
              <a:cxn ang="0">
                <a:pos x="74" y="16"/>
              </a:cxn>
              <a:cxn ang="0">
                <a:pos x="77" y="16"/>
              </a:cxn>
              <a:cxn ang="0">
                <a:pos x="84" y="14"/>
              </a:cxn>
              <a:cxn ang="0">
                <a:pos x="76" y="14"/>
              </a:cxn>
              <a:cxn ang="0">
                <a:pos x="78" y="14"/>
              </a:cxn>
              <a:cxn ang="0">
                <a:pos x="90" y="12"/>
              </a:cxn>
              <a:cxn ang="0">
                <a:pos x="92" y="14"/>
              </a:cxn>
              <a:cxn ang="0">
                <a:pos x="96" y="14"/>
              </a:cxn>
              <a:cxn ang="0">
                <a:pos x="101" y="14"/>
              </a:cxn>
              <a:cxn ang="0">
                <a:pos x="101" y="12"/>
              </a:cxn>
              <a:cxn ang="0">
                <a:pos x="104" y="12"/>
              </a:cxn>
              <a:cxn ang="0">
                <a:pos x="105" y="12"/>
              </a:cxn>
              <a:cxn ang="0">
                <a:pos x="109" y="11"/>
              </a:cxn>
              <a:cxn ang="0">
                <a:pos x="121" y="11"/>
              </a:cxn>
              <a:cxn ang="0">
                <a:pos x="125" y="9"/>
              </a:cxn>
              <a:cxn ang="0">
                <a:pos x="127" y="9"/>
              </a:cxn>
              <a:cxn ang="0">
                <a:pos x="134" y="8"/>
              </a:cxn>
              <a:cxn ang="0">
                <a:pos x="137" y="6"/>
              </a:cxn>
              <a:cxn ang="0">
                <a:pos x="146" y="5"/>
              </a:cxn>
              <a:cxn ang="0">
                <a:pos x="147" y="5"/>
              </a:cxn>
              <a:cxn ang="0">
                <a:pos x="149" y="3"/>
              </a:cxn>
              <a:cxn ang="0">
                <a:pos x="145" y="1"/>
              </a:cxn>
              <a:cxn ang="0">
                <a:pos x="142" y="0"/>
              </a:cxn>
              <a:cxn ang="0">
                <a:pos x="133" y="0"/>
              </a:cxn>
              <a:cxn ang="0">
                <a:pos x="130" y="0"/>
              </a:cxn>
            </a:cxnLst>
            <a:rect l="0" t="0" r="r" b="b"/>
            <a:pathLst>
              <a:path w="149" h="25">
                <a:moveTo>
                  <a:pt x="13" y="23"/>
                </a:moveTo>
                <a:lnTo>
                  <a:pt x="2" y="25"/>
                </a:lnTo>
                <a:lnTo>
                  <a:pt x="0" y="23"/>
                </a:lnTo>
                <a:lnTo>
                  <a:pt x="12" y="23"/>
                </a:lnTo>
                <a:lnTo>
                  <a:pt x="16" y="23"/>
                </a:lnTo>
                <a:lnTo>
                  <a:pt x="17" y="22"/>
                </a:lnTo>
                <a:lnTo>
                  <a:pt x="22" y="22"/>
                </a:lnTo>
                <a:lnTo>
                  <a:pt x="26" y="22"/>
                </a:lnTo>
                <a:lnTo>
                  <a:pt x="60" y="17"/>
                </a:lnTo>
                <a:lnTo>
                  <a:pt x="58" y="17"/>
                </a:lnTo>
                <a:lnTo>
                  <a:pt x="52" y="17"/>
                </a:lnTo>
                <a:lnTo>
                  <a:pt x="44" y="17"/>
                </a:lnTo>
                <a:lnTo>
                  <a:pt x="34" y="17"/>
                </a:lnTo>
                <a:lnTo>
                  <a:pt x="29" y="17"/>
                </a:lnTo>
                <a:lnTo>
                  <a:pt x="28" y="17"/>
                </a:lnTo>
                <a:lnTo>
                  <a:pt x="28" y="16"/>
                </a:lnTo>
                <a:lnTo>
                  <a:pt x="34" y="17"/>
                </a:lnTo>
                <a:lnTo>
                  <a:pt x="34" y="16"/>
                </a:lnTo>
                <a:lnTo>
                  <a:pt x="28" y="14"/>
                </a:lnTo>
                <a:lnTo>
                  <a:pt x="24" y="14"/>
                </a:lnTo>
                <a:lnTo>
                  <a:pt x="33" y="16"/>
                </a:lnTo>
                <a:lnTo>
                  <a:pt x="38" y="16"/>
                </a:lnTo>
                <a:lnTo>
                  <a:pt x="44" y="16"/>
                </a:lnTo>
                <a:lnTo>
                  <a:pt x="41" y="16"/>
                </a:lnTo>
                <a:lnTo>
                  <a:pt x="56" y="16"/>
                </a:lnTo>
                <a:lnTo>
                  <a:pt x="65" y="16"/>
                </a:lnTo>
                <a:lnTo>
                  <a:pt x="69" y="16"/>
                </a:lnTo>
                <a:lnTo>
                  <a:pt x="74" y="16"/>
                </a:lnTo>
                <a:lnTo>
                  <a:pt x="77" y="16"/>
                </a:lnTo>
                <a:lnTo>
                  <a:pt x="84" y="14"/>
                </a:lnTo>
                <a:lnTo>
                  <a:pt x="76" y="14"/>
                </a:lnTo>
                <a:lnTo>
                  <a:pt x="78" y="14"/>
                </a:lnTo>
                <a:lnTo>
                  <a:pt x="90" y="12"/>
                </a:lnTo>
                <a:lnTo>
                  <a:pt x="92" y="14"/>
                </a:lnTo>
                <a:lnTo>
                  <a:pt x="96" y="14"/>
                </a:lnTo>
                <a:lnTo>
                  <a:pt x="101" y="14"/>
                </a:lnTo>
                <a:lnTo>
                  <a:pt x="101" y="12"/>
                </a:lnTo>
                <a:lnTo>
                  <a:pt x="104" y="12"/>
                </a:lnTo>
                <a:lnTo>
                  <a:pt x="105" y="12"/>
                </a:lnTo>
                <a:lnTo>
                  <a:pt x="109" y="11"/>
                </a:lnTo>
                <a:lnTo>
                  <a:pt x="121" y="11"/>
                </a:lnTo>
                <a:lnTo>
                  <a:pt x="125" y="9"/>
                </a:lnTo>
                <a:lnTo>
                  <a:pt x="127" y="9"/>
                </a:lnTo>
                <a:lnTo>
                  <a:pt x="134" y="8"/>
                </a:lnTo>
                <a:lnTo>
                  <a:pt x="137" y="6"/>
                </a:lnTo>
                <a:lnTo>
                  <a:pt x="146" y="5"/>
                </a:lnTo>
                <a:lnTo>
                  <a:pt x="147" y="5"/>
                </a:lnTo>
                <a:lnTo>
                  <a:pt x="149" y="3"/>
                </a:lnTo>
                <a:lnTo>
                  <a:pt x="145" y="1"/>
                </a:lnTo>
                <a:lnTo>
                  <a:pt x="142" y="0"/>
                </a:lnTo>
                <a:lnTo>
                  <a:pt x="133" y="0"/>
                </a:lnTo>
                <a:lnTo>
                  <a:pt x="130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33" name="Freeform 733"/>
          <p:cNvSpPr>
            <a:spLocks/>
          </p:cNvSpPr>
          <p:nvPr/>
        </p:nvSpPr>
        <p:spPr bwMode="auto">
          <a:xfrm>
            <a:off x="3345591" y="1743506"/>
            <a:ext cx="136417" cy="36511"/>
          </a:xfrm>
          <a:custGeom>
            <a:avLst/>
            <a:gdLst/>
            <a:ahLst/>
            <a:cxnLst>
              <a:cxn ang="0">
                <a:pos x="30" y="2"/>
              </a:cxn>
              <a:cxn ang="0">
                <a:pos x="34" y="2"/>
              </a:cxn>
              <a:cxn ang="0">
                <a:pos x="41" y="2"/>
              </a:cxn>
              <a:cxn ang="0">
                <a:pos x="54" y="5"/>
              </a:cxn>
              <a:cxn ang="0">
                <a:pos x="57" y="7"/>
              </a:cxn>
              <a:cxn ang="0">
                <a:pos x="60" y="8"/>
              </a:cxn>
              <a:cxn ang="0">
                <a:pos x="62" y="10"/>
              </a:cxn>
              <a:cxn ang="0">
                <a:pos x="66" y="11"/>
              </a:cxn>
              <a:cxn ang="0">
                <a:pos x="69" y="13"/>
              </a:cxn>
              <a:cxn ang="0">
                <a:pos x="69" y="14"/>
              </a:cxn>
              <a:cxn ang="0">
                <a:pos x="72" y="16"/>
              </a:cxn>
              <a:cxn ang="0">
                <a:pos x="70" y="18"/>
              </a:cxn>
              <a:cxn ang="0">
                <a:pos x="65" y="18"/>
              </a:cxn>
              <a:cxn ang="0">
                <a:pos x="58" y="18"/>
              </a:cxn>
              <a:cxn ang="0">
                <a:pos x="50" y="16"/>
              </a:cxn>
              <a:cxn ang="0">
                <a:pos x="40" y="16"/>
              </a:cxn>
              <a:cxn ang="0">
                <a:pos x="29" y="18"/>
              </a:cxn>
              <a:cxn ang="0">
                <a:pos x="23" y="19"/>
              </a:cxn>
              <a:cxn ang="0">
                <a:pos x="17" y="18"/>
              </a:cxn>
              <a:cxn ang="0">
                <a:pos x="13" y="16"/>
              </a:cxn>
              <a:cxn ang="0">
                <a:pos x="11" y="14"/>
              </a:cxn>
              <a:cxn ang="0">
                <a:pos x="11" y="10"/>
              </a:cxn>
              <a:cxn ang="0">
                <a:pos x="3" y="10"/>
              </a:cxn>
              <a:cxn ang="0">
                <a:pos x="0" y="8"/>
              </a:cxn>
              <a:cxn ang="0">
                <a:pos x="0" y="5"/>
              </a:cxn>
              <a:cxn ang="0">
                <a:pos x="1" y="5"/>
              </a:cxn>
              <a:cxn ang="0">
                <a:pos x="1" y="2"/>
              </a:cxn>
              <a:cxn ang="0">
                <a:pos x="4" y="0"/>
              </a:cxn>
              <a:cxn ang="0">
                <a:pos x="7" y="0"/>
              </a:cxn>
              <a:cxn ang="0">
                <a:pos x="11" y="2"/>
              </a:cxn>
              <a:cxn ang="0">
                <a:pos x="13" y="2"/>
              </a:cxn>
              <a:cxn ang="0">
                <a:pos x="20" y="2"/>
              </a:cxn>
              <a:cxn ang="0">
                <a:pos x="28" y="4"/>
              </a:cxn>
              <a:cxn ang="0">
                <a:pos x="30" y="2"/>
              </a:cxn>
            </a:cxnLst>
            <a:rect l="0" t="0" r="r" b="b"/>
            <a:pathLst>
              <a:path w="72" h="19">
                <a:moveTo>
                  <a:pt x="30" y="2"/>
                </a:moveTo>
                <a:lnTo>
                  <a:pt x="34" y="2"/>
                </a:lnTo>
                <a:lnTo>
                  <a:pt x="41" y="2"/>
                </a:lnTo>
                <a:lnTo>
                  <a:pt x="54" y="5"/>
                </a:lnTo>
                <a:lnTo>
                  <a:pt x="57" y="7"/>
                </a:lnTo>
                <a:lnTo>
                  <a:pt x="60" y="8"/>
                </a:lnTo>
                <a:lnTo>
                  <a:pt x="62" y="10"/>
                </a:lnTo>
                <a:lnTo>
                  <a:pt x="66" y="11"/>
                </a:lnTo>
                <a:lnTo>
                  <a:pt x="69" y="13"/>
                </a:lnTo>
                <a:lnTo>
                  <a:pt x="69" y="14"/>
                </a:lnTo>
                <a:lnTo>
                  <a:pt x="72" y="16"/>
                </a:lnTo>
                <a:lnTo>
                  <a:pt x="70" y="18"/>
                </a:lnTo>
                <a:lnTo>
                  <a:pt x="65" y="18"/>
                </a:lnTo>
                <a:lnTo>
                  <a:pt x="58" y="18"/>
                </a:lnTo>
                <a:lnTo>
                  <a:pt x="50" y="16"/>
                </a:lnTo>
                <a:lnTo>
                  <a:pt x="40" y="16"/>
                </a:lnTo>
                <a:lnTo>
                  <a:pt x="29" y="18"/>
                </a:lnTo>
                <a:lnTo>
                  <a:pt x="23" y="19"/>
                </a:lnTo>
                <a:lnTo>
                  <a:pt x="17" y="18"/>
                </a:lnTo>
                <a:lnTo>
                  <a:pt x="13" y="16"/>
                </a:lnTo>
                <a:lnTo>
                  <a:pt x="11" y="14"/>
                </a:lnTo>
                <a:lnTo>
                  <a:pt x="11" y="10"/>
                </a:lnTo>
                <a:lnTo>
                  <a:pt x="3" y="10"/>
                </a:lnTo>
                <a:lnTo>
                  <a:pt x="0" y="8"/>
                </a:lnTo>
                <a:lnTo>
                  <a:pt x="0" y="5"/>
                </a:lnTo>
                <a:lnTo>
                  <a:pt x="1" y="5"/>
                </a:lnTo>
                <a:lnTo>
                  <a:pt x="1" y="2"/>
                </a:lnTo>
                <a:lnTo>
                  <a:pt x="4" y="0"/>
                </a:lnTo>
                <a:lnTo>
                  <a:pt x="7" y="0"/>
                </a:lnTo>
                <a:lnTo>
                  <a:pt x="11" y="2"/>
                </a:lnTo>
                <a:lnTo>
                  <a:pt x="13" y="2"/>
                </a:lnTo>
                <a:lnTo>
                  <a:pt x="20" y="2"/>
                </a:lnTo>
                <a:lnTo>
                  <a:pt x="28" y="4"/>
                </a:lnTo>
                <a:lnTo>
                  <a:pt x="30" y="2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34" name="Freeform 734"/>
          <p:cNvSpPr>
            <a:spLocks/>
          </p:cNvSpPr>
          <p:nvPr/>
        </p:nvSpPr>
        <p:spPr bwMode="auto">
          <a:xfrm>
            <a:off x="3345591" y="1743506"/>
            <a:ext cx="136417" cy="36511"/>
          </a:xfrm>
          <a:custGeom>
            <a:avLst/>
            <a:gdLst/>
            <a:ahLst/>
            <a:cxnLst>
              <a:cxn ang="0">
                <a:pos x="30" y="2"/>
              </a:cxn>
              <a:cxn ang="0">
                <a:pos x="34" y="2"/>
              </a:cxn>
              <a:cxn ang="0">
                <a:pos x="41" y="2"/>
              </a:cxn>
              <a:cxn ang="0">
                <a:pos x="54" y="5"/>
              </a:cxn>
              <a:cxn ang="0">
                <a:pos x="57" y="7"/>
              </a:cxn>
              <a:cxn ang="0">
                <a:pos x="60" y="8"/>
              </a:cxn>
              <a:cxn ang="0">
                <a:pos x="62" y="10"/>
              </a:cxn>
              <a:cxn ang="0">
                <a:pos x="66" y="11"/>
              </a:cxn>
              <a:cxn ang="0">
                <a:pos x="69" y="13"/>
              </a:cxn>
              <a:cxn ang="0">
                <a:pos x="69" y="14"/>
              </a:cxn>
              <a:cxn ang="0">
                <a:pos x="72" y="16"/>
              </a:cxn>
              <a:cxn ang="0">
                <a:pos x="70" y="18"/>
              </a:cxn>
              <a:cxn ang="0">
                <a:pos x="65" y="18"/>
              </a:cxn>
              <a:cxn ang="0">
                <a:pos x="58" y="18"/>
              </a:cxn>
              <a:cxn ang="0">
                <a:pos x="50" y="16"/>
              </a:cxn>
              <a:cxn ang="0">
                <a:pos x="40" y="16"/>
              </a:cxn>
              <a:cxn ang="0">
                <a:pos x="29" y="18"/>
              </a:cxn>
              <a:cxn ang="0">
                <a:pos x="23" y="19"/>
              </a:cxn>
              <a:cxn ang="0">
                <a:pos x="17" y="18"/>
              </a:cxn>
              <a:cxn ang="0">
                <a:pos x="13" y="16"/>
              </a:cxn>
              <a:cxn ang="0">
                <a:pos x="11" y="14"/>
              </a:cxn>
              <a:cxn ang="0">
                <a:pos x="11" y="10"/>
              </a:cxn>
              <a:cxn ang="0">
                <a:pos x="3" y="10"/>
              </a:cxn>
              <a:cxn ang="0">
                <a:pos x="0" y="8"/>
              </a:cxn>
              <a:cxn ang="0">
                <a:pos x="0" y="5"/>
              </a:cxn>
              <a:cxn ang="0">
                <a:pos x="1" y="5"/>
              </a:cxn>
              <a:cxn ang="0">
                <a:pos x="1" y="2"/>
              </a:cxn>
              <a:cxn ang="0">
                <a:pos x="4" y="0"/>
              </a:cxn>
              <a:cxn ang="0">
                <a:pos x="7" y="0"/>
              </a:cxn>
              <a:cxn ang="0">
                <a:pos x="11" y="2"/>
              </a:cxn>
              <a:cxn ang="0">
                <a:pos x="13" y="2"/>
              </a:cxn>
              <a:cxn ang="0">
                <a:pos x="20" y="2"/>
              </a:cxn>
              <a:cxn ang="0">
                <a:pos x="28" y="4"/>
              </a:cxn>
              <a:cxn ang="0">
                <a:pos x="30" y="2"/>
              </a:cxn>
            </a:cxnLst>
            <a:rect l="0" t="0" r="r" b="b"/>
            <a:pathLst>
              <a:path w="72" h="19">
                <a:moveTo>
                  <a:pt x="30" y="2"/>
                </a:moveTo>
                <a:lnTo>
                  <a:pt x="34" y="2"/>
                </a:lnTo>
                <a:lnTo>
                  <a:pt x="41" y="2"/>
                </a:lnTo>
                <a:lnTo>
                  <a:pt x="54" y="5"/>
                </a:lnTo>
                <a:lnTo>
                  <a:pt x="57" y="7"/>
                </a:lnTo>
                <a:lnTo>
                  <a:pt x="60" y="8"/>
                </a:lnTo>
                <a:lnTo>
                  <a:pt x="62" y="10"/>
                </a:lnTo>
                <a:lnTo>
                  <a:pt x="66" y="11"/>
                </a:lnTo>
                <a:lnTo>
                  <a:pt x="69" y="13"/>
                </a:lnTo>
                <a:lnTo>
                  <a:pt x="69" y="14"/>
                </a:lnTo>
                <a:lnTo>
                  <a:pt x="72" y="16"/>
                </a:lnTo>
                <a:lnTo>
                  <a:pt x="70" y="18"/>
                </a:lnTo>
                <a:lnTo>
                  <a:pt x="65" y="18"/>
                </a:lnTo>
                <a:lnTo>
                  <a:pt x="58" y="18"/>
                </a:lnTo>
                <a:lnTo>
                  <a:pt x="50" y="16"/>
                </a:lnTo>
                <a:lnTo>
                  <a:pt x="40" y="16"/>
                </a:lnTo>
                <a:lnTo>
                  <a:pt x="29" y="18"/>
                </a:lnTo>
                <a:lnTo>
                  <a:pt x="23" y="19"/>
                </a:lnTo>
                <a:lnTo>
                  <a:pt x="17" y="18"/>
                </a:lnTo>
                <a:lnTo>
                  <a:pt x="13" y="16"/>
                </a:lnTo>
                <a:lnTo>
                  <a:pt x="11" y="14"/>
                </a:lnTo>
                <a:lnTo>
                  <a:pt x="11" y="10"/>
                </a:lnTo>
                <a:lnTo>
                  <a:pt x="3" y="10"/>
                </a:lnTo>
                <a:lnTo>
                  <a:pt x="0" y="8"/>
                </a:lnTo>
                <a:lnTo>
                  <a:pt x="0" y="5"/>
                </a:lnTo>
                <a:lnTo>
                  <a:pt x="1" y="5"/>
                </a:lnTo>
                <a:lnTo>
                  <a:pt x="1" y="2"/>
                </a:lnTo>
                <a:lnTo>
                  <a:pt x="4" y="0"/>
                </a:lnTo>
                <a:lnTo>
                  <a:pt x="7" y="0"/>
                </a:lnTo>
                <a:lnTo>
                  <a:pt x="11" y="2"/>
                </a:lnTo>
                <a:lnTo>
                  <a:pt x="13" y="2"/>
                </a:lnTo>
                <a:lnTo>
                  <a:pt x="20" y="2"/>
                </a:lnTo>
                <a:lnTo>
                  <a:pt x="28" y="4"/>
                </a:lnTo>
                <a:lnTo>
                  <a:pt x="30" y="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35" name="Freeform 735"/>
          <p:cNvSpPr>
            <a:spLocks/>
          </p:cNvSpPr>
          <p:nvPr/>
        </p:nvSpPr>
        <p:spPr bwMode="auto">
          <a:xfrm>
            <a:off x="3259844" y="2123633"/>
            <a:ext cx="56516" cy="32213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12" y="3"/>
              </a:cxn>
              <a:cxn ang="0">
                <a:pos x="8" y="5"/>
              </a:cxn>
              <a:cxn ang="0">
                <a:pos x="7" y="6"/>
              </a:cxn>
              <a:cxn ang="0">
                <a:pos x="4" y="9"/>
              </a:cxn>
              <a:cxn ang="0">
                <a:pos x="1" y="13"/>
              </a:cxn>
              <a:cxn ang="0">
                <a:pos x="0" y="16"/>
              </a:cxn>
              <a:cxn ang="0">
                <a:pos x="3" y="16"/>
              </a:cxn>
              <a:cxn ang="0">
                <a:pos x="7" y="14"/>
              </a:cxn>
              <a:cxn ang="0">
                <a:pos x="9" y="14"/>
              </a:cxn>
              <a:cxn ang="0">
                <a:pos x="12" y="13"/>
              </a:cxn>
              <a:cxn ang="0">
                <a:pos x="16" y="11"/>
              </a:cxn>
              <a:cxn ang="0">
                <a:pos x="15" y="9"/>
              </a:cxn>
              <a:cxn ang="0">
                <a:pos x="17" y="8"/>
              </a:cxn>
              <a:cxn ang="0">
                <a:pos x="20" y="8"/>
              </a:cxn>
              <a:cxn ang="0">
                <a:pos x="25" y="5"/>
              </a:cxn>
              <a:cxn ang="0">
                <a:pos x="27" y="3"/>
              </a:cxn>
              <a:cxn ang="0">
                <a:pos x="28" y="2"/>
              </a:cxn>
              <a:cxn ang="0">
                <a:pos x="23" y="0"/>
              </a:cxn>
              <a:cxn ang="0">
                <a:pos x="20" y="0"/>
              </a:cxn>
            </a:cxnLst>
            <a:rect l="0" t="0" r="r" b="b"/>
            <a:pathLst>
              <a:path w="28" h="16">
                <a:moveTo>
                  <a:pt x="20" y="0"/>
                </a:moveTo>
                <a:lnTo>
                  <a:pt x="12" y="3"/>
                </a:lnTo>
                <a:lnTo>
                  <a:pt x="8" y="5"/>
                </a:lnTo>
                <a:lnTo>
                  <a:pt x="7" y="6"/>
                </a:lnTo>
                <a:lnTo>
                  <a:pt x="4" y="9"/>
                </a:lnTo>
                <a:lnTo>
                  <a:pt x="1" y="13"/>
                </a:lnTo>
                <a:lnTo>
                  <a:pt x="0" y="16"/>
                </a:lnTo>
                <a:lnTo>
                  <a:pt x="3" y="16"/>
                </a:lnTo>
                <a:lnTo>
                  <a:pt x="7" y="14"/>
                </a:lnTo>
                <a:lnTo>
                  <a:pt x="9" y="14"/>
                </a:lnTo>
                <a:lnTo>
                  <a:pt x="12" y="13"/>
                </a:lnTo>
                <a:lnTo>
                  <a:pt x="16" y="11"/>
                </a:lnTo>
                <a:lnTo>
                  <a:pt x="15" y="9"/>
                </a:lnTo>
                <a:lnTo>
                  <a:pt x="17" y="8"/>
                </a:lnTo>
                <a:lnTo>
                  <a:pt x="20" y="8"/>
                </a:lnTo>
                <a:lnTo>
                  <a:pt x="25" y="5"/>
                </a:lnTo>
                <a:lnTo>
                  <a:pt x="27" y="3"/>
                </a:lnTo>
                <a:lnTo>
                  <a:pt x="28" y="2"/>
                </a:lnTo>
                <a:lnTo>
                  <a:pt x="23" y="0"/>
                </a:lnTo>
                <a:lnTo>
                  <a:pt x="20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36" name="Freeform 736"/>
          <p:cNvSpPr>
            <a:spLocks/>
          </p:cNvSpPr>
          <p:nvPr/>
        </p:nvSpPr>
        <p:spPr bwMode="auto">
          <a:xfrm>
            <a:off x="3259844" y="2123633"/>
            <a:ext cx="56516" cy="32213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12" y="3"/>
              </a:cxn>
              <a:cxn ang="0">
                <a:pos x="8" y="5"/>
              </a:cxn>
              <a:cxn ang="0">
                <a:pos x="7" y="6"/>
              </a:cxn>
              <a:cxn ang="0">
                <a:pos x="4" y="9"/>
              </a:cxn>
              <a:cxn ang="0">
                <a:pos x="1" y="13"/>
              </a:cxn>
              <a:cxn ang="0">
                <a:pos x="0" y="16"/>
              </a:cxn>
              <a:cxn ang="0">
                <a:pos x="3" y="16"/>
              </a:cxn>
              <a:cxn ang="0">
                <a:pos x="7" y="14"/>
              </a:cxn>
              <a:cxn ang="0">
                <a:pos x="9" y="14"/>
              </a:cxn>
              <a:cxn ang="0">
                <a:pos x="12" y="13"/>
              </a:cxn>
              <a:cxn ang="0">
                <a:pos x="16" y="11"/>
              </a:cxn>
              <a:cxn ang="0">
                <a:pos x="15" y="9"/>
              </a:cxn>
              <a:cxn ang="0">
                <a:pos x="17" y="8"/>
              </a:cxn>
              <a:cxn ang="0">
                <a:pos x="20" y="8"/>
              </a:cxn>
              <a:cxn ang="0">
                <a:pos x="25" y="5"/>
              </a:cxn>
              <a:cxn ang="0">
                <a:pos x="27" y="3"/>
              </a:cxn>
              <a:cxn ang="0">
                <a:pos x="28" y="2"/>
              </a:cxn>
              <a:cxn ang="0">
                <a:pos x="23" y="0"/>
              </a:cxn>
              <a:cxn ang="0">
                <a:pos x="20" y="0"/>
              </a:cxn>
            </a:cxnLst>
            <a:rect l="0" t="0" r="r" b="b"/>
            <a:pathLst>
              <a:path w="28" h="16">
                <a:moveTo>
                  <a:pt x="20" y="0"/>
                </a:moveTo>
                <a:lnTo>
                  <a:pt x="12" y="3"/>
                </a:lnTo>
                <a:lnTo>
                  <a:pt x="8" y="5"/>
                </a:lnTo>
                <a:lnTo>
                  <a:pt x="7" y="6"/>
                </a:lnTo>
                <a:lnTo>
                  <a:pt x="4" y="9"/>
                </a:lnTo>
                <a:lnTo>
                  <a:pt x="1" y="13"/>
                </a:lnTo>
                <a:lnTo>
                  <a:pt x="0" y="16"/>
                </a:lnTo>
                <a:lnTo>
                  <a:pt x="3" y="16"/>
                </a:lnTo>
                <a:lnTo>
                  <a:pt x="7" y="14"/>
                </a:lnTo>
                <a:lnTo>
                  <a:pt x="9" y="14"/>
                </a:lnTo>
                <a:lnTo>
                  <a:pt x="12" y="13"/>
                </a:lnTo>
                <a:lnTo>
                  <a:pt x="16" y="11"/>
                </a:lnTo>
                <a:lnTo>
                  <a:pt x="15" y="9"/>
                </a:lnTo>
                <a:lnTo>
                  <a:pt x="17" y="8"/>
                </a:lnTo>
                <a:lnTo>
                  <a:pt x="20" y="8"/>
                </a:lnTo>
                <a:lnTo>
                  <a:pt x="25" y="5"/>
                </a:lnTo>
                <a:lnTo>
                  <a:pt x="27" y="3"/>
                </a:lnTo>
                <a:lnTo>
                  <a:pt x="28" y="2"/>
                </a:lnTo>
                <a:lnTo>
                  <a:pt x="23" y="0"/>
                </a:lnTo>
                <a:lnTo>
                  <a:pt x="20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37" name="Freeform 737"/>
          <p:cNvSpPr>
            <a:spLocks/>
          </p:cNvSpPr>
          <p:nvPr/>
        </p:nvSpPr>
        <p:spPr bwMode="auto">
          <a:xfrm>
            <a:off x="3363132" y="2145109"/>
            <a:ext cx="29232" cy="25772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3" y="0"/>
              </a:cxn>
              <a:cxn ang="0">
                <a:pos x="3" y="2"/>
              </a:cxn>
              <a:cxn ang="0">
                <a:pos x="2" y="2"/>
              </a:cxn>
              <a:cxn ang="0">
                <a:pos x="2" y="3"/>
              </a:cxn>
              <a:cxn ang="0">
                <a:pos x="0" y="5"/>
              </a:cxn>
              <a:cxn ang="0">
                <a:pos x="0" y="8"/>
              </a:cxn>
              <a:cxn ang="0">
                <a:pos x="0" y="9"/>
              </a:cxn>
              <a:cxn ang="0">
                <a:pos x="2" y="11"/>
              </a:cxn>
              <a:cxn ang="0">
                <a:pos x="4" y="12"/>
              </a:cxn>
              <a:cxn ang="0">
                <a:pos x="6" y="14"/>
              </a:cxn>
              <a:cxn ang="0">
                <a:pos x="7" y="14"/>
              </a:cxn>
              <a:cxn ang="0">
                <a:pos x="8" y="12"/>
              </a:cxn>
              <a:cxn ang="0">
                <a:pos x="8" y="11"/>
              </a:cxn>
              <a:cxn ang="0">
                <a:pos x="11" y="8"/>
              </a:cxn>
              <a:cxn ang="0">
                <a:pos x="14" y="5"/>
              </a:cxn>
              <a:cxn ang="0">
                <a:pos x="15" y="3"/>
              </a:cxn>
              <a:cxn ang="0">
                <a:pos x="15" y="2"/>
              </a:cxn>
              <a:cxn ang="0">
                <a:pos x="12" y="0"/>
              </a:cxn>
              <a:cxn ang="0">
                <a:pos x="4" y="0"/>
              </a:cxn>
            </a:cxnLst>
            <a:rect l="0" t="0" r="r" b="b"/>
            <a:pathLst>
              <a:path w="15" h="14">
                <a:moveTo>
                  <a:pt x="4" y="0"/>
                </a:moveTo>
                <a:lnTo>
                  <a:pt x="3" y="0"/>
                </a:lnTo>
                <a:lnTo>
                  <a:pt x="3" y="2"/>
                </a:lnTo>
                <a:lnTo>
                  <a:pt x="2" y="2"/>
                </a:lnTo>
                <a:lnTo>
                  <a:pt x="2" y="3"/>
                </a:lnTo>
                <a:lnTo>
                  <a:pt x="0" y="5"/>
                </a:lnTo>
                <a:lnTo>
                  <a:pt x="0" y="8"/>
                </a:lnTo>
                <a:lnTo>
                  <a:pt x="0" y="9"/>
                </a:lnTo>
                <a:lnTo>
                  <a:pt x="2" y="11"/>
                </a:lnTo>
                <a:lnTo>
                  <a:pt x="4" y="12"/>
                </a:lnTo>
                <a:lnTo>
                  <a:pt x="6" y="14"/>
                </a:lnTo>
                <a:lnTo>
                  <a:pt x="7" y="14"/>
                </a:lnTo>
                <a:lnTo>
                  <a:pt x="8" y="12"/>
                </a:lnTo>
                <a:lnTo>
                  <a:pt x="8" y="11"/>
                </a:lnTo>
                <a:lnTo>
                  <a:pt x="11" y="8"/>
                </a:lnTo>
                <a:lnTo>
                  <a:pt x="14" y="5"/>
                </a:lnTo>
                <a:lnTo>
                  <a:pt x="15" y="3"/>
                </a:lnTo>
                <a:lnTo>
                  <a:pt x="15" y="2"/>
                </a:lnTo>
                <a:lnTo>
                  <a:pt x="12" y="0"/>
                </a:lnTo>
                <a:lnTo>
                  <a:pt x="4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38" name="Freeform 738"/>
          <p:cNvSpPr>
            <a:spLocks/>
          </p:cNvSpPr>
          <p:nvPr/>
        </p:nvSpPr>
        <p:spPr bwMode="auto">
          <a:xfrm>
            <a:off x="3363132" y="2145109"/>
            <a:ext cx="29232" cy="25772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3" y="0"/>
              </a:cxn>
              <a:cxn ang="0">
                <a:pos x="3" y="2"/>
              </a:cxn>
              <a:cxn ang="0">
                <a:pos x="2" y="2"/>
              </a:cxn>
              <a:cxn ang="0">
                <a:pos x="2" y="3"/>
              </a:cxn>
              <a:cxn ang="0">
                <a:pos x="0" y="5"/>
              </a:cxn>
              <a:cxn ang="0">
                <a:pos x="0" y="8"/>
              </a:cxn>
              <a:cxn ang="0">
                <a:pos x="0" y="9"/>
              </a:cxn>
              <a:cxn ang="0">
                <a:pos x="2" y="11"/>
              </a:cxn>
              <a:cxn ang="0">
                <a:pos x="4" y="12"/>
              </a:cxn>
              <a:cxn ang="0">
                <a:pos x="6" y="14"/>
              </a:cxn>
              <a:cxn ang="0">
                <a:pos x="7" y="14"/>
              </a:cxn>
              <a:cxn ang="0">
                <a:pos x="8" y="12"/>
              </a:cxn>
              <a:cxn ang="0">
                <a:pos x="8" y="11"/>
              </a:cxn>
              <a:cxn ang="0">
                <a:pos x="11" y="8"/>
              </a:cxn>
              <a:cxn ang="0">
                <a:pos x="14" y="5"/>
              </a:cxn>
              <a:cxn ang="0">
                <a:pos x="15" y="3"/>
              </a:cxn>
              <a:cxn ang="0">
                <a:pos x="15" y="2"/>
              </a:cxn>
              <a:cxn ang="0">
                <a:pos x="12" y="0"/>
              </a:cxn>
              <a:cxn ang="0">
                <a:pos x="4" y="0"/>
              </a:cxn>
            </a:cxnLst>
            <a:rect l="0" t="0" r="r" b="b"/>
            <a:pathLst>
              <a:path w="15" h="14">
                <a:moveTo>
                  <a:pt x="4" y="0"/>
                </a:moveTo>
                <a:lnTo>
                  <a:pt x="3" y="0"/>
                </a:lnTo>
                <a:lnTo>
                  <a:pt x="3" y="2"/>
                </a:lnTo>
                <a:lnTo>
                  <a:pt x="2" y="2"/>
                </a:lnTo>
                <a:lnTo>
                  <a:pt x="2" y="3"/>
                </a:lnTo>
                <a:lnTo>
                  <a:pt x="0" y="5"/>
                </a:lnTo>
                <a:lnTo>
                  <a:pt x="0" y="8"/>
                </a:lnTo>
                <a:lnTo>
                  <a:pt x="0" y="9"/>
                </a:lnTo>
                <a:lnTo>
                  <a:pt x="2" y="11"/>
                </a:lnTo>
                <a:lnTo>
                  <a:pt x="4" y="12"/>
                </a:lnTo>
                <a:lnTo>
                  <a:pt x="6" y="14"/>
                </a:lnTo>
                <a:lnTo>
                  <a:pt x="7" y="14"/>
                </a:lnTo>
                <a:lnTo>
                  <a:pt x="8" y="12"/>
                </a:lnTo>
                <a:lnTo>
                  <a:pt x="8" y="11"/>
                </a:lnTo>
                <a:lnTo>
                  <a:pt x="11" y="8"/>
                </a:lnTo>
                <a:lnTo>
                  <a:pt x="14" y="5"/>
                </a:lnTo>
                <a:lnTo>
                  <a:pt x="15" y="3"/>
                </a:lnTo>
                <a:lnTo>
                  <a:pt x="15" y="2"/>
                </a:lnTo>
                <a:lnTo>
                  <a:pt x="12" y="0"/>
                </a:lnTo>
                <a:lnTo>
                  <a:pt x="4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39" name="Freeform 739"/>
          <p:cNvSpPr>
            <a:spLocks/>
          </p:cNvSpPr>
          <p:nvPr/>
        </p:nvSpPr>
        <p:spPr bwMode="auto">
          <a:xfrm>
            <a:off x="3710020" y="2205244"/>
            <a:ext cx="13640" cy="10737"/>
          </a:xfrm>
          <a:custGeom>
            <a:avLst/>
            <a:gdLst/>
            <a:ahLst/>
            <a:cxnLst>
              <a:cxn ang="0">
                <a:pos x="1" y="2"/>
              </a:cxn>
              <a:cxn ang="0">
                <a:pos x="0" y="5"/>
              </a:cxn>
              <a:cxn ang="0">
                <a:pos x="1" y="5"/>
              </a:cxn>
              <a:cxn ang="0">
                <a:pos x="4" y="5"/>
              </a:cxn>
              <a:cxn ang="0">
                <a:pos x="5" y="3"/>
              </a:cxn>
              <a:cxn ang="0">
                <a:pos x="8" y="2"/>
              </a:cxn>
              <a:cxn ang="0">
                <a:pos x="7" y="0"/>
              </a:cxn>
              <a:cxn ang="0">
                <a:pos x="4" y="0"/>
              </a:cxn>
              <a:cxn ang="0">
                <a:pos x="3" y="0"/>
              </a:cxn>
              <a:cxn ang="0">
                <a:pos x="1" y="2"/>
              </a:cxn>
            </a:cxnLst>
            <a:rect l="0" t="0" r="r" b="b"/>
            <a:pathLst>
              <a:path w="8" h="5">
                <a:moveTo>
                  <a:pt x="1" y="2"/>
                </a:moveTo>
                <a:lnTo>
                  <a:pt x="0" y="5"/>
                </a:lnTo>
                <a:lnTo>
                  <a:pt x="1" y="5"/>
                </a:lnTo>
                <a:lnTo>
                  <a:pt x="4" y="5"/>
                </a:lnTo>
                <a:lnTo>
                  <a:pt x="5" y="3"/>
                </a:lnTo>
                <a:lnTo>
                  <a:pt x="8" y="2"/>
                </a:lnTo>
                <a:lnTo>
                  <a:pt x="7" y="0"/>
                </a:lnTo>
                <a:lnTo>
                  <a:pt x="4" y="0"/>
                </a:lnTo>
                <a:lnTo>
                  <a:pt x="3" y="0"/>
                </a:lnTo>
                <a:lnTo>
                  <a:pt x="1" y="2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40" name="Freeform 740"/>
          <p:cNvSpPr>
            <a:spLocks/>
          </p:cNvSpPr>
          <p:nvPr/>
        </p:nvSpPr>
        <p:spPr bwMode="auto">
          <a:xfrm>
            <a:off x="3710020" y="2205244"/>
            <a:ext cx="13640" cy="10737"/>
          </a:xfrm>
          <a:custGeom>
            <a:avLst/>
            <a:gdLst/>
            <a:ahLst/>
            <a:cxnLst>
              <a:cxn ang="0">
                <a:pos x="1" y="2"/>
              </a:cxn>
              <a:cxn ang="0">
                <a:pos x="0" y="5"/>
              </a:cxn>
              <a:cxn ang="0">
                <a:pos x="1" y="5"/>
              </a:cxn>
              <a:cxn ang="0">
                <a:pos x="4" y="5"/>
              </a:cxn>
              <a:cxn ang="0">
                <a:pos x="5" y="3"/>
              </a:cxn>
              <a:cxn ang="0">
                <a:pos x="8" y="2"/>
              </a:cxn>
              <a:cxn ang="0">
                <a:pos x="7" y="0"/>
              </a:cxn>
              <a:cxn ang="0">
                <a:pos x="4" y="0"/>
              </a:cxn>
              <a:cxn ang="0">
                <a:pos x="3" y="0"/>
              </a:cxn>
              <a:cxn ang="0">
                <a:pos x="1" y="2"/>
              </a:cxn>
            </a:cxnLst>
            <a:rect l="0" t="0" r="r" b="b"/>
            <a:pathLst>
              <a:path w="8" h="5">
                <a:moveTo>
                  <a:pt x="1" y="2"/>
                </a:moveTo>
                <a:lnTo>
                  <a:pt x="0" y="5"/>
                </a:lnTo>
                <a:lnTo>
                  <a:pt x="1" y="5"/>
                </a:lnTo>
                <a:lnTo>
                  <a:pt x="4" y="5"/>
                </a:lnTo>
                <a:lnTo>
                  <a:pt x="5" y="3"/>
                </a:lnTo>
                <a:lnTo>
                  <a:pt x="8" y="2"/>
                </a:lnTo>
                <a:lnTo>
                  <a:pt x="7" y="0"/>
                </a:lnTo>
                <a:lnTo>
                  <a:pt x="4" y="0"/>
                </a:lnTo>
                <a:lnTo>
                  <a:pt x="3" y="0"/>
                </a:lnTo>
                <a:lnTo>
                  <a:pt x="1" y="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41" name="Freeform 741"/>
          <p:cNvSpPr>
            <a:spLocks/>
          </p:cNvSpPr>
          <p:nvPr/>
        </p:nvSpPr>
        <p:spPr bwMode="auto">
          <a:xfrm>
            <a:off x="3789921" y="2166587"/>
            <a:ext cx="23386" cy="12885"/>
          </a:xfrm>
          <a:custGeom>
            <a:avLst/>
            <a:gdLst/>
            <a:ahLst/>
            <a:cxnLst>
              <a:cxn ang="0">
                <a:pos x="6" y="0"/>
              </a:cxn>
              <a:cxn ang="0">
                <a:pos x="8" y="0"/>
              </a:cxn>
              <a:cxn ang="0">
                <a:pos x="9" y="1"/>
              </a:cxn>
              <a:cxn ang="0">
                <a:pos x="10" y="1"/>
              </a:cxn>
              <a:cxn ang="0">
                <a:pos x="12" y="3"/>
              </a:cxn>
              <a:cxn ang="0">
                <a:pos x="10" y="6"/>
              </a:cxn>
              <a:cxn ang="0">
                <a:pos x="9" y="6"/>
              </a:cxn>
              <a:cxn ang="0">
                <a:pos x="5" y="6"/>
              </a:cxn>
              <a:cxn ang="0">
                <a:pos x="5" y="5"/>
              </a:cxn>
              <a:cxn ang="0">
                <a:pos x="4" y="5"/>
              </a:cxn>
              <a:cxn ang="0">
                <a:pos x="2" y="3"/>
              </a:cxn>
              <a:cxn ang="0">
                <a:pos x="0" y="3"/>
              </a:cxn>
              <a:cxn ang="0">
                <a:pos x="0" y="1"/>
              </a:cxn>
              <a:cxn ang="0">
                <a:pos x="2" y="0"/>
              </a:cxn>
              <a:cxn ang="0">
                <a:pos x="6" y="0"/>
              </a:cxn>
            </a:cxnLst>
            <a:rect l="0" t="0" r="r" b="b"/>
            <a:pathLst>
              <a:path w="12" h="6">
                <a:moveTo>
                  <a:pt x="6" y="0"/>
                </a:moveTo>
                <a:lnTo>
                  <a:pt x="8" y="0"/>
                </a:lnTo>
                <a:lnTo>
                  <a:pt x="9" y="1"/>
                </a:lnTo>
                <a:lnTo>
                  <a:pt x="10" y="1"/>
                </a:lnTo>
                <a:lnTo>
                  <a:pt x="12" y="3"/>
                </a:lnTo>
                <a:lnTo>
                  <a:pt x="10" y="6"/>
                </a:lnTo>
                <a:lnTo>
                  <a:pt x="9" y="6"/>
                </a:lnTo>
                <a:lnTo>
                  <a:pt x="5" y="6"/>
                </a:lnTo>
                <a:lnTo>
                  <a:pt x="5" y="5"/>
                </a:lnTo>
                <a:lnTo>
                  <a:pt x="4" y="5"/>
                </a:lnTo>
                <a:lnTo>
                  <a:pt x="2" y="3"/>
                </a:lnTo>
                <a:lnTo>
                  <a:pt x="0" y="3"/>
                </a:lnTo>
                <a:lnTo>
                  <a:pt x="0" y="1"/>
                </a:lnTo>
                <a:lnTo>
                  <a:pt x="2" y="0"/>
                </a:lnTo>
                <a:lnTo>
                  <a:pt x="6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42" name="Freeform 742"/>
          <p:cNvSpPr>
            <a:spLocks/>
          </p:cNvSpPr>
          <p:nvPr/>
        </p:nvSpPr>
        <p:spPr bwMode="auto">
          <a:xfrm>
            <a:off x="3789921" y="2166587"/>
            <a:ext cx="23386" cy="12885"/>
          </a:xfrm>
          <a:custGeom>
            <a:avLst/>
            <a:gdLst/>
            <a:ahLst/>
            <a:cxnLst>
              <a:cxn ang="0">
                <a:pos x="6" y="0"/>
              </a:cxn>
              <a:cxn ang="0">
                <a:pos x="8" y="0"/>
              </a:cxn>
              <a:cxn ang="0">
                <a:pos x="9" y="1"/>
              </a:cxn>
              <a:cxn ang="0">
                <a:pos x="10" y="1"/>
              </a:cxn>
              <a:cxn ang="0">
                <a:pos x="12" y="3"/>
              </a:cxn>
              <a:cxn ang="0">
                <a:pos x="10" y="6"/>
              </a:cxn>
              <a:cxn ang="0">
                <a:pos x="9" y="6"/>
              </a:cxn>
              <a:cxn ang="0">
                <a:pos x="5" y="6"/>
              </a:cxn>
              <a:cxn ang="0">
                <a:pos x="5" y="5"/>
              </a:cxn>
              <a:cxn ang="0">
                <a:pos x="4" y="5"/>
              </a:cxn>
              <a:cxn ang="0">
                <a:pos x="2" y="3"/>
              </a:cxn>
              <a:cxn ang="0">
                <a:pos x="0" y="3"/>
              </a:cxn>
              <a:cxn ang="0">
                <a:pos x="0" y="1"/>
              </a:cxn>
              <a:cxn ang="0">
                <a:pos x="2" y="0"/>
              </a:cxn>
              <a:cxn ang="0">
                <a:pos x="6" y="0"/>
              </a:cxn>
            </a:cxnLst>
            <a:rect l="0" t="0" r="r" b="b"/>
            <a:pathLst>
              <a:path w="12" h="6">
                <a:moveTo>
                  <a:pt x="6" y="0"/>
                </a:moveTo>
                <a:lnTo>
                  <a:pt x="8" y="0"/>
                </a:lnTo>
                <a:lnTo>
                  <a:pt x="9" y="1"/>
                </a:lnTo>
                <a:lnTo>
                  <a:pt x="10" y="1"/>
                </a:lnTo>
                <a:lnTo>
                  <a:pt x="12" y="3"/>
                </a:lnTo>
                <a:lnTo>
                  <a:pt x="10" y="6"/>
                </a:lnTo>
                <a:lnTo>
                  <a:pt x="9" y="6"/>
                </a:lnTo>
                <a:lnTo>
                  <a:pt x="5" y="6"/>
                </a:lnTo>
                <a:lnTo>
                  <a:pt x="5" y="5"/>
                </a:lnTo>
                <a:lnTo>
                  <a:pt x="4" y="5"/>
                </a:lnTo>
                <a:lnTo>
                  <a:pt x="2" y="3"/>
                </a:lnTo>
                <a:lnTo>
                  <a:pt x="0" y="3"/>
                </a:lnTo>
                <a:lnTo>
                  <a:pt x="0" y="1"/>
                </a:lnTo>
                <a:lnTo>
                  <a:pt x="2" y="0"/>
                </a:lnTo>
                <a:lnTo>
                  <a:pt x="6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43" name="Freeform 743"/>
          <p:cNvSpPr>
            <a:spLocks/>
          </p:cNvSpPr>
          <p:nvPr/>
        </p:nvSpPr>
        <p:spPr bwMode="auto">
          <a:xfrm>
            <a:off x="3078605" y="1741359"/>
            <a:ext cx="830195" cy="418783"/>
          </a:xfrm>
          <a:custGeom>
            <a:avLst/>
            <a:gdLst/>
            <a:ahLst/>
            <a:cxnLst>
              <a:cxn ang="0">
                <a:pos x="313" y="196"/>
              </a:cxn>
              <a:cxn ang="0">
                <a:pos x="331" y="206"/>
              </a:cxn>
              <a:cxn ang="0">
                <a:pos x="363" y="204"/>
              </a:cxn>
              <a:cxn ang="0">
                <a:pos x="327" y="184"/>
              </a:cxn>
              <a:cxn ang="0">
                <a:pos x="363" y="191"/>
              </a:cxn>
              <a:cxn ang="0">
                <a:pos x="382" y="201"/>
              </a:cxn>
              <a:cxn ang="0">
                <a:pos x="382" y="190"/>
              </a:cxn>
              <a:cxn ang="0">
                <a:pos x="378" y="173"/>
              </a:cxn>
              <a:cxn ang="0">
                <a:pos x="366" y="158"/>
              </a:cxn>
              <a:cxn ang="0">
                <a:pos x="346" y="151"/>
              </a:cxn>
              <a:cxn ang="0">
                <a:pos x="347" y="140"/>
              </a:cxn>
              <a:cxn ang="0">
                <a:pos x="343" y="130"/>
              </a:cxn>
              <a:cxn ang="0">
                <a:pos x="375" y="144"/>
              </a:cxn>
              <a:cxn ang="0">
                <a:pos x="403" y="155"/>
              </a:cxn>
              <a:cxn ang="0">
                <a:pos x="424" y="140"/>
              </a:cxn>
              <a:cxn ang="0">
                <a:pos x="430" y="130"/>
              </a:cxn>
              <a:cxn ang="0">
                <a:pos x="410" y="116"/>
              </a:cxn>
              <a:cxn ang="0">
                <a:pos x="386" y="107"/>
              </a:cxn>
              <a:cxn ang="0">
                <a:pos x="362" y="100"/>
              </a:cxn>
              <a:cxn ang="0">
                <a:pos x="339" y="91"/>
              </a:cxn>
              <a:cxn ang="0">
                <a:pos x="343" y="83"/>
              </a:cxn>
              <a:cxn ang="0">
                <a:pos x="322" y="77"/>
              </a:cxn>
              <a:cxn ang="0">
                <a:pos x="326" y="67"/>
              </a:cxn>
              <a:cxn ang="0">
                <a:pos x="327" y="58"/>
              </a:cxn>
              <a:cxn ang="0">
                <a:pos x="301" y="55"/>
              </a:cxn>
              <a:cxn ang="0">
                <a:pos x="285" y="48"/>
              </a:cxn>
              <a:cxn ang="0">
                <a:pos x="256" y="44"/>
              </a:cxn>
              <a:cxn ang="0">
                <a:pos x="233" y="37"/>
              </a:cxn>
              <a:cxn ang="0">
                <a:pos x="224" y="23"/>
              </a:cxn>
              <a:cxn ang="0">
                <a:pos x="159" y="26"/>
              </a:cxn>
              <a:cxn ang="0">
                <a:pos x="143" y="31"/>
              </a:cxn>
              <a:cxn ang="0">
                <a:pos x="132" y="11"/>
              </a:cxn>
              <a:cxn ang="0">
                <a:pos x="96" y="8"/>
              </a:cxn>
              <a:cxn ang="0">
                <a:pos x="73" y="12"/>
              </a:cxn>
              <a:cxn ang="0">
                <a:pos x="67" y="17"/>
              </a:cxn>
              <a:cxn ang="0">
                <a:pos x="69" y="31"/>
              </a:cxn>
              <a:cxn ang="0">
                <a:pos x="80" y="47"/>
              </a:cxn>
              <a:cxn ang="0">
                <a:pos x="63" y="47"/>
              </a:cxn>
              <a:cxn ang="0">
                <a:pos x="52" y="22"/>
              </a:cxn>
              <a:cxn ang="0">
                <a:pos x="42" y="1"/>
              </a:cxn>
              <a:cxn ang="0">
                <a:pos x="7" y="22"/>
              </a:cxn>
              <a:cxn ang="0">
                <a:pos x="3" y="44"/>
              </a:cxn>
              <a:cxn ang="0">
                <a:pos x="11" y="52"/>
              </a:cxn>
              <a:cxn ang="0">
                <a:pos x="57" y="66"/>
              </a:cxn>
              <a:cxn ang="0">
                <a:pos x="121" y="70"/>
              </a:cxn>
              <a:cxn ang="0">
                <a:pos x="143" y="67"/>
              </a:cxn>
              <a:cxn ang="0">
                <a:pos x="164" y="59"/>
              </a:cxn>
              <a:cxn ang="0">
                <a:pos x="197" y="75"/>
              </a:cxn>
              <a:cxn ang="0">
                <a:pos x="220" y="86"/>
              </a:cxn>
              <a:cxn ang="0">
                <a:pos x="246" y="91"/>
              </a:cxn>
              <a:cxn ang="0">
                <a:pos x="269" y="116"/>
              </a:cxn>
              <a:cxn ang="0">
                <a:pos x="241" y="141"/>
              </a:cxn>
              <a:cxn ang="0">
                <a:pos x="224" y="152"/>
              </a:cxn>
              <a:cxn ang="0">
                <a:pos x="182" y="158"/>
              </a:cxn>
              <a:cxn ang="0">
                <a:pos x="214" y="168"/>
              </a:cxn>
              <a:cxn ang="0">
                <a:pos x="234" y="163"/>
              </a:cxn>
              <a:cxn ang="0">
                <a:pos x="250" y="163"/>
              </a:cxn>
              <a:cxn ang="0">
                <a:pos x="264" y="176"/>
              </a:cxn>
              <a:cxn ang="0">
                <a:pos x="285" y="182"/>
              </a:cxn>
            </a:cxnLst>
            <a:rect l="0" t="0" r="r" b="b"/>
            <a:pathLst>
              <a:path w="435" h="212">
                <a:moveTo>
                  <a:pt x="286" y="193"/>
                </a:moveTo>
                <a:lnTo>
                  <a:pt x="290" y="193"/>
                </a:lnTo>
                <a:lnTo>
                  <a:pt x="295" y="195"/>
                </a:lnTo>
                <a:lnTo>
                  <a:pt x="297" y="195"/>
                </a:lnTo>
                <a:lnTo>
                  <a:pt x="301" y="196"/>
                </a:lnTo>
                <a:lnTo>
                  <a:pt x="303" y="196"/>
                </a:lnTo>
                <a:lnTo>
                  <a:pt x="306" y="193"/>
                </a:lnTo>
                <a:lnTo>
                  <a:pt x="306" y="195"/>
                </a:lnTo>
                <a:lnTo>
                  <a:pt x="306" y="196"/>
                </a:lnTo>
                <a:lnTo>
                  <a:pt x="307" y="196"/>
                </a:lnTo>
                <a:lnTo>
                  <a:pt x="309" y="196"/>
                </a:lnTo>
                <a:lnTo>
                  <a:pt x="311" y="196"/>
                </a:lnTo>
                <a:lnTo>
                  <a:pt x="313" y="196"/>
                </a:lnTo>
                <a:lnTo>
                  <a:pt x="313" y="198"/>
                </a:lnTo>
                <a:lnTo>
                  <a:pt x="313" y="199"/>
                </a:lnTo>
                <a:lnTo>
                  <a:pt x="315" y="199"/>
                </a:lnTo>
                <a:lnTo>
                  <a:pt x="317" y="199"/>
                </a:lnTo>
                <a:lnTo>
                  <a:pt x="317" y="201"/>
                </a:lnTo>
                <a:lnTo>
                  <a:pt x="319" y="202"/>
                </a:lnTo>
                <a:lnTo>
                  <a:pt x="322" y="204"/>
                </a:lnTo>
                <a:lnTo>
                  <a:pt x="323" y="201"/>
                </a:lnTo>
                <a:lnTo>
                  <a:pt x="323" y="204"/>
                </a:lnTo>
                <a:lnTo>
                  <a:pt x="325" y="204"/>
                </a:lnTo>
                <a:lnTo>
                  <a:pt x="326" y="206"/>
                </a:lnTo>
                <a:lnTo>
                  <a:pt x="330" y="206"/>
                </a:lnTo>
                <a:lnTo>
                  <a:pt x="331" y="206"/>
                </a:lnTo>
                <a:lnTo>
                  <a:pt x="334" y="207"/>
                </a:lnTo>
                <a:lnTo>
                  <a:pt x="341" y="207"/>
                </a:lnTo>
                <a:lnTo>
                  <a:pt x="343" y="209"/>
                </a:lnTo>
                <a:lnTo>
                  <a:pt x="345" y="209"/>
                </a:lnTo>
                <a:lnTo>
                  <a:pt x="349" y="209"/>
                </a:lnTo>
                <a:lnTo>
                  <a:pt x="353" y="209"/>
                </a:lnTo>
                <a:lnTo>
                  <a:pt x="359" y="212"/>
                </a:lnTo>
                <a:lnTo>
                  <a:pt x="365" y="212"/>
                </a:lnTo>
                <a:lnTo>
                  <a:pt x="365" y="210"/>
                </a:lnTo>
                <a:lnTo>
                  <a:pt x="362" y="209"/>
                </a:lnTo>
                <a:lnTo>
                  <a:pt x="363" y="207"/>
                </a:lnTo>
                <a:lnTo>
                  <a:pt x="363" y="206"/>
                </a:lnTo>
                <a:lnTo>
                  <a:pt x="363" y="204"/>
                </a:lnTo>
                <a:lnTo>
                  <a:pt x="358" y="201"/>
                </a:lnTo>
                <a:lnTo>
                  <a:pt x="354" y="199"/>
                </a:lnTo>
                <a:lnTo>
                  <a:pt x="351" y="198"/>
                </a:lnTo>
                <a:lnTo>
                  <a:pt x="350" y="198"/>
                </a:lnTo>
                <a:lnTo>
                  <a:pt x="345" y="195"/>
                </a:lnTo>
                <a:lnTo>
                  <a:pt x="343" y="193"/>
                </a:lnTo>
                <a:lnTo>
                  <a:pt x="339" y="191"/>
                </a:lnTo>
                <a:lnTo>
                  <a:pt x="339" y="190"/>
                </a:lnTo>
                <a:lnTo>
                  <a:pt x="337" y="191"/>
                </a:lnTo>
                <a:lnTo>
                  <a:pt x="335" y="188"/>
                </a:lnTo>
                <a:lnTo>
                  <a:pt x="334" y="188"/>
                </a:lnTo>
                <a:lnTo>
                  <a:pt x="333" y="188"/>
                </a:lnTo>
                <a:lnTo>
                  <a:pt x="327" y="184"/>
                </a:lnTo>
                <a:lnTo>
                  <a:pt x="325" y="182"/>
                </a:lnTo>
                <a:lnTo>
                  <a:pt x="322" y="179"/>
                </a:lnTo>
                <a:lnTo>
                  <a:pt x="325" y="179"/>
                </a:lnTo>
                <a:lnTo>
                  <a:pt x="330" y="180"/>
                </a:lnTo>
                <a:lnTo>
                  <a:pt x="335" y="184"/>
                </a:lnTo>
                <a:lnTo>
                  <a:pt x="338" y="184"/>
                </a:lnTo>
                <a:lnTo>
                  <a:pt x="338" y="182"/>
                </a:lnTo>
                <a:lnTo>
                  <a:pt x="341" y="182"/>
                </a:lnTo>
                <a:lnTo>
                  <a:pt x="346" y="187"/>
                </a:lnTo>
                <a:lnTo>
                  <a:pt x="349" y="188"/>
                </a:lnTo>
                <a:lnTo>
                  <a:pt x="353" y="188"/>
                </a:lnTo>
                <a:lnTo>
                  <a:pt x="354" y="191"/>
                </a:lnTo>
                <a:lnTo>
                  <a:pt x="363" y="191"/>
                </a:lnTo>
                <a:lnTo>
                  <a:pt x="366" y="195"/>
                </a:lnTo>
                <a:lnTo>
                  <a:pt x="367" y="193"/>
                </a:lnTo>
                <a:lnTo>
                  <a:pt x="369" y="193"/>
                </a:lnTo>
                <a:lnTo>
                  <a:pt x="371" y="195"/>
                </a:lnTo>
                <a:lnTo>
                  <a:pt x="373" y="193"/>
                </a:lnTo>
                <a:lnTo>
                  <a:pt x="374" y="193"/>
                </a:lnTo>
                <a:lnTo>
                  <a:pt x="374" y="195"/>
                </a:lnTo>
                <a:lnTo>
                  <a:pt x="377" y="196"/>
                </a:lnTo>
                <a:lnTo>
                  <a:pt x="378" y="195"/>
                </a:lnTo>
                <a:lnTo>
                  <a:pt x="378" y="196"/>
                </a:lnTo>
                <a:lnTo>
                  <a:pt x="378" y="198"/>
                </a:lnTo>
                <a:lnTo>
                  <a:pt x="381" y="199"/>
                </a:lnTo>
                <a:lnTo>
                  <a:pt x="382" y="201"/>
                </a:lnTo>
                <a:lnTo>
                  <a:pt x="383" y="199"/>
                </a:lnTo>
                <a:lnTo>
                  <a:pt x="382" y="198"/>
                </a:lnTo>
                <a:lnTo>
                  <a:pt x="381" y="196"/>
                </a:lnTo>
                <a:lnTo>
                  <a:pt x="379" y="195"/>
                </a:lnTo>
                <a:lnTo>
                  <a:pt x="381" y="193"/>
                </a:lnTo>
                <a:lnTo>
                  <a:pt x="383" y="193"/>
                </a:lnTo>
                <a:lnTo>
                  <a:pt x="386" y="195"/>
                </a:lnTo>
                <a:lnTo>
                  <a:pt x="389" y="195"/>
                </a:lnTo>
                <a:lnTo>
                  <a:pt x="389" y="193"/>
                </a:lnTo>
                <a:lnTo>
                  <a:pt x="387" y="193"/>
                </a:lnTo>
                <a:lnTo>
                  <a:pt x="386" y="191"/>
                </a:lnTo>
                <a:lnTo>
                  <a:pt x="383" y="191"/>
                </a:lnTo>
                <a:lnTo>
                  <a:pt x="382" y="190"/>
                </a:lnTo>
                <a:lnTo>
                  <a:pt x="381" y="188"/>
                </a:lnTo>
                <a:lnTo>
                  <a:pt x="381" y="187"/>
                </a:lnTo>
                <a:lnTo>
                  <a:pt x="381" y="184"/>
                </a:lnTo>
                <a:lnTo>
                  <a:pt x="383" y="185"/>
                </a:lnTo>
                <a:lnTo>
                  <a:pt x="387" y="187"/>
                </a:lnTo>
                <a:lnTo>
                  <a:pt x="386" y="185"/>
                </a:lnTo>
                <a:lnTo>
                  <a:pt x="387" y="184"/>
                </a:lnTo>
                <a:lnTo>
                  <a:pt x="387" y="182"/>
                </a:lnTo>
                <a:lnTo>
                  <a:pt x="389" y="180"/>
                </a:lnTo>
                <a:lnTo>
                  <a:pt x="387" y="177"/>
                </a:lnTo>
                <a:lnTo>
                  <a:pt x="386" y="174"/>
                </a:lnTo>
                <a:lnTo>
                  <a:pt x="382" y="174"/>
                </a:lnTo>
                <a:lnTo>
                  <a:pt x="378" y="173"/>
                </a:lnTo>
                <a:lnTo>
                  <a:pt x="377" y="173"/>
                </a:lnTo>
                <a:lnTo>
                  <a:pt x="377" y="169"/>
                </a:lnTo>
                <a:lnTo>
                  <a:pt x="379" y="169"/>
                </a:lnTo>
                <a:lnTo>
                  <a:pt x="381" y="166"/>
                </a:lnTo>
                <a:lnTo>
                  <a:pt x="379" y="165"/>
                </a:lnTo>
                <a:lnTo>
                  <a:pt x="377" y="165"/>
                </a:lnTo>
                <a:lnTo>
                  <a:pt x="377" y="163"/>
                </a:lnTo>
                <a:lnTo>
                  <a:pt x="375" y="163"/>
                </a:lnTo>
                <a:lnTo>
                  <a:pt x="375" y="162"/>
                </a:lnTo>
                <a:lnTo>
                  <a:pt x="370" y="165"/>
                </a:lnTo>
                <a:lnTo>
                  <a:pt x="370" y="162"/>
                </a:lnTo>
                <a:lnTo>
                  <a:pt x="370" y="160"/>
                </a:lnTo>
                <a:lnTo>
                  <a:pt x="366" y="158"/>
                </a:lnTo>
                <a:lnTo>
                  <a:pt x="362" y="162"/>
                </a:lnTo>
                <a:lnTo>
                  <a:pt x="359" y="160"/>
                </a:lnTo>
                <a:lnTo>
                  <a:pt x="363" y="158"/>
                </a:lnTo>
                <a:lnTo>
                  <a:pt x="361" y="158"/>
                </a:lnTo>
                <a:lnTo>
                  <a:pt x="358" y="157"/>
                </a:lnTo>
                <a:lnTo>
                  <a:pt x="355" y="158"/>
                </a:lnTo>
                <a:lnTo>
                  <a:pt x="354" y="160"/>
                </a:lnTo>
                <a:lnTo>
                  <a:pt x="353" y="158"/>
                </a:lnTo>
                <a:lnTo>
                  <a:pt x="351" y="155"/>
                </a:lnTo>
                <a:lnTo>
                  <a:pt x="350" y="154"/>
                </a:lnTo>
                <a:lnTo>
                  <a:pt x="346" y="152"/>
                </a:lnTo>
                <a:lnTo>
                  <a:pt x="347" y="151"/>
                </a:lnTo>
                <a:lnTo>
                  <a:pt x="346" y="151"/>
                </a:lnTo>
                <a:lnTo>
                  <a:pt x="347" y="149"/>
                </a:lnTo>
                <a:lnTo>
                  <a:pt x="345" y="149"/>
                </a:lnTo>
                <a:lnTo>
                  <a:pt x="345" y="147"/>
                </a:lnTo>
                <a:lnTo>
                  <a:pt x="346" y="146"/>
                </a:lnTo>
                <a:lnTo>
                  <a:pt x="342" y="146"/>
                </a:lnTo>
                <a:lnTo>
                  <a:pt x="337" y="146"/>
                </a:lnTo>
                <a:lnTo>
                  <a:pt x="335" y="146"/>
                </a:lnTo>
                <a:lnTo>
                  <a:pt x="337" y="144"/>
                </a:lnTo>
                <a:lnTo>
                  <a:pt x="337" y="141"/>
                </a:lnTo>
                <a:lnTo>
                  <a:pt x="338" y="141"/>
                </a:lnTo>
                <a:lnTo>
                  <a:pt x="339" y="141"/>
                </a:lnTo>
                <a:lnTo>
                  <a:pt x="345" y="140"/>
                </a:lnTo>
                <a:lnTo>
                  <a:pt x="347" y="140"/>
                </a:lnTo>
                <a:lnTo>
                  <a:pt x="346" y="138"/>
                </a:lnTo>
                <a:lnTo>
                  <a:pt x="342" y="136"/>
                </a:lnTo>
                <a:lnTo>
                  <a:pt x="337" y="135"/>
                </a:lnTo>
                <a:lnTo>
                  <a:pt x="334" y="135"/>
                </a:lnTo>
                <a:lnTo>
                  <a:pt x="333" y="132"/>
                </a:lnTo>
                <a:lnTo>
                  <a:pt x="338" y="132"/>
                </a:lnTo>
                <a:lnTo>
                  <a:pt x="337" y="130"/>
                </a:lnTo>
                <a:lnTo>
                  <a:pt x="338" y="130"/>
                </a:lnTo>
                <a:lnTo>
                  <a:pt x="345" y="133"/>
                </a:lnTo>
                <a:lnTo>
                  <a:pt x="347" y="133"/>
                </a:lnTo>
                <a:lnTo>
                  <a:pt x="345" y="132"/>
                </a:lnTo>
                <a:lnTo>
                  <a:pt x="347" y="132"/>
                </a:lnTo>
                <a:lnTo>
                  <a:pt x="343" y="130"/>
                </a:lnTo>
                <a:lnTo>
                  <a:pt x="345" y="129"/>
                </a:lnTo>
                <a:lnTo>
                  <a:pt x="349" y="130"/>
                </a:lnTo>
                <a:lnTo>
                  <a:pt x="351" y="130"/>
                </a:lnTo>
                <a:lnTo>
                  <a:pt x="351" y="132"/>
                </a:lnTo>
                <a:lnTo>
                  <a:pt x="350" y="133"/>
                </a:lnTo>
                <a:lnTo>
                  <a:pt x="354" y="133"/>
                </a:lnTo>
                <a:lnTo>
                  <a:pt x="362" y="136"/>
                </a:lnTo>
                <a:lnTo>
                  <a:pt x="366" y="138"/>
                </a:lnTo>
                <a:lnTo>
                  <a:pt x="367" y="140"/>
                </a:lnTo>
                <a:lnTo>
                  <a:pt x="371" y="140"/>
                </a:lnTo>
                <a:lnTo>
                  <a:pt x="375" y="140"/>
                </a:lnTo>
                <a:lnTo>
                  <a:pt x="374" y="141"/>
                </a:lnTo>
                <a:lnTo>
                  <a:pt x="375" y="144"/>
                </a:lnTo>
                <a:lnTo>
                  <a:pt x="375" y="146"/>
                </a:lnTo>
                <a:lnTo>
                  <a:pt x="381" y="149"/>
                </a:lnTo>
                <a:lnTo>
                  <a:pt x="385" y="147"/>
                </a:lnTo>
                <a:lnTo>
                  <a:pt x="386" y="149"/>
                </a:lnTo>
                <a:lnTo>
                  <a:pt x="383" y="152"/>
                </a:lnTo>
                <a:lnTo>
                  <a:pt x="387" y="154"/>
                </a:lnTo>
                <a:lnTo>
                  <a:pt x="391" y="152"/>
                </a:lnTo>
                <a:lnTo>
                  <a:pt x="394" y="155"/>
                </a:lnTo>
                <a:lnTo>
                  <a:pt x="396" y="155"/>
                </a:lnTo>
                <a:lnTo>
                  <a:pt x="398" y="157"/>
                </a:lnTo>
                <a:lnTo>
                  <a:pt x="399" y="158"/>
                </a:lnTo>
                <a:lnTo>
                  <a:pt x="402" y="158"/>
                </a:lnTo>
                <a:lnTo>
                  <a:pt x="403" y="155"/>
                </a:lnTo>
                <a:lnTo>
                  <a:pt x="403" y="154"/>
                </a:lnTo>
                <a:lnTo>
                  <a:pt x="404" y="152"/>
                </a:lnTo>
                <a:lnTo>
                  <a:pt x="407" y="152"/>
                </a:lnTo>
                <a:lnTo>
                  <a:pt x="406" y="149"/>
                </a:lnTo>
                <a:lnTo>
                  <a:pt x="403" y="146"/>
                </a:lnTo>
                <a:lnTo>
                  <a:pt x="403" y="143"/>
                </a:lnTo>
                <a:lnTo>
                  <a:pt x="410" y="146"/>
                </a:lnTo>
                <a:lnTo>
                  <a:pt x="414" y="146"/>
                </a:lnTo>
                <a:lnTo>
                  <a:pt x="415" y="146"/>
                </a:lnTo>
                <a:lnTo>
                  <a:pt x="416" y="144"/>
                </a:lnTo>
                <a:lnTo>
                  <a:pt x="419" y="143"/>
                </a:lnTo>
                <a:lnTo>
                  <a:pt x="419" y="140"/>
                </a:lnTo>
                <a:lnTo>
                  <a:pt x="424" y="140"/>
                </a:lnTo>
                <a:lnTo>
                  <a:pt x="422" y="138"/>
                </a:lnTo>
                <a:lnTo>
                  <a:pt x="416" y="138"/>
                </a:lnTo>
                <a:lnTo>
                  <a:pt x="416" y="136"/>
                </a:lnTo>
                <a:lnTo>
                  <a:pt x="420" y="136"/>
                </a:lnTo>
                <a:lnTo>
                  <a:pt x="420" y="135"/>
                </a:lnTo>
                <a:lnTo>
                  <a:pt x="416" y="133"/>
                </a:lnTo>
                <a:lnTo>
                  <a:pt x="419" y="133"/>
                </a:lnTo>
                <a:lnTo>
                  <a:pt x="426" y="135"/>
                </a:lnTo>
                <a:lnTo>
                  <a:pt x="430" y="135"/>
                </a:lnTo>
                <a:lnTo>
                  <a:pt x="431" y="133"/>
                </a:lnTo>
                <a:lnTo>
                  <a:pt x="428" y="132"/>
                </a:lnTo>
                <a:lnTo>
                  <a:pt x="430" y="132"/>
                </a:lnTo>
                <a:lnTo>
                  <a:pt x="430" y="130"/>
                </a:lnTo>
                <a:lnTo>
                  <a:pt x="432" y="130"/>
                </a:lnTo>
                <a:lnTo>
                  <a:pt x="435" y="129"/>
                </a:lnTo>
                <a:lnTo>
                  <a:pt x="432" y="125"/>
                </a:lnTo>
                <a:lnTo>
                  <a:pt x="427" y="124"/>
                </a:lnTo>
                <a:lnTo>
                  <a:pt x="424" y="122"/>
                </a:lnTo>
                <a:lnTo>
                  <a:pt x="423" y="122"/>
                </a:lnTo>
                <a:lnTo>
                  <a:pt x="419" y="122"/>
                </a:lnTo>
                <a:lnTo>
                  <a:pt x="416" y="122"/>
                </a:lnTo>
                <a:lnTo>
                  <a:pt x="411" y="122"/>
                </a:lnTo>
                <a:lnTo>
                  <a:pt x="406" y="124"/>
                </a:lnTo>
                <a:lnTo>
                  <a:pt x="407" y="119"/>
                </a:lnTo>
                <a:lnTo>
                  <a:pt x="410" y="118"/>
                </a:lnTo>
                <a:lnTo>
                  <a:pt x="410" y="116"/>
                </a:lnTo>
                <a:lnTo>
                  <a:pt x="407" y="116"/>
                </a:lnTo>
                <a:lnTo>
                  <a:pt x="404" y="118"/>
                </a:lnTo>
                <a:lnTo>
                  <a:pt x="396" y="118"/>
                </a:lnTo>
                <a:lnTo>
                  <a:pt x="393" y="118"/>
                </a:lnTo>
                <a:lnTo>
                  <a:pt x="395" y="116"/>
                </a:lnTo>
                <a:lnTo>
                  <a:pt x="391" y="116"/>
                </a:lnTo>
                <a:lnTo>
                  <a:pt x="393" y="116"/>
                </a:lnTo>
                <a:lnTo>
                  <a:pt x="396" y="116"/>
                </a:lnTo>
                <a:lnTo>
                  <a:pt x="396" y="114"/>
                </a:lnTo>
                <a:lnTo>
                  <a:pt x="391" y="110"/>
                </a:lnTo>
                <a:lnTo>
                  <a:pt x="390" y="108"/>
                </a:lnTo>
                <a:lnTo>
                  <a:pt x="389" y="108"/>
                </a:lnTo>
                <a:lnTo>
                  <a:pt x="386" y="107"/>
                </a:lnTo>
                <a:lnTo>
                  <a:pt x="379" y="108"/>
                </a:lnTo>
                <a:lnTo>
                  <a:pt x="378" y="107"/>
                </a:lnTo>
                <a:lnTo>
                  <a:pt x="379" y="105"/>
                </a:lnTo>
                <a:lnTo>
                  <a:pt x="381" y="105"/>
                </a:lnTo>
                <a:lnTo>
                  <a:pt x="381" y="103"/>
                </a:lnTo>
                <a:lnTo>
                  <a:pt x="375" y="103"/>
                </a:lnTo>
                <a:lnTo>
                  <a:pt x="370" y="103"/>
                </a:lnTo>
                <a:lnTo>
                  <a:pt x="366" y="105"/>
                </a:lnTo>
                <a:lnTo>
                  <a:pt x="365" y="103"/>
                </a:lnTo>
                <a:lnTo>
                  <a:pt x="361" y="103"/>
                </a:lnTo>
                <a:lnTo>
                  <a:pt x="362" y="102"/>
                </a:lnTo>
                <a:lnTo>
                  <a:pt x="365" y="102"/>
                </a:lnTo>
                <a:lnTo>
                  <a:pt x="362" y="100"/>
                </a:lnTo>
                <a:lnTo>
                  <a:pt x="357" y="100"/>
                </a:lnTo>
                <a:lnTo>
                  <a:pt x="353" y="100"/>
                </a:lnTo>
                <a:lnTo>
                  <a:pt x="351" y="100"/>
                </a:lnTo>
                <a:lnTo>
                  <a:pt x="354" y="99"/>
                </a:lnTo>
                <a:lnTo>
                  <a:pt x="354" y="97"/>
                </a:lnTo>
                <a:lnTo>
                  <a:pt x="351" y="96"/>
                </a:lnTo>
                <a:lnTo>
                  <a:pt x="345" y="96"/>
                </a:lnTo>
                <a:lnTo>
                  <a:pt x="335" y="94"/>
                </a:lnTo>
                <a:lnTo>
                  <a:pt x="331" y="94"/>
                </a:lnTo>
                <a:lnTo>
                  <a:pt x="330" y="92"/>
                </a:lnTo>
                <a:lnTo>
                  <a:pt x="334" y="92"/>
                </a:lnTo>
                <a:lnTo>
                  <a:pt x="335" y="91"/>
                </a:lnTo>
                <a:lnTo>
                  <a:pt x="339" y="91"/>
                </a:lnTo>
                <a:lnTo>
                  <a:pt x="337" y="91"/>
                </a:lnTo>
                <a:lnTo>
                  <a:pt x="338" y="89"/>
                </a:lnTo>
                <a:lnTo>
                  <a:pt x="333" y="88"/>
                </a:lnTo>
                <a:lnTo>
                  <a:pt x="333" y="86"/>
                </a:lnTo>
                <a:lnTo>
                  <a:pt x="338" y="86"/>
                </a:lnTo>
                <a:lnTo>
                  <a:pt x="335" y="85"/>
                </a:lnTo>
                <a:lnTo>
                  <a:pt x="331" y="83"/>
                </a:lnTo>
                <a:lnTo>
                  <a:pt x="327" y="83"/>
                </a:lnTo>
                <a:lnTo>
                  <a:pt x="326" y="83"/>
                </a:lnTo>
                <a:lnTo>
                  <a:pt x="331" y="81"/>
                </a:lnTo>
                <a:lnTo>
                  <a:pt x="333" y="83"/>
                </a:lnTo>
                <a:lnTo>
                  <a:pt x="334" y="81"/>
                </a:lnTo>
                <a:lnTo>
                  <a:pt x="343" y="83"/>
                </a:lnTo>
                <a:lnTo>
                  <a:pt x="347" y="83"/>
                </a:lnTo>
                <a:lnTo>
                  <a:pt x="353" y="83"/>
                </a:lnTo>
                <a:lnTo>
                  <a:pt x="357" y="83"/>
                </a:lnTo>
                <a:lnTo>
                  <a:pt x="358" y="81"/>
                </a:lnTo>
                <a:lnTo>
                  <a:pt x="354" y="80"/>
                </a:lnTo>
                <a:lnTo>
                  <a:pt x="349" y="78"/>
                </a:lnTo>
                <a:lnTo>
                  <a:pt x="343" y="78"/>
                </a:lnTo>
                <a:lnTo>
                  <a:pt x="338" y="78"/>
                </a:lnTo>
                <a:lnTo>
                  <a:pt x="333" y="77"/>
                </a:lnTo>
                <a:lnTo>
                  <a:pt x="331" y="78"/>
                </a:lnTo>
                <a:lnTo>
                  <a:pt x="327" y="77"/>
                </a:lnTo>
                <a:lnTo>
                  <a:pt x="325" y="75"/>
                </a:lnTo>
                <a:lnTo>
                  <a:pt x="322" y="77"/>
                </a:lnTo>
                <a:lnTo>
                  <a:pt x="325" y="74"/>
                </a:lnTo>
                <a:lnTo>
                  <a:pt x="331" y="75"/>
                </a:lnTo>
                <a:lnTo>
                  <a:pt x="334" y="74"/>
                </a:lnTo>
                <a:lnTo>
                  <a:pt x="337" y="72"/>
                </a:lnTo>
                <a:lnTo>
                  <a:pt x="341" y="72"/>
                </a:lnTo>
                <a:lnTo>
                  <a:pt x="346" y="74"/>
                </a:lnTo>
                <a:lnTo>
                  <a:pt x="349" y="70"/>
                </a:lnTo>
                <a:lnTo>
                  <a:pt x="347" y="69"/>
                </a:lnTo>
                <a:lnTo>
                  <a:pt x="338" y="64"/>
                </a:lnTo>
                <a:lnTo>
                  <a:pt x="333" y="63"/>
                </a:lnTo>
                <a:lnTo>
                  <a:pt x="330" y="64"/>
                </a:lnTo>
                <a:lnTo>
                  <a:pt x="331" y="66"/>
                </a:lnTo>
                <a:lnTo>
                  <a:pt x="326" y="67"/>
                </a:lnTo>
                <a:lnTo>
                  <a:pt x="325" y="69"/>
                </a:lnTo>
                <a:lnTo>
                  <a:pt x="319" y="69"/>
                </a:lnTo>
                <a:lnTo>
                  <a:pt x="325" y="66"/>
                </a:lnTo>
                <a:lnTo>
                  <a:pt x="325" y="64"/>
                </a:lnTo>
                <a:lnTo>
                  <a:pt x="314" y="66"/>
                </a:lnTo>
                <a:lnTo>
                  <a:pt x="311" y="66"/>
                </a:lnTo>
                <a:lnTo>
                  <a:pt x="310" y="66"/>
                </a:lnTo>
                <a:lnTo>
                  <a:pt x="314" y="64"/>
                </a:lnTo>
                <a:lnTo>
                  <a:pt x="322" y="63"/>
                </a:lnTo>
                <a:lnTo>
                  <a:pt x="325" y="59"/>
                </a:lnTo>
                <a:lnTo>
                  <a:pt x="327" y="61"/>
                </a:lnTo>
                <a:lnTo>
                  <a:pt x="327" y="59"/>
                </a:lnTo>
                <a:lnTo>
                  <a:pt x="327" y="58"/>
                </a:lnTo>
                <a:lnTo>
                  <a:pt x="318" y="56"/>
                </a:lnTo>
                <a:lnTo>
                  <a:pt x="315" y="55"/>
                </a:lnTo>
                <a:lnTo>
                  <a:pt x="311" y="55"/>
                </a:lnTo>
                <a:lnTo>
                  <a:pt x="306" y="55"/>
                </a:lnTo>
                <a:lnTo>
                  <a:pt x="302" y="58"/>
                </a:lnTo>
                <a:lnTo>
                  <a:pt x="301" y="58"/>
                </a:lnTo>
                <a:lnTo>
                  <a:pt x="298" y="59"/>
                </a:lnTo>
                <a:lnTo>
                  <a:pt x="298" y="58"/>
                </a:lnTo>
                <a:lnTo>
                  <a:pt x="299" y="56"/>
                </a:lnTo>
                <a:lnTo>
                  <a:pt x="303" y="55"/>
                </a:lnTo>
                <a:lnTo>
                  <a:pt x="306" y="53"/>
                </a:lnTo>
                <a:lnTo>
                  <a:pt x="303" y="53"/>
                </a:lnTo>
                <a:lnTo>
                  <a:pt x="301" y="55"/>
                </a:lnTo>
                <a:lnTo>
                  <a:pt x="297" y="55"/>
                </a:lnTo>
                <a:lnTo>
                  <a:pt x="291" y="56"/>
                </a:lnTo>
                <a:lnTo>
                  <a:pt x="291" y="55"/>
                </a:lnTo>
                <a:lnTo>
                  <a:pt x="294" y="55"/>
                </a:lnTo>
                <a:lnTo>
                  <a:pt x="295" y="52"/>
                </a:lnTo>
                <a:lnTo>
                  <a:pt x="295" y="50"/>
                </a:lnTo>
                <a:lnTo>
                  <a:pt x="291" y="50"/>
                </a:lnTo>
                <a:lnTo>
                  <a:pt x="287" y="50"/>
                </a:lnTo>
                <a:lnTo>
                  <a:pt x="283" y="52"/>
                </a:lnTo>
                <a:lnTo>
                  <a:pt x="281" y="50"/>
                </a:lnTo>
                <a:lnTo>
                  <a:pt x="273" y="50"/>
                </a:lnTo>
                <a:lnTo>
                  <a:pt x="281" y="48"/>
                </a:lnTo>
                <a:lnTo>
                  <a:pt x="285" y="48"/>
                </a:lnTo>
                <a:lnTo>
                  <a:pt x="287" y="47"/>
                </a:lnTo>
                <a:lnTo>
                  <a:pt x="289" y="47"/>
                </a:lnTo>
                <a:lnTo>
                  <a:pt x="287" y="44"/>
                </a:lnTo>
                <a:lnTo>
                  <a:pt x="283" y="42"/>
                </a:lnTo>
                <a:lnTo>
                  <a:pt x="272" y="39"/>
                </a:lnTo>
                <a:lnTo>
                  <a:pt x="266" y="37"/>
                </a:lnTo>
                <a:lnTo>
                  <a:pt x="265" y="39"/>
                </a:lnTo>
                <a:lnTo>
                  <a:pt x="261" y="41"/>
                </a:lnTo>
                <a:lnTo>
                  <a:pt x="258" y="41"/>
                </a:lnTo>
                <a:lnTo>
                  <a:pt x="254" y="41"/>
                </a:lnTo>
                <a:lnTo>
                  <a:pt x="256" y="44"/>
                </a:lnTo>
                <a:lnTo>
                  <a:pt x="256" y="45"/>
                </a:lnTo>
                <a:lnTo>
                  <a:pt x="256" y="44"/>
                </a:lnTo>
                <a:lnTo>
                  <a:pt x="252" y="44"/>
                </a:lnTo>
                <a:lnTo>
                  <a:pt x="249" y="42"/>
                </a:lnTo>
                <a:lnTo>
                  <a:pt x="250" y="41"/>
                </a:lnTo>
                <a:lnTo>
                  <a:pt x="248" y="41"/>
                </a:lnTo>
                <a:lnTo>
                  <a:pt x="244" y="42"/>
                </a:lnTo>
                <a:lnTo>
                  <a:pt x="246" y="39"/>
                </a:lnTo>
                <a:lnTo>
                  <a:pt x="252" y="36"/>
                </a:lnTo>
                <a:lnTo>
                  <a:pt x="250" y="36"/>
                </a:lnTo>
                <a:lnTo>
                  <a:pt x="244" y="37"/>
                </a:lnTo>
                <a:lnTo>
                  <a:pt x="240" y="36"/>
                </a:lnTo>
                <a:lnTo>
                  <a:pt x="234" y="39"/>
                </a:lnTo>
                <a:lnTo>
                  <a:pt x="233" y="39"/>
                </a:lnTo>
                <a:lnTo>
                  <a:pt x="233" y="37"/>
                </a:lnTo>
                <a:lnTo>
                  <a:pt x="229" y="39"/>
                </a:lnTo>
                <a:lnTo>
                  <a:pt x="233" y="36"/>
                </a:lnTo>
                <a:lnTo>
                  <a:pt x="238" y="36"/>
                </a:lnTo>
                <a:lnTo>
                  <a:pt x="240" y="34"/>
                </a:lnTo>
                <a:lnTo>
                  <a:pt x="240" y="31"/>
                </a:lnTo>
                <a:lnTo>
                  <a:pt x="233" y="31"/>
                </a:lnTo>
                <a:lnTo>
                  <a:pt x="228" y="31"/>
                </a:lnTo>
                <a:lnTo>
                  <a:pt x="226" y="31"/>
                </a:lnTo>
                <a:lnTo>
                  <a:pt x="229" y="28"/>
                </a:lnTo>
                <a:lnTo>
                  <a:pt x="228" y="26"/>
                </a:lnTo>
                <a:lnTo>
                  <a:pt x="225" y="25"/>
                </a:lnTo>
                <a:lnTo>
                  <a:pt x="222" y="25"/>
                </a:lnTo>
                <a:lnTo>
                  <a:pt x="224" y="23"/>
                </a:lnTo>
                <a:lnTo>
                  <a:pt x="218" y="22"/>
                </a:lnTo>
                <a:lnTo>
                  <a:pt x="213" y="22"/>
                </a:lnTo>
                <a:lnTo>
                  <a:pt x="197" y="19"/>
                </a:lnTo>
                <a:lnTo>
                  <a:pt x="189" y="19"/>
                </a:lnTo>
                <a:lnTo>
                  <a:pt x="181" y="20"/>
                </a:lnTo>
                <a:lnTo>
                  <a:pt x="174" y="23"/>
                </a:lnTo>
                <a:lnTo>
                  <a:pt x="174" y="25"/>
                </a:lnTo>
                <a:lnTo>
                  <a:pt x="178" y="26"/>
                </a:lnTo>
                <a:lnTo>
                  <a:pt x="174" y="26"/>
                </a:lnTo>
                <a:lnTo>
                  <a:pt x="170" y="26"/>
                </a:lnTo>
                <a:lnTo>
                  <a:pt x="168" y="28"/>
                </a:lnTo>
                <a:lnTo>
                  <a:pt x="163" y="25"/>
                </a:lnTo>
                <a:lnTo>
                  <a:pt x="159" y="26"/>
                </a:lnTo>
                <a:lnTo>
                  <a:pt x="156" y="26"/>
                </a:lnTo>
                <a:lnTo>
                  <a:pt x="156" y="25"/>
                </a:lnTo>
                <a:lnTo>
                  <a:pt x="156" y="23"/>
                </a:lnTo>
                <a:lnTo>
                  <a:pt x="152" y="26"/>
                </a:lnTo>
                <a:lnTo>
                  <a:pt x="151" y="28"/>
                </a:lnTo>
                <a:lnTo>
                  <a:pt x="148" y="28"/>
                </a:lnTo>
                <a:lnTo>
                  <a:pt x="147" y="30"/>
                </a:lnTo>
                <a:lnTo>
                  <a:pt x="144" y="33"/>
                </a:lnTo>
                <a:lnTo>
                  <a:pt x="139" y="34"/>
                </a:lnTo>
                <a:lnTo>
                  <a:pt x="140" y="33"/>
                </a:lnTo>
                <a:lnTo>
                  <a:pt x="137" y="31"/>
                </a:lnTo>
                <a:lnTo>
                  <a:pt x="139" y="31"/>
                </a:lnTo>
                <a:lnTo>
                  <a:pt x="143" y="31"/>
                </a:lnTo>
                <a:lnTo>
                  <a:pt x="144" y="31"/>
                </a:lnTo>
                <a:lnTo>
                  <a:pt x="141" y="30"/>
                </a:lnTo>
                <a:lnTo>
                  <a:pt x="140" y="30"/>
                </a:lnTo>
                <a:lnTo>
                  <a:pt x="141" y="26"/>
                </a:lnTo>
                <a:lnTo>
                  <a:pt x="144" y="25"/>
                </a:lnTo>
                <a:lnTo>
                  <a:pt x="145" y="22"/>
                </a:lnTo>
                <a:lnTo>
                  <a:pt x="148" y="20"/>
                </a:lnTo>
                <a:lnTo>
                  <a:pt x="144" y="19"/>
                </a:lnTo>
                <a:lnTo>
                  <a:pt x="141" y="15"/>
                </a:lnTo>
                <a:lnTo>
                  <a:pt x="144" y="14"/>
                </a:lnTo>
                <a:lnTo>
                  <a:pt x="141" y="12"/>
                </a:lnTo>
                <a:lnTo>
                  <a:pt x="137" y="11"/>
                </a:lnTo>
                <a:lnTo>
                  <a:pt x="132" y="11"/>
                </a:lnTo>
                <a:lnTo>
                  <a:pt x="135" y="9"/>
                </a:lnTo>
                <a:lnTo>
                  <a:pt x="133" y="5"/>
                </a:lnTo>
                <a:lnTo>
                  <a:pt x="132" y="3"/>
                </a:lnTo>
                <a:lnTo>
                  <a:pt x="131" y="1"/>
                </a:lnTo>
                <a:lnTo>
                  <a:pt x="116" y="3"/>
                </a:lnTo>
                <a:lnTo>
                  <a:pt x="111" y="1"/>
                </a:lnTo>
                <a:lnTo>
                  <a:pt x="108" y="3"/>
                </a:lnTo>
                <a:lnTo>
                  <a:pt x="105" y="3"/>
                </a:lnTo>
                <a:lnTo>
                  <a:pt x="99" y="5"/>
                </a:lnTo>
                <a:lnTo>
                  <a:pt x="93" y="6"/>
                </a:lnTo>
                <a:lnTo>
                  <a:pt x="99" y="8"/>
                </a:lnTo>
                <a:lnTo>
                  <a:pt x="97" y="9"/>
                </a:lnTo>
                <a:lnTo>
                  <a:pt x="96" y="8"/>
                </a:lnTo>
                <a:lnTo>
                  <a:pt x="95" y="8"/>
                </a:lnTo>
                <a:lnTo>
                  <a:pt x="91" y="6"/>
                </a:lnTo>
                <a:lnTo>
                  <a:pt x="85" y="8"/>
                </a:lnTo>
                <a:lnTo>
                  <a:pt x="84" y="8"/>
                </a:lnTo>
                <a:lnTo>
                  <a:pt x="87" y="11"/>
                </a:lnTo>
                <a:lnTo>
                  <a:pt x="84" y="11"/>
                </a:lnTo>
                <a:lnTo>
                  <a:pt x="80" y="8"/>
                </a:lnTo>
                <a:lnTo>
                  <a:pt x="77" y="9"/>
                </a:lnTo>
                <a:lnTo>
                  <a:pt x="76" y="11"/>
                </a:lnTo>
                <a:lnTo>
                  <a:pt x="79" y="12"/>
                </a:lnTo>
                <a:lnTo>
                  <a:pt x="95" y="14"/>
                </a:lnTo>
                <a:lnTo>
                  <a:pt x="89" y="14"/>
                </a:lnTo>
                <a:lnTo>
                  <a:pt x="73" y="12"/>
                </a:lnTo>
                <a:lnTo>
                  <a:pt x="73" y="14"/>
                </a:lnTo>
                <a:lnTo>
                  <a:pt x="72" y="14"/>
                </a:lnTo>
                <a:lnTo>
                  <a:pt x="69" y="14"/>
                </a:lnTo>
                <a:lnTo>
                  <a:pt x="72" y="14"/>
                </a:lnTo>
                <a:lnTo>
                  <a:pt x="77" y="14"/>
                </a:lnTo>
                <a:lnTo>
                  <a:pt x="81" y="17"/>
                </a:lnTo>
                <a:lnTo>
                  <a:pt x="87" y="17"/>
                </a:lnTo>
                <a:lnTo>
                  <a:pt x="92" y="19"/>
                </a:lnTo>
                <a:lnTo>
                  <a:pt x="88" y="19"/>
                </a:lnTo>
                <a:lnTo>
                  <a:pt x="77" y="15"/>
                </a:lnTo>
                <a:lnTo>
                  <a:pt x="71" y="15"/>
                </a:lnTo>
                <a:lnTo>
                  <a:pt x="68" y="15"/>
                </a:lnTo>
                <a:lnTo>
                  <a:pt x="67" y="17"/>
                </a:lnTo>
                <a:lnTo>
                  <a:pt x="67" y="20"/>
                </a:lnTo>
                <a:lnTo>
                  <a:pt x="69" y="22"/>
                </a:lnTo>
                <a:lnTo>
                  <a:pt x="68" y="23"/>
                </a:lnTo>
                <a:lnTo>
                  <a:pt x="69" y="25"/>
                </a:lnTo>
                <a:lnTo>
                  <a:pt x="75" y="26"/>
                </a:lnTo>
                <a:lnTo>
                  <a:pt x="77" y="25"/>
                </a:lnTo>
                <a:lnTo>
                  <a:pt x="79" y="25"/>
                </a:lnTo>
                <a:lnTo>
                  <a:pt x="80" y="25"/>
                </a:lnTo>
                <a:lnTo>
                  <a:pt x="79" y="28"/>
                </a:lnTo>
                <a:lnTo>
                  <a:pt x="76" y="28"/>
                </a:lnTo>
                <a:lnTo>
                  <a:pt x="71" y="28"/>
                </a:lnTo>
                <a:lnTo>
                  <a:pt x="69" y="30"/>
                </a:lnTo>
                <a:lnTo>
                  <a:pt x="69" y="31"/>
                </a:lnTo>
                <a:lnTo>
                  <a:pt x="63" y="33"/>
                </a:lnTo>
                <a:lnTo>
                  <a:pt x="64" y="34"/>
                </a:lnTo>
                <a:lnTo>
                  <a:pt x="68" y="34"/>
                </a:lnTo>
                <a:lnTo>
                  <a:pt x="68" y="36"/>
                </a:lnTo>
                <a:lnTo>
                  <a:pt x="72" y="37"/>
                </a:lnTo>
                <a:lnTo>
                  <a:pt x="77" y="39"/>
                </a:lnTo>
                <a:lnTo>
                  <a:pt x="81" y="39"/>
                </a:lnTo>
                <a:lnTo>
                  <a:pt x="83" y="41"/>
                </a:lnTo>
                <a:lnTo>
                  <a:pt x="81" y="42"/>
                </a:lnTo>
                <a:lnTo>
                  <a:pt x="81" y="44"/>
                </a:lnTo>
                <a:lnTo>
                  <a:pt x="80" y="44"/>
                </a:lnTo>
                <a:lnTo>
                  <a:pt x="81" y="45"/>
                </a:lnTo>
                <a:lnTo>
                  <a:pt x="80" y="47"/>
                </a:lnTo>
                <a:lnTo>
                  <a:pt x="80" y="48"/>
                </a:lnTo>
                <a:lnTo>
                  <a:pt x="77" y="52"/>
                </a:lnTo>
                <a:lnTo>
                  <a:pt x="76" y="50"/>
                </a:lnTo>
                <a:lnTo>
                  <a:pt x="77" y="48"/>
                </a:lnTo>
                <a:lnTo>
                  <a:pt x="77" y="47"/>
                </a:lnTo>
                <a:lnTo>
                  <a:pt x="75" y="47"/>
                </a:lnTo>
                <a:lnTo>
                  <a:pt x="71" y="47"/>
                </a:lnTo>
                <a:lnTo>
                  <a:pt x="67" y="47"/>
                </a:lnTo>
                <a:lnTo>
                  <a:pt x="63" y="48"/>
                </a:lnTo>
                <a:lnTo>
                  <a:pt x="57" y="50"/>
                </a:lnTo>
                <a:lnTo>
                  <a:pt x="54" y="50"/>
                </a:lnTo>
                <a:lnTo>
                  <a:pt x="60" y="48"/>
                </a:lnTo>
                <a:lnTo>
                  <a:pt x="63" y="47"/>
                </a:lnTo>
                <a:lnTo>
                  <a:pt x="69" y="45"/>
                </a:lnTo>
                <a:lnTo>
                  <a:pt x="71" y="45"/>
                </a:lnTo>
                <a:lnTo>
                  <a:pt x="75" y="45"/>
                </a:lnTo>
                <a:lnTo>
                  <a:pt x="77" y="45"/>
                </a:lnTo>
                <a:lnTo>
                  <a:pt x="77" y="44"/>
                </a:lnTo>
                <a:lnTo>
                  <a:pt x="76" y="42"/>
                </a:lnTo>
                <a:lnTo>
                  <a:pt x="71" y="42"/>
                </a:lnTo>
                <a:lnTo>
                  <a:pt x="57" y="34"/>
                </a:lnTo>
                <a:lnTo>
                  <a:pt x="55" y="31"/>
                </a:lnTo>
                <a:lnTo>
                  <a:pt x="55" y="28"/>
                </a:lnTo>
                <a:lnTo>
                  <a:pt x="57" y="26"/>
                </a:lnTo>
                <a:lnTo>
                  <a:pt x="55" y="23"/>
                </a:lnTo>
                <a:lnTo>
                  <a:pt x="52" y="22"/>
                </a:lnTo>
                <a:lnTo>
                  <a:pt x="52" y="19"/>
                </a:lnTo>
                <a:lnTo>
                  <a:pt x="57" y="14"/>
                </a:lnTo>
                <a:lnTo>
                  <a:pt x="59" y="11"/>
                </a:lnTo>
                <a:lnTo>
                  <a:pt x="61" y="9"/>
                </a:lnTo>
                <a:lnTo>
                  <a:pt x="65" y="8"/>
                </a:lnTo>
                <a:lnTo>
                  <a:pt x="68" y="6"/>
                </a:lnTo>
                <a:lnTo>
                  <a:pt x="76" y="3"/>
                </a:lnTo>
                <a:lnTo>
                  <a:pt x="79" y="1"/>
                </a:lnTo>
                <a:lnTo>
                  <a:pt x="77" y="1"/>
                </a:lnTo>
                <a:lnTo>
                  <a:pt x="75" y="0"/>
                </a:lnTo>
                <a:lnTo>
                  <a:pt x="57" y="0"/>
                </a:lnTo>
                <a:lnTo>
                  <a:pt x="54" y="0"/>
                </a:lnTo>
                <a:lnTo>
                  <a:pt x="42" y="1"/>
                </a:lnTo>
                <a:lnTo>
                  <a:pt x="32" y="3"/>
                </a:lnTo>
                <a:lnTo>
                  <a:pt x="23" y="6"/>
                </a:lnTo>
                <a:lnTo>
                  <a:pt x="22" y="9"/>
                </a:lnTo>
                <a:lnTo>
                  <a:pt x="18" y="11"/>
                </a:lnTo>
                <a:lnTo>
                  <a:pt x="16" y="11"/>
                </a:lnTo>
                <a:lnTo>
                  <a:pt x="15" y="12"/>
                </a:lnTo>
                <a:lnTo>
                  <a:pt x="12" y="14"/>
                </a:lnTo>
                <a:lnTo>
                  <a:pt x="15" y="15"/>
                </a:lnTo>
                <a:lnTo>
                  <a:pt x="11" y="15"/>
                </a:lnTo>
                <a:lnTo>
                  <a:pt x="11" y="19"/>
                </a:lnTo>
                <a:lnTo>
                  <a:pt x="14" y="19"/>
                </a:lnTo>
                <a:lnTo>
                  <a:pt x="8" y="19"/>
                </a:lnTo>
                <a:lnTo>
                  <a:pt x="7" y="22"/>
                </a:lnTo>
                <a:lnTo>
                  <a:pt x="6" y="22"/>
                </a:lnTo>
                <a:lnTo>
                  <a:pt x="4" y="25"/>
                </a:lnTo>
                <a:lnTo>
                  <a:pt x="3" y="25"/>
                </a:lnTo>
                <a:lnTo>
                  <a:pt x="4" y="30"/>
                </a:lnTo>
                <a:lnTo>
                  <a:pt x="8" y="30"/>
                </a:lnTo>
                <a:lnTo>
                  <a:pt x="6" y="30"/>
                </a:lnTo>
                <a:lnTo>
                  <a:pt x="3" y="31"/>
                </a:lnTo>
                <a:lnTo>
                  <a:pt x="0" y="33"/>
                </a:lnTo>
                <a:lnTo>
                  <a:pt x="3" y="34"/>
                </a:lnTo>
                <a:lnTo>
                  <a:pt x="4" y="36"/>
                </a:lnTo>
                <a:lnTo>
                  <a:pt x="2" y="39"/>
                </a:lnTo>
                <a:lnTo>
                  <a:pt x="2" y="42"/>
                </a:lnTo>
                <a:lnTo>
                  <a:pt x="3" y="44"/>
                </a:lnTo>
                <a:lnTo>
                  <a:pt x="4" y="44"/>
                </a:lnTo>
                <a:lnTo>
                  <a:pt x="18" y="45"/>
                </a:lnTo>
                <a:lnTo>
                  <a:pt x="32" y="45"/>
                </a:lnTo>
                <a:lnTo>
                  <a:pt x="35" y="47"/>
                </a:lnTo>
                <a:lnTo>
                  <a:pt x="40" y="50"/>
                </a:lnTo>
                <a:lnTo>
                  <a:pt x="46" y="50"/>
                </a:lnTo>
                <a:lnTo>
                  <a:pt x="38" y="52"/>
                </a:lnTo>
                <a:lnTo>
                  <a:pt x="30" y="52"/>
                </a:lnTo>
                <a:lnTo>
                  <a:pt x="20" y="50"/>
                </a:lnTo>
                <a:lnTo>
                  <a:pt x="15" y="50"/>
                </a:lnTo>
                <a:lnTo>
                  <a:pt x="11" y="48"/>
                </a:lnTo>
                <a:lnTo>
                  <a:pt x="14" y="50"/>
                </a:lnTo>
                <a:lnTo>
                  <a:pt x="11" y="52"/>
                </a:lnTo>
                <a:lnTo>
                  <a:pt x="14" y="53"/>
                </a:lnTo>
                <a:lnTo>
                  <a:pt x="18" y="56"/>
                </a:lnTo>
                <a:lnTo>
                  <a:pt x="24" y="59"/>
                </a:lnTo>
                <a:lnTo>
                  <a:pt x="34" y="63"/>
                </a:lnTo>
                <a:lnTo>
                  <a:pt x="30" y="63"/>
                </a:lnTo>
                <a:lnTo>
                  <a:pt x="35" y="63"/>
                </a:lnTo>
                <a:lnTo>
                  <a:pt x="36" y="63"/>
                </a:lnTo>
                <a:lnTo>
                  <a:pt x="39" y="63"/>
                </a:lnTo>
                <a:lnTo>
                  <a:pt x="47" y="63"/>
                </a:lnTo>
                <a:lnTo>
                  <a:pt x="52" y="63"/>
                </a:lnTo>
                <a:lnTo>
                  <a:pt x="54" y="59"/>
                </a:lnTo>
                <a:lnTo>
                  <a:pt x="55" y="63"/>
                </a:lnTo>
                <a:lnTo>
                  <a:pt x="57" y="66"/>
                </a:lnTo>
                <a:lnTo>
                  <a:pt x="63" y="67"/>
                </a:lnTo>
                <a:lnTo>
                  <a:pt x="71" y="69"/>
                </a:lnTo>
                <a:lnTo>
                  <a:pt x="73" y="69"/>
                </a:lnTo>
                <a:lnTo>
                  <a:pt x="69" y="67"/>
                </a:lnTo>
                <a:lnTo>
                  <a:pt x="73" y="67"/>
                </a:lnTo>
                <a:lnTo>
                  <a:pt x="81" y="67"/>
                </a:lnTo>
                <a:lnTo>
                  <a:pt x="95" y="69"/>
                </a:lnTo>
                <a:lnTo>
                  <a:pt x="99" y="70"/>
                </a:lnTo>
                <a:lnTo>
                  <a:pt x="100" y="69"/>
                </a:lnTo>
                <a:lnTo>
                  <a:pt x="107" y="67"/>
                </a:lnTo>
                <a:lnTo>
                  <a:pt x="116" y="70"/>
                </a:lnTo>
                <a:lnTo>
                  <a:pt x="120" y="70"/>
                </a:lnTo>
                <a:lnTo>
                  <a:pt x="121" y="70"/>
                </a:lnTo>
                <a:lnTo>
                  <a:pt x="123" y="70"/>
                </a:lnTo>
                <a:lnTo>
                  <a:pt x="121" y="70"/>
                </a:lnTo>
                <a:lnTo>
                  <a:pt x="124" y="72"/>
                </a:lnTo>
                <a:lnTo>
                  <a:pt x="127" y="69"/>
                </a:lnTo>
                <a:lnTo>
                  <a:pt x="129" y="69"/>
                </a:lnTo>
                <a:lnTo>
                  <a:pt x="133" y="70"/>
                </a:lnTo>
                <a:lnTo>
                  <a:pt x="137" y="72"/>
                </a:lnTo>
                <a:lnTo>
                  <a:pt x="140" y="72"/>
                </a:lnTo>
                <a:lnTo>
                  <a:pt x="139" y="70"/>
                </a:lnTo>
                <a:lnTo>
                  <a:pt x="133" y="67"/>
                </a:lnTo>
                <a:lnTo>
                  <a:pt x="128" y="67"/>
                </a:lnTo>
                <a:lnTo>
                  <a:pt x="128" y="66"/>
                </a:lnTo>
                <a:lnTo>
                  <a:pt x="143" y="67"/>
                </a:lnTo>
                <a:lnTo>
                  <a:pt x="147" y="69"/>
                </a:lnTo>
                <a:lnTo>
                  <a:pt x="151" y="67"/>
                </a:lnTo>
                <a:lnTo>
                  <a:pt x="152" y="69"/>
                </a:lnTo>
                <a:lnTo>
                  <a:pt x="153" y="69"/>
                </a:lnTo>
                <a:lnTo>
                  <a:pt x="157" y="70"/>
                </a:lnTo>
                <a:lnTo>
                  <a:pt x="164" y="70"/>
                </a:lnTo>
                <a:lnTo>
                  <a:pt x="170" y="70"/>
                </a:lnTo>
                <a:lnTo>
                  <a:pt x="173" y="69"/>
                </a:lnTo>
                <a:lnTo>
                  <a:pt x="170" y="66"/>
                </a:lnTo>
                <a:lnTo>
                  <a:pt x="167" y="63"/>
                </a:lnTo>
                <a:lnTo>
                  <a:pt x="163" y="63"/>
                </a:lnTo>
                <a:lnTo>
                  <a:pt x="160" y="61"/>
                </a:lnTo>
                <a:lnTo>
                  <a:pt x="164" y="59"/>
                </a:lnTo>
                <a:lnTo>
                  <a:pt x="170" y="61"/>
                </a:lnTo>
                <a:lnTo>
                  <a:pt x="180" y="64"/>
                </a:lnTo>
                <a:lnTo>
                  <a:pt x="181" y="64"/>
                </a:lnTo>
                <a:lnTo>
                  <a:pt x="185" y="64"/>
                </a:lnTo>
                <a:lnTo>
                  <a:pt x="189" y="64"/>
                </a:lnTo>
                <a:lnTo>
                  <a:pt x="189" y="70"/>
                </a:lnTo>
                <a:lnTo>
                  <a:pt x="192" y="72"/>
                </a:lnTo>
                <a:lnTo>
                  <a:pt x="193" y="70"/>
                </a:lnTo>
                <a:lnTo>
                  <a:pt x="196" y="70"/>
                </a:lnTo>
                <a:lnTo>
                  <a:pt x="200" y="70"/>
                </a:lnTo>
                <a:lnTo>
                  <a:pt x="201" y="72"/>
                </a:lnTo>
                <a:lnTo>
                  <a:pt x="200" y="74"/>
                </a:lnTo>
                <a:lnTo>
                  <a:pt x="197" y="75"/>
                </a:lnTo>
                <a:lnTo>
                  <a:pt x="200" y="75"/>
                </a:lnTo>
                <a:lnTo>
                  <a:pt x="204" y="75"/>
                </a:lnTo>
                <a:lnTo>
                  <a:pt x="206" y="77"/>
                </a:lnTo>
                <a:lnTo>
                  <a:pt x="217" y="81"/>
                </a:lnTo>
                <a:lnTo>
                  <a:pt x="218" y="83"/>
                </a:lnTo>
                <a:lnTo>
                  <a:pt x="213" y="86"/>
                </a:lnTo>
                <a:lnTo>
                  <a:pt x="208" y="85"/>
                </a:lnTo>
                <a:lnTo>
                  <a:pt x="204" y="85"/>
                </a:lnTo>
                <a:lnTo>
                  <a:pt x="205" y="88"/>
                </a:lnTo>
                <a:lnTo>
                  <a:pt x="204" y="92"/>
                </a:lnTo>
                <a:lnTo>
                  <a:pt x="210" y="91"/>
                </a:lnTo>
                <a:lnTo>
                  <a:pt x="218" y="89"/>
                </a:lnTo>
                <a:lnTo>
                  <a:pt x="220" y="86"/>
                </a:lnTo>
                <a:lnTo>
                  <a:pt x="224" y="88"/>
                </a:lnTo>
                <a:lnTo>
                  <a:pt x="229" y="86"/>
                </a:lnTo>
                <a:lnTo>
                  <a:pt x="234" y="85"/>
                </a:lnTo>
                <a:lnTo>
                  <a:pt x="240" y="86"/>
                </a:lnTo>
                <a:lnTo>
                  <a:pt x="230" y="86"/>
                </a:lnTo>
                <a:lnTo>
                  <a:pt x="232" y="88"/>
                </a:lnTo>
                <a:lnTo>
                  <a:pt x="230" y="89"/>
                </a:lnTo>
                <a:lnTo>
                  <a:pt x="237" y="92"/>
                </a:lnTo>
                <a:lnTo>
                  <a:pt x="241" y="94"/>
                </a:lnTo>
                <a:lnTo>
                  <a:pt x="242" y="94"/>
                </a:lnTo>
                <a:lnTo>
                  <a:pt x="240" y="92"/>
                </a:lnTo>
                <a:lnTo>
                  <a:pt x="240" y="91"/>
                </a:lnTo>
                <a:lnTo>
                  <a:pt x="246" y="91"/>
                </a:lnTo>
                <a:lnTo>
                  <a:pt x="245" y="96"/>
                </a:lnTo>
                <a:lnTo>
                  <a:pt x="246" y="97"/>
                </a:lnTo>
                <a:lnTo>
                  <a:pt x="252" y="99"/>
                </a:lnTo>
                <a:lnTo>
                  <a:pt x="254" y="99"/>
                </a:lnTo>
                <a:lnTo>
                  <a:pt x="260" y="100"/>
                </a:lnTo>
                <a:lnTo>
                  <a:pt x="260" y="103"/>
                </a:lnTo>
                <a:lnTo>
                  <a:pt x="261" y="107"/>
                </a:lnTo>
                <a:lnTo>
                  <a:pt x="264" y="107"/>
                </a:lnTo>
                <a:lnTo>
                  <a:pt x="264" y="110"/>
                </a:lnTo>
                <a:lnTo>
                  <a:pt x="266" y="111"/>
                </a:lnTo>
                <a:lnTo>
                  <a:pt x="266" y="114"/>
                </a:lnTo>
                <a:lnTo>
                  <a:pt x="268" y="116"/>
                </a:lnTo>
                <a:lnTo>
                  <a:pt x="269" y="116"/>
                </a:lnTo>
                <a:lnTo>
                  <a:pt x="268" y="118"/>
                </a:lnTo>
                <a:lnTo>
                  <a:pt x="265" y="119"/>
                </a:lnTo>
                <a:lnTo>
                  <a:pt x="262" y="121"/>
                </a:lnTo>
                <a:lnTo>
                  <a:pt x="260" y="122"/>
                </a:lnTo>
                <a:lnTo>
                  <a:pt x="260" y="127"/>
                </a:lnTo>
                <a:lnTo>
                  <a:pt x="258" y="127"/>
                </a:lnTo>
                <a:lnTo>
                  <a:pt x="254" y="127"/>
                </a:lnTo>
                <a:lnTo>
                  <a:pt x="252" y="130"/>
                </a:lnTo>
                <a:lnTo>
                  <a:pt x="246" y="132"/>
                </a:lnTo>
                <a:lnTo>
                  <a:pt x="242" y="133"/>
                </a:lnTo>
                <a:lnTo>
                  <a:pt x="237" y="136"/>
                </a:lnTo>
                <a:lnTo>
                  <a:pt x="238" y="138"/>
                </a:lnTo>
                <a:lnTo>
                  <a:pt x="241" y="141"/>
                </a:lnTo>
                <a:lnTo>
                  <a:pt x="246" y="143"/>
                </a:lnTo>
                <a:lnTo>
                  <a:pt x="248" y="146"/>
                </a:lnTo>
                <a:lnTo>
                  <a:pt x="250" y="146"/>
                </a:lnTo>
                <a:lnTo>
                  <a:pt x="250" y="149"/>
                </a:lnTo>
                <a:lnTo>
                  <a:pt x="245" y="147"/>
                </a:lnTo>
                <a:lnTo>
                  <a:pt x="245" y="149"/>
                </a:lnTo>
                <a:lnTo>
                  <a:pt x="241" y="147"/>
                </a:lnTo>
                <a:lnTo>
                  <a:pt x="240" y="149"/>
                </a:lnTo>
                <a:lnTo>
                  <a:pt x="238" y="149"/>
                </a:lnTo>
                <a:lnTo>
                  <a:pt x="233" y="151"/>
                </a:lnTo>
                <a:lnTo>
                  <a:pt x="226" y="151"/>
                </a:lnTo>
                <a:lnTo>
                  <a:pt x="226" y="152"/>
                </a:lnTo>
                <a:lnTo>
                  <a:pt x="224" y="152"/>
                </a:lnTo>
                <a:lnTo>
                  <a:pt x="218" y="151"/>
                </a:lnTo>
                <a:lnTo>
                  <a:pt x="210" y="152"/>
                </a:lnTo>
                <a:lnTo>
                  <a:pt x="205" y="151"/>
                </a:lnTo>
                <a:lnTo>
                  <a:pt x="201" y="151"/>
                </a:lnTo>
                <a:lnTo>
                  <a:pt x="198" y="149"/>
                </a:lnTo>
                <a:lnTo>
                  <a:pt x="196" y="149"/>
                </a:lnTo>
                <a:lnTo>
                  <a:pt x="193" y="149"/>
                </a:lnTo>
                <a:lnTo>
                  <a:pt x="194" y="151"/>
                </a:lnTo>
                <a:lnTo>
                  <a:pt x="192" y="151"/>
                </a:lnTo>
                <a:lnTo>
                  <a:pt x="193" y="154"/>
                </a:lnTo>
                <a:lnTo>
                  <a:pt x="189" y="154"/>
                </a:lnTo>
                <a:lnTo>
                  <a:pt x="185" y="157"/>
                </a:lnTo>
                <a:lnTo>
                  <a:pt x="182" y="158"/>
                </a:lnTo>
                <a:lnTo>
                  <a:pt x="181" y="162"/>
                </a:lnTo>
                <a:lnTo>
                  <a:pt x="182" y="163"/>
                </a:lnTo>
                <a:lnTo>
                  <a:pt x="185" y="166"/>
                </a:lnTo>
                <a:lnTo>
                  <a:pt x="188" y="168"/>
                </a:lnTo>
                <a:lnTo>
                  <a:pt x="190" y="168"/>
                </a:lnTo>
                <a:lnTo>
                  <a:pt x="194" y="169"/>
                </a:lnTo>
                <a:lnTo>
                  <a:pt x="196" y="169"/>
                </a:lnTo>
                <a:lnTo>
                  <a:pt x="201" y="169"/>
                </a:lnTo>
                <a:lnTo>
                  <a:pt x="202" y="171"/>
                </a:lnTo>
                <a:lnTo>
                  <a:pt x="204" y="171"/>
                </a:lnTo>
                <a:lnTo>
                  <a:pt x="210" y="169"/>
                </a:lnTo>
                <a:lnTo>
                  <a:pt x="209" y="168"/>
                </a:lnTo>
                <a:lnTo>
                  <a:pt x="214" y="168"/>
                </a:lnTo>
                <a:lnTo>
                  <a:pt x="216" y="168"/>
                </a:lnTo>
                <a:lnTo>
                  <a:pt x="216" y="166"/>
                </a:lnTo>
                <a:lnTo>
                  <a:pt x="214" y="165"/>
                </a:lnTo>
                <a:lnTo>
                  <a:pt x="218" y="165"/>
                </a:lnTo>
                <a:lnTo>
                  <a:pt x="222" y="165"/>
                </a:lnTo>
                <a:lnTo>
                  <a:pt x="224" y="165"/>
                </a:lnTo>
                <a:lnTo>
                  <a:pt x="225" y="166"/>
                </a:lnTo>
                <a:lnTo>
                  <a:pt x="232" y="166"/>
                </a:lnTo>
                <a:lnTo>
                  <a:pt x="234" y="168"/>
                </a:lnTo>
                <a:lnTo>
                  <a:pt x="234" y="166"/>
                </a:lnTo>
                <a:lnTo>
                  <a:pt x="236" y="165"/>
                </a:lnTo>
                <a:lnTo>
                  <a:pt x="236" y="166"/>
                </a:lnTo>
                <a:lnTo>
                  <a:pt x="234" y="163"/>
                </a:lnTo>
                <a:lnTo>
                  <a:pt x="230" y="163"/>
                </a:lnTo>
                <a:lnTo>
                  <a:pt x="230" y="160"/>
                </a:lnTo>
                <a:lnTo>
                  <a:pt x="233" y="160"/>
                </a:lnTo>
                <a:lnTo>
                  <a:pt x="234" y="158"/>
                </a:lnTo>
                <a:lnTo>
                  <a:pt x="234" y="162"/>
                </a:lnTo>
                <a:lnTo>
                  <a:pt x="236" y="162"/>
                </a:lnTo>
                <a:lnTo>
                  <a:pt x="237" y="162"/>
                </a:lnTo>
                <a:lnTo>
                  <a:pt x="240" y="163"/>
                </a:lnTo>
                <a:lnTo>
                  <a:pt x="241" y="163"/>
                </a:lnTo>
                <a:lnTo>
                  <a:pt x="244" y="162"/>
                </a:lnTo>
                <a:lnTo>
                  <a:pt x="245" y="163"/>
                </a:lnTo>
                <a:lnTo>
                  <a:pt x="248" y="165"/>
                </a:lnTo>
                <a:lnTo>
                  <a:pt x="250" y="163"/>
                </a:lnTo>
                <a:lnTo>
                  <a:pt x="252" y="163"/>
                </a:lnTo>
                <a:lnTo>
                  <a:pt x="253" y="165"/>
                </a:lnTo>
                <a:lnTo>
                  <a:pt x="253" y="166"/>
                </a:lnTo>
                <a:lnTo>
                  <a:pt x="253" y="168"/>
                </a:lnTo>
                <a:lnTo>
                  <a:pt x="254" y="169"/>
                </a:lnTo>
                <a:lnTo>
                  <a:pt x="256" y="169"/>
                </a:lnTo>
                <a:lnTo>
                  <a:pt x="258" y="171"/>
                </a:lnTo>
                <a:lnTo>
                  <a:pt x="260" y="173"/>
                </a:lnTo>
                <a:lnTo>
                  <a:pt x="258" y="174"/>
                </a:lnTo>
                <a:lnTo>
                  <a:pt x="260" y="174"/>
                </a:lnTo>
                <a:lnTo>
                  <a:pt x="260" y="176"/>
                </a:lnTo>
                <a:lnTo>
                  <a:pt x="262" y="174"/>
                </a:lnTo>
                <a:lnTo>
                  <a:pt x="264" y="176"/>
                </a:lnTo>
                <a:lnTo>
                  <a:pt x="265" y="177"/>
                </a:lnTo>
                <a:lnTo>
                  <a:pt x="266" y="177"/>
                </a:lnTo>
                <a:lnTo>
                  <a:pt x="269" y="177"/>
                </a:lnTo>
                <a:lnTo>
                  <a:pt x="270" y="177"/>
                </a:lnTo>
                <a:lnTo>
                  <a:pt x="270" y="179"/>
                </a:lnTo>
                <a:lnTo>
                  <a:pt x="272" y="180"/>
                </a:lnTo>
                <a:lnTo>
                  <a:pt x="274" y="180"/>
                </a:lnTo>
                <a:lnTo>
                  <a:pt x="274" y="179"/>
                </a:lnTo>
                <a:lnTo>
                  <a:pt x="276" y="177"/>
                </a:lnTo>
                <a:lnTo>
                  <a:pt x="278" y="180"/>
                </a:lnTo>
                <a:lnTo>
                  <a:pt x="281" y="180"/>
                </a:lnTo>
                <a:lnTo>
                  <a:pt x="281" y="182"/>
                </a:lnTo>
                <a:lnTo>
                  <a:pt x="285" y="182"/>
                </a:lnTo>
                <a:lnTo>
                  <a:pt x="281" y="184"/>
                </a:lnTo>
                <a:lnTo>
                  <a:pt x="277" y="185"/>
                </a:lnTo>
                <a:lnTo>
                  <a:pt x="273" y="182"/>
                </a:lnTo>
                <a:lnTo>
                  <a:pt x="276" y="185"/>
                </a:lnTo>
                <a:lnTo>
                  <a:pt x="280" y="190"/>
                </a:lnTo>
                <a:lnTo>
                  <a:pt x="282" y="190"/>
                </a:lnTo>
                <a:lnTo>
                  <a:pt x="285" y="191"/>
                </a:lnTo>
                <a:lnTo>
                  <a:pt x="286" y="193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44" name="Freeform 744"/>
          <p:cNvSpPr>
            <a:spLocks/>
          </p:cNvSpPr>
          <p:nvPr/>
        </p:nvSpPr>
        <p:spPr bwMode="auto">
          <a:xfrm>
            <a:off x="3626222" y="1994778"/>
            <a:ext cx="261141" cy="165366"/>
          </a:xfrm>
          <a:custGeom>
            <a:avLst/>
            <a:gdLst/>
            <a:ahLst/>
            <a:cxnLst>
              <a:cxn ang="0">
                <a:pos x="11" y="66"/>
              </a:cxn>
              <a:cxn ang="0">
                <a:pos x="20" y="66"/>
              </a:cxn>
              <a:cxn ang="0">
                <a:pos x="25" y="67"/>
              </a:cxn>
              <a:cxn ang="0">
                <a:pos x="29" y="70"/>
              </a:cxn>
              <a:cxn ang="0">
                <a:pos x="36" y="75"/>
              </a:cxn>
              <a:cxn ang="0">
                <a:pos x="40" y="77"/>
              </a:cxn>
              <a:cxn ang="0">
                <a:pos x="55" y="78"/>
              </a:cxn>
              <a:cxn ang="0">
                <a:pos x="67" y="80"/>
              </a:cxn>
              <a:cxn ang="0">
                <a:pos x="76" y="80"/>
              </a:cxn>
              <a:cxn ang="0">
                <a:pos x="72" y="72"/>
              </a:cxn>
              <a:cxn ang="0">
                <a:pos x="59" y="66"/>
              </a:cxn>
              <a:cxn ang="0">
                <a:pos x="51" y="62"/>
              </a:cxn>
              <a:cxn ang="0">
                <a:pos x="41" y="55"/>
              </a:cxn>
              <a:cxn ang="0">
                <a:pos x="44" y="51"/>
              </a:cxn>
              <a:cxn ang="0">
                <a:pos x="55" y="53"/>
              </a:cxn>
              <a:cxn ang="0">
                <a:pos x="68" y="62"/>
              </a:cxn>
              <a:cxn ang="0">
                <a:pos x="83" y="64"/>
              </a:cxn>
              <a:cxn ang="0">
                <a:pos x="88" y="66"/>
              </a:cxn>
              <a:cxn ang="0">
                <a:pos x="92" y="69"/>
              </a:cxn>
              <a:cxn ang="0">
                <a:pos x="96" y="69"/>
              </a:cxn>
              <a:cxn ang="0">
                <a:pos x="97" y="64"/>
              </a:cxn>
              <a:cxn ang="0">
                <a:pos x="101" y="64"/>
              </a:cxn>
              <a:cxn ang="0">
                <a:pos x="95" y="59"/>
              </a:cxn>
              <a:cxn ang="0">
                <a:pos x="101" y="58"/>
              </a:cxn>
              <a:cxn ang="0">
                <a:pos x="103" y="51"/>
              </a:cxn>
              <a:cxn ang="0">
                <a:pos x="92" y="44"/>
              </a:cxn>
              <a:cxn ang="0">
                <a:pos x="95" y="37"/>
              </a:cxn>
              <a:cxn ang="0">
                <a:pos x="89" y="34"/>
              </a:cxn>
              <a:cxn ang="0">
                <a:pos x="84" y="31"/>
              </a:cxn>
              <a:cxn ang="0">
                <a:pos x="77" y="29"/>
              </a:cxn>
              <a:cxn ang="0">
                <a:pos x="68" y="31"/>
              </a:cxn>
              <a:cxn ang="0">
                <a:pos x="60" y="23"/>
              </a:cxn>
              <a:cxn ang="0">
                <a:pos x="59" y="20"/>
              </a:cxn>
              <a:cxn ang="0">
                <a:pos x="51" y="17"/>
              </a:cxn>
              <a:cxn ang="0">
                <a:pos x="52" y="12"/>
              </a:cxn>
              <a:cxn ang="0">
                <a:pos x="60" y="9"/>
              </a:cxn>
              <a:cxn ang="0">
                <a:pos x="47" y="3"/>
              </a:cxn>
              <a:cxn ang="0">
                <a:pos x="59" y="4"/>
              </a:cxn>
              <a:cxn ang="0">
                <a:pos x="57" y="1"/>
              </a:cxn>
              <a:cxn ang="0">
                <a:pos x="65" y="3"/>
              </a:cxn>
              <a:cxn ang="0">
                <a:pos x="80" y="9"/>
              </a:cxn>
              <a:cxn ang="0">
                <a:pos x="88" y="12"/>
              </a:cxn>
              <a:cxn ang="0">
                <a:pos x="99" y="18"/>
              </a:cxn>
              <a:cxn ang="0">
                <a:pos x="105" y="23"/>
              </a:cxn>
              <a:cxn ang="0">
                <a:pos x="113" y="29"/>
              </a:cxn>
              <a:cxn ang="0">
                <a:pos x="118" y="23"/>
              </a:cxn>
              <a:cxn ang="0">
                <a:pos x="117" y="14"/>
              </a:cxn>
              <a:cxn ang="0">
                <a:pos x="130" y="15"/>
              </a:cxn>
              <a:cxn ang="0">
                <a:pos x="136" y="9"/>
              </a:cxn>
            </a:cxnLst>
            <a:rect l="0" t="0" r="r" b="b"/>
            <a:pathLst>
              <a:path w="138" h="83">
                <a:moveTo>
                  <a:pt x="0" y="64"/>
                </a:moveTo>
                <a:lnTo>
                  <a:pt x="4" y="64"/>
                </a:lnTo>
                <a:lnTo>
                  <a:pt x="9" y="66"/>
                </a:lnTo>
                <a:lnTo>
                  <a:pt x="11" y="66"/>
                </a:lnTo>
                <a:lnTo>
                  <a:pt x="15" y="67"/>
                </a:lnTo>
                <a:lnTo>
                  <a:pt x="17" y="67"/>
                </a:lnTo>
                <a:lnTo>
                  <a:pt x="20" y="64"/>
                </a:lnTo>
                <a:lnTo>
                  <a:pt x="20" y="66"/>
                </a:lnTo>
                <a:lnTo>
                  <a:pt x="20" y="67"/>
                </a:lnTo>
                <a:lnTo>
                  <a:pt x="21" y="67"/>
                </a:lnTo>
                <a:lnTo>
                  <a:pt x="23" y="67"/>
                </a:lnTo>
                <a:lnTo>
                  <a:pt x="25" y="67"/>
                </a:lnTo>
                <a:lnTo>
                  <a:pt x="27" y="67"/>
                </a:lnTo>
                <a:lnTo>
                  <a:pt x="27" y="69"/>
                </a:lnTo>
                <a:lnTo>
                  <a:pt x="27" y="70"/>
                </a:lnTo>
                <a:lnTo>
                  <a:pt x="29" y="70"/>
                </a:lnTo>
                <a:lnTo>
                  <a:pt x="31" y="70"/>
                </a:lnTo>
                <a:lnTo>
                  <a:pt x="31" y="72"/>
                </a:lnTo>
                <a:lnTo>
                  <a:pt x="33" y="73"/>
                </a:lnTo>
                <a:lnTo>
                  <a:pt x="36" y="75"/>
                </a:lnTo>
                <a:lnTo>
                  <a:pt x="37" y="72"/>
                </a:lnTo>
                <a:lnTo>
                  <a:pt x="37" y="75"/>
                </a:lnTo>
                <a:lnTo>
                  <a:pt x="39" y="75"/>
                </a:lnTo>
                <a:lnTo>
                  <a:pt x="40" y="77"/>
                </a:lnTo>
                <a:lnTo>
                  <a:pt x="44" y="77"/>
                </a:lnTo>
                <a:lnTo>
                  <a:pt x="45" y="77"/>
                </a:lnTo>
                <a:lnTo>
                  <a:pt x="48" y="78"/>
                </a:lnTo>
                <a:lnTo>
                  <a:pt x="55" y="78"/>
                </a:lnTo>
                <a:lnTo>
                  <a:pt x="57" y="80"/>
                </a:lnTo>
                <a:lnTo>
                  <a:pt x="59" y="80"/>
                </a:lnTo>
                <a:lnTo>
                  <a:pt x="63" y="80"/>
                </a:lnTo>
                <a:lnTo>
                  <a:pt x="67" y="80"/>
                </a:lnTo>
                <a:lnTo>
                  <a:pt x="73" y="83"/>
                </a:lnTo>
                <a:lnTo>
                  <a:pt x="79" y="83"/>
                </a:lnTo>
                <a:lnTo>
                  <a:pt x="79" y="81"/>
                </a:lnTo>
                <a:lnTo>
                  <a:pt x="76" y="80"/>
                </a:lnTo>
                <a:lnTo>
                  <a:pt x="77" y="78"/>
                </a:lnTo>
                <a:lnTo>
                  <a:pt x="77" y="77"/>
                </a:lnTo>
                <a:lnTo>
                  <a:pt x="77" y="75"/>
                </a:lnTo>
                <a:lnTo>
                  <a:pt x="72" y="72"/>
                </a:lnTo>
                <a:lnTo>
                  <a:pt x="68" y="70"/>
                </a:lnTo>
                <a:lnTo>
                  <a:pt x="65" y="69"/>
                </a:lnTo>
                <a:lnTo>
                  <a:pt x="64" y="69"/>
                </a:lnTo>
                <a:lnTo>
                  <a:pt x="59" y="66"/>
                </a:lnTo>
                <a:lnTo>
                  <a:pt x="57" y="64"/>
                </a:lnTo>
                <a:lnTo>
                  <a:pt x="53" y="62"/>
                </a:lnTo>
                <a:lnTo>
                  <a:pt x="53" y="61"/>
                </a:lnTo>
                <a:lnTo>
                  <a:pt x="51" y="62"/>
                </a:lnTo>
                <a:lnTo>
                  <a:pt x="49" y="59"/>
                </a:lnTo>
                <a:lnTo>
                  <a:pt x="48" y="59"/>
                </a:lnTo>
                <a:lnTo>
                  <a:pt x="47" y="59"/>
                </a:lnTo>
                <a:lnTo>
                  <a:pt x="41" y="55"/>
                </a:lnTo>
                <a:lnTo>
                  <a:pt x="39" y="53"/>
                </a:lnTo>
                <a:lnTo>
                  <a:pt x="36" y="50"/>
                </a:lnTo>
                <a:lnTo>
                  <a:pt x="39" y="50"/>
                </a:lnTo>
                <a:lnTo>
                  <a:pt x="44" y="51"/>
                </a:lnTo>
                <a:lnTo>
                  <a:pt x="49" y="55"/>
                </a:lnTo>
                <a:lnTo>
                  <a:pt x="52" y="55"/>
                </a:lnTo>
                <a:lnTo>
                  <a:pt x="52" y="53"/>
                </a:lnTo>
                <a:lnTo>
                  <a:pt x="55" y="53"/>
                </a:lnTo>
                <a:lnTo>
                  <a:pt x="60" y="58"/>
                </a:lnTo>
                <a:lnTo>
                  <a:pt x="63" y="59"/>
                </a:lnTo>
                <a:lnTo>
                  <a:pt x="67" y="59"/>
                </a:lnTo>
                <a:lnTo>
                  <a:pt x="68" y="62"/>
                </a:lnTo>
                <a:lnTo>
                  <a:pt x="77" y="62"/>
                </a:lnTo>
                <a:lnTo>
                  <a:pt x="80" y="66"/>
                </a:lnTo>
                <a:lnTo>
                  <a:pt x="81" y="64"/>
                </a:lnTo>
                <a:lnTo>
                  <a:pt x="83" y="64"/>
                </a:lnTo>
                <a:lnTo>
                  <a:pt x="85" y="66"/>
                </a:lnTo>
                <a:lnTo>
                  <a:pt x="87" y="64"/>
                </a:lnTo>
                <a:lnTo>
                  <a:pt x="88" y="64"/>
                </a:lnTo>
                <a:lnTo>
                  <a:pt x="88" y="66"/>
                </a:lnTo>
                <a:lnTo>
                  <a:pt x="91" y="67"/>
                </a:lnTo>
                <a:lnTo>
                  <a:pt x="92" y="66"/>
                </a:lnTo>
                <a:lnTo>
                  <a:pt x="92" y="67"/>
                </a:lnTo>
                <a:lnTo>
                  <a:pt x="92" y="69"/>
                </a:lnTo>
                <a:lnTo>
                  <a:pt x="95" y="70"/>
                </a:lnTo>
                <a:lnTo>
                  <a:pt x="96" y="72"/>
                </a:lnTo>
                <a:lnTo>
                  <a:pt x="97" y="70"/>
                </a:lnTo>
                <a:lnTo>
                  <a:pt x="96" y="69"/>
                </a:lnTo>
                <a:lnTo>
                  <a:pt x="95" y="67"/>
                </a:lnTo>
                <a:lnTo>
                  <a:pt x="93" y="66"/>
                </a:lnTo>
                <a:lnTo>
                  <a:pt x="95" y="64"/>
                </a:lnTo>
                <a:lnTo>
                  <a:pt x="97" y="64"/>
                </a:lnTo>
                <a:lnTo>
                  <a:pt x="100" y="66"/>
                </a:lnTo>
                <a:lnTo>
                  <a:pt x="103" y="66"/>
                </a:lnTo>
                <a:lnTo>
                  <a:pt x="103" y="64"/>
                </a:lnTo>
                <a:lnTo>
                  <a:pt x="101" y="64"/>
                </a:lnTo>
                <a:lnTo>
                  <a:pt x="100" y="62"/>
                </a:lnTo>
                <a:lnTo>
                  <a:pt x="97" y="62"/>
                </a:lnTo>
                <a:lnTo>
                  <a:pt x="96" y="61"/>
                </a:lnTo>
                <a:lnTo>
                  <a:pt x="95" y="59"/>
                </a:lnTo>
                <a:lnTo>
                  <a:pt x="95" y="58"/>
                </a:lnTo>
                <a:lnTo>
                  <a:pt x="95" y="55"/>
                </a:lnTo>
                <a:lnTo>
                  <a:pt x="97" y="56"/>
                </a:lnTo>
                <a:lnTo>
                  <a:pt x="101" y="58"/>
                </a:lnTo>
                <a:lnTo>
                  <a:pt x="100" y="56"/>
                </a:lnTo>
                <a:lnTo>
                  <a:pt x="101" y="55"/>
                </a:lnTo>
                <a:lnTo>
                  <a:pt x="101" y="53"/>
                </a:lnTo>
                <a:lnTo>
                  <a:pt x="103" y="51"/>
                </a:lnTo>
                <a:lnTo>
                  <a:pt x="101" y="48"/>
                </a:lnTo>
                <a:lnTo>
                  <a:pt x="100" y="45"/>
                </a:lnTo>
                <a:lnTo>
                  <a:pt x="96" y="45"/>
                </a:lnTo>
                <a:lnTo>
                  <a:pt x="92" y="44"/>
                </a:lnTo>
                <a:lnTo>
                  <a:pt x="91" y="44"/>
                </a:lnTo>
                <a:lnTo>
                  <a:pt x="91" y="40"/>
                </a:lnTo>
                <a:lnTo>
                  <a:pt x="93" y="40"/>
                </a:lnTo>
                <a:lnTo>
                  <a:pt x="95" y="37"/>
                </a:lnTo>
                <a:lnTo>
                  <a:pt x="93" y="36"/>
                </a:lnTo>
                <a:lnTo>
                  <a:pt x="91" y="36"/>
                </a:lnTo>
                <a:lnTo>
                  <a:pt x="91" y="34"/>
                </a:lnTo>
                <a:lnTo>
                  <a:pt x="89" y="34"/>
                </a:lnTo>
                <a:lnTo>
                  <a:pt x="89" y="33"/>
                </a:lnTo>
                <a:lnTo>
                  <a:pt x="84" y="36"/>
                </a:lnTo>
                <a:lnTo>
                  <a:pt x="84" y="33"/>
                </a:lnTo>
                <a:lnTo>
                  <a:pt x="84" y="31"/>
                </a:lnTo>
                <a:lnTo>
                  <a:pt x="80" y="29"/>
                </a:lnTo>
                <a:lnTo>
                  <a:pt x="76" y="33"/>
                </a:lnTo>
                <a:lnTo>
                  <a:pt x="73" y="31"/>
                </a:lnTo>
                <a:lnTo>
                  <a:pt x="77" y="29"/>
                </a:lnTo>
                <a:lnTo>
                  <a:pt x="75" y="29"/>
                </a:lnTo>
                <a:lnTo>
                  <a:pt x="72" y="28"/>
                </a:lnTo>
                <a:lnTo>
                  <a:pt x="69" y="29"/>
                </a:lnTo>
                <a:lnTo>
                  <a:pt x="68" y="31"/>
                </a:lnTo>
                <a:lnTo>
                  <a:pt x="67" y="29"/>
                </a:lnTo>
                <a:lnTo>
                  <a:pt x="65" y="26"/>
                </a:lnTo>
                <a:lnTo>
                  <a:pt x="64" y="25"/>
                </a:lnTo>
                <a:lnTo>
                  <a:pt x="60" y="23"/>
                </a:lnTo>
                <a:lnTo>
                  <a:pt x="61" y="22"/>
                </a:lnTo>
                <a:lnTo>
                  <a:pt x="60" y="22"/>
                </a:lnTo>
                <a:lnTo>
                  <a:pt x="61" y="20"/>
                </a:lnTo>
                <a:lnTo>
                  <a:pt x="59" y="20"/>
                </a:lnTo>
                <a:lnTo>
                  <a:pt x="59" y="18"/>
                </a:lnTo>
                <a:lnTo>
                  <a:pt x="60" y="17"/>
                </a:lnTo>
                <a:lnTo>
                  <a:pt x="56" y="17"/>
                </a:lnTo>
                <a:lnTo>
                  <a:pt x="51" y="17"/>
                </a:lnTo>
                <a:lnTo>
                  <a:pt x="49" y="17"/>
                </a:lnTo>
                <a:lnTo>
                  <a:pt x="51" y="15"/>
                </a:lnTo>
                <a:lnTo>
                  <a:pt x="51" y="12"/>
                </a:lnTo>
                <a:lnTo>
                  <a:pt x="52" y="12"/>
                </a:lnTo>
                <a:lnTo>
                  <a:pt x="53" y="12"/>
                </a:lnTo>
                <a:lnTo>
                  <a:pt x="59" y="11"/>
                </a:lnTo>
                <a:lnTo>
                  <a:pt x="61" y="11"/>
                </a:lnTo>
                <a:lnTo>
                  <a:pt x="60" y="9"/>
                </a:lnTo>
                <a:lnTo>
                  <a:pt x="56" y="7"/>
                </a:lnTo>
                <a:lnTo>
                  <a:pt x="51" y="6"/>
                </a:lnTo>
                <a:lnTo>
                  <a:pt x="48" y="6"/>
                </a:lnTo>
                <a:lnTo>
                  <a:pt x="47" y="3"/>
                </a:lnTo>
                <a:lnTo>
                  <a:pt x="52" y="3"/>
                </a:lnTo>
                <a:lnTo>
                  <a:pt x="51" y="1"/>
                </a:lnTo>
                <a:lnTo>
                  <a:pt x="52" y="1"/>
                </a:lnTo>
                <a:lnTo>
                  <a:pt x="59" y="4"/>
                </a:lnTo>
                <a:lnTo>
                  <a:pt x="61" y="4"/>
                </a:lnTo>
                <a:lnTo>
                  <a:pt x="59" y="3"/>
                </a:lnTo>
                <a:lnTo>
                  <a:pt x="61" y="3"/>
                </a:lnTo>
                <a:lnTo>
                  <a:pt x="57" y="1"/>
                </a:lnTo>
                <a:lnTo>
                  <a:pt x="59" y="0"/>
                </a:lnTo>
                <a:lnTo>
                  <a:pt x="63" y="1"/>
                </a:lnTo>
                <a:lnTo>
                  <a:pt x="65" y="1"/>
                </a:lnTo>
                <a:lnTo>
                  <a:pt x="65" y="3"/>
                </a:lnTo>
                <a:lnTo>
                  <a:pt x="64" y="4"/>
                </a:lnTo>
                <a:lnTo>
                  <a:pt x="68" y="4"/>
                </a:lnTo>
                <a:lnTo>
                  <a:pt x="76" y="7"/>
                </a:lnTo>
                <a:lnTo>
                  <a:pt x="80" y="9"/>
                </a:lnTo>
                <a:lnTo>
                  <a:pt x="81" y="11"/>
                </a:lnTo>
                <a:lnTo>
                  <a:pt x="85" y="11"/>
                </a:lnTo>
                <a:lnTo>
                  <a:pt x="89" y="11"/>
                </a:lnTo>
                <a:lnTo>
                  <a:pt x="88" y="12"/>
                </a:lnTo>
                <a:lnTo>
                  <a:pt x="89" y="15"/>
                </a:lnTo>
                <a:lnTo>
                  <a:pt x="89" y="17"/>
                </a:lnTo>
                <a:lnTo>
                  <a:pt x="95" y="20"/>
                </a:lnTo>
                <a:lnTo>
                  <a:pt x="99" y="18"/>
                </a:lnTo>
                <a:lnTo>
                  <a:pt x="100" y="20"/>
                </a:lnTo>
                <a:lnTo>
                  <a:pt x="97" y="23"/>
                </a:lnTo>
                <a:lnTo>
                  <a:pt x="101" y="25"/>
                </a:lnTo>
                <a:lnTo>
                  <a:pt x="105" y="23"/>
                </a:lnTo>
                <a:lnTo>
                  <a:pt x="108" y="26"/>
                </a:lnTo>
                <a:lnTo>
                  <a:pt x="110" y="26"/>
                </a:lnTo>
                <a:lnTo>
                  <a:pt x="112" y="28"/>
                </a:lnTo>
                <a:lnTo>
                  <a:pt x="113" y="29"/>
                </a:lnTo>
                <a:lnTo>
                  <a:pt x="116" y="29"/>
                </a:lnTo>
                <a:lnTo>
                  <a:pt x="117" y="26"/>
                </a:lnTo>
                <a:lnTo>
                  <a:pt x="117" y="25"/>
                </a:lnTo>
                <a:lnTo>
                  <a:pt x="118" y="23"/>
                </a:lnTo>
                <a:lnTo>
                  <a:pt x="121" y="23"/>
                </a:lnTo>
                <a:lnTo>
                  <a:pt x="120" y="20"/>
                </a:lnTo>
                <a:lnTo>
                  <a:pt x="117" y="17"/>
                </a:lnTo>
                <a:lnTo>
                  <a:pt x="117" y="14"/>
                </a:lnTo>
                <a:lnTo>
                  <a:pt x="124" y="17"/>
                </a:lnTo>
                <a:lnTo>
                  <a:pt x="128" y="17"/>
                </a:lnTo>
                <a:lnTo>
                  <a:pt x="129" y="17"/>
                </a:lnTo>
                <a:lnTo>
                  <a:pt x="130" y="15"/>
                </a:lnTo>
                <a:lnTo>
                  <a:pt x="133" y="14"/>
                </a:lnTo>
                <a:lnTo>
                  <a:pt x="133" y="11"/>
                </a:lnTo>
                <a:lnTo>
                  <a:pt x="138" y="11"/>
                </a:lnTo>
                <a:lnTo>
                  <a:pt x="136" y="9"/>
                </a:lnTo>
                <a:lnTo>
                  <a:pt x="130" y="9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45" name="Freeform 745"/>
          <p:cNvSpPr>
            <a:spLocks/>
          </p:cNvSpPr>
          <p:nvPr/>
        </p:nvSpPr>
        <p:spPr bwMode="auto">
          <a:xfrm>
            <a:off x="3376772" y="1777869"/>
            <a:ext cx="532028" cy="236237"/>
          </a:xfrm>
          <a:custGeom>
            <a:avLst/>
            <a:gdLst/>
            <a:ahLst/>
            <a:cxnLst>
              <a:cxn ang="0">
                <a:pos x="264" y="116"/>
              </a:cxn>
              <a:cxn ang="0">
                <a:pos x="274" y="116"/>
              </a:cxn>
              <a:cxn ang="0">
                <a:pos x="274" y="111"/>
              </a:cxn>
              <a:cxn ang="0">
                <a:pos x="271" y="105"/>
              </a:cxn>
              <a:cxn ang="0">
                <a:pos x="260" y="103"/>
              </a:cxn>
              <a:cxn ang="0">
                <a:pos x="254" y="99"/>
              </a:cxn>
              <a:cxn ang="0">
                <a:pos x="240" y="99"/>
              </a:cxn>
              <a:cxn ang="0">
                <a:pos x="237" y="97"/>
              </a:cxn>
              <a:cxn ang="0">
                <a:pos x="234" y="89"/>
              </a:cxn>
              <a:cxn ang="0">
                <a:pos x="222" y="88"/>
              </a:cxn>
              <a:cxn ang="0">
                <a:pos x="219" y="84"/>
              </a:cxn>
              <a:cxn ang="0">
                <a:pos x="205" y="84"/>
              </a:cxn>
              <a:cxn ang="0">
                <a:pos x="201" y="81"/>
              </a:cxn>
              <a:cxn ang="0">
                <a:pos x="198" y="78"/>
              </a:cxn>
              <a:cxn ang="0">
                <a:pos x="175" y="75"/>
              </a:cxn>
              <a:cxn ang="0">
                <a:pos x="183" y="72"/>
              </a:cxn>
              <a:cxn ang="0">
                <a:pos x="177" y="67"/>
              </a:cxn>
              <a:cxn ang="0">
                <a:pos x="171" y="64"/>
              </a:cxn>
              <a:cxn ang="0">
                <a:pos x="178" y="62"/>
              </a:cxn>
              <a:cxn ang="0">
                <a:pos x="201" y="64"/>
              </a:cxn>
              <a:cxn ang="0">
                <a:pos x="187" y="59"/>
              </a:cxn>
              <a:cxn ang="0">
                <a:pos x="171" y="58"/>
              </a:cxn>
              <a:cxn ang="0">
                <a:pos x="175" y="56"/>
              </a:cxn>
              <a:cxn ang="0">
                <a:pos x="190" y="55"/>
              </a:cxn>
              <a:cxn ang="0">
                <a:pos x="177" y="44"/>
              </a:cxn>
              <a:cxn ang="0">
                <a:pos x="169" y="50"/>
              </a:cxn>
              <a:cxn ang="0">
                <a:pos x="158" y="47"/>
              </a:cxn>
              <a:cxn ang="0">
                <a:pos x="166" y="44"/>
              </a:cxn>
              <a:cxn ang="0">
                <a:pos x="171" y="39"/>
              </a:cxn>
              <a:cxn ang="0">
                <a:pos x="150" y="36"/>
              </a:cxn>
              <a:cxn ang="0">
                <a:pos x="142" y="39"/>
              </a:cxn>
              <a:cxn ang="0">
                <a:pos x="147" y="34"/>
              </a:cxn>
              <a:cxn ang="0">
                <a:pos x="135" y="36"/>
              </a:cxn>
              <a:cxn ang="0">
                <a:pos x="135" y="31"/>
              </a:cxn>
              <a:cxn ang="0">
                <a:pos x="117" y="31"/>
              </a:cxn>
              <a:cxn ang="0">
                <a:pos x="133" y="28"/>
              </a:cxn>
              <a:cxn ang="0">
                <a:pos x="110" y="18"/>
              </a:cxn>
              <a:cxn ang="0">
                <a:pos x="98" y="22"/>
              </a:cxn>
              <a:cxn ang="0">
                <a:pos x="96" y="25"/>
              </a:cxn>
              <a:cxn ang="0">
                <a:pos x="88" y="23"/>
              </a:cxn>
              <a:cxn ang="0">
                <a:pos x="88" y="18"/>
              </a:cxn>
              <a:cxn ang="0">
                <a:pos x="77" y="18"/>
              </a:cxn>
              <a:cxn ang="0">
                <a:pos x="84" y="15"/>
              </a:cxn>
              <a:cxn ang="0">
                <a:pos x="70" y="12"/>
              </a:cxn>
              <a:cxn ang="0">
                <a:pos x="66" y="6"/>
              </a:cxn>
              <a:cxn ang="0">
                <a:pos x="41" y="0"/>
              </a:cxn>
              <a:cxn ang="0">
                <a:pos x="18" y="6"/>
              </a:cxn>
              <a:cxn ang="0">
                <a:pos x="12" y="9"/>
              </a:cxn>
              <a:cxn ang="0">
                <a:pos x="0" y="6"/>
              </a:cxn>
            </a:cxnLst>
            <a:rect l="0" t="0" r="r" b="b"/>
            <a:pathLst>
              <a:path w="279" h="119">
                <a:moveTo>
                  <a:pt x="260" y="119"/>
                </a:moveTo>
                <a:lnTo>
                  <a:pt x="260" y="117"/>
                </a:lnTo>
                <a:lnTo>
                  <a:pt x="264" y="117"/>
                </a:lnTo>
                <a:lnTo>
                  <a:pt x="264" y="116"/>
                </a:lnTo>
                <a:lnTo>
                  <a:pt x="260" y="114"/>
                </a:lnTo>
                <a:lnTo>
                  <a:pt x="263" y="114"/>
                </a:lnTo>
                <a:lnTo>
                  <a:pt x="270" y="116"/>
                </a:lnTo>
                <a:lnTo>
                  <a:pt x="274" y="116"/>
                </a:lnTo>
                <a:lnTo>
                  <a:pt x="275" y="114"/>
                </a:lnTo>
                <a:lnTo>
                  <a:pt x="272" y="113"/>
                </a:lnTo>
                <a:lnTo>
                  <a:pt x="274" y="113"/>
                </a:lnTo>
                <a:lnTo>
                  <a:pt x="274" y="111"/>
                </a:lnTo>
                <a:lnTo>
                  <a:pt x="276" y="111"/>
                </a:lnTo>
                <a:lnTo>
                  <a:pt x="279" y="110"/>
                </a:lnTo>
                <a:lnTo>
                  <a:pt x="276" y="106"/>
                </a:lnTo>
                <a:lnTo>
                  <a:pt x="271" y="105"/>
                </a:lnTo>
                <a:lnTo>
                  <a:pt x="268" y="103"/>
                </a:lnTo>
                <a:lnTo>
                  <a:pt x="267" y="103"/>
                </a:lnTo>
                <a:lnTo>
                  <a:pt x="263" y="103"/>
                </a:lnTo>
                <a:lnTo>
                  <a:pt x="260" y="103"/>
                </a:lnTo>
                <a:lnTo>
                  <a:pt x="255" y="103"/>
                </a:lnTo>
                <a:lnTo>
                  <a:pt x="250" y="105"/>
                </a:lnTo>
                <a:lnTo>
                  <a:pt x="251" y="100"/>
                </a:lnTo>
                <a:lnTo>
                  <a:pt x="254" y="99"/>
                </a:lnTo>
                <a:lnTo>
                  <a:pt x="254" y="97"/>
                </a:lnTo>
                <a:lnTo>
                  <a:pt x="251" y="97"/>
                </a:lnTo>
                <a:lnTo>
                  <a:pt x="248" y="99"/>
                </a:lnTo>
                <a:lnTo>
                  <a:pt x="240" y="99"/>
                </a:lnTo>
                <a:lnTo>
                  <a:pt x="237" y="99"/>
                </a:lnTo>
                <a:lnTo>
                  <a:pt x="239" y="97"/>
                </a:lnTo>
                <a:lnTo>
                  <a:pt x="235" y="97"/>
                </a:lnTo>
                <a:lnTo>
                  <a:pt x="237" y="97"/>
                </a:lnTo>
                <a:lnTo>
                  <a:pt x="240" y="97"/>
                </a:lnTo>
                <a:lnTo>
                  <a:pt x="240" y="95"/>
                </a:lnTo>
                <a:lnTo>
                  <a:pt x="235" y="91"/>
                </a:lnTo>
                <a:lnTo>
                  <a:pt x="234" y="89"/>
                </a:lnTo>
                <a:lnTo>
                  <a:pt x="233" y="89"/>
                </a:lnTo>
                <a:lnTo>
                  <a:pt x="230" y="88"/>
                </a:lnTo>
                <a:lnTo>
                  <a:pt x="223" y="89"/>
                </a:lnTo>
                <a:lnTo>
                  <a:pt x="222" y="88"/>
                </a:lnTo>
                <a:lnTo>
                  <a:pt x="223" y="86"/>
                </a:lnTo>
                <a:lnTo>
                  <a:pt x="225" y="86"/>
                </a:lnTo>
                <a:lnTo>
                  <a:pt x="225" y="84"/>
                </a:lnTo>
                <a:lnTo>
                  <a:pt x="219" y="84"/>
                </a:lnTo>
                <a:lnTo>
                  <a:pt x="214" y="84"/>
                </a:lnTo>
                <a:lnTo>
                  <a:pt x="210" y="86"/>
                </a:lnTo>
                <a:lnTo>
                  <a:pt x="209" y="84"/>
                </a:lnTo>
                <a:lnTo>
                  <a:pt x="205" y="84"/>
                </a:lnTo>
                <a:lnTo>
                  <a:pt x="206" y="83"/>
                </a:lnTo>
                <a:lnTo>
                  <a:pt x="209" y="83"/>
                </a:lnTo>
                <a:lnTo>
                  <a:pt x="206" y="81"/>
                </a:lnTo>
                <a:lnTo>
                  <a:pt x="201" y="81"/>
                </a:lnTo>
                <a:lnTo>
                  <a:pt x="197" y="81"/>
                </a:lnTo>
                <a:lnTo>
                  <a:pt x="195" y="81"/>
                </a:lnTo>
                <a:lnTo>
                  <a:pt x="198" y="80"/>
                </a:lnTo>
                <a:lnTo>
                  <a:pt x="198" y="78"/>
                </a:lnTo>
                <a:lnTo>
                  <a:pt x="195" y="77"/>
                </a:lnTo>
                <a:lnTo>
                  <a:pt x="189" y="77"/>
                </a:lnTo>
                <a:lnTo>
                  <a:pt x="179" y="75"/>
                </a:lnTo>
                <a:lnTo>
                  <a:pt x="175" y="75"/>
                </a:lnTo>
                <a:lnTo>
                  <a:pt x="174" y="73"/>
                </a:lnTo>
                <a:lnTo>
                  <a:pt x="178" y="73"/>
                </a:lnTo>
                <a:lnTo>
                  <a:pt x="179" y="72"/>
                </a:lnTo>
                <a:lnTo>
                  <a:pt x="183" y="72"/>
                </a:lnTo>
                <a:lnTo>
                  <a:pt x="181" y="72"/>
                </a:lnTo>
                <a:lnTo>
                  <a:pt x="182" y="70"/>
                </a:lnTo>
                <a:lnTo>
                  <a:pt x="177" y="69"/>
                </a:lnTo>
                <a:lnTo>
                  <a:pt x="177" y="67"/>
                </a:lnTo>
                <a:lnTo>
                  <a:pt x="182" y="67"/>
                </a:lnTo>
                <a:lnTo>
                  <a:pt x="179" y="66"/>
                </a:lnTo>
                <a:lnTo>
                  <a:pt x="175" y="64"/>
                </a:lnTo>
                <a:lnTo>
                  <a:pt x="171" y="64"/>
                </a:lnTo>
                <a:lnTo>
                  <a:pt x="170" y="64"/>
                </a:lnTo>
                <a:lnTo>
                  <a:pt x="175" y="62"/>
                </a:lnTo>
                <a:lnTo>
                  <a:pt x="177" y="64"/>
                </a:lnTo>
                <a:lnTo>
                  <a:pt x="178" y="62"/>
                </a:lnTo>
                <a:lnTo>
                  <a:pt x="187" y="64"/>
                </a:lnTo>
                <a:lnTo>
                  <a:pt x="191" y="64"/>
                </a:lnTo>
                <a:lnTo>
                  <a:pt x="197" y="64"/>
                </a:lnTo>
                <a:lnTo>
                  <a:pt x="201" y="64"/>
                </a:lnTo>
                <a:lnTo>
                  <a:pt x="202" y="62"/>
                </a:lnTo>
                <a:lnTo>
                  <a:pt x="198" y="61"/>
                </a:lnTo>
                <a:lnTo>
                  <a:pt x="193" y="59"/>
                </a:lnTo>
                <a:lnTo>
                  <a:pt x="187" y="59"/>
                </a:lnTo>
                <a:lnTo>
                  <a:pt x="182" y="59"/>
                </a:lnTo>
                <a:lnTo>
                  <a:pt x="177" y="58"/>
                </a:lnTo>
                <a:lnTo>
                  <a:pt x="175" y="59"/>
                </a:lnTo>
                <a:lnTo>
                  <a:pt x="171" y="58"/>
                </a:lnTo>
                <a:lnTo>
                  <a:pt x="169" y="56"/>
                </a:lnTo>
                <a:lnTo>
                  <a:pt x="166" y="58"/>
                </a:lnTo>
                <a:lnTo>
                  <a:pt x="169" y="55"/>
                </a:lnTo>
                <a:lnTo>
                  <a:pt x="175" y="56"/>
                </a:lnTo>
                <a:lnTo>
                  <a:pt x="178" y="55"/>
                </a:lnTo>
                <a:lnTo>
                  <a:pt x="181" y="53"/>
                </a:lnTo>
                <a:lnTo>
                  <a:pt x="185" y="53"/>
                </a:lnTo>
                <a:lnTo>
                  <a:pt x="190" y="55"/>
                </a:lnTo>
                <a:lnTo>
                  <a:pt x="193" y="51"/>
                </a:lnTo>
                <a:lnTo>
                  <a:pt x="191" y="50"/>
                </a:lnTo>
                <a:lnTo>
                  <a:pt x="182" y="45"/>
                </a:lnTo>
                <a:lnTo>
                  <a:pt x="177" y="44"/>
                </a:lnTo>
                <a:lnTo>
                  <a:pt x="174" y="45"/>
                </a:lnTo>
                <a:lnTo>
                  <a:pt x="175" y="47"/>
                </a:lnTo>
                <a:lnTo>
                  <a:pt x="170" y="48"/>
                </a:lnTo>
                <a:lnTo>
                  <a:pt x="169" y="50"/>
                </a:lnTo>
                <a:lnTo>
                  <a:pt x="163" y="50"/>
                </a:lnTo>
                <a:lnTo>
                  <a:pt x="169" y="47"/>
                </a:lnTo>
                <a:lnTo>
                  <a:pt x="169" y="45"/>
                </a:lnTo>
                <a:lnTo>
                  <a:pt x="158" y="47"/>
                </a:lnTo>
                <a:lnTo>
                  <a:pt x="155" y="47"/>
                </a:lnTo>
                <a:lnTo>
                  <a:pt x="154" y="47"/>
                </a:lnTo>
                <a:lnTo>
                  <a:pt x="158" y="45"/>
                </a:lnTo>
                <a:lnTo>
                  <a:pt x="166" y="44"/>
                </a:lnTo>
                <a:lnTo>
                  <a:pt x="169" y="40"/>
                </a:lnTo>
                <a:lnTo>
                  <a:pt x="171" y="42"/>
                </a:lnTo>
                <a:lnTo>
                  <a:pt x="171" y="40"/>
                </a:lnTo>
                <a:lnTo>
                  <a:pt x="171" y="39"/>
                </a:lnTo>
                <a:lnTo>
                  <a:pt x="162" y="37"/>
                </a:lnTo>
                <a:lnTo>
                  <a:pt x="159" y="36"/>
                </a:lnTo>
                <a:lnTo>
                  <a:pt x="155" y="36"/>
                </a:lnTo>
                <a:lnTo>
                  <a:pt x="150" y="36"/>
                </a:lnTo>
                <a:lnTo>
                  <a:pt x="146" y="39"/>
                </a:lnTo>
                <a:lnTo>
                  <a:pt x="145" y="39"/>
                </a:lnTo>
                <a:lnTo>
                  <a:pt x="142" y="40"/>
                </a:lnTo>
                <a:lnTo>
                  <a:pt x="142" y="39"/>
                </a:lnTo>
                <a:lnTo>
                  <a:pt x="143" y="37"/>
                </a:lnTo>
                <a:lnTo>
                  <a:pt x="147" y="36"/>
                </a:lnTo>
                <a:lnTo>
                  <a:pt x="150" y="34"/>
                </a:lnTo>
                <a:lnTo>
                  <a:pt x="147" y="34"/>
                </a:lnTo>
                <a:lnTo>
                  <a:pt x="145" y="36"/>
                </a:lnTo>
                <a:lnTo>
                  <a:pt x="141" y="36"/>
                </a:lnTo>
                <a:lnTo>
                  <a:pt x="135" y="37"/>
                </a:lnTo>
                <a:lnTo>
                  <a:pt x="135" y="36"/>
                </a:lnTo>
                <a:lnTo>
                  <a:pt x="138" y="36"/>
                </a:lnTo>
                <a:lnTo>
                  <a:pt x="139" y="33"/>
                </a:lnTo>
                <a:lnTo>
                  <a:pt x="139" y="31"/>
                </a:lnTo>
                <a:lnTo>
                  <a:pt x="135" y="31"/>
                </a:lnTo>
                <a:lnTo>
                  <a:pt x="131" y="31"/>
                </a:lnTo>
                <a:lnTo>
                  <a:pt x="127" y="33"/>
                </a:lnTo>
                <a:lnTo>
                  <a:pt x="125" y="31"/>
                </a:lnTo>
                <a:lnTo>
                  <a:pt x="117" y="31"/>
                </a:lnTo>
                <a:lnTo>
                  <a:pt x="125" y="29"/>
                </a:lnTo>
                <a:lnTo>
                  <a:pt x="129" y="29"/>
                </a:lnTo>
                <a:lnTo>
                  <a:pt x="131" y="28"/>
                </a:lnTo>
                <a:lnTo>
                  <a:pt x="133" y="28"/>
                </a:lnTo>
                <a:lnTo>
                  <a:pt x="131" y="25"/>
                </a:lnTo>
                <a:lnTo>
                  <a:pt x="127" y="23"/>
                </a:lnTo>
                <a:lnTo>
                  <a:pt x="116" y="20"/>
                </a:lnTo>
                <a:lnTo>
                  <a:pt x="110" y="18"/>
                </a:lnTo>
                <a:lnTo>
                  <a:pt x="109" y="20"/>
                </a:lnTo>
                <a:lnTo>
                  <a:pt x="105" y="22"/>
                </a:lnTo>
                <a:lnTo>
                  <a:pt x="102" y="22"/>
                </a:lnTo>
                <a:lnTo>
                  <a:pt x="98" y="22"/>
                </a:lnTo>
                <a:lnTo>
                  <a:pt x="100" y="25"/>
                </a:lnTo>
                <a:lnTo>
                  <a:pt x="100" y="26"/>
                </a:lnTo>
                <a:lnTo>
                  <a:pt x="100" y="25"/>
                </a:lnTo>
                <a:lnTo>
                  <a:pt x="96" y="25"/>
                </a:lnTo>
                <a:lnTo>
                  <a:pt x="93" y="23"/>
                </a:lnTo>
                <a:lnTo>
                  <a:pt x="94" y="22"/>
                </a:lnTo>
                <a:lnTo>
                  <a:pt x="92" y="22"/>
                </a:lnTo>
                <a:lnTo>
                  <a:pt x="88" y="23"/>
                </a:lnTo>
                <a:lnTo>
                  <a:pt x="90" y="20"/>
                </a:lnTo>
                <a:lnTo>
                  <a:pt x="96" y="17"/>
                </a:lnTo>
                <a:lnTo>
                  <a:pt x="94" y="17"/>
                </a:lnTo>
                <a:lnTo>
                  <a:pt x="88" y="18"/>
                </a:lnTo>
                <a:lnTo>
                  <a:pt x="84" y="17"/>
                </a:lnTo>
                <a:lnTo>
                  <a:pt x="78" y="20"/>
                </a:lnTo>
                <a:lnTo>
                  <a:pt x="77" y="20"/>
                </a:lnTo>
                <a:lnTo>
                  <a:pt x="77" y="18"/>
                </a:lnTo>
                <a:lnTo>
                  <a:pt x="73" y="20"/>
                </a:lnTo>
                <a:lnTo>
                  <a:pt x="77" y="17"/>
                </a:lnTo>
                <a:lnTo>
                  <a:pt x="82" y="17"/>
                </a:lnTo>
                <a:lnTo>
                  <a:pt x="84" y="15"/>
                </a:lnTo>
                <a:lnTo>
                  <a:pt x="84" y="12"/>
                </a:lnTo>
                <a:lnTo>
                  <a:pt x="77" y="12"/>
                </a:lnTo>
                <a:lnTo>
                  <a:pt x="72" y="12"/>
                </a:lnTo>
                <a:lnTo>
                  <a:pt x="70" y="12"/>
                </a:lnTo>
                <a:lnTo>
                  <a:pt x="73" y="9"/>
                </a:lnTo>
                <a:lnTo>
                  <a:pt x="72" y="7"/>
                </a:lnTo>
                <a:lnTo>
                  <a:pt x="69" y="6"/>
                </a:lnTo>
                <a:lnTo>
                  <a:pt x="66" y="6"/>
                </a:lnTo>
                <a:lnTo>
                  <a:pt x="68" y="4"/>
                </a:lnTo>
                <a:lnTo>
                  <a:pt x="62" y="3"/>
                </a:lnTo>
                <a:lnTo>
                  <a:pt x="57" y="3"/>
                </a:lnTo>
                <a:lnTo>
                  <a:pt x="41" y="0"/>
                </a:lnTo>
                <a:lnTo>
                  <a:pt x="33" y="0"/>
                </a:lnTo>
                <a:lnTo>
                  <a:pt x="25" y="1"/>
                </a:lnTo>
                <a:lnTo>
                  <a:pt x="18" y="4"/>
                </a:lnTo>
                <a:lnTo>
                  <a:pt x="18" y="6"/>
                </a:lnTo>
                <a:lnTo>
                  <a:pt x="22" y="7"/>
                </a:lnTo>
                <a:lnTo>
                  <a:pt x="18" y="7"/>
                </a:lnTo>
                <a:lnTo>
                  <a:pt x="14" y="7"/>
                </a:lnTo>
                <a:lnTo>
                  <a:pt x="12" y="9"/>
                </a:lnTo>
                <a:lnTo>
                  <a:pt x="7" y="6"/>
                </a:lnTo>
                <a:lnTo>
                  <a:pt x="3" y="7"/>
                </a:lnTo>
                <a:lnTo>
                  <a:pt x="0" y="7"/>
                </a:lnTo>
                <a:lnTo>
                  <a:pt x="0" y="6"/>
                </a:lnTo>
                <a:lnTo>
                  <a:pt x="0" y="4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46" name="Freeform 746"/>
          <p:cNvSpPr>
            <a:spLocks/>
          </p:cNvSpPr>
          <p:nvPr/>
        </p:nvSpPr>
        <p:spPr bwMode="auto">
          <a:xfrm>
            <a:off x="3078605" y="1741361"/>
            <a:ext cx="298168" cy="141742"/>
          </a:xfrm>
          <a:custGeom>
            <a:avLst/>
            <a:gdLst/>
            <a:ahLst/>
            <a:cxnLst>
              <a:cxn ang="0">
                <a:pos x="148" y="28"/>
              </a:cxn>
              <a:cxn ang="0">
                <a:pos x="140" y="33"/>
              </a:cxn>
              <a:cxn ang="0">
                <a:pos x="144" y="31"/>
              </a:cxn>
              <a:cxn ang="0">
                <a:pos x="144" y="25"/>
              </a:cxn>
              <a:cxn ang="0">
                <a:pos x="141" y="15"/>
              </a:cxn>
              <a:cxn ang="0">
                <a:pos x="132" y="11"/>
              </a:cxn>
              <a:cxn ang="0">
                <a:pos x="131" y="1"/>
              </a:cxn>
              <a:cxn ang="0">
                <a:pos x="105" y="3"/>
              </a:cxn>
              <a:cxn ang="0">
                <a:pos x="97" y="9"/>
              </a:cxn>
              <a:cxn ang="0">
                <a:pos x="85" y="8"/>
              </a:cxn>
              <a:cxn ang="0">
                <a:pos x="80" y="8"/>
              </a:cxn>
              <a:cxn ang="0">
                <a:pos x="95" y="14"/>
              </a:cxn>
              <a:cxn ang="0">
                <a:pos x="72" y="14"/>
              </a:cxn>
              <a:cxn ang="0">
                <a:pos x="81" y="17"/>
              </a:cxn>
              <a:cxn ang="0">
                <a:pos x="77" y="15"/>
              </a:cxn>
              <a:cxn ang="0">
                <a:pos x="67" y="20"/>
              </a:cxn>
              <a:cxn ang="0">
                <a:pos x="75" y="26"/>
              </a:cxn>
              <a:cxn ang="0">
                <a:pos x="79" y="28"/>
              </a:cxn>
              <a:cxn ang="0">
                <a:pos x="69" y="31"/>
              </a:cxn>
              <a:cxn ang="0">
                <a:pos x="68" y="36"/>
              </a:cxn>
              <a:cxn ang="0">
                <a:pos x="83" y="41"/>
              </a:cxn>
              <a:cxn ang="0">
                <a:pos x="81" y="45"/>
              </a:cxn>
              <a:cxn ang="0">
                <a:pos x="76" y="50"/>
              </a:cxn>
              <a:cxn ang="0">
                <a:pos x="71" y="47"/>
              </a:cxn>
              <a:cxn ang="0">
                <a:pos x="54" y="50"/>
              </a:cxn>
              <a:cxn ang="0">
                <a:pos x="71" y="45"/>
              </a:cxn>
              <a:cxn ang="0">
                <a:pos x="76" y="42"/>
              </a:cxn>
              <a:cxn ang="0">
                <a:pos x="55" y="28"/>
              </a:cxn>
              <a:cxn ang="0">
                <a:pos x="52" y="19"/>
              </a:cxn>
              <a:cxn ang="0">
                <a:pos x="65" y="8"/>
              </a:cxn>
              <a:cxn ang="0">
                <a:pos x="77" y="1"/>
              </a:cxn>
              <a:cxn ang="0">
                <a:pos x="42" y="1"/>
              </a:cxn>
              <a:cxn ang="0">
                <a:pos x="18" y="11"/>
              </a:cxn>
              <a:cxn ang="0">
                <a:pos x="15" y="15"/>
              </a:cxn>
              <a:cxn ang="0">
                <a:pos x="8" y="19"/>
              </a:cxn>
              <a:cxn ang="0">
                <a:pos x="3" y="25"/>
              </a:cxn>
              <a:cxn ang="0">
                <a:pos x="3" y="31"/>
              </a:cxn>
              <a:cxn ang="0">
                <a:pos x="2" y="39"/>
              </a:cxn>
              <a:cxn ang="0">
                <a:pos x="18" y="45"/>
              </a:cxn>
              <a:cxn ang="0">
                <a:pos x="46" y="50"/>
              </a:cxn>
              <a:cxn ang="0">
                <a:pos x="15" y="50"/>
              </a:cxn>
              <a:cxn ang="0">
                <a:pos x="14" y="53"/>
              </a:cxn>
              <a:cxn ang="0">
                <a:pos x="30" y="63"/>
              </a:cxn>
              <a:cxn ang="0">
                <a:pos x="47" y="63"/>
              </a:cxn>
              <a:cxn ang="0">
                <a:pos x="57" y="66"/>
              </a:cxn>
              <a:cxn ang="0">
                <a:pos x="69" y="67"/>
              </a:cxn>
              <a:cxn ang="0">
                <a:pos x="99" y="70"/>
              </a:cxn>
              <a:cxn ang="0">
                <a:pos x="120" y="70"/>
              </a:cxn>
              <a:cxn ang="0">
                <a:pos x="124" y="72"/>
              </a:cxn>
            </a:cxnLst>
            <a:rect l="0" t="0" r="r" b="b"/>
            <a:pathLst>
              <a:path w="156" h="72">
                <a:moveTo>
                  <a:pt x="156" y="23"/>
                </a:moveTo>
                <a:lnTo>
                  <a:pt x="152" y="26"/>
                </a:lnTo>
                <a:lnTo>
                  <a:pt x="151" y="28"/>
                </a:lnTo>
                <a:lnTo>
                  <a:pt x="148" y="28"/>
                </a:lnTo>
                <a:lnTo>
                  <a:pt x="147" y="30"/>
                </a:lnTo>
                <a:lnTo>
                  <a:pt x="144" y="33"/>
                </a:lnTo>
                <a:lnTo>
                  <a:pt x="139" y="34"/>
                </a:lnTo>
                <a:lnTo>
                  <a:pt x="140" y="33"/>
                </a:lnTo>
                <a:lnTo>
                  <a:pt x="137" y="31"/>
                </a:lnTo>
                <a:lnTo>
                  <a:pt x="139" y="31"/>
                </a:lnTo>
                <a:lnTo>
                  <a:pt x="143" y="31"/>
                </a:lnTo>
                <a:lnTo>
                  <a:pt x="144" y="31"/>
                </a:lnTo>
                <a:lnTo>
                  <a:pt x="141" y="30"/>
                </a:lnTo>
                <a:lnTo>
                  <a:pt x="140" y="30"/>
                </a:lnTo>
                <a:lnTo>
                  <a:pt x="141" y="26"/>
                </a:lnTo>
                <a:lnTo>
                  <a:pt x="144" y="25"/>
                </a:lnTo>
                <a:lnTo>
                  <a:pt x="145" y="22"/>
                </a:lnTo>
                <a:lnTo>
                  <a:pt x="148" y="20"/>
                </a:lnTo>
                <a:lnTo>
                  <a:pt x="144" y="19"/>
                </a:lnTo>
                <a:lnTo>
                  <a:pt x="141" y="15"/>
                </a:lnTo>
                <a:lnTo>
                  <a:pt x="144" y="14"/>
                </a:lnTo>
                <a:lnTo>
                  <a:pt x="141" y="12"/>
                </a:lnTo>
                <a:lnTo>
                  <a:pt x="137" y="11"/>
                </a:lnTo>
                <a:lnTo>
                  <a:pt x="132" y="11"/>
                </a:lnTo>
                <a:lnTo>
                  <a:pt x="135" y="9"/>
                </a:lnTo>
                <a:lnTo>
                  <a:pt x="133" y="5"/>
                </a:lnTo>
                <a:lnTo>
                  <a:pt x="132" y="3"/>
                </a:lnTo>
                <a:lnTo>
                  <a:pt x="131" y="1"/>
                </a:lnTo>
                <a:lnTo>
                  <a:pt x="116" y="3"/>
                </a:lnTo>
                <a:lnTo>
                  <a:pt x="111" y="1"/>
                </a:lnTo>
                <a:lnTo>
                  <a:pt x="108" y="3"/>
                </a:lnTo>
                <a:lnTo>
                  <a:pt x="105" y="3"/>
                </a:lnTo>
                <a:lnTo>
                  <a:pt x="99" y="5"/>
                </a:lnTo>
                <a:lnTo>
                  <a:pt x="93" y="6"/>
                </a:lnTo>
                <a:lnTo>
                  <a:pt x="99" y="8"/>
                </a:lnTo>
                <a:lnTo>
                  <a:pt x="97" y="9"/>
                </a:lnTo>
                <a:lnTo>
                  <a:pt x="96" y="8"/>
                </a:lnTo>
                <a:lnTo>
                  <a:pt x="95" y="8"/>
                </a:lnTo>
                <a:lnTo>
                  <a:pt x="91" y="6"/>
                </a:lnTo>
                <a:lnTo>
                  <a:pt x="85" y="8"/>
                </a:lnTo>
                <a:lnTo>
                  <a:pt x="84" y="8"/>
                </a:lnTo>
                <a:lnTo>
                  <a:pt x="87" y="11"/>
                </a:lnTo>
                <a:lnTo>
                  <a:pt x="84" y="11"/>
                </a:lnTo>
                <a:lnTo>
                  <a:pt x="80" y="8"/>
                </a:lnTo>
                <a:lnTo>
                  <a:pt x="77" y="9"/>
                </a:lnTo>
                <a:lnTo>
                  <a:pt x="76" y="11"/>
                </a:lnTo>
                <a:lnTo>
                  <a:pt x="79" y="12"/>
                </a:lnTo>
                <a:lnTo>
                  <a:pt x="95" y="14"/>
                </a:lnTo>
                <a:lnTo>
                  <a:pt x="89" y="14"/>
                </a:lnTo>
                <a:lnTo>
                  <a:pt x="73" y="12"/>
                </a:lnTo>
                <a:lnTo>
                  <a:pt x="73" y="14"/>
                </a:lnTo>
                <a:lnTo>
                  <a:pt x="72" y="14"/>
                </a:lnTo>
                <a:lnTo>
                  <a:pt x="69" y="14"/>
                </a:lnTo>
                <a:lnTo>
                  <a:pt x="72" y="14"/>
                </a:lnTo>
                <a:lnTo>
                  <a:pt x="77" y="14"/>
                </a:lnTo>
                <a:lnTo>
                  <a:pt x="81" y="17"/>
                </a:lnTo>
                <a:lnTo>
                  <a:pt x="87" y="17"/>
                </a:lnTo>
                <a:lnTo>
                  <a:pt x="92" y="19"/>
                </a:lnTo>
                <a:lnTo>
                  <a:pt x="88" y="19"/>
                </a:lnTo>
                <a:lnTo>
                  <a:pt x="77" y="15"/>
                </a:lnTo>
                <a:lnTo>
                  <a:pt x="71" y="15"/>
                </a:lnTo>
                <a:lnTo>
                  <a:pt x="68" y="15"/>
                </a:lnTo>
                <a:lnTo>
                  <a:pt x="67" y="17"/>
                </a:lnTo>
                <a:lnTo>
                  <a:pt x="67" y="20"/>
                </a:lnTo>
                <a:lnTo>
                  <a:pt x="69" y="22"/>
                </a:lnTo>
                <a:lnTo>
                  <a:pt x="68" y="23"/>
                </a:lnTo>
                <a:lnTo>
                  <a:pt x="69" y="25"/>
                </a:lnTo>
                <a:lnTo>
                  <a:pt x="75" y="26"/>
                </a:lnTo>
                <a:lnTo>
                  <a:pt x="77" y="25"/>
                </a:lnTo>
                <a:lnTo>
                  <a:pt x="79" y="25"/>
                </a:lnTo>
                <a:lnTo>
                  <a:pt x="80" y="25"/>
                </a:lnTo>
                <a:lnTo>
                  <a:pt x="79" y="28"/>
                </a:lnTo>
                <a:lnTo>
                  <a:pt x="76" y="28"/>
                </a:lnTo>
                <a:lnTo>
                  <a:pt x="71" y="28"/>
                </a:lnTo>
                <a:lnTo>
                  <a:pt x="69" y="30"/>
                </a:lnTo>
                <a:lnTo>
                  <a:pt x="69" y="31"/>
                </a:lnTo>
                <a:lnTo>
                  <a:pt x="63" y="33"/>
                </a:lnTo>
                <a:lnTo>
                  <a:pt x="64" y="34"/>
                </a:lnTo>
                <a:lnTo>
                  <a:pt x="68" y="34"/>
                </a:lnTo>
                <a:lnTo>
                  <a:pt x="68" y="36"/>
                </a:lnTo>
                <a:lnTo>
                  <a:pt x="72" y="37"/>
                </a:lnTo>
                <a:lnTo>
                  <a:pt x="77" y="39"/>
                </a:lnTo>
                <a:lnTo>
                  <a:pt x="81" y="39"/>
                </a:lnTo>
                <a:lnTo>
                  <a:pt x="83" y="41"/>
                </a:lnTo>
                <a:lnTo>
                  <a:pt x="81" y="42"/>
                </a:lnTo>
                <a:lnTo>
                  <a:pt x="81" y="44"/>
                </a:lnTo>
                <a:lnTo>
                  <a:pt x="80" y="44"/>
                </a:lnTo>
                <a:lnTo>
                  <a:pt x="81" y="45"/>
                </a:lnTo>
                <a:lnTo>
                  <a:pt x="80" y="47"/>
                </a:lnTo>
                <a:lnTo>
                  <a:pt x="80" y="48"/>
                </a:lnTo>
                <a:lnTo>
                  <a:pt x="77" y="52"/>
                </a:lnTo>
                <a:lnTo>
                  <a:pt x="76" y="50"/>
                </a:lnTo>
                <a:lnTo>
                  <a:pt x="77" y="48"/>
                </a:lnTo>
                <a:lnTo>
                  <a:pt x="77" y="47"/>
                </a:lnTo>
                <a:lnTo>
                  <a:pt x="75" y="47"/>
                </a:lnTo>
                <a:lnTo>
                  <a:pt x="71" y="47"/>
                </a:lnTo>
                <a:lnTo>
                  <a:pt x="67" y="47"/>
                </a:lnTo>
                <a:lnTo>
                  <a:pt x="63" y="48"/>
                </a:lnTo>
                <a:lnTo>
                  <a:pt x="57" y="50"/>
                </a:lnTo>
                <a:lnTo>
                  <a:pt x="54" y="50"/>
                </a:lnTo>
                <a:lnTo>
                  <a:pt x="60" y="48"/>
                </a:lnTo>
                <a:lnTo>
                  <a:pt x="63" y="47"/>
                </a:lnTo>
                <a:lnTo>
                  <a:pt x="69" y="45"/>
                </a:lnTo>
                <a:lnTo>
                  <a:pt x="71" y="45"/>
                </a:lnTo>
                <a:lnTo>
                  <a:pt x="75" y="45"/>
                </a:lnTo>
                <a:lnTo>
                  <a:pt x="77" y="45"/>
                </a:lnTo>
                <a:lnTo>
                  <a:pt x="77" y="44"/>
                </a:lnTo>
                <a:lnTo>
                  <a:pt x="76" y="42"/>
                </a:lnTo>
                <a:lnTo>
                  <a:pt x="71" y="42"/>
                </a:lnTo>
                <a:lnTo>
                  <a:pt x="57" y="34"/>
                </a:lnTo>
                <a:lnTo>
                  <a:pt x="55" y="31"/>
                </a:lnTo>
                <a:lnTo>
                  <a:pt x="55" y="28"/>
                </a:lnTo>
                <a:lnTo>
                  <a:pt x="57" y="26"/>
                </a:lnTo>
                <a:lnTo>
                  <a:pt x="55" y="23"/>
                </a:lnTo>
                <a:lnTo>
                  <a:pt x="52" y="22"/>
                </a:lnTo>
                <a:lnTo>
                  <a:pt x="52" y="19"/>
                </a:lnTo>
                <a:lnTo>
                  <a:pt x="57" y="14"/>
                </a:lnTo>
                <a:lnTo>
                  <a:pt x="59" y="11"/>
                </a:lnTo>
                <a:lnTo>
                  <a:pt x="61" y="9"/>
                </a:lnTo>
                <a:lnTo>
                  <a:pt x="65" y="8"/>
                </a:lnTo>
                <a:lnTo>
                  <a:pt x="68" y="6"/>
                </a:lnTo>
                <a:lnTo>
                  <a:pt x="76" y="3"/>
                </a:lnTo>
                <a:lnTo>
                  <a:pt x="79" y="1"/>
                </a:lnTo>
                <a:lnTo>
                  <a:pt x="77" y="1"/>
                </a:lnTo>
                <a:lnTo>
                  <a:pt x="75" y="0"/>
                </a:lnTo>
                <a:lnTo>
                  <a:pt x="57" y="0"/>
                </a:lnTo>
                <a:lnTo>
                  <a:pt x="54" y="0"/>
                </a:lnTo>
                <a:lnTo>
                  <a:pt x="42" y="1"/>
                </a:lnTo>
                <a:lnTo>
                  <a:pt x="32" y="3"/>
                </a:lnTo>
                <a:lnTo>
                  <a:pt x="23" y="6"/>
                </a:lnTo>
                <a:lnTo>
                  <a:pt x="22" y="9"/>
                </a:lnTo>
                <a:lnTo>
                  <a:pt x="18" y="11"/>
                </a:lnTo>
                <a:lnTo>
                  <a:pt x="16" y="11"/>
                </a:lnTo>
                <a:lnTo>
                  <a:pt x="15" y="12"/>
                </a:lnTo>
                <a:lnTo>
                  <a:pt x="12" y="14"/>
                </a:lnTo>
                <a:lnTo>
                  <a:pt x="15" y="15"/>
                </a:lnTo>
                <a:lnTo>
                  <a:pt x="11" y="15"/>
                </a:lnTo>
                <a:lnTo>
                  <a:pt x="11" y="19"/>
                </a:lnTo>
                <a:lnTo>
                  <a:pt x="14" y="19"/>
                </a:lnTo>
                <a:lnTo>
                  <a:pt x="8" y="19"/>
                </a:lnTo>
                <a:lnTo>
                  <a:pt x="7" y="22"/>
                </a:lnTo>
                <a:lnTo>
                  <a:pt x="6" y="22"/>
                </a:lnTo>
                <a:lnTo>
                  <a:pt x="4" y="25"/>
                </a:lnTo>
                <a:lnTo>
                  <a:pt x="3" y="25"/>
                </a:lnTo>
                <a:lnTo>
                  <a:pt x="4" y="30"/>
                </a:lnTo>
                <a:lnTo>
                  <a:pt x="8" y="30"/>
                </a:lnTo>
                <a:lnTo>
                  <a:pt x="6" y="30"/>
                </a:lnTo>
                <a:lnTo>
                  <a:pt x="3" y="31"/>
                </a:lnTo>
                <a:lnTo>
                  <a:pt x="0" y="33"/>
                </a:lnTo>
                <a:lnTo>
                  <a:pt x="3" y="34"/>
                </a:lnTo>
                <a:lnTo>
                  <a:pt x="4" y="36"/>
                </a:lnTo>
                <a:lnTo>
                  <a:pt x="2" y="39"/>
                </a:lnTo>
                <a:lnTo>
                  <a:pt x="2" y="42"/>
                </a:lnTo>
                <a:lnTo>
                  <a:pt x="3" y="44"/>
                </a:lnTo>
                <a:lnTo>
                  <a:pt x="4" y="44"/>
                </a:lnTo>
                <a:lnTo>
                  <a:pt x="18" y="45"/>
                </a:lnTo>
                <a:lnTo>
                  <a:pt x="32" y="45"/>
                </a:lnTo>
                <a:lnTo>
                  <a:pt x="35" y="47"/>
                </a:lnTo>
                <a:lnTo>
                  <a:pt x="40" y="50"/>
                </a:lnTo>
                <a:lnTo>
                  <a:pt x="46" y="50"/>
                </a:lnTo>
                <a:lnTo>
                  <a:pt x="38" y="52"/>
                </a:lnTo>
                <a:lnTo>
                  <a:pt x="30" y="52"/>
                </a:lnTo>
                <a:lnTo>
                  <a:pt x="20" y="50"/>
                </a:lnTo>
                <a:lnTo>
                  <a:pt x="15" y="50"/>
                </a:lnTo>
                <a:lnTo>
                  <a:pt x="11" y="48"/>
                </a:lnTo>
                <a:lnTo>
                  <a:pt x="14" y="50"/>
                </a:lnTo>
                <a:lnTo>
                  <a:pt x="11" y="52"/>
                </a:lnTo>
                <a:lnTo>
                  <a:pt x="14" y="53"/>
                </a:lnTo>
                <a:lnTo>
                  <a:pt x="18" y="56"/>
                </a:lnTo>
                <a:lnTo>
                  <a:pt x="24" y="59"/>
                </a:lnTo>
                <a:lnTo>
                  <a:pt x="34" y="63"/>
                </a:lnTo>
                <a:lnTo>
                  <a:pt x="30" y="63"/>
                </a:lnTo>
                <a:lnTo>
                  <a:pt x="35" y="63"/>
                </a:lnTo>
                <a:lnTo>
                  <a:pt x="36" y="63"/>
                </a:lnTo>
                <a:lnTo>
                  <a:pt x="39" y="63"/>
                </a:lnTo>
                <a:lnTo>
                  <a:pt x="47" y="63"/>
                </a:lnTo>
                <a:lnTo>
                  <a:pt x="52" y="63"/>
                </a:lnTo>
                <a:lnTo>
                  <a:pt x="54" y="59"/>
                </a:lnTo>
                <a:lnTo>
                  <a:pt x="55" y="63"/>
                </a:lnTo>
                <a:lnTo>
                  <a:pt x="57" y="66"/>
                </a:lnTo>
                <a:lnTo>
                  <a:pt x="63" y="67"/>
                </a:lnTo>
                <a:lnTo>
                  <a:pt x="71" y="69"/>
                </a:lnTo>
                <a:lnTo>
                  <a:pt x="73" y="69"/>
                </a:lnTo>
                <a:lnTo>
                  <a:pt x="69" y="67"/>
                </a:lnTo>
                <a:lnTo>
                  <a:pt x="73" y="67"/>
                </a:lnTo>
                <a:lnTo>
                  <a:pt x="81" y="67"/>
                </a:lnTo>
                <a:lnTo>
                  <a:pt x="95" y="69"/>
                </a:lnTo>
                <a:lnTo>
                  <a:pt x="99" y="70"/>
                </a:lnTo>
                <a:lnTo>
                  <a:pt x="100" y="69"/>
                </a:lnTo>
                <a:lnTo>
                  <a:pt x="107" y="67"/>
                </a:lnTo>
                <a:lnTo>
                  <a:pt x="116" y="70"/>
                </a:lnTo>
                <a:lnTo>
                  <a:pt x="120" y="70"/>
                </a:lnTo>
                <a:lnTo>
                  <a:pt x="121" y="70"/>
                </a:lnTo>
                <a:lnTo>
                  <a:pt x="123" y="70"/>
                </a:lnTo>
                <a:lnTo>
                  <a:pt x="121" y="70"/>
                </a:lnTo>
                <a:lnTo>
                  <a:pt x="124" y="72"/>
                </a:lnTo>
                <a:lnTo>
                  <a:pt x="127" y="69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47" name="Freeform 747"/>
          <p:cNvSpPr>
            <a:spLocks/>
          </p:cNvSpPr>
          <p:nvPr/>
        </p:nvSpPr>
        <p:spPr bwMode="auto">
          <a:xfrm>
            <a:off x="2749255" y="1636127"/>
            <a:ext cx="33130" cy="6444"/>
          </a:xfrm>
          <a:custGeom>
            <a:avLst/>
            <a:gdLst/>
            <a:ahLst/>
            <a:cxnLst>
              <a:cxn ang="0">
                <a:pos x="10" y="0"/>
              </a:cxn>
              <a:cxn ang="0">
                <a:pos x="14" y="0"/>
              </a:cxn>
              <a:cxn ang="0">
                <a:pos x="17" y="0"/>
              </a:cxn>
              <a:cxn ang="0">
                <a:pos x="13" y="2"/>
              </a:cxn>
              <a:cxn ang="0">
                <a:pos x="5" y="3"/>
              </a:cxn>
              <a:cxn ang="0">
                <a:pos x="0" y="3"/>
              </a:cxn>
              <a:cxn ang="0">
                <a:pos x="0" y="2"/>
              </a:cxn>
              <a:cxn ang="0">
                <a:pos x="3" y="2"/>
              </a:cxn>
              <a:cxn ang="0">
                <a:pos x="7" y="0"/>
              </a:cxn>
              <a:cxn ang="0">
                <a:pos x="10" y="0"/>
              </a:cxn>
            </a:cxnLst>
            <a:rect l="0" t="0" r="r" b="b"/>
            <a:pathLst>
              <a:path w="17" h="3">
                <a:moveTo>
                  <a:pt x="10" y="0"/>
                </a:moveTo>
                <a:lnTo>
                  <a:pt x="14" y="0"/>
                </a:lnTo>
                <a:lnTo>
                  <a:pt x="17" y="0"/>
                </a:lnTo>
                <a:lnTo>
                  <a:pt x="13" y="2"/>
                </a:lnTo>
                <a:lnTo>
                  <a:pt x="5" y="3"/>
                </a:lnTo>
                <a:lnTo>
                  <a:pt x="0" y="3"/>
                </a:lnTo>
                <a:lnTo>
                  <a:pt x="0" y="2"/>
                </a:lnTo>
                <a:lnTo>
                  <a:pt x="3" y="2"/>
                </a:lnTo>
                <a:lnTo>
                  <a:pt x="7" y="0"/>
                </a:lnTo>
                <a:lnTo>
                  <a:pt x="10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48" name="Freeform 748"/>
          <p:cNvSpPr>
            <a:spLocks/>
          </p:cNvSpPr>
          <p:nvPr/>
        </p:nvSpPr>
        <p:spPr bwMode="auto">
          <a:xfrm>
            <a:off x="2749255" y="1636127"/>
            <a:ext cx="33130" cy="6444"/>
          </a:xfrm>
          <a:custGeom>
            <a:avLst/>
            <a:gdLst/>
            <a:ahLst/>
            <a:cxnLst>
              <a:cxn ang="0">
                <a:pos x="10" y="0"/>
              </a:cxn>
              <a:cxn ang="0">
                <a:pos x="14" y="0"/>
              </a:cxn>
              <a:cxn ang="0">
                <a:pos x="17" y="0"/>
              </a:cxn>
              <a:cxn ang="0">
                <a:pos x="13" y="2"/>
              </a:cxn>
              <a:cxn ang="0">
                <a:pos x="5" y="3"/>
              </a:cxn>
              <a:cxn ang="0">
                <a:pos x="0" y="3"/>
              </a:cxn>
              <a:cxn ang="0">
                <a:pos x="0" y="2"/>
              </a:cxn>
              <a:cxn ang="0">
                <a:pos x="3" y="2"/>
              </a:cxn>
              <a:cxn ang="0">
                <a:pos x="7" y="0"/>
              </a:cxn>
              <a:cxn ang="0">
                <a:pos x="10" y="0"/>
              </a:cxn>
            </a:cxnLst>
            <a:rect l="0" t="0" r="r" b="b"/>
            <a:pathLst>
              <a:path w="17" h="3">
                <a:moveTo>
                  <a:pt x="10" y="0"/>
                </a:moveTo>
                <a:lnTo>
                  <a:pt x="14" y="0"/>
                </a:lnTo>
                <a:lnTo>
                  <a:pt x="17" y="0"/>
                </a:lnTo>
                <a:lnTo>
                  <a:pt x="13" y="2"/>
                </a:lnTo>
                <a:lnTo>
                  <a:pt x="5" y="3"/>
                </a:lnTo>
                <a:lnTo>
                  <a:pt x="0" y="3"/>
                </a:lnTo>
                <a:lnTo>
                  <a:pt x="0" y="2"/>
                </a:lnTo>
                <a:lnTo>
                  <a:pt x="3" y="2"/>
                </a:lnTo>
                <a:lnTo>
                  <a:pt x="7" y="0"/>
                </a:lnTo>
                <a:lnTo>
                  <a:pt x="10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49" name="Freeform 749"/>
          <p:cNvSpPr>
            <a:spLocks/>
          </p:cNvSpPr>
          <p:nvPr/>
        </p:nvSpPr>
        <p:spPr bwMode="auto">
          <a:xfrm>
            <a:off x="3170197" y="1932497"/>
            <a:ext cx="15591" cy="21476"/>
          </a:xfrm>
          <a:custGeom>
            <a:avLst/>
            <a:gdLst/>
            <a:ahLst/>
            <a:cxnLst>
              <a:cxn ang="0">
                <a:pos x="6" y="2"/>
              </a:cxn>
              <a:cxn ang="0">
                <a:pos x="7" y="2"/>
              </a:cxn>
              <a:cxn ang="0">
                <a:pos x="8" y="5"/>
              </a:cxn>
              <a:cxn ang="0">
                <a:pos x="8" y="8"/>
              </a:cxn>
              <a:cxn ang="0">
                <a:pos x="7" y="11"/>
              </a:cxn>
              <a:cxn ang="0">
                <a:pos x="6" y="11"/>
              </a:cxn>
              <a:cxn ang="0">
                <a:pos x="2" y="8"/>
              </a:cxn>
              <a:cxn ang="0">
                <a:pos x="0" y="5"/>
              </a:cxn>
              <a:cxn ang="0">
                <a:pos x="2" y="2"/>
              </a:cxn>
              <a:cxn ang="0">
                <a:pos x="4" y="0"/>
              </a:cxn>
              <a:cxn ang="0">
                <a:pos x="6" y="2"/>
              </a:cxn>
            </a:cxnLst>
            <a:rect l="0" t="0" r="r" b="b"/>
            <a:pathLst>
              <a:path w="8" h="11">
                <a:moveTo>
                  <a:pt x="6" y="2"/>
                </a:moveTo>
                <a:lnTo>
                  <a:pt x="7" y="2"/>
                </a:lnTo>
                <a:lnTo>
                  <a:pt x="8" y="5"/>
                </a:lnTo>
                <a:lnTo>
                  <a:pt x="8" y="8"/>
                </a:lnTo>
                <a:lnTo>
                  <a:pt x="7" y="11"/>
                </a:lnTo>
                <a:lnTo>
                  <a:pt x="6" y="11"/>
                </a:lnTo>
                <a:lnTo>
                  <a:pt x="2" y="8"/>
                </a:lnTo>
                <a:lnTo>
                  <a:pt x="0" y="5"/>
                </a:lnTo>
                <a:lnTo>
                  <a:pt x="2" y="2"/>
                </a:lnTo>
                <a:lnTo>
                  <a:pt x="4" y="0"/>
                </a:lnTo>
                <a:lnTo>
                  <a:pt x="6" y="2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50" name="Freeform 750"/>
          <p:cNvSpPr>
            <a:spLocks/>
          </p:cNvSpPr>
          <p:nvPr/>
        </p:nvSpPr>
        <p:spPr bwMode="auto">
          <a:xfrm>
            <a:off x="3170197" y="1932497"/>
            <a:ext cx="15591" cy="21476"/>
          </a:xfrm>
          <a:custGeom>
            <a:avLst/>
            <a:gdLst/>
            <a:ahLst/>
            <a:cxnLst>
              <a:cxn ang="0">
                <a:pos x="6" y="2"/>
              </a:cxn>
              <a:cxn ang="0">
                <a:pos x="7" y="2"/>
              </a:cxn>
              <a:cxn ang="0">
                <a:pos x="8" y="5"/>
              </a:cxn>
              <a:cxn ang="0">
                <a:pos x="8" y="8"/>
              </a:cxn>
              <a:cxn ang="0">
                <a:pos x="7" y="11"/>
              </a:cxn>
              <a:cxn ang="0">
                <a:pos x="6" y="11"/>
              </a:cxn>
              <a:cxn ang="0">
                <a:pos x="2" y="8"/>
              </a:cxn>
              <a:cxn ang="0">
                <a:pos x="0" y="5"/>
              </a:cxn>
              <a:cxn ang="0">
                <a:pos x="2" y="2"/>
              </a:cxn>
              <a:cxn ang="0">
                <a:pos x="4" y="0"/>
              </a:cxn>
              <a:cxn ang="0">
                <a:pos x="6" y="2"/>
              </a:cxn>
            </a:cxnLst>
            <a:rect l="0" t="0" r="r" b="b"/>
            <a:pathLst>
              <a:path w="8" h="11">
                <a:moveTo>
                  <a:pt x="6" y="2"/>
                </a:moveTo>
                <a:lnTo>
                  <a:pt x="7" y="2"/>
                </a:lnTo>
                <a:lnTo>
                  <a:pt x="8" y="5"/>
                </a:lnTo>
                <a:lnTo>
                  <a:pt x="8" y="8"/>
                </a:lnTo>
                <a:lnTo>
                  <a:pt x="7" y="11"/>
                </a:lnTo>
                <a:lnTo>
                  <a:pt x="6" y="11"/>
                </a:lnTo>
                <a:lnTo>
                  <a:pt x="2" y="8"/>
                </a:lnTo>
                <a:lnTo>
                  <a:pt x="0" y="5"/>
                </a:lnTo>
                <a:lnTo>
                  <a:pt x="2" y="2"/>
                </a:lnTo>
                <a:lnTo>
                  <a:pt x="4" y="0"/>
                </a:lnTo>
                <a:lnTo>
                  <a:pt x="6" y="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51" name="Freeform 751"/>
          <p:cNvSpPr>
            <a:spLocks/>
          </p:cNvSpPr>
          <p:nvPr/>
        </p:nvSpPr>
        <p:spPr bwMode="auto">
          <a:xfrm>
            <a:off x="3524882" y="2127929"/>
            <a:ext cx="21438" cy="8591"/>
          </a:xfrm>
          <a:custGeom>
            <a:avLst/>
            <a:gdLst/>
            <a:ahLst/>
            <a:cxnLst>
              <a:cxn ang="0">
                <a:pos x="11" y="2"/>
              </a:cxn>
              <a:cxn ang="0">
                <a:pos x="11" y="0"/>
              </a:cxn>
              <a:cxn ang="0">
                <a:pos x="11" y="2"/>
              </a:cxn>
              <a:cxn ang="0">
                <a:pos x="12" y="2"/>
              </a:cxn>
              <a:cxn ang="0">
                <a:pos x="9" y="3"/>
              </a:cxn>
              <a:cxn ang="0">
                <a:pos x="8" y="3"/>
              </a:cxn>
              <a:cxn ang="0">
                <a:pos x="1" y="2"/>
              </a:cxn>
              <a:cxn ang="0">
                <a:pos x="0" y="2"/>
              </a:cxn>
              <a:cxn ang="0">
                <a:pos x="1" y="2"/>
              </a:cxn>
              <a:cxn ang="0">
                <a:pos x="4" y="2"/>
              </a:cxn>
              <a:cxn ang="0">
                <a:pos x="9" y="2"/>
              </a:cxn>
              <a:cxn ang="0">
                <a:pos x="11" y="2"/>
              </a:cxn>
            </a:cxnLst>
            <a:rect l="0" t="0" r="r" b="b"/>
            <a:pathLst>
              <a:path w="12" h="3">
                <a:moveTo>
                  <a:pt x="11" y="2"/>
                </a:moveTo>
                <a:lnTo>
                  <a:pt x="11" y="0"/>
                </a:lnTo>
                <a:lnTo>
                  <a:pt x="11" y="2"/>
                </a:lnTo>
                <a:lnTo>
                  <a:pt x="12" y="2"/>
                </a:lnTo>
                <a:lnTo>
                  <a:pt x="9" y="3"/>
                </a:lnTo>
                <a:lnTo>
                  <a:pt x="8" y="3"/>
                </a:lnTo>
                <a:lnTo>
                  <a:pt x="1" y="2"/>
                </a:lnTo>
                <a:lnTo>
                  <a:pt x="0" y="2"/>
                </a:lnTo>
                <a:lnTo>
                  <a:pt x="1" y="2"/>
                </a:lnTo>
                <a:lnTo>
                  <a:pt x="4" y="2"/>
                </a:lnTo>
                <a:lnTo>
                  <a:pt x="9" y="2"/>
                </a:lnTo>
                <a:lnTo>
                  <a:pt x="11" y="2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52" name="Freeform 752"/>
          <p:cNvSpPr>
            <a:spLocks/>
          </p:cNvSpPr>
          <p:nvPr/>
        </p:nvSpPr>
        <p:spPr bwMode="auto">
          <a:xfrm>
            <a:off x="3524882" y="2127929"/>
            <a:ext cx="21438" cy="8591"/>
          </a:xfrm>
          <a:custGeom>
            <a:avLst/>
            <a:gdLst/>
            <a:ahLst/>
            <a:cxnLst>
              <a:cxn ang="0">
                <a:pos x="11" y="2"/>
              </a:cxn>
              <a:cxn ang="0">
                <a:pos x="11" y="0"/>
              </a:cxn>
              <a:cxn ang="0">
                <a:pos x="11" y="2"/>
              </a:cxn>
              <a:cxn ang="0">
                <a:pos x="12" y="2"/>
              </a:cxn>
              <a:cxn ang="0">
                <a:pos x="9" y="3"/>
              </a:cxn>
              <a:cxn ang="0">
                <a:pos x="8" y="3"/>
              </a:cxn>
              <a:cxn ang="0">
                <a:pos x="1" y="2"/>
              </a:cxn>
              <a:cxn ang="0">
                <a:pos x="0" y="2"/>
              </a:cxn>
              <a:cxn ang="0">
                <a:pos x="1" y="2"/>
              </a:cxn>
              <a:cxn ang="0">
                <a:pos x="4" y="2"/>
              </a:cxn>
              <a:cxn ang="0">
                <a:pos x="9" y="2"/>
              </a:cxn>
              <a:cxn ang="0">
                <a:pos x="11" y="2"/>
              </a:cxn>
            </a:cxnLst>
            <a:rect l="0" t="0" r="r" b="b"/>
            <a:pathLst>
              <a:path w="12" h="3">
                <a:moveTo>
                  <a:pt x="11" y="2"/>
                </a:moveTo>
                <a:lnTo>
                  <a:pt x="11" y="0"/>
                </a:lnTo>
                <a:lnTo>
                  <a:pt x="11" y="2"/>
                </a:lnTo>
                <a:lnTo>
                  <a:pt x="12" y="2"/>
                </a:lnTo>
                <a:lnTo>
                  <a:pt x="9" y="3"/>
                </a:lnTo>
                <a:lnTo>
                  <a:pt x="8" y="3"/>
                </a:lnTo>
                <a:lnTo>
                  <a:pt x="1" y="2"/>
                </a:lnTo>
                <a:lnTo>
                  <a:pt x="0" y="2"/>
                </a:lnTo>
                <a:lnTo>
                  <a:pt x="1" y="2"/>
                </a:lnTo>
                <a:lnTo>
                  <a:pt x="4" y="2"/>
                </a:lnTo>
                <a:lnTo>
                  <a:pt x="9" y="2"/>
                </a:lnTo>
                <a:lnTo>
                  <a:pt x="11" y="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53" name="Freeform 753"/>
          <p:cNvSpPr>
            <a:spLocks/>
          </p:cNvSpPr>
          <p:nvPr/>
        </p:nvSpPr>
        <p:spPr bwMode="auto">
          <a:xfrm>
            <a:off x="3824999" y="2684160"/>
            <a:ext cx="62363" cy="34361"/>
          </a:xfrm>
          <a:custGeom>
            <a:avLst/>
            <a:gdLst/>
            <a:ahLst/>
            <a:cxnLst>
              <a:cxn ang="0">
                <a:pos x="29" y="14"/>
              </a:cxn>
              <a:cxn ang="0">
                <a:pos x="31" y="12"/>
              </a:cxn>
              <a:cxn ang="0">
                <a:pos x="33" y="11"/>
              </a:cxn>
              <a:cxn ang="0">
                <a:pos x="27" y="11"/>
              </a:cxn>
              <a:cxn ang="0">
                <a:pos x="20" y="11"/>
              </a:cxn>
              <a:cxn ang="0">
                <a:pos x="17" y="11"/>
              </a:cxn>
              <a:cxn ang="0">
                <a:pos x="13" y="9"/>
              </a:cxn>
              <a:cxn ang="0">
                <a:pos x="9" y="9"/>
              </a:cxn>
              <a:cxn ang="0">
                <a:pos x="8" y="9"/>
              </a:cxn>
              <a:cxn ang="0">
                <a:pos x="7" y="9"/>
              </a:cxn>
              <a:cxn ang="0">
                <a:pos x="5" y="6"/>
              </a:cxn>
              <a:cxn ang="0">
                <a:pos x="4" y="4"/>
              </a:cxn>
              <a:cxn ang="0">
                <a:pos x="5" y="1"/>
              </a:cxn>
              <a:cxn ang="0">
                <a:pos x="5" y="0"/>
              </a:cxn>
              <a:cxn ang="0">
                <a:pos x="4" y="0"/>
              </a:cxn>
              <a:cxn ang="0">
                <a:pos x="0" y="4"/>
              </a:cxn>
              <a:cxn ang="0">
                <a:pos x="0" y="6"/>
              </a:cxn>
              <a:cxn ang="0">
                <a:pos x="4" y="7"/>
              </a:cxn>
              <a:cxn ang="0">
                <a:pos x="3" y="9"/>
              </a:cxn>
              <a:cxn ang="0">
                <a:pos x="5" y="11"/>
              </a:cxn>
              <a:cxn ang="0">
                <a:pos x="8" y="11"/>
              </a:cxn>
              <a:cxn ang="0">
                <a:pos x="9" y="14"/>
              </a:cxn>
              <a:cxn ang="0">
                <a:pos x="12" y="14"/>
              </a:cxn>
              <a:cxn ang="0">
                <a:pos x="15" y="15"/>
              </a:cxn>
              <a:cxn ang="0">
                <a:pos x="17" y="15"/>
              </a:cxn>
              <a:cxn ang="0">
                <a:pos x="17" y="14"/>
              </a:cxn>
              <a:cxn ang="0">
                <a:pos x="19" y="14"/>
              </a:cxn>
              <a:cxn ang="0">
                <a:pos x="21" y="15"/>
              </a:cxn>
              <a:cxn ang="0">
                <a:pos x="21" y="17"/>
              </a:cxn>
              <a:cxn ang="0">
                <a:pos x="25" y="18"/>
              </a:cxn>
              <a:cxn ang="0">
                <a:pos x="28" y="18"/>
              </a:cxn>
              <a:cxn ang="0">
                <a:pos x="28" y="17"/>
              </a:cxn>
              <a:cxn ang="0">
                <a:pos x="28" y="14"/>
              </a:cxn>
              <a:cxn ang="0">
                <a:pos x="29" y="14"/>
              </a:cxn>
            </a:cxnLst>
            <a:rect l="0" t="0" r="r" b="b"/>
            <a:pathLst>
              <a:path w="33" h="18">
                <a:moveTo>
                  <a:pt x="29" y="14"/>
                </a:moveTo>
                <a:lnTo>
                  <a:pt x="31" y="12"/>
                </a:lnTo>
                <a:lnTo>
                  <a:pt x="33" y="11"/>
                </a:lnTo>
                <a:lnTo>
                  <a:pt x="27" y="11"/>
                </a:lnTo>
                <a:lnTo>
                  <a:pt x="20" y="11"/>
                </a:lnTo>
                <a:lnTo>
                  <a:pt x="17" y="11"/>
                </a:lnTo>
                <a:lnTo>
                  <a:pt x="13" y="9"/>
                </a:lnTo>
                <a:lnTo>
                  <a:pt x="9" y="9"/>
                </a:lnTo>
                <a:lnTo>
                  <a:pt x="8" y="9"/>
                </a:lnTo>
                <a:lnTo>
                  <a:pt x="7" y="9"/>
                </a:lnTo>
                <a:lnTo>
                  <a:pt x="5" y="6"/>
                </a:lnTo>
                <a:lnTo>
                  <a:pt x="4" y="4"/>
                </a:lnTo>
                <a:lnTo>
                  <a:pt x="5" y="1"/>
                </a:lnTo>
                <a:lnTo>
                  <a:pt x="5" y="0"/>
                </a:lnTo>
                <a:lnTo>
                  <a:pt x="4" y="0"/>
                </a:lnTo>
                <a:lnTo>
                  <a:pt x="0" y="4"/>
                </a:lnTo>
                <a:lnTo>
                  <a:pt x="0" y="6"/>
                </a:lnTo>
                <a:lnTo>
                  <a:pt x="4" y="7"/>
                </a:lnTo>
                <a:lnTo>
                  <a:pt x="3" y="9"/>
                </a:lnTo>
                <a:lnTo>
                  <a:pt x="5" y="11"/>
                </a:lnTo>
                <a:lnTo>
                  <a:pt x="8" y="11"/>
                </a:lnTo>
                <a:lnTo>
                  <a:pt x="9" y="14"/>
                </a:lnTo>
                <a:lnTo>
                  <a:pt x="12" y="14"/>
                </a:lnTo>
                <a:lnTo>
                  <a:pt x="15" y="15"/>
                </a:lnTo>
                <a:lnTo>
                  <a:pt x="17" y="15"/>
                </a:lnTo>
                <a:lnTo>
                  <a:pt x="17" y="14"/>
                </a:lnTo>
                <a:lnTo>
                  <a:pt x="19" y="14"/>
                </a:lnTo>
                <a:lnTo>
                  <a:pt x="21" y="15"/>
                </a:lnTo>
                <a:lnTo>
                  <a:pt x="21" y="17"/>
                </a:lnTo>
                <a:lnTo>
                  <a:pt x="25" y="18"/>
                </a:lnTo>
                <a:lnTo>
                  <a:pt x="28" y="18"/>
                </a:lnTo>
                <a:lnTo>
                  <a:pt x="28" y="17"/>
                </a:lnTo>
                <a:lnTo>
                  <a:pt x="28" y="14"/>
                </a:lnTo>
                <a:lnTo>
                  <a:pt x="29" y="14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54" name="Freeform 754"/>
          <p:cNvSpPr>
            <a:spLocks/>
          </p:cNvSpPr>
          <p:nvPr/>
        </p:nvSpPr>
        <p:spPr bwMode="auto">
          <a:xfrm>
            <a:off x="3824999" y="2684160"/>
            <a:ext cx="62363" cy="34361"/>
          </a:xfrm>
          <a:custGeom>
            <a:avLst/>
            <a:gdLst/>
            <a:ahLst/>
            <a:cxnLst>
              <a:cxn ang="0">
                <a:pos x="29" y="14"/>
              </a:cxn>
              <a:cxn ang="0">
                <a:pos x="31" y="12"/>
              </a:cxn>
              <a:cxn ang="0">
                <a:pos x="33" y="11"/>
              </a:cxn>
              <a:cxn ang="0">
                <a:pos x="27" y="11"/>
              </a:cxn>
              <a:cxn ang="0">
                <a:pos x="20" y="11"/>
              </a:cxn>
              <a:cxn ang="0">
                <a:pos x="17" y="11"/>
              </a:cxn>
              <a:cxn ang="0">
                <a:pos x="13" y="9"/>
              </a:cxn>
              <a:cxn ang="0">
                <a:pos x="9" y="9"/>
              </a:cxn>
              <a:cxn ang="0">
                <a:pos x="8" y="9"/>
              </a:cxn>
              <a:cxn ang="0">
                <a:pos x="7" y="9"/>
              </a:cxn>
              <a:cxn ang="0">
                <a:pos x="5" y="6"/>
              </a:cxn>
              <a:cxn ang="0">
                <a:pos x="4" y="4"/>
              </a:cxn>
              <a:cxn ang="0">
                <a:pos x="5" y="1"/>
              </a:cxn>
              <a:cxn ang="0">
                <a:pos x="5" y="0"/>
              </a:cxn>
              <a:cxn ang="0">
                <a:pos x="4" y="0"/>
              </a:cxn>
              <a:cxn ang="0">
                <a:pos x="0" y="4"/>
              </a:cxn>
              <a:cxn ang="0">
                <a:pos x="0" y="6"/>
              </a:cxn>
              <a:cxn ang="0">
                <a:pos x="4" y="7"/>
              </a:cxn>
              <a:cxn ang="0">
                <a:pos x="3" y="9"/>
              </a:cxn>
              <a:cxn ang="0">
                <a:pos x="5" y="11"/>
              </a:cxn>
              <a:cxn ang="0">
                <a:pos x="8" y="11"/>
              </a:cxn>
              <a:cxn ang="0">
                <a:pos x="9" y="14"/>
              </a:cxn>
              <a:cxn ang="0">
                <a:pos x="12" y="14"/>
              </a:cxn>
              <a:cxn ang="0">
                <a:pos x="15" y="15"/>
              </a:cxn>
              <a:cxn ang="0">
                <a:pos x="17" y="15"/>
              </a:cxn>
              <a:cxn ang="0">
                <a:pos x="17" y="14"/>
              </a:cxn>
              <a:cxn ang="0">
                <a:pos x="19" y="14"/>
              </a:cxn>
              <a:cxn ang="0">
                <a:pos x="21" y="15"/>
              </a:cxn>
              <a:cxn ang="0">
                <a:pos x="21" y="17"/>
              </a:cxn>
              <a:cxn ang="0">
                <a:pos x="25" y="18"/>
              </a:cxn>
              <a:cxn ang="0">
                <a:pos x="28" y="18"/>
              </a:cxn>
              <a:cxn ang="0">
                <a:pos x="28" y="17"/>
              </a:cxn>
              <a:cxn ang="0">
                <a:pos x="28" y="14"/>
              </a:cxn>
              <a:cxn ang="0">
                <a:pos x="29" y="14"/>
              </a:cxn>
            </a:cxnLst>
            <a:rect l="0" t="0" r="r" b="b"/>
            <a:pathLst>
              <a:path w="33" h="18">
                <a:moveTo>
                  <a:pt x="29" y="14"/>
                </a:moveTo>
                <a:lnTo>
                  <a:pt x="31" y="12"/>
                </a:lnTo>
                <a:lnTo>
                  <a:pt x="33" y="11"/>
                </a:lnTo>
                <a:lnTo>
                  <a:pt x="27" y="11"/>
                </a:lnTo>
                <a:lnTo>
                  <a:pt x="20" y="11"/>
                </a:lnTo>
                <a:lnTo>
                  <a:pt x="17" y="11"/>
                </a:lnTo>
                <a:lnTo>
                  <a:pt x="13" y="9"/>
                </a:lnTo>
                <a:lnTo>
                  <a:pt x="9" y="9"/>
                </a:lnTo>
                <a:lnTo>
                  <a:pt x="8" y="9"/>
                </a:lnTo>
                <a:lnTo>
                  <a:pt x="7" y="9"/>
                </a:lnTo>
                <a:lnTo>
                  <a:pt x="5" y="6"/>
                </a:lnTo>
                <a:lnTo>
                  <a:pt x="4" y="4"/>
                </a:lnTo>
                <a:lnTo>
                  <a:pt x="5" y="1"/>
                </a:lnTo>
                <a:lnTo>
                  <a:pt x="5" y="0"/>
                </a:lnTo>
                <a:lnTo>
                  <a:pt x="4" y="0"/>
                </a:lnTo>
                <a:lnTo>
                  <a:pt x="0" y="4"/>
                </a:lnTo>
                <a:lnTo>
                  <a:pt x="0" y="6"/>
                </a:lnTo>
                <a:lnTo>
                  <a:pt x="4" y="7"/>
                </a:lnTo>
                <a:lnTo>
                  <a:pt x="3" y="9"/>
                </a:lnTo>
                <a:lnTo>
                  <a:pt x="5" y="11"/>
                </a:lnTo>
                <a:lnTo>
                  <a:pt x="8" y="11"/>
                </a:lnTo>
                <a:lnTo>
                  <a:pt x="9" y="14"/>
                </a:lnTo>
                <a:lnTo>
                  <a:pt x="12" y="14"/>
                </a:lnTo>
                <a:lnTo>
                  <a:pt x="15" y="15"/>
                </a:lnTo>
                <a:lnTo>
                  <a:pt x="17" y="15"/>
                </a:lnTo>
                <a:lnTo>
                  <a:pt x="17" y="14"/>
                </a:lnTo>
                <a:lnTo>
                  <a:pt x="19" y="14"/>
                </a:lnTo>
                <a:lnTo>
                  <a:pt x="21" y="15"/>
                </a:lnTo>
                <a:lnTo>
                  <a:pt x="21" y="17"/>
                </a:lnTo>
                <a:lnTo>
                  <a:pt x="25" y="18"/>
                </a:lnTo>
                <a:lnTo>
                  <a:pt x="28" y="18"/>
                </a:lnTo>
                <a:lnTo>
                  <a:pt x="28" y="17"/>
                </a:lnTo>
                <a:lnTo>
                  <a:pt x="28" y="14"/>
                </a:lnTo>
                <a:lnTo>
                  <a:pt x="29" y="14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55" name="Line 755"/>
          <p:cNvSpPr>
            <a:spLocks noChangeShapeType="1"/>
          </p:cNvSpPr>
          <p:nvPr/>
        </p:nvSpPr>
        <p:spPr bwMode="auto">
          <a:xfrm>
            <a:off x="4064705" y="2452217"/>
            <a:ext cx="5846" cy="2148"/>
          </a:xfrm>
          <a:prstGeom prst="line">
            <a:avLst/>
          </a:prstGeom>
          <a:solidFill>
            <a:sysClr val="window" lastClr="FFFFFF">
              <a:lumMod val="75000"/>
            </a:sysClr>
          </a:solidFill>
          <a:ln w="3175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56" name="Freeform 756"/>
          <p:cNvSpPr>
            <a:spLocks/>
          </p:cNvSpPr>
          <p:nvPr/>
        </p:nvSpPr>
        <p:spPr bwMode="auto">
          <a:xfrm>
            <a:off x="3906849" y="2684158"/>
            <a:ext cx="46772" cy="51542"/>
          </a:xfrm>
          <a:custGeom>
            <a:avLst/>
            <a:gdLst/>
            <a:ahLst/>
            <a:cxnLst>
              <a:cxn ang="0">
                <a:pos x="24" y="15"/>
              </a:cxn>
              <a:cxn ang="0">
                <a:pos x="21" y="14"/>
              </a:cxn>
              <a:cxn ang="0">
                <a:pos x="20" y="17"/>
              </a:cxn>
              <a:cxn ang="0">
                <a:pos x="18" y="14"/>
              </a:cxn>
              <a:cxn ang="0">
                <a:pos x="13" y="17"/>
              </a:cxn>
              <a:cxn ang="0">
                <a:pos x="12" y="15"/>
              </a:cxn>
              <a:cxn ang="0">
                <a:pos x="16" y="12"/>
              </a:cxn>
              <a:cxn ang="0">
                <a:pos x="13" y="12"/>
              </a:cxn>
              <a:cxn ang="0">
                <a:pos x="16" y="9"/>
              </a:cxn>
              <a:cxn ang="0">
                <a:pos x="17" y="3"/>
              </a:cxn>
              <a:cxn ang="0">
                <a:pos x="16" y="1"/>
              </a:cxn>
              <a:cxn ang="0">
                <a:pos x="14" y="0"/>
              </a:cxn>
              <a:cxn ang="0">
                <a:pos x="13" y="1"/>
              </a:cxn>
              <a:cxn ang="0">
                <a:pos x="12" y="0"/>
              </a:cxn>
              <a:cxn ang="0">
                <a:pos x="12" y="3"/>
              </a:cxn>
              <a:cxn ang="0">
                <a:pos x="8" y="6"/>
              </a:cxn>
              <a:cxn ang="0">
                <a:pos x="6" y="11"/>
              </a:cxn>
              <a:cxn ang="0">
                <a:pos x="5" y="12"/>
              </a:cxn>
              <a:cxn ang="0">
                <a:pos x="1" y="15"/>
              </a:cxn>
              <a:cxn ang="0">
                <a:pos x="1" y="17"/>
              </a:cxn>
              <a:cxn ang="0">
                <a:pos x="0" y="20"/>
              </a:cxn>
              <a:cxn ang="0">
                <a:pos x="0" y="22"/>
              </a:cxn>
              <a:cxn ang="0">
                <a:pos x="1" y="23"/>
              </a:cxn>
              <a:cxn ang="0">
                <a:pos x="2" y="25"/>
              </a:cxn>
              <a:cxn ang="0">
                <a:pos x="5" y="26"/>
              </a:cxn>
              <a:cxn ang="0">
                <a:pos x="9" y="25"/>
              </a:cxn>
              <a:cxn ang="0">
                <a:pos x="14" y="25"/>
              </a:cxn>
              <a:cxn ang="0">
                <a:pos x="20" y="23"/>
              </a:cxn>
              <a:cxn ang="0">
                <a:pos x="20" y="22"/>
              </a:cxn>
              <a:cxn ang="0">
                <a:pos x="22" y="20"/>
              </a:cxn>
              <a:cxn ang="0">
                <a:pos x="25" y="18"/>
              </a:cxn>
              <a:cxn ang="0">
                <a:pos x="24" y="17"/>
              </a:cxn>
              <a:cxn ang="0">
                <a:pos x="24" y="15"/>
              </a:cxn>
            </a:cxnLst>
            <a:rect l="0" t="0" r="r" b="b"/>
            <a:pathLst>
              <a:path w="25" h="26">
                <a:moveTo>
                  <a:pt x="24" y="15"/>
                </a:moveTo>
                <a:lnTo>
                  <a:pt x="21" y="14"/>
                </a:lnTo>
                <a:lnTo>
                  <a:pt x="20" y="17"/>
                </a:lnTo>
                <a:lnTo>
                  <a:pt x="18" y="14"/>
                </a:lnTo>
                <a:lnTo>
                  <a:pt x="13" y="17"/>
                </a:lnTo>
                <a:lnTo>
                  <a:pt x="12" y="15"/>
                </a:lnTo>
                <a:lnTo>
                  <a:pt x="16" y="12"/>
                </a:lnTo>
                <a:lnTo>
                  <a:pt x="13" y="12"/>
                </a:lnTo>
                <a:lnTo>
                  <a:pt x="16" y="9"/>
                </a:lnTo>
                <a:lnTo>
                  <a:pt x="17" y="3"/>
                </a:lnTo>
                <a:lnTo>
                  <a:pt x="16" y="1"/>
                </a:lnTo>
                <a:lnTo>
                  <a:pt x="14" y="0"/>
                </a:lnTo>
                <a:lnTo>
                  <a:pt x="13" y="1"/>
                </a:lnTo>
                <a:lnTo>
                  <a:pt x="12" y="0"/>
                </a:lnTo>
                <a:lnTo>
                  <a:pt x="12" y="3"/>
                </a:lnTo>
                <a:lnTo>
                  <a:pt x="8" y="6"/>
                </a:lnTo>
                <a:lnTo>
                  <a:pt x="6" y="11"/>
                </a:lnTo>
                <a:lnTo>
                  <a:pt x="5" y="12"/>
                </a:lnTo>
                <a:lnTo>
                  <a:pt x="1" y="15"/>
                </a:lnTo>
                <a:lnTo>
                  <a:pt x="1" y="17"/>
                </a:lnTo>
                <a:lnTo>
                  <a:pt x="0" y="20"/>
                </a:lnTo>
                <a:lnTo>
                  <a:pt x="0" y="22"/>
                </a:lnTo>
                <a:lnTo>
                  <a:pt x="1" y="23"/>
                </a:lnTo>
                <a:lnTo>
                  <a:pt x="2" y="25"/>
                </a:lnTo>
                <a:lnTo>
                  <a:pt x="5" y="26"/>
                </a:lnTo>
                <a:lnTo>
                  <a:pt x="9" y="25"/>
                </a:lnTo>
                <a:lnTo>
                  <a:pt x="14" y="25"/>
                </a:lnTo>
                <a:lnTo>
                  <a:pt x="20" y="23"/>
                </a:lnTo>
                <a:lnTo>
                  <a:pt x="20" y="22"/>
                </a:lnTo>
                <a:lnTo>
                  <a:pt x="22" y="20"/>
                </a:lnTo>
                <a:lnTo>
                  <a:pt x="25" y="18"/>
                </a:lnTo>
                <a:lnTo>
                  <a:pt x="24" y="17"/>
                </a:lnTo>
                <a:lnTo>
                  <a:pt x="24" y="15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57" name="Freeform 757"/>
          <p:cNvSpPr>
            <a:spLocks/>
          </p:cNvSpPr>
          <p:nvPr/>
        </p:nvSpPr>
        <p:spPr bwMode="auto">
          <a:xfrm>
            <a:off x="3906849" y="2684158"/>
            <a:ext cx="46772" cy="51542"/>
          </a:xfrm>
          <a:custGeom>
            <a:avLst/>
            <a:gdLst/>
            <a:ahLst/>
            <a:cxnLst>
              <a:cxn ang="0">
                <a:pos x="24" y="15"/>
              </a:cxn>
              <a:cxn ang="0">
                <a:pos x="21" y="14"/>
              </a:cxn>
              <a:cxn ang="0">
                <a:pos x="20" y="17"/>
              </a:cxn>
              <a:cxn ang="0">
                <a:pos x="18" y="14"/>
              </a:cxn>
              <a:cxn ang="0">
                <a:pos x="13" y="17"/>
              </a:cxn>
              <a:cxn ang="0">
                <a:pos x="12" y="15"/>
              </a:cxn>
              <a:cxn ang="0">
                <a:pos x="16" y="12"/>
              </a:cxn>
              <a:cxn ang="0">
                <a:pos x="13" y="12"/>
              </a:cxn>
              <a:cxn ang="0">
                <a:pos x="16" y="9"/>
              </a:cxn>
              <a:cxn ang="0">
                <a:pos x="17" y="3"/>
              </a:cxn>
              <a:cxn ang="0">
                <a:pos x="16" y="1"/>
              </a:cxn>
              <a:cxn ang="0">
                <a:pos x="14" y="0"/>
              </a:cxn>
              <a:cxn ang="0">
                <a:pos x="13" y="1"/>
              </a:cxn>
              <a:cxn ang="0">
                <a:pos x="12" y="0"/>
              </a:cxn>
              <a:cxn ang="0">
                <a:pos x="12" y="3"/>
              </a:cxn>
              <a:cxn ang="0">
                <a:pos x="8" y="6"/>
              </a:cxn>
              <a:cxn ang="0">
                <a:pos x="6" y="11"/>
              </a:cxn>
              <a:cxn ang="0">
                <a:pos x="5" y="12"/>
              </a:cxn>
              <a:cxn ang="0">
                <a:pos x="1" y="15"/>
              </a:cxn>
              <a:cxn ang="0">
                <a:pos x="1" y="17"/>
              </a:cxn>
              <a:cxn ang="0">
                <a:pos x="0" y="20"/>
              </a:cxn>
              <a:cxn ang="0">
                <a:pos x="0" y="22"/>
              </a:cxn>
              <a:cxn ang="0">
                <a:pos x="1" y="23"/>
              </a:cxn>
              <a:cxn ang="0">
                <a:pos x="2" y="25"/>
              </a:cxn>
              <a:cxn ang="0">
                <a:pos x="5" y="26"/>
              </a:cxn>
              <a:cxn ang="0">
                <a:pos x="9" y="25"/>
              </a:cxn>
              <a:cxn ang="0">
                <a:pos x="14" y="25"/>
              </a:cxn>
              <a:cxn ang="0">
                <a:pos x="20" y="23"/>
              </a:cxn>
              <a:cxn ang="0">
                <a:pos x="20" y="22"/>
              </a:cxn>
              <a:cxn ang="0">
                <a:pos x="22" y="20"/>
              </a:cxn>
              <a:cxn ang="0">
                <a:pos x="25" y="18"/>
              </a:cxn>
              <a:cxn ang="0">
                <a:pos x="24" y="17"/>
              </a:cxn>
              <a:cxn ang="0">
                <a:pos x="24" y="15"/>
              </a:cxn>
            </a:cxnLst>
            <a:rect l="0" t="0" r="r" b="b"/>
            <a:pathLst>
              <a:path w="25" h="26">
                <a:moveTo>
                  <a:pt x="24" y="15"/>
                </a:moveTo>
                <a:lnTo>
                  <a:pt x="21" y="14"/>
                </a:lnTo>
                <a:lnTo>
                  <a:pt x="20" y="17"/>
                </a:lnTo>
                <a:lnTo>
                  <a:pt x="18" y="14"/>
                </a:lnTo>
                <a:lnTo>
                  <a:pt x="13" y="17"/>
                </a:lnTo>
                <a:lnTo>
                  <a:pt x="12" y="15"/>
                </a:lnTo>
                <a:lnTo>
                  <a:pt x="16" y="12"/>
                </a:lnTo>
                <a:lnTo>
                  <a:pt x="13" y="12"/>
                </a:lnTo>
                <a:lnTo>
                  <a:pt x="16" y="9"/>
                </a:lnTo>
                <a:lnTo>
                  <a:pt x="17" y="3"/>
                </a:lnTo>
                <a:lnTo>
                  <a:pt x="16" y="1"/>
                </a:lnTo>
                <a:lnTo>
                  <a:pt x="14" y="0"/>
                </a:lnTo>
                <a:lnTo>
                  <a:pt x="13" y="1"/>
                </a:lnTo>
                <a:lnTo>
                  <a:pt x="12" y="0"/>
                </a:lnTo>
                <a:lnTo>
                  <a:pt x="12" y="3"/>
                </a:lnTo>
                <a:lnTo>
                  <a:pt x="8" y="6"/>
                </a:lnTo>
                <a:lnTo>
                  <a:pt x="6" y="11"/>
                </a:lnTo>
                <a:lnTo>
                  <a:pt x="5" y="12"/>
                </a:lnTo>
                <a:lnTo>
                  <a:pt x="1" y="15"/>
                </a:lnTo>
                <a:lnTo>
                  <a:pt x="1" y="17"/>
                </a:lnTo>
                <a:lnTo>
                  <a:pt x="0" y="20"/>
                </a:lnTo>
                <a:lnTo>
                  <a:pt x="0" y="22"/>
                </a:lnTo>
                <a:lnTo>
                  <a:pt x="1" y="23"/>
                </a:lnTo>
                <a:lnTo>
                  <a:pt x="2" y="25"/>
                </a:lnTo>
                <a:lnTo>
                  <a:pt x="5" y="26"/>
                </a:lnTo>
                <a:lnTo>
                  <a:pt x="9" y="25"/>
                </a:lnTo>
                <a:lnTo>
                  <a:pt x="14" y="25"/>
                </a:lnTo>
                <a:lnTo>
                  <a:pt x="20" y="23"/>
                </a:lnTo>
                <a:lnTo>
                  <a:pt x="20" y="22"/>
                </a:lnTo>
                <a:lnTo>
                  <a:pt x="22" y="20"/>
                </a:lnTo>
                <a:lnTo>
                  <a:pt x="25" y="18"/>
                </a:lnTo>
                <a:lnTo>
                  <a:pt x="24" y="17"/>
                </a:lnTo>
                <a:lnTo>
                  <a:pt x="24" y="15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58" name="Freeform 758"/>
          <p:cNvSpPr>
            <a:spLocks/>
          </p:cNvSpPr>
          <p:nvPr/>
        </p:nvSpPr>
        <p:spPr bwMode="auto">
          <a:xfrm>
            <a:off x="2918802" y="1726326"/>
            <a:ext cx="159803" cy="81609"/>
          </a:xfrm>
          <a:custGeom>
            <a:avLst/>
            <a:gdLst/>
            <a:ahLst/>
            <a:cxnLst>
              <a:cxn ang="0">
                <a:pos x="33" y="0"/>
              </a:cxn>
              <a:cxn ang="0">
                <a:pos x="29" y="1"/>
              </a:cxn>
              <a:cxn ang="0">
                <a:pos x="25" y="0"/>
              </a:cxn>
              <a:cxn ang="0">
                <a:pos x="17" y="1"/>
              </a:cxn>
              <a:cxn ang="0">
                <a:pos x="9" y="3"/>
              </a:cxn>
              <a:cxn ang="0">
                <a:pos x="8" y="6"/>
              </a:cxn>
              <a:cxn ang="0">
                <a:pos x="10" y="6"/>
              </a:cxn>
              <a:cxn ang="0">
                <a:pos x="13" y="7"/>
              </a:cxn>
              <a:cxn ang="0">
                <a:pos x="17" y="9"/>
              </a:cxn>
              <a:cxn ang="0">
                <a:pos x="10" y="9"/>
              </a:cxn>
              <a:cxn ang="0">
                <a:pos x="5" y="7"/>
              </a:cxn>
              <a:cxn ang="0">
                <a:pos x="0" y="9"/>
              </a:cxn>
              <a:cxn ang="0">
                <a:pos x="2" y="9"/>
              </a:cxn>
              <a:cxn ang="0">
                <a:pos x="2" y="14"/>
              </a:cxn>
              <a:cxn ang="0">
                <a:pos x="2" y="18"/>
              </a:cxn>
              <a:cxn ang="0">
                <a:pos x="1" y="20"/>
              </a:cxn>
              <a:cxn ang="0">
                <a:pos x="1" y="25"/>
              </a:cxn>
              <a:cxn ang="0">
                <a:pos x="5" y="26"/>
              </a:cxn>
              <a:cxn ang="0">
                <a:pos x="9" y="29"/>
              </a:cxn>
              <a:cxn ang="0">
                <a:pos x="8" y="34"/>
              </a:cxn>
              <a:cxn ang="0">
                <a:pos x="12" y="36"/>
              </a:cxn>
              <a:cxn ang="0">
                <a:pos x="12" y="36"/>
              </a:cxn>
              <a:cxn ang="0">
                <a:pos x="8" y="39"/>
              </a:cxn>
              <a:cxn ang="0">
                <a:pos x="13" y="39"/>
              </a:cxn>
              <a:cxn ang="0">
                <a:pos x="18" y="37"/>
              </a:cxn>
              <a:cxn ang="0">
                <a:pos x="24" y="39"/>
              </a:cxn>
              <a:cxn ang="0">
                <a:pos x="25" y="37"/>
              </a:cxn>
              <a:cxn ang="0">
                <a:pos x="25" y="37"/>
              </a:cxn>
              <a:cxn ang="0">
                <a:pos x="29" y="32"/>
              </a:cxn>
              <a:cxn ang="0">
                <a:pos x="34" y="31"/>
              </a:cxn>
              <a:cxn ang="0">
                <a:pos x="29" y="26"/>
              </a:cxn>
              <a:cxn ang="0">
                <a:pos x="25" y="26"/>
              </a:cxn>
              <a:cxn ang="0">
                <a:pos x="21" y="25"/>
              </a:cxn>
              <a:cxn ang="0">
                <a:pos x="26" y="25"/>
              </a:cxn>
              <a:cxn ang="0">
                <a:pos x="31" y="25"/>
              </a:cxn>
              <a:cxn ang="0">
                <a:pos x="38" y="25"/>
              </a:cxn>
              <a:cxn ang="0">
                <a:pos x="43" y="25"/>
              </a:cxn>
              <a:cxn ang="0">
                <a:pos x="50" y="26"/>
              </a:cxn>
              <a:cxn ang="0">
                <a:pos x="57" y="23"/>
              </a:cxn>
              <a:cxn ang="0">
                <a:pos x="61" y="21"/>
              </a:cxn>
              <a:cxn ang="0">
                <a:pos x="65" y="18"/>
              </a:cxn>
              <a:cxn ang="0">
                <a:pos x="63" y="17"/>
              </a:cxn>
              <a:cxn ang="0">
                <a:pos x="69" y="14"/>
              </a:cxn>
              <a:cxn ang="0">
                <a:pos x="71" y="11"/>
              </a:cxn>
              <a:cxn ang="0">
                <a:pos x="75" y="9"/>
              </a:cxn>
              <a:cxn ang="0">
                <a:pos x="81" y="6"/>
              </a:cxn>
              <a:cxn ang="0">
                <a:pos x="83" y="4"/>
              </a:cxn>
              <a:cxn ang="0">
                <a:pos x="78" y="4"/>
              </a:cxn>
              <a:cxn ang="0">
                <a:pos x="73" y="3"/>
              </a:cxn>
              <a:cxn ang="0">
                <a:pos x="61" y="3"/>
              </a:cxn>
              <a:cxn ang="0">
                <a:pos x="55" y="3"/>
              </a:cxn>
              <a:cxn ang="0">
                <a:pos x="51" y="4"/>
              </a:cxn>
              <a:cxn ang="0">
                <a:pos x="46" y="1"/>
              </a:cxn>
              <a:cxn ang="0">
                <a:pos x="39" y="0"/>
              </a:cxn>
            </a:cxnLst>
            <a:rect l="0" t="0" r="r" b="b"/>
            <a:pathLst>
              <a:path w="83" h="39">
                <a:moveTo>
                  <a:pt x="38" y="0"/>
                </a:moveTo>
                <a:lnTo>
                  <a:pt x="37" y="0"/>
                </a:lnTo>
                <a:lnTo>
                  <a:pt x="34" y="0"/>
                </a:lnTo>
                <a:lnTo>
                  <a:pt x="33" y="0"/>
                </a:lnTo>
                <a:lnTo>
                  <a:pt x="31" y="0"/>
                </a:lnTo>
                <a:lnTo>
                  <a:pt x="30" y="0"/>
                </a:lnTo>
                <a:lnTo>
                  <a:pt x="30" y="1"/>
                </a:lnTo>
                <a:lnTo>
                  <a:pt x="29" y="1"/>
                </a:lnTo>
                <a:lnTo>
                  <a:pt x="27" y="1"/>
                </a:lnTo>
                <a:lnTo>
                  <a:pt x="27" y="0"/>
                </a:lnTo>
                <a:lnTo>
                  <a:pt x="26" y="0"/>
                </a:lnTo>
                <a:lnTo>
                  <a:pt x="25" y="0"/>
                </a:lnTo>
                <a:lnTo>
                  <a:pt x="24" y="1"/>
                </a:lnTo>
                <a:lnTo>
                  <a:pt x="20" y="1"/>
                </a:lnTo>
                <a:lnTo>
                  <a:pt x="18" y="1"/>
                </a:lnTo>
                <a:lnTo>
                  <a:pt x="17" y="1"/>
                </a:lnTo>
                <a:lnTo>
                  <a:pt x="16" y="1"/>
                </a:lnTo>
                <a:lnTo>
                  <a:pt x="14" y="1"/>
                </a:lnTo>
                <a:lnTo>
                  <a:pt x="12" y="3"/>
                </a:lnTo>
                <a:lnTo>
                  <a:pt x="9" y="3"/>
                </a:lnTo>
                <a:lnTo>
                  <a:pt x="8" y="3"/>
                </a:lnTo>
                <a:lnTo>
                  <a:pt x="6" y="3"/>
                </a:lnTo>
                <a:lnTo>
                  <a:pt x="6" y="4"/>
                </a:lnTo>
                <a:lnTo>
                  <a:pt x="8" y="6"/>
                </a:lnTo>
                <a:lnTo>
                  <a:pt x="9" y="6"/>
                </a:lnTo>
                <a:lnTo>
                  <a:pt x="10" y="6"/>
                </a:lnTo>
                <a:lnTo>
                  <a:pt x="12" y="6"/>
                </a:lnTo>
                <a:lnTo>
                  <a:pt x="10" y="6"/>
                </a:lnTo>
                <a:lnTo>
                  <a:pt x="9" y="6"/>
                </a:lnTo>
                <a:lnTo>
                  <a:pt x="10" y="7"/>
                </a:lnTo>
                <a:lnTo>
                  <a:pt x="12" y="7"/>
                </a:lnTo>
                <a:lnTo>
                  <a:pt x="13" y="7"/>
                </a:lnTo>
                <a:lnTo>
                  <a:pt x="13" y="9"/>
                </a:lnTo>
                <a:lnTo>
                  <a:pt x="14" y="9"/>
                </a:lnTo>
                <a:lnTo>
                  <a:pt x="16" y="9"/>
                </a:lnTo>
                <a:lnTo>
                  <a:pt x="17" y="9"/>
                </a:lnTo>
                <a:lnTo>
                  <a:pt x="16" y="9"/>
                </a:lnTo>
                <a:lnTo>
                  <a:pt x="14" y="9"/>
                </a:lnTo>
                <a:lnTo>
                  <a:pt x="12" y="9"/>
                </a:lnTo>
                <a:lnTo>
                  <a:pt x="10" y="9"/>
                </a:lnTo>
                <a:lnTo>
                  <a:pt x="9" y="7"/>
                </a:lnTo>
                <a:lnTo>
                  <a:pt x="8" y="7"/>
                </a:lnTo>
                <a:lnTo>
                  <a:pt x="6" y="7"/>
                </a:lnTo>
                <a:lnTo>
                  <a:pt x="5" y="7"/>
                </a:lnTo>
                <a:lnTo>
                  <a:pt x="4" y="7"/>
                </a:lnTo>
                <a:lnTo>
                  <a:pt x="2" y="7"/>
                </a:lnTo>
                <a:lnTo>
                  <a:pt x="1" y="7"/>
                </a:lnTo>
                <a:lnTo>
                  <a:pt x="0" y="9"/>
                </a:lnTo>
                <a:lnTo>
                  <a:pt x="1" y="9"/>
                </a:lnTo>
                <a:lnTo>
                  <a:pt x="0" y="9"/>
                </a:lnTo>
                <a:lnTo>
                  <a:pt x="1" y="9"/>
                </a:lnTo>
                <a:lnTo>
                  <a:pt x="2" y="9"/>
                </a:lnTo>
                <a:lnTo>
                  <a:pt x="2" y="11"/>
                </a:lnTo>
                <a:lnTo>
                  <a:pt x="1" y="11"/>
                </a:lnTo>
                <a:lnTo>
                  <a:pt x="1" y="12"/>
                </a:lnTo>
                <a:lnTo>
                  <a:pt x="2" y="14"/>
                </a:lnTo>
                <a:lnTo>
                  <a:pt x="1" y="15"/>
                </a:lnTo>
                <a:lnTo>
                  <a:pt x="2" y="15"/>
                </a:lnTo>
                <a:lnTo>
                  <a:pt x="2" y="17"/>
                </a:lnTo>
                <a:lnTo>
                  <a:pt x="2" y="18"/>
                </a:lnTo>
                <a:lnTo>
                  <a:pt x="4" y="18"/>
                </a:lnTo>
                <a:lnTo>
                  <a:pt x="2" y="18"/>
                </a:lnTo>
                <a:lnTo>
                  <a:pt x="1" y="18"/>
                </a:lnTo>
                <a:lnTo>
                  <a:pt x="1" y="20"/>
                </a:lnTo>
                <a:lnTo>
                  <a:pt x="1" y="21"/>
                </a:lnTo>
                <a:lnTo>
                  <a:pt x="2" y="21"/>
                </a:lnTo>
                <a:lnTo>
                  <a:pt x="1" y="23"/>
                </a:lnTo>
                <a:lnTo>
                  <a:pt x="1" y="25"/>
                </a:lnTo>
                <a:lnTo>
                  <a:pt x="2" y="25"/>
                </a:lnTo>
                <a:lnTo>
                  <a:pt x="2" y="26"/>
                </a:lnTo>
                <a:lnTo>
                  <a:pt x="4" y="26"/>
                </a:lnTo>
                <a:lnTo>
                  <a:pt x="5" y="26"/>
                </a:lnTo>
                <a:lnTo>
                  <a:pt x="6" y="28"/>
                </a:lnTo>
                <a:lnTo>
                  <a:pt x="6" y="29"/>
                </a:lnTo>
                <a:lnTo>
                  <a:pt x="8" y="29"/>
                </a:lnTo>
                <a:lnTo>
                  <a:pt x="9" y="29"/>
                </a:lnTo>
                <a:lnTo>
                  <a:pt x="8" y="31"/>
                </a:lnTo>
                <a:lnTo>
                  <a:pt x="9" y="31"/>
                </a:lnTo>
                <a:lnTo>
                  <a:pt x="9" y="32"/>
                </a:lnTo>
                <a:lnTo>
                  <a:pt x="8" y="34"/>
                </a:lnTo>
                <a:lnTo>
                  <a:pt x="8" y="36"/>
                </a:lnTo>
                <a:lnTo>
                  <a:pt x="9" y="36"/>
                </a:lnTo>
                <a:lnTo>
                  <a:pt x="10" y="36"/>
                </a:lnTo>
                <a:lnTo>
                  <a:pt x="12" y="36"/>
                </a:lnTo>
                <a:lnTo>
                  <a:pt x="13" y="36"/>
                </a:lnTo>
                <a:lnTo>
                  <a:pt x="14" y="36"/>
                </a:lnTo>
                <a:lnTo>
                  <a:pt x="13" y="36"/>
                </a:lnTo>
                <a:lnTo>
                  <a:pt x="12" y="36"/>
                </a:lnTo>
                <a:lnTo>
                  <a:pt x="10" y="36"/>
                </a:lnTo>
                <a:lnTo>
                  <a:pt x="9" y="37"/>
                </a:lnTo>
                <a:lnTo>
                  <a:pt x="8" y="37"/>
                </a:lnTo>
                <a:lnTo>
                  <a:pt x="8" y="39"/>
                </a:lnTo>
                <a:lnTo>
                  <a:pt x="9" y="39"/>
                </a:lnTo>
                <a:lnTo>
                  <a:pt x="10" y="39"/>
                </a:lnTo>
                <a:lnTo>
                  <a:pt x="12" y="39"/>
                </a:lnTo>
                <a:lnTo>
                  <a:pt x="13" y="39"/>
                </a:lnTo>
                <a:lnTo>
                  <a:pt x="14" y="39"/>
                </a:lnTo>
                <a:lnTo>
                  <a:pt x="16" y="37"/>
                </a:lnTo>
                <a:lnTo>
                  <a:pt x="17" y="39"/>
                </a:lnTo>
                <a:lnTo>
                  <a:pt x="18" y="37"/>
                </a:lnTo>
                <a:lnTo>
                  <a:pt x="20" y="37"/>
                </a:lnTo>
                <a:lnTo>
                  <a:pt x="21" y="37"/>
                </a:lnTo>
                <a:lnTo>
                  <a:pt x="22" y="39"/>
                </a:lnTo>
                <a:lnTo>
                  <a:pt x="24" y="39"/>
                </a:lnTo>
                <a:lnTo>
                  <a:pt x="25" y="39"/>
                </a:lnTo>
                <a:lnTo>
                  <a:pt x="25" y="37"/>
                </a:lnTo>
                <a:lnTo>
                  <a:pt x="26" y="37"/>
                </a:lnTo>
                <a:lnTo>
                  <a:pt x="25" y="37"/>
                </a:lnTo>
                <a:lnTo>
                  <a:pt x="24" y="37"/>
                </a:lnTo>
                <a:lnTo>
                  <a:pt x="22" y="37"/>
                </a:lnTo>
                <a:lnTo>
                  <a:pt x="24" y="37"/>
                </a:lnTo>
                <a:lnTo>
                  <a:pt x="25" y="37"/>
                </a:lnTo>
                <a:lnTo>
                  <a:pt x="25" y="36"/>
                </a:lnTo>
                <a:lnTo>
                  <a:pt x="26" y="36"/>
                </a:lnTo>
                <a:lnTo>
                  <a:pt x="27" y="34"/>
                </a:lnTo>
                <a:lnTo>
                  <a:pt x="29" y="32"/>
                </a:lnTo>
                <a:lnTo>
                  <a:pt x="30" y="32"/>
                </a:lnTo>
                <a:lnTo>
                  <a:pt x="31" y="32"/>
                </a:lnTo>
                <a:lnTo>
                  <a:pt x="33" y="31"/>
                </a:lnTo>
                <a:lnTo>
                  <a:pt x="34" y="31"/>
                </a:lnTo>
                <a:lnTo>
                  <a:pt x="34" y="29"/>
                </a:lnTo>
                <a:lnTo>
                  <a:pt x="33" y="29"/>
                </a:lnTo>
                <a:lnTo>
                  <a:pt x="31" y="28"/>
                </a:lnTo>
                <a:lnTo>
                  <a:pt x="29" y="26"/>
                </a:lnTo>
                <a:lnTo>
                  <a:pt x="29" y="25"/>
                </a:lnTo>
                <a:lnTo>
                  <a:pt x="27" y="26"/>
                </a:lnTo>
                <a:lnTo>
                  <a:pt x="26" y="26"/>
                </a:lnTo>
                <a:lnTo>
                  <a:pt x="25" y="26"/>
                </a:lnTo>
                <a:lnTo>
                  <a:pt x="24" y="25"/>
                </a:lnTo>
                <a:lnTo>
                  <a:pt x="22" y="25"/>
                </a:lnTo>
                <a:lnTo>
                  <a:pt x="22" y="26"/>
                </a:lnTo>
                <a:lnTo>
                  <a:pt x="21" y="25"/>
                </a:lnTo>
                <a:lnTo>
                  <a:pt x="22" y="25"/>
                </a:lnTo>
                <a:lnTo>
                  <a:pt x="24" y="25"/>
                </a:lnTo>
                <a:lnTo>
                  <a:pt x="25" y="25"/>
                </a:lnTo>
                <a:lnTo>
                  <a:pt x="26" y="25"/>
                </a:lnTo>
                <a:lnTo>
                  <a:pt x="27" y="25"/>
                </a:lnTo>
                <a:lnTo>
                  <a:pt x="29" y="25"/>
                </a:lnTo>
                <a:lnTo>
                  <a:pt x="30" y="25"/>
                </a:lnTo>
                <a:lnTo>
                  <a:pt x="31" y="25"/>
                </a:lnTo>
                <a:lnTo>
                  <a:pt x="34" y="25"/>
                </a:lnTo>
                <a:lnTo>
                  <a:pt x="35" y="25"/>
                </a:lnTo>
                <a:lnTo>
                  <a:pt x="37" y="23"/>
                </a:lnTo>
                <a:lnTo>
                  <a:pt x="38" y="25"/>
                </a:lnTo>
                <a:lnTo>
                  <a:pt x="39" y="25"/>
                </a:lnTo>
                <a:lnTo>
                  <a:pt x="41" y="25"/>
                </a:lnTo>
                <a:lnTo>
                  <a:pt x="42" y="25"/>
                </a:lnTo>
                <a:lnTo>
                  <a:pt x="43" y="25"/>
                </a:lnTo>
                <a:lnTo>
                  <a:pt x="46" y="25"/>
                </a:lnTo>
                <a:lnTo>
                  <a:pt x="47" y="25"/>
                </a:lnTo>
                <a:lnTo>
                  <a:pt x="49" y="25"/>
                </a:lnTo>
                <a:lnTo>
                  <a:pt x="50" y="26"/>
                </a:lnTo>
                <a:lnTo>
                  <a:pt x="53" y="26"/>
                </a:lnTo>
                <a:lnTo>
                  <a:pt x="53" y="25"/>
                </a:lnTo>
                <a:lnTo>
                  <a:pt x="55" y="25"/>
                </a:lnTo>
                <a:lnTo>
                  <a:pt x="57" y="23"/>
                </a:lnTo>
                <a:lnTo>
                  <a:pt x="58" y="23"/>
                </a:lnTo>
                <a:lnTo>
                  <a:pt x="59" y="23"/>
                </a:lnTo>
                <a:lnTo>
                  <a:pt x="59" y="21"/>
                </a:lnTo>
                <a:lnTo>
                  <a:pt x="61" y="21"/>
                </a:lnTo>
                <a:lnTo>
                  <a:pt x="62" y="20"/>
                </a:lnTo>
                <a:lnTo>
                  <a:pt x="63" y="20"/>
                </a:lnTo>
                <a:lnTo>
                  <a:pt x="63" y="18"/>
                </a:lnTo>
                <a:lnTo>
                  <a:pt x="65" y="18"/>
                </a:lnTo>
                <a:lnTo>
                  <a:pt x="65" y="17"/>
                </a:lnTo>
                <a:lnTo>
                  <a:pt x="63" y="17"/>
                </a:lnTo>
                <a:lnTo>
                  <a:pt x="62" y="17"/>
                </a:lnTo>
                <a:lnTo>
                  <a:pt x="63" y="17"/>
                </a:lnTo>
                <a:lnTo>
                  <a:pt x="65" y="17"/>
                </a:lnTo>
                <a:lnTo>
                  <a:pt x="66" y="15"/>
                </a:lnTo>
                <a:lnTo>
                  <a:pt x="67" y="15"/>
                </a:lnTo>
                <a:lnTo>
                  <a:pt x="69" y="14"/>
                </a:lnTo>
                <a:lnTo>
                  <a:pt x="70" y="14"/>
                </a:lnTo>
                <a:lnTo>
                  <a:pt x="71" y="12"/>
                </a:lnTo>
                <a:lnTo>
                  <a:pt x="73" y="12"/>
                </a:lnTo>
                <a:lnTo>
                  <a:pt x="71" y="11"/>
                </a:lnTo>
                <a:lnTo>
                  <a:pt x="73" y="11"/>
                </a:lnTo>
                <a:lnTo>
                  <a:pt x="74" y="11"/>
                </a:lnTo>
                <a:lnTo>
                  <a:pt x="75" y="11"/>
                </a:lnTo>
                <a:lnTo>
                  <a:pt x="75" y="9"/>
                </a:lnTo>
                <a:lnTo>
                  <a:pt x="78" y="9"/>
                </a:lnTo>
                <a:lnTo>
                  <a:pt x="79" y="7"/>
                </a:lnTo>
                <a:lnTo>
                  <a:pt x="81" y="7"/>
                </a:lnTo>
                <a:lnTo>
                  <a:pt x="81" y="6"/>
                </a:lnTo>
                <a:lnTo>
                  <a:pt x="82" y="4"/>
                </a:lnTo>
                <a:lnTo>
                  <a:pt x="82" y="6"/>
                </a:lnTo>
                <a:lnTo>
                  <a:pt x="83" y="6"/>
                </a:lnTo>
                <a:lnTo>
                  <a:pt x="83" y="4"/>
                </a:lnTo>
                <a:lnTo>
                  <a:pt x="82" y="4"/>
                </a:lnTo>
                <a:lnTo>
                  <a:pt x="81" y="4"/>
                </a:lnTo>
                <a:lnTo>
                  <a:pt x="79" y="4"/>
                </a:lnTo>
                <a:lnTo>
                  <a:pt x="78" y="4"/>
                </a:lnTo>
                <a:lnTo>
                  <a:pt x="77" y="4"/>
                </a:lnTo>
                <a:lnTo>
                  <a:pt x="75" y="3"/>
                </a:lnTo>
                <a:lnTo>
                  <a:pt x="74" y="3"/>
                </a:lnTo>
                <a:lnTo>
                  <a:pt x="73" y="3"/>
                </a:lnTo>
                <a:lnTo>
                  <a:pt x="70" y="3"/>
                </a:lnTo>
                <a:lnTo>
                  <a:pt x="67" y="3"/>
                </a:lnTo>
                <a:lnTo>
                  <a:pt x="63" y="3"/>
                </a:lnTo>
                <a:lnTo>
                  <a:pt x="61" y="3"/>
                </a:lnTo>
                <a:lnTo>
                  <a:pt x="59" y="3"/>
                </a:lnTo>
                <a:lnTo>
                  <a:pt x="58" y="3"/>
                </a:lnTo>
                <a:lnTo>
                  <a:pt x="57" y="3"/>
                </a:lnTo>
                <a:lnTo>
                  <a:pt x="55" y="3"/>
                </a:lnTo>
                <a:lnTo>
                  <a:pt x="54" y="3"/>
                </a:lnTo>
                <a:lnTo>
                  <a:pt x="54" y="4"/>
                </a:lnTo>
                <a:lnTo>
                  <a:pt x="53" y="4"/>
                </a:lnTo>
                <a:lnTo>
                  <a:pt x="51" y="4"/>
                </a:lnTo>
                <a:lnTo>
                  <a:pt x="51" y="3"/>
                </a:lnTo>
                <a:lnTo>
                  <a:pt x="50" y="1"/>
                </a:lnTo>
                <a:lnTo>
                  <a:pt x="47" y="1"/>
                </a:lnTo>
                <a:lnTo>
                  <a:pt x="46" y="1"/>
                </a:lnTo>
                <a:lnTo>
                  <a:pt x="45" y="1"/>
                </a:lnTo>
                <a:lnTo>
                  <a:pt x="43" y="1"/>
                </a:lnTo>
                <a:lnTo>
                  <a:pt x="41" y="0"/>
                </a:lnTo>
                <a:lnTo>
                  <a:pt x="39" y="0"/>
                </a:lnTo>
                <a:lnTo>
                  <a:pt x="38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59" name="Freeform 759"/>
          <p:cNvSpPr>
            <a:spLocks/>
          </p:cNvSpPr>
          <p:nvPr/>
        </p:nvSpPr>
        <p:spPr bwMode="auto">
          <a:xfrm>
            <a:off x="2918802" y="1726326"/>
            <a:ext cx="159803" cy="81609"/>
          </a:xfrm>
          <a:custGeom>
            <a:avLst/>
            <a:gdLst/>
            <a:ahLst/>
            <a:cxnLst>
              <a:cxn ang="0">
                <a:pos x="33" y="0"/>
              </a:cxn>
              <a:cxn ang="0">
                <a:pos x="29" y="1"/>
              </a:cxn>
              <a:cxn ang="0">
                <a:pos x="25" y="0"/>
              </a:cxn>
              <a:cxn ang="0">
                <a:pos x="17" y="1"/>
              </a:cxn>
              <a:cxn ang="0">
                <a:pos x="9" y="3"/>
              </a:cxn>
              <a:cxn ang="0">
                <a:pos x="8" y="6"/>
              </a:cxn>
              <a:cxn ang="0">
                <a:pos x="10" y="6"/>
              </a:cxn>
              <a:cxn ang="0">
                <a:pos x="13" y="7"/>
              </a:cxn>
              <a:cxn ang="0">
                <a:pos x="17" y="9"/>
              </a:cxn>
              <a:cxn ang="0">
                <a:pos x="10" y="9"/>
              </a:cxn>
              <a:cxn ang="0">
                <a:pos x="5" y="7"/>
              </a:cxn>
              <a:cxn ang="0">
                <a:pos x="0" y="9"/>
              </a:cxn>
              <a:cxn ang="0">
                <a:pos x="2" y="9"/>
              </a:cxn>
              <a:cxn ang="0">
                <a:pos x="2" y="14"/>
              </a:cxn>
              <a:cxn ang="0">
                <a:pos x="2" y="18"/>
              </a:cxn>
              <a:cxn ang="0">
                <a:pos x="1" y="20"/>
              </a:cxn>
              <a:cxn ang="0">
                <a:pos x="1" y="25"/>
              </a:cxn>
              <a:cxn ang="0">
                <a:pos x="5" y="26"/>
              </a:cxn>
              <a:cxn ang="0">
                <a:pos x="9" y="29"/>
              </a:cxn>
              <a:cxn ang="0">
                <a:pos x="8" y="34"/>
              </a:cxn>
              <a:cxn ang="0">
                <a:pos x="12" y="36"/>
              </a:cxn>
              <a:cxn ang="0">
                <a:pos x="12" y="36"/>
              </a:cxn>
              <a:cxn ang="0">
                <a:pos x="8" y="39"/>
              </a:cxn>
              <a:cxn ang="0">
                <a:pos x="13" y="39"/>
              </a:cxn>
              <a:cxn ang="0">
                <a:pos x="18" y="37"/>
              </a:cxn>
              <a:cxn ang="0">
                <a:pos x="24" y="39"/>
              </a:cxn>
              <a:cxn ang="0">
                <a:pos x="25" y="37"/>
              </a:cxn>
              <a:cxn ang="0">
                <a:pos x="25" y="37"/>
              </a:cxn>
              <a:cxn ang="0">
                <a:pos x="29" y="32"/>
              </a:cxn>
              <a:cxn ang="0">
                <a:pos x="34" y="31"/>
              </a:cxn>
              <a:cxn ang="0">
                <a:pos x="29" y="26"/>
              </a:cxn>
              <a:cxn ang="0">
                <a:pos x="25" y="26"/>
              </a:cxn>
              <a:cxn ang="0">
                <a:pos x="21" y="25"/>
              </a:cxn>
              <a:cxn ang="0">
                <a:pos x="26" y="25"/>
              </a:cxn>
              <a:cxn ang="0">
                <a:pos x="31" y="25"/>
              </a:cxn>
              <a:cxn ang="0">
                <a:pos x="38" y="25"/>
              </a:cxn>
              <a:cxn ang="0">
                <a:pos x="43" y="25"/>
              </a:cxn>
              <a:cxn ang="0">
                <a:pos x="50" y="26"/>
              </a:cxn>
              <a:cxn ang="0">
                <a:pos x="57" y="23"/>
              </a:cxn>
              <a:cxn ang="0">
                <a:pos x="61" y="21"/>
              </a:cxn>
              <a:cxn ang="0">
                <a:pos x="65" y="18"/>
              </a:cxn>
              <a:cxn ang="0">
                <a:pos x="63" y="17"/>
              </a:cxn>
              <a:cxn ang="0">
                <a:pos x="69" y="14"/>
              </a:cxn>
              <a:cxn ang="0">
                <a:pos x="71" y="11"/>
              </a:cxn>
              <a:cxn ang="0">
                <a:pos x="75" y="9"/>
              </a:cxn>
              <a:cxn ang="0">
                <a:pos x="81" y="6"/>
              </a:cxn>
              <a:cxn ang="0">
                <a:pos x="83" y="4"/>
              </a:cxn>
              <a:cxn ang="0">
                <a:pos x="78" y="4"/>
              </a:cxn>
              <a:cxn ang="0">
                <a:pos x="73" y="3"/>
              </a:cxn>
            </a:cxnLst>
            <a:rect l="0" t="0" r="r" b="b"/>
            <a:pathLst>
              <a:path w="83" h="39">
                <a:moveTo>
                  <a:pt x="38" y="0"/>
                </a:moveTo>
                <a:lnTo>
                  <a:pt x="37" y="0"/>
                </a:lnTo>
                <a:lnTo>
                  <a:pt x="34" y="0"/>
                </a:lnTo>
                <a:lnTo>
                  <a:pt x="33" y="0"/>
                </a:lnTo>
                <a:lnTo>
                  <a:pt x="31" y="0"/>
                </a:lnTo>
                <a:lnTo>
                  <a:pt x="30" y="0"/>
                </a:lnTo>
                <a:lnTo>
                  <a:pt x="30" y="1"/>
                </a:lnTo>
                <a:lnTo>
                  <a:pt x="29" y="1"/>
                </a:lnTo>
                <a:lnTo>
                  <a:pt x="27" y="1"/>
                </a:lnTo>
                <a:lnTo>
                  <a:pt x="27" y="0"/>
                </a:lnTo>
                <a:lnTo>
                  <a:pt x="26" y="0"/>
                </a:lnTo>
                <a:lnTo>
                  <a:pt x="25" y="0"/>
                </a:lnTo>
                <a:lnTo>
                  <a:pt x="24" y="1"/>
                </a:lnTo>
                <a:lnTo>
                  <a:pt x="20" y="1"/>
                </a:lnTo>
                <a:lnTo>
                  <a:pt x="18" y="1"/>
                </a:lnTo>
                <a:lnTo>
                  <a:pt x="17" y="1"/>
                </a:lnTo>
                <a:lnTo>
                  <a:pt x="16" y="1"/>
                </a:lnTo>
                <a:lnTo>
                  <a:pt x="14" y="1"/>
                </a:lnTo>
                <a:lnTo>
                  <a:pt x="12" y="3"/>
                </a:lnTo>
                <a:lnTo>
                  <a:pt x="9" y="3"/>
                </a:lnTo>
                <a:lnTo>
                  <a:pt x="8" y="3"/>
                </a:lnTo>
                <a:lnTo>
                  <a:pt x="6" y="3"/>
                </a:lnTo>
                <a:lnTo>
                  <a:pt x="6" y="4"/>
                </a:lnTo>
                <a:lnTo>
                  <a:pt x="8" y="6"/>
                </a:lnTo>
                <a:lnTo>
                  <a:pt x="9" y="6"/>
                </a:lnTo>
                <a:lnTo>
                  <a:pt x="10" y="6"/>
                </a:lnTo>
                <a:lnTo>
                  <a:pt x="12" y="6"/>
                </a:lnTo>
                <a:lnTo>
                  <a:pt x="10" y="6"/>
                </a:lnTo>
                <a:lnTo>
                  <a:pt x="9" y="6"/>
                </a:lnTo>
                <a:lnTo>
                  <a:pt x="10" y="7"/>
                </a:lnTo>
                <a:lnTo>
                  <a:pt x="12" y="7"/>
                </a:lnTo>
                <a:lnTo>
                  <a:pt x="13" y="7"/>
                </a:lnTo>
                <a:lnTo>
                  <a:pt x="13" y="9"/>
                </a:lnTo>
                <a:lnTo>
                  <a:pt x="14" y="9"/>
                </a:lnTo>
                <a:lnTo>
                  <a:pt x="16" y="9"/>
                </a:lnTo>
                <a:lnTo>
                  <a:pt x="17" y="9"/>
                </a:lnTo>
                <a:lnTo>
                  <a:pt x="16" y="9"/>
                </a:lnTo>
                <a:lnTo>
                  <a:pt x="14" y="9"/>
                </a:lnTo>
                <a:lnTo>
                  <a:pt x="12" y="9"/>
                </a:lnTo>
                <a:lnTo>
                  <a:pt x="10" y="9"/>
                </a:lnTo>
                <a:lnTo>
                  <a:pt x="9" y="7"/>
                </a:lnTo>
                <a:lnTo>
                  <a:pt x="8" y="7"/>
                </a:lnTo>
                <a:lnTo>
                  <a:pt x="6" y="7"/>
                </a:lnTo>
                <a:lnTo>
                  <a:pt x="5" y="7"/>
                </a:lnTo>
                <a:lnTo>
                  <a:pt x="4" y="7"/>
                </a:lnTo>
                <a:lnTo>
                  <a:pt x="2" y="7"/>
                </a:lnTo>
                <a:lnTo>
                  <a:pt x="1" y="7"/>
                </a:lnTo>
                <a:lnTo>
                  <a:pt x="0" y="9"/>
                </a:lnTo>
                <a:lnTo>
                  <a:pt x="1" y="9"/>
                </a:lnTo>
                <a:lnTo>
                  <a:pt x="0" y="9"/>
                </a:lnTo>
                <a:lnTo>
                  <a:pt x="1" y="9"/>
                </a:lnTo>
                <a:lnTo>
                  <a:pt x="2" y="9"/>
                </a:lnTo>
                <a:lnTo>
                  <a:pt x="2" y="11"/>
                </a:lnTo>
                <a:lnTo>
                  <a:pt x="1" y="11"/>
                </a:lnTo>
                <a:lnTo>
                  <a:pt x="1" y="12"/>
                </a:lnTo>
                <a:lnTo>
                  <a:pt x="2" y="14"/>
                </a:lnTo>
                <a:lnTo>
                  <a:pt x="1" y="15"/>
                </a:lnTo>
                <a:lnTo>
                  <a:pt x="2" y="15"/>
                </a:lnTo>
                <a:lnTo>
                  <a:pt x="2" y="17"/>
                </a:lnTo>
                <a:lnTo>
                  <a:pt x="2" y="18"/>
                </a:lnTo>
                <a:lnTo>
                  <a:pt x="4" y="18"/>
                </a:lnTo>
                <a:lnTo>
                  <a:pt x="2" y="18"/>
                </a:lnTo>
                <a:lnTo>
                  <a:pt x="1" y="18"/>
                </a:lnTo>
                <a:lnTo>
                  <a:pt x="1" y="20"/>
                </a:lnTo>
                <a:lnTo>
                  <a:pt x="1" y="21"/>
                </a:lnTo>
                <a:lnTo>
                  <a:pt x="2" y="21"/>
                </a:lnTo>
                <a:lnTo>
                  <a:pt x="1" y="23"/>
                </a:lnTo>
                <a:lnTo>
                  <a:pt x="1" y="25"/>
                </a:lnTo>
                <a:lnTo>
                  <a:pt x="2" y="25"/>
                </a:lnTo>
                <a:lnTo>
                  <a:pt x="2" y="26"/>
                </a:lnTo>
                <a:lnTo>
                  <a:pt x="4" y="26"/>
                </a:lnTo>
                <a:lnTo>
                  <a:pt x="5" y="26"/>
                </a:lnTo>
                <a:lnTo>
                  <a:pt x="6" y="28"/>
                </a:lnTo>
                <a:lnTo>
                  <a:pt x="6" y="29"/>
                </a:lnTo>
                <a:lnTo>
                  <a:pt x="8" y="29"/>
                </a:lnTo>
                <a:lnTo>
                  <a:pt x="9" y="29"/>
                </a:lnTo>
                <a:lnTo>
                  <a:pt x="8" y="31"/>
                </a:lnTo>
                <a:lnTo>
                  <a:pt x="9" y="31"/>
                </a:lnTo>
                <a:lnTo>
                  <a:pt x="9" y="32"/>
                </a:lnTo>
                <a:lnTo>
                  <a:pt x="8" y="34"/>
                </a:lnTo>
                <a:lnTo>
                  <a:pt x="8" y="36"/>
                </a:lnTo>
                <a:lnTo>
                  <a:pt x="9" y="36"/>
                </a:lnTo>
                <a:lnTo>
                  <a:pt x="10" y="36"/>
                </a:lnTo>
                <a:lnTo>
                  <a:pt x="12" y="36"/>
                </a:lnTo>
                <a:lnTo>
                  <a:pt x="13" y="36"/>
                </a:lnTo>
                <a:lnTo>
                  <a:pt x="14" y="36"/>
                </a:lnTo>
                <a:lnTo>
                  <a:pt x="13" y="36"/>
                </a:lnTo>
                <a:lnTo>
                  <a:pt x="12" y="36"/>
                </a:lnTo>
                <a:lnTo>
                  <a:pt x="10" y="36"/>
                </a:lnTo>
                <a:lnTo>
                  <a:pt x="9" y="37"/>
                </a:lnTo>
                <a:lnTo>
                  <a:pt x="8" y="37"/>
                </a:lnTo>
                <a:lnTo>
                  <a:pt x="8" y="39"/>
                </a:lnTo>
                <a:lnTo>
                  <a:pt x="9" y="39"/>
                </a:lnTo>
                <a:lnTo>
                  <a:pt x="10" y="39"/>
                </a:lnTo>
                <a:lnTo>
                  <a:pt x="12" y="39"/>
                </a:lnTo>
                <a:lnTo>
                  <a:pt x="13" y="39"/>
                </a:lnTo>
                <a:lnTo>
                  <a:pt x="14" y="39"/>
                </a:lnTo>
                <a:lnTo>
                  <a:pt x="16" y="37"/>
                </a:lnTo>
                <a:lnTo>
                  <a:pt x="17" y="39"/>
                </a:lnTo>
                <a:lnTo>
                  <a:pt x="18" y="37"/>
                </a:lnTo>
                <a:lnTo>
                  <a:pt x="20" y="37"/>
                </a:lnTo>
                <a:lnTo>
                  <a:pt x="21" y="37"/>
                </a:lnTo>
                <a:lnTo>
                  <a:pt x="22" y="39"/>
                </a:lnTo>
                <a:lnTo>
                  <a:pt x="24" y="39"/>
                </a:lnTo>
                <a:lnTo>
                  <a:pt x="25" y="39"/>
                </a:lnTo>
                <a:lnTo>
                  <a:pt x="25" y="37"/>
                </a:lnTo>
                <a:lnTo>
                  <a:pt x="26" y="37"/>
                </a:lnTo>
                <a:lnTo>
                  <a:pt x="25" y="37"/>
                </a:lnTo>
                <a:lnTo>
                  <a:pt x="24" y="37"/>
                </a:lnTo>
                <a:lnTo>
                  <a:pt x="22" y="37"/>
                </a:lnTo>
                <a:lnTo>
                  <a:pt x="24" y="37"/>
                </a:lnTo>
                <a:lnTo>
                  <a:pt x="25" y="37"/>
                </a:lnTo>
                <a:lnTo>
                  <a:pt x="25" y="36"/>
                </a:lnTo>
                <a:lnTo>
                  <a:pt x="26" y="36"/>
                </a:lnTo>
                <a:lnTo>
                  <a:pt x="27" y="34"/>
                </a:lnTo>
                <a:lnTo>
                  <a:pt x="29" y="32"/>
                </a:lnTo>
                <a:lnTo>
                  <a:pt x="30" y="32"/>
                </a:lnTo>
                <a:lnTo>
                  <a:pt x="31" y="32"/>
                </a:lnTo>
                <a:lnTo>
                  <a:pt x="33" y="31"/>
                </a:lnTo>
                <a:lnTo>
                  <a:pt x="34" y="31"/>
                </a:lnTo>
                <a:lnTo>
                  <a:pt x="34" y="29"/>
                </a:lnTo>
                <a:lnTo>
                  <a:pt x="33" y="29"/>
                </a:lnTo>
                <a:lnTo>
                  <a:pt x="31" y="28"/>
                </a:lnTo>
                <a:lnTo>
                  <a:pt x="29" y="26"/>
                </a:lnTo>
                <a:lnTo>
                  <a:pt x="29" y="25"/>
                </a:lnTo>
                <a:lnTo>
                  <a:pt x="27" y="26"/>
                </a:lnTo>
                <a:lnTo>
                  <a:pt x="26" y="26"/>
                </a:lnTo>
                <a:lnTo>
                  <a:pt x="25" y="26"/>
                </a:lnTo>
                <a:lnTo>
                  <a:pt x="24" y="25"/>
                </a:lnTo>
                <a:lnTo>
                  <a:pt x="22" y="25"/>
                </a:lnTo>
                <a:lnTo>
                  <a:pt x="22" y="26"/>
                </a:lnTo>
                <a:lnTo>
                  <a:pt x="21" y="25"/>
                </a:lnTo>
                <a:lnTo>
                  <a:pt x="22" y="25"/>
                </a:lnTo>
                <a:lnTo>
                  <a:pt x="24" y="25"/>
                </a:lnTo>
                <a:lnTo>
                  <a:pt x="25" y="25"/>
                </a:lnTo>
                <a:lnTo>
                  <a:pt x="26" y="25"/>
                </a:lnTo>
                <a:lnTo>
                  <a:pt x="27" y="25"/>
                </a:lnTo>
                <a:lnTo>
                  <a:pt x="29" y="25"/>
                </a:lnTo>
                <a:lnTo>
                  <a:pt x="30" y="25"/>
                </a:lnTo>
                <a:lnTo>
                  <a:pt x="31" y="25"/>
                </a:lnTo>
                <a:lnTo>
                  <a:pt x="34" y="25"/>
                </a:lnTo>
                <a:lnTo>
                  <a:pt x="35" y="25"/>
                </a:lnTo>
                <a:lnTo>
                  <a:pt x="37" y="23"/>
                </a:lnTo>
                <a:lnTo>
                  <a:pt x="38" y="25"/>
                </a:lnTo>
                <a:lnTo>
                  <a:pt x="39" y="25"/>
                </a:lnTo>
                <a:lnTo>
                  <a:pt x="41" y="25"/>
                </a:lnTo>
                <a:lnTo>
                  <a:pt x="42" y="25"/>
                </a:lnTo>
                <a:lnTo>
                  <a:pt x="43" y="25"/>
                </a:lnTo>
                <a:lnTo>
                  <a:pt x="46" y="25"/>
                </a:lnTo>
                <a:lnTo>
                  <a:pt x="47" y="25"/>
                </a:lnTo>
                <a:lnTo>
                  <a:pt x="49" y="25"/>
                </a:lnTo>
                <a:lnTo>
                  <a:pt x="50" y="26"/>
                </a:lnTo>
                <a:lnTo>
                  <a:pt x="53" y="26"/>
                </a:lnTo>
                <a:lnTo>
                  <a:pt x="53" y="25"/>
                </a:lnTo>
                <a:lnTo>
                  <a:pt x="55" y="25"/>
                </a:lnTo>
                <a:lnTo>
                  <a:pt x="57" y="23"/>
                </a:lnTo>
                <a:lnTo>
                  <a:pt x="58" y="23"/>
                </a:lnTo>
                <a:lnTo>
                  <a:pt x="59" y="23"/>
                </a:lnTo>
                <a:lnTo>
                  <a:pt x="59" y="21"/>
                </a:lnTo>
                <a:lnTo>
                  <a:pt x="61" y="21"/>
                </a:lnTo>
                <a:lnTo>
                  <a:pt x="62" y="20"/>
                </a:lnTo>
                <a:lnTo>
                  <a:pt x="63" y="20"/>
                </a:lnTo>
                <a:lnTo>
                  <a:pt x="63" y="18"/>
                </a:lnTo>
                <a:lnTo>
                  <a:pt x="65" y="18"/>
                </a:lnTo>
                <a:lnTo>
                  <a:pt x="65" y="17"/>
                </a:lnTo>
                <a:lnTo>
                  <a:pt x="63" y="17"/>
                </a:lnTo>
                <a:lnTo>
                  <a:pt x="62" y="17"/>
                </a:lnTo>
                <a:lnTo>
                  <a:pt x="63" y="17"/>
                </a:lnTo>
                <a:lnTo>
                  <a:pt x="65" y="17"/>
                </a:lnTo>
                <a:lnTo>
                  <a:pt x="66" y="15"/>
                </a:lnTo>
                <a:lnTo>
                  <a:pt x="67" y="15"/>
                </a:lnTo>
                <a:lnTo>
                  <a:pt x="69" y="14"/>
                </a:lnTo>
                <a:lnTo>
                  <a:pt x="70" y="14"/>
                </a:lnTo>
                <a:lnTo>
                  <a:pt x="71" y="12"/>
                </a:lnTo>
                <a:lnTo>
                  <a:pt x="73" y="12"/>
                </a:lnTo>
                <a:lnTo>
                  <a:pt x="71" y="11"/>
                </a:lnTo>
                <a:lnTo>
                  <a:pt x="73" y="11"/>
                </a:lnTo>
                <a:lnTo>
                  <a:pt x="74" y="11"/>
                </a:lnTo>
                <a:lnTo>
                  <a:pt x="75" y="11"/>
                </a:lnTo>
                <a:lnTo>
                  <a:pt x="75" y="9"/>
                </a:lnTo>
                <a:lnTo>
                  <a:pt x="78" y="9"/>
                </a:lnTo>
                <a:lnTo>
                  <a:pt x="79" y="7"/>
                </a:lnTo>
                <a:lnTo>
                  <a:pt x="81" y="7"/>
                </a:lnTo>
                <a:lnTo>
                  <a:pt x="81" y="6"/>
                </a:lnTo>
                <a:lnTo>
                  <a:pt x="82" y="4"/>
                </a:lnTo>
                <a:lnTo>
                  <a:pt x="82" y="6"/>
                </a:lnTo>
                <a:lnTo>
                  <a:pt x="83" y="6"/>
                </a:lnTo>
                <a:lnTo>
                  <a:pt x="83" y="4"/>
                </a:lnTo>
                <a:lnTo>
                  <a:pt x="82" y="4"/>
                </a:lnTo>
                <a:lnTo>
                  <a:pt x="81" y="4"/>
                </a:lnTo>
                <a:lnTo>
                  <a:pt x="79" y="4"/>
                </a:lnTo>
                <a:lnTo>
                  <a:pt x="78" y="4"/>
                </a:lnTo>
                <a:lnTo>
                  <a:pt x="77" y="4"/>
                </a:lnTo>
                <a:lnTo>
                  <a:pt x="75" y="3"/>
                </a:lnTo>
                <a:lnTo>
                  <a:pt x="74" y="3"/>
                </a:lnTo>
                <a:lnTo>
                  <a:pt x="73" y="3"/>
                </a:lnTo>
                <a:lnTo>
                  <a:pt x="70" y="3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60" name="Freeform 760"/>
          <p:cNvSpPr>
            <a:spLocks/>
          </p:cNvSpPr>
          <p:nvPr/>
        </p:nvSpPr>
        <p:spPr bwMode="auto">
          <a:xfrm>
            <a:off x="2992857" y="1726326"/>
            <a:ext cx="60412" cy="10739"/>
          </a:xfrm>
          <a:custGeom>
            <a:avLst/>
            <a:gdLst/>
            <a:ahLst/>
            <a:cxnLst>
              <a:cxn ang="0">
                <a:pos x="32" y="3"/>
              </a:cxn>
              <a:cxn ang="0">
                <a:pos x="29" y="3"/>
              </a:cxn>
              <a:cxn ang="0">
                <a:pos x="25" y="3"/>
              </a:cxn>
              <a:cxn ang="0">
                <a:pos x="23" y="3"/>
              </a:cxn>
              <a:cxn ang="0">
                <a:pos x="21" y="3"/>
              </a:cxn>
              <a:cxn ang="0">
                <a:pos x="20" y="3"/>
              </a:cxn>
              <a:cxn ang="0">
                <a:pos x="19" y="3"/>
              </a:cxn>
              <a:cxn ang="0">
                <a:pos x="17" y="3"/>
              </a:cxn>
              <a:cxn ang="0">
                <a:pos x="16" y="3"/>
              </a:cxn>
              <a:cxn ang="0">
                <a:pos x="16" y="4"/>
              </a:cxn>
              <a:cxn ang="0">
                <a:pos x="15" y="4"/>
              </a:cxn>
              <a:cxn ang="0">
                <a:pos x="13" y="4"/>
              </a:cxn>
              <a:cxn ang="0">
                <a:pos x="13" y="3"/>
              </a:cxn>
              <a:cxn ang="0">
                <a:pos x="12" y="1"/>
              </a:cxn>
              <a:cxn ang="0">
                <a:pos x="9" y="1"/>
              </a:cxn>
              <a:cxn ang="0">
                <a:pos x="8" y="1"/>
              </a:cxn>
              <a:cxn ang="0">
                <a:pos x="7" y="1"/>
              </a:cxn>
              <a:cxn ang="0">
                <a:pos x="5" y="1"/>
              </a:cxn>
              <a:cxn ang="0">
                <a:pos x="3" y="0"/>
              </a:cxn>
              <a:cxn ang="0">
                <a:pos x="1" y="0"/>
              </a:cxn>
              <a:cxn ang="0">
                <a:pos x="0" y="0"/>
              </a:cxn>
            </a:cxnLst>
            <a:rect l="0" t="0" r="r" b="b"/>
            <a:pathLst>
              <a:path w="32" h="4">
                <a:moveTo>
                  <a:pt x="32" y="3"/>
                </a:moveTo>
                <a:lnTo>
                  <a:pt x="29" y="3"/>
                </a:lnTo>
                <a:lnTo>
                  <a:pt x="25" y="3"/>
                </a:lnTo>
                <a:lnTo>
                  <a:pt x="23" y="3"/>
                </a:lnTo>
                <a:lnTo>
                  <a:pt x="21" y="3"/>
                </a:lnTo>
                <a:lnTo>
                  <a:pt x="20" y="3"/>
                </a:lnTo>
                <a:lnTo>
                  <a:pt x="19" y="3"/>
                </a:lnTo>
                <a:lnTo>
                  <a:pt x="17" y="3"/>
                </a:lnTo>
                <a:lnTo>
                  <a:pt x="16" y="3"/>
                </a:lnTo>
                <a:lnTo>
                  <a:pt x="16" y="4"/>
                </a:lnTo>
                <a:lnTo>
                  <a:pt x="15" y="4"/>
                </a:lnTo>
                <a:lnTo>
                  <a:pt x="13" y="4"/>
                </a:lnTo>
                <a:lnTo>
                  <a:pt x="13" y="3"/>
                </a:lnTo>
                <a:lnTo>
                  <a:pt x="12" y="1"/>
                </a:lnTo>
                <a:lnTo>
                  <a:pt x="9" y="1"/>
                </a:lnTo>
                <a:lnTo>
                  <a:pt x="8" y="1"/>
                </a:lnTo>
                <a:lnTo>
                  <a:pt x="7" y="1"/>
                </a:lnTo>
                <a:lnTo>
                  <a:pt x="5" y="1"/>
                </a:lnTo>
                <a:lnTo>
                  <a:pt x="3" y="0"/>
                </a:lnTo>
                <a:lnTo>
                  <a:pt x="1" y="0"/>
                </a:lnTo>
                <a:lnTo>
                  <a:pt x="0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61" name="Freeform 761"/>
          <p:cNvSpPr>
            <a:spLocks/>
          </p:cNvSpPr>
          <p:nvPr/>
        </p:nvSpPr>
        <p:spPr bwMode="auto">
          <a:xfrm>
            <a:off x="1618943" y="1807935"/>
            <a:ext cx="2453558" cy="1063066"/>
          </a:xfrm>
          <a:custGeom>
            <a:avLst/>
            <a:gdLst/>
            <a:ahLst/>
            <a:cxnLst>
              <a:cxn ang="0">
                <a:pos x="1102" y="443"/>
              </a:cxn>
              <a:cxn ang="0">
                <a:pos x="1150" y="476"/>
              </a:cxn>
              <a:cxn ang="0">
                <a:pos x="1170" y="485"/>
              </a:cxn>
              <a:cxn ang="0">
                <a:pos x="1153" y="455"/>
              </a:cxn>
              <a:cxn ang="0">
                <a:pos x="1121" y="405"/>
              </a:cxn>
              <a:cxn ang="0">
                <a:pos x="1117" y="391"/>
              </a:cxn>
              <a:cxn ang="0">
                <a:pos x="1244" y="367"/>
              </a:cxn>
              <a:cxn ang="0">
                <a:pos x="1271" y="325"/>
              </a:cxn>
              <a:cxn ang="0">
                <a:pos x="1211" y="323"/>
              </a:cxn>
              <a:cxn ang="0">
                <a:pos x="1232" y="298"/>
              </a:cxn>
              <a:cxn ang="0">
                <a:pos x="1179" y="271"/>
              </a:cxn>
              <a:cxn ang="0">
                <a:pos x="1175" y="240"/>
              </a:cxn>
              <a:cxn ang="0">
                <a:pos x="1163" y="221"/>
              </a:cxn>
              <a:cxn ang="0">
                <a:pos x="1127" y="232"/>
              </a:cxn>
              <a:cxn ang="0">
                <a:pos x="1077" y="234"/>
              </a:cxn>
              <a:cxn ang="0">
                <a:pos x="1073" y="213"/>
              </a:cxn>
              <a:cxn ang="0">
                <a:pos x="1044" y="183"/>
              </a:cxn>
              <a:cxn ang="0">
                <a:pos x="956" y="168"/>
              </a:cxn>
              <a:cxn ang="0">
                <a:pos x="956" y="212"/>
              </a:cxn>
              <a:cxn ang="0">
                <a:pos x="960" y="254"/>
              </a:cxn>
              <a:cxn ang="0">
                <a:pos x="933" y="325"/>
              </a:cxn>
              <a:cxn ang="0">
                <a:pos x="921" y="372"/>
              </a:cxn>
              <a:cxn ang="0">
                <a:pos x="881" y="300"/>
              </a:cxn>
              <a:cxn ang="0">
                <a:pos x="767" y="267"/>
              </a:cxn>
              <a:cxn ang="0">
                <a:pos x="695" y="227"/>
              </a:cxn>
              <a:cxn ang="0">
                <a:pos x="732" y="166"/>
              </a:cxn>
              <a:cxn ang="0">
                <a:pos x="714" y="144"/>
              </a:cxn>
              <a:cxn ang="0">
                <a:pos x="775" y="140"/>
              </a:cxn>
              <a:cxn ang="0">
                <a:pos x="808" y="118"/>
              </a:cxn>
              <a:cxn ang="0">
                <a:pos x="860" y="100"/>
              </a:cxn>
              <a:cxn ang="0">
                <a:pos x="885" y="61"/>
              </a:cxn>
              <a:cxn ang="0">
                <a:pos x="836" y="44"/>
              </a:cxn>
              <a:cxn ang="0">
                <a:pos x="814" y="80"/>
              </a:cxn>
              <a:cxn ang="0">
                <a:pos x="760" y="63"/>
              </a:cxn>
              <a:cxn ang="0">
                <a:pos x="738" y="36"/>
              </a:cxn>
              <a:cxn ang="0">
                <a:pos x="701" y="4"/>
              </a:cxn>
              <a:cxn ang="0">
                <a:pos x="671" y="28"/>
              </a:cxn>
              <a:cxn ang="0">
                <a:pos x="698" y="53"/>
              </a:cxn>
              <a:cxn ang="0">
                <a:pos x="687" y="85"/>
              </a:cxn>
              <a:cxn ang="0">
                <a:pos x="651" y="64"/>
              </a:cxn>
              <a:cxn ang="0">
                <a:pos x="637" y="69"/>
              </a:cxn>
              <a:cxn ang="0">
                <a:pos x="546" y="69"/>
              </a:cxn>
              <a:cxn ang="0">
                <a:pos x="492" y="66"/>
              </a:cxn>
              <a:cxn ang="0">
                <a:pos x="521" y="66"/>
              </a:cxn>
              <a:cxn ang="0">
                <a:pos x="492" y="86"/>
              </a:cxn>
              <a:cxn ang="0">
                <a:pos x="447" y="72"/>
              </a:cxn>
              <a:cxn ang="0">
                <a:pos x="399" y="64"/>
              </a:cxn>
              <a:cxn ang="0">
                <a:pos x="326" y="47"/>
              </a:cxn>
              <a:cxn ang="0">
                <a:pos x="245" y="33"/>
              </a:cxn>
              <a:cxn ang="0">
                <a:pos x="215" y="42"/>
              </a:cxn>
              <a:cxn ang="0">
                <a:pos x="150" y="47"/>
              </a:cxn>
              <a:cxn ang="0">
                <a:pos x="167" y="31"/>
              </a:cxn>
              <a:cxn ang="0">
                <a:pos x="102" y="61"/>
              </a:cxn>
              <a:cxn ang="0">
                <a:pos x="20" y="42"/>
              </a:cxn>
              <a:cxn ang="0">
                <a:pos x="42" y="224"/>
              </a:cxn>
              <a:cxn ang="0">
                <a:pos x="130" y="262"/>
              </a:cxn>
              <a:cxn ang="0">
                <a:pos x="159" y="312"/>
              </a:cxn>
              <a:cxn ang="0">
                <a:pos x="198" y="352"/>
              </a:cxn>
              <a:cxn ang="0">
                <a:pos x="225" y="375"/>
              </a:cxn>
              <a:cxn ang="0">
                <a:pos x="262" y="400"/>
              </a:cxn>
              <a:cxn ang="0">
                <a:pos x="556" y="408"/>
              </a:cxn>
              <a:cxn ang="0">
                <a:pos x="755" y="424"/>
              </a:cxn>
              <a:cxn ang="0">
                <a:pos x="875" y="537"/>
              </a:cxn>
            </a:cxnLst>
            <a:rect l="0" t="0" r="r" b="b"/>
            <a:pathLst>
              <a:path w="1285" h="537">
                <a:moveTo>
                  <a:pt x="982" y="487"/>
                </a:moveTo>
                <a:lnTo>
                  <a:pt x="984" y="485"/>
                </a:lnTo>
                <a:lnTo>
                  <a:pt x="989" y="483"/>
                </a:lnTo>
                <a:lnTo>
                  <a:pt x="993" y="480"/>
                </a:lnTo>
                <a:lnTo>
                  <a:pt x="997" y="480"/>
                </a:lnTo>
                <a:lnTo>
                  <a:pt x="1018" y="480"/>
                </a:lnTo>
                <a:lnTo>
                  <a:pt x="1045" y="480"/>
                </a:lnTo>
                <a:lnTo>
                  <a:pt x="1046" y="476"/>
                </a:lnTo>
                <a:lnTo>
                  <a:pt x="1047" y="476"/>
                </a:lnTo>
                <a:lnTo>
                  <a:pt x="1051" y="476"/>
                </a:lnTo>
                <a:lnTo>
                  <a:pt x="1051" y="474"/>
                </a:lnTo>
                <a:lnTo>
                  <a:pt x="1054" y="474"/>
                </a:lnTo>
                <a:lnTo>
                  <a:pt x="1057" y="474"/>
                </a:lnTo>
                <a:lnTo>
                  <a:pt x="1058" y="472"/>
                </a:lnTo>
                <a:lnTo>
                  <a:pt x="1059" y="474"/>
                </a:lnTo>
                <a:lnTo>
                  <a:pt x="1059" y="472"/>
                </a:lnTo>
                <a:lnTo>
                  <a:pt x="1059" y="471"/>
                </a:lnTo>
                <a:lnTo>
                  <a:pt x="1061" y="469"/>
                </a:lnTo>
                <a:lnTo>
                  <a:pt x="1062" y="469"/>
                </a:lnTo>
                <a:lnTo>
                  <a:pt x="1062" y="468"/>
                </a:lnTo>
                <a:lnTo>
                  <a:pt x="1063" y="460"/>
                </a:lnTo>
                <a:lnTo>
                  <a:pt x="1065" y="458"/>
                </a:lnTo>
                <a:lnTo>
                  <a:pt x="1066" y="457"/>
                </a:lnTo>
                <a:lnTo>
                  <a:pt x="1066" y="455"/>
                </a:lnTo>
                <a:lnTo>
                  <a:pt x="1067" y="452"/>
                </a:lnTo>
                <a:lnTo>
                  <a:pt x="1069" y="447"/>
                </a:lnTo>
                <a:lnTo>
                  <a:pt x="1077" y="436"/>
                </a:lnTo>
                <a:lnTo>
                  <a:pt x="1078" y="436"/>
                </a:lnTo>
                <a:lnTo>
                  <a:pt x="1079" y="436"/>
                </a:lnTo>
                <a:lnTo>
                  <a:pt x="1082" y="438"/>
                </a:lnTo>
                <a:lnTo>
                  <a:pt x="1082" y="439"/>
                </a:lnTo>
                <a:lnTo>
                  <a:pt x="1083" y="439"/>
                </a:lnTo>
                <a:lnTo>
                  <a:pt x="1086" y="441"/>
                </a:lnTo>
                <a:lnTo>
                  <a:pt x="1091" y="439"/>
                </a:lnTo>
                <a:lnTo>
                  <a:pt x="1093" y="438"/>
                </a:lnTo>
                <a:lnTo>
                  <a:pt x="1095" y="438"/>
                </a:lnTo>
                <a:lnTo>
                  <a:pt x="1102" y="443"/>
                </a:lnTo>
                <a:lnTo>
                  <a:pt x="1102" y="455"/>
                </a:lnTo>
                <a:lnTo>
                  <a:pt x="1102" y="468"/>
                </a:lnTo>
                <a:lnTo>
                  <a:pt x="1106" y="469"/>
                </a:lnTo>
                <a:lnTo>
                  <a:pt x="1106" y="472"/>
                </a:lnTo>
                <a:lnTo>
                  <a:pt x="1106" y="474"/>
                </a:lnTo>
                <a:lnTo>
                  <a:pt x="1107" y="476"/>
                </a:lnTo>
                <a:lnTo>
                  <a:pt x="1110" y="477"/>
                </a:lnTo>
                <a:lnTo>
                  <a:pt x="1113" y="477"/>
                </a:lnTo>
                <a:lnTo>
                  <a:pt x="1114" y="476"/>
                </a:lnTo>
                <a:lnTo>
                  <a:pt x="1117" y="477"/>
                </a:lnTo>
                <a:lnTo>
                  <a:pt x="1118" y="477"/>
                </a:lnTo>
                <a:lnTo>
                  <a:pt x="1119" y="477"/>
                </a:lnTo>
                <a:lnTo>
                  <a:pt x="1126" y="477"/>
                </a:lnTo>
                <a:lnTo>
                  <a:pt x="1127" y="476"/>
                </a:lnTo>
                <a:lnTo>
                  <a:pt x="1130" y="474"/>
                </a:lnTo>
                <a:lnTo>
                  <a:pt x="1131" y="474"/>
                </a:lnTo>
                <a:lnTo>
                  <a:pt x="1134" y="474"/>
                </a:lnTo>
                <a:lnTo>
                  <a:pt x="1137" y="472"/>
                </a:lnTo>
                <a:lnTo>
                  <a:pt x="1146" y="468"/>
                </a:lnTo>
                <a:lnTo>
                  <a:pt x="1149" y="466"/>
                </a:lnTo>
                <a:lnTo>
                  <a:pt x="1151" y="463"/>
                </a:lnTo>
                <a:lnTo>
                  <a:pt x="1153" y="465"/>
                </a:lnTo>
                <a:lnTo>
                  <a:pt x="1154" y="465"/>
                </a:lnTo>
                <a:lnTo>
                  <a:pt x="1151" y="468"/>
                </a:lnTo>
                <a:lnTo>
                  <a:pt x="1147" y="471"/>
                </a:lnTo>
                <a:lnTo>
                  <a:pt x="1149" y="472"/>
                </a:lnTo>
                <a:lnTo>
                  <a:pt x="1151" y="472"/>
                </a:lnTo>
                <a:lnTo>
                  <a:pt x="1154" y="471"/>
                </a:lnTo>
                <a:lnTo>
                  <a:pt x="1162" y="472"/>
                </a:lnTo>
                <a:lnTo>
                  <a:pt x="1166" y="471"/>
                </a:lnTo>
                <a:lnTo>
                  <a:pt x="1170" y="472"/>
                </a:lnTo>
                <a:lnTo>
                  <a:pt x="1163" y="474"/>
                </a:lnTo>
                <a:lnTo>
                  <a:pt x="1160" y="476"/>
                </a:lnTo>
                <a:lnTo>
                  <a:pt x="1158" y="477"/>
                </a:lnTo>
                <a:lnTo>
                  <a:pt x="1155" y="477"/>
                </a:lnTo>
                <a:lnTo>
                  <a:pt x="1154" y="474"/>
                </a:lnTo>
                <a:lnTo>
                  <a:pt x="1150" y="476"/>
                </a:lnTo>
                <a:lnTo>
                  <a:pt x="1143" y="479"/>
                </a:lnTo>
                <a:lnTo>
                  <a:pt x="1137" y="482"/>
                </a:lnTo>
                <a:lnTo>
                  <a:pt x="1137" y="483"/>
                </a:lnTo>
                <a:lnTo>
                  <a:pt x="1134" y="485"/>
                </a:lnTo>
                <a:lnTo>
                  <a:pt x="1133" y="485"/>
                </a:lnTo>
                <a:lnTo>
                  <a:pt x="1129" y="488"/>
                </a:lnTo>
                <a:lnTo>
                  <a:pt x="1127" y="490"/>
                </a:lnTo>
                <a:lnTo>
                  <a:pt x="1130" y="488"/>
                </a:lnTo>
                <a:lnTo>
                  <a:pt x="1131" y="487"/>
                </a:lnTo>
                <a:lnTo>
                  <a:pt x="1129" y="491"/>
                </a:lnTo>
                <a:lnTo>
                  <a:pt x="1127" y="493"/>
                </a:lnTo>
                <a:lnTo>
                  <a:pt x="1129" y="498"/>
                </a:lnTo>
                <a:lnTo>
                  <a:pt x="1130" y="501"/>
                </a:lnTo>
                <a:lnTo>
                  <a:pt x="1131" y="501"/>
                </a:lnTo>
                <a:lnTo>
                  <a:pt x="1134" y="502"/>
                </a:lnTo>
                <a:lnTo>
                  <a:pt x="1135" y="505"/>
                </a:lnTo>
                <a:lnTo>
                  <a:pt x="1138" y="505"/>
                </a:lnTo>
                <a:lnTo>
                  <a:pt x="1139" y="505"/>
                </a:lnTo>
                <a:lnTo>
                  <a:pt x="1141" y="505"/>
                </a:lnTo>
                <a:lnTo>
                  <a:pt x="1141" y="502"/>
                </a:lnTo>
                <a:lnTo>
                  <a:pt x="1142" y="502"/>
                </a:lnTo>
                <a:lnTo>
                  <a:pt x="1145" y="502"/>
                </a:lnTo>
                <a:lnTo>
                  <a:pt x="1146" y="499"/>
                </a:lnTo>
                <a:lnTo>
                  <a:pt x="1149" y="499"/>
                </a:lnTo>
                <a:lnTo>
                  <a:pt x="1150" y="498"/>
                </a:lnTo>
                <a:lnTo>
                  <a:pt x="1153" y="493"/>
                </a:lnTo>
                <a:lnTo>
                  <a:pt x="1157" y="491"/>
                </a:lnTo>
                <a:lnTo>
                  <a:pt x="1157" y="488"/>
                </a:lnTo>
                <a:lnTo>
                  <a:pt x="1158" y="487"/>
                </a:lnTo>
                <a:lnTo>
                  <a:pt x="1159" y="488"/>
                </a:lnTo>
                <a:lnTo>
                  <a:pt x="1162" y="485"/>
                </a:lnTo>
                <a:lnTo>
                  <a:pt x="1162" y="487"/>
                </a:lnTo>
                <a:lnTo>
                  <a:pt x="1163" y="488"/>
                </a:lnTo>
                <a:lnTo>
                  <a:pt x="1167" y="488"/>
                </a:lnTo>
                <a:lnTo>
                  <a:pt x="1167" y="487"/>
                </a:lnTo>
                <a:lnTo>
                  <a:pt x="1166" y="483"/>
                </a:lnTo>
                <a:lnTo>
                  <a:pt x="1170" y="485"/>
                </a:lnTo>
                <a:lnTo>
                  <a:pt x="1171" y="483"/>
                </a:lnTo>
                <a:lnTo>
                  <a:pt x="1174" y="483"/>
                </a:lnTo>
                <a:lnTo>
                  <a:pt x="1176" y="483"/>
                </a:lnTo>
                <a:lnTo>
                  <a:pt x="1180" y="482"/>
                </a:lnTo>
                <a:lnTo>
                  <a:pt x="1182" y="482"/>
                </a:lnTo>
                <a:lnTo>
                  <a:pt x="1183" y="480"/>
                </a:lnTo>
                <a:lnTo>
                  <a:pt x="1184" y="480"/>
                </a:lnTo>
                <a:lnTo>
                  <a:pt x="1187" y="479"/>
                </a:lnTo>
                <a:lnTo>
                  <a:pt x="1192" y="477"/>
                </a:lnTo>
                <a:lnTo>
                  <a:pt x="1196" y="476"/>
                </a:lnTo>
                <a:lnTo>
                  <a:pt x="1198" y="476"/>
                </a:lnTo>
                <a:lnTo>
                  <a:pt x="1200" y="474"/>
                </a:lnTo>
                <a:lnTo>
                  <a:pt x="1203" y="474"/>
                </a:lnTo>
                <a:lnTo>
                  <a:pt x="1204" y="474"/>
                </a:lnTo>
                <a:lnTo>
                  <a:pt x="1204" y="472"/>
                </a:lnTo>
                <a:lnTo>
                  <a:pt x="1199" y="472"/>
                </a:lnTo>
                <a:lnTo>
                  <a:pt x="1200" y="471"/>
                </a:lnTo>
                <a:lnTo>
                  <a:pt x="1202" y="471"/>
                </a:lnTo>
                <a:lnTo>
                  <a:pt x="1200" y="469"/>
                </a:lnTo>
                <a:lnTo>
                  <a:pt x="1199" y="468"/>
                </a:lnTo>
                <a:lnTo>
                  <a:pt x="1195" y="468"/>
                </a:lnTo>
                <a:lnTo>
                  <a:pt x="1194" y="468"/>
                </a:lnTo>
                <a:lnTo>
                  <a:pt x="1191" y="468"/>
                </a:lnTo>
                <a:lnTo>
                  <a:pt x="1192" y="466"/>
                </a:lnTo>
                <a:lnTo>
                  <a:pt x="1191" y="463"/>
                </a:lnTo>
                <a:lnTo>
                  <a:pt x="1186" y="466"/>
                </a:lnTo>
                <a:lnTo>
                  <a:pt x="1179" y="468"/>
                </a:lnTo>
                <a:lnTo>
                  <a:pt x="1178" y="466"/>
                </a:lnTo>
                <a:lnTo>
                  <a:pt x="1171" y="465"/>
                </a:lnTo>
                <a:lnTo>
                  <a:pt x="1166" y="463"/>
                </a:lnTo>
                <a:lnTo>
                  <a:pt x="1163" y="463"/>
                </a:lnTo>
                <a:lnTo>
                  <a:pt x="1160" y="461"/>
                </a:lnTo>
                <a:lnTo>
                  <a:pt x="1163" y="460"/>
                </a:lnTo>
                <a:lnTo>
                  <a:pt x="1162" y="458"/>
                </a:lnTo>
                <a:lnTo>
                  <a:pt x="1157" y="457"/>
                </a:lnTo>
                <a:lnTo>
                  <a:pt x="1153" y="457"/>
                </a:lnTo>
                <a:lnTo>
                  <a:pt x="1153" y="455"/>
                </a:lnTo>
                <a:lnTo>
                  <a:pt x="1150" y="454"/>
                </a:lnTo>
                <a:lnTo>
                  <a:pt x="1150" y="452"/>
                </a:lnTo>
                <a:lnTo>
                  <a:pt x="1149" y="450"/>
                </a:lnTo>
                <a:lnTo>
                  <a:pt x="1147" y="449"/>
                </a:lnTo>
                <a:lnTo>
                  <a:pt x="1146" y="447"/>
                </a:lnTo>
                <a:lnTo>
                  <a:pt x="1147" y="443"/>
                </a:lnTo>
                <a:lnTo>
                  <a:pt x="1143" y="441"/>
                </a:lnTo>
                <a:lnTo>
                  <a:pt x="1141" y="441"/>
                </a:lnTo>
                <a:lnTo>
                  <a:pt x="1145" y="438"/>
                </a:lnTo>
                <a:lnTo>
                  <a:pt x="1147" y="433"/>
                </a:lnTo>
                <a:lnTo>
                  <a:pt x="1149" y="430"/>
                </a:lnTo>
                <a:lnTo>
                  <a:pt x="1146" y="428"/>
                </a:lnTo>
                <a:lnTo>
                  <a:pt x="1145" y="428"/>
                </a:lnTo>
                <a:lnTo>
                  <a:pt x="1143" y="427"/>
                </a:lnTo>
                <a:lnTo>
                  <a:pt x="1135" y="432"/>
                </a:lnTo>
                <a:lnTo>
                  <a:pt x="1134" y="430"/>
                </a:lnTo>
                <a:lnTo>
                  <a:pt x="1133" y="427"/>
                </a:lnTo>
                <a:lnTo>
                  <a:pt x="1125" y="425"/>
                </a:lnTo>
                <a:lnTo>
                  <a:pt x="1121" y="425"/>
                </a:lnTo>
                <a:lnTo>
                  <a:pt x="1122" y="424"/>
                </a:lnTo>
                <a:lnTo>
                  <a:pt x="1126" y="424"/>
                </a:lnTo>
                <a:lnTo>
                  <a:pt x="1133" y="422"/>
                </a:lnTo>
                <a:lnTo>
                  <a:pt x="1137" y="424"/>
                </a:lnTo>
                <a:lnTo>
                  <a:pt x="1142" y="424"/>
                </a:lnTo>
                <a:lnTo>
                  <a:pt x="1146" y="422"/>
                </a:lnTo>
                <a:lnTo>
                  <a:pt x="1153" y="417"/>
                </a:lnTo>
                <a:lnTo>
                  <a:pt x="1155" y="416"/>
                </a:lnTo>
                <a:lnTo>
                  <a:pt x="1155" y="413"/>
                </a:lnTo>
                <a:lnTo>
                  <a:pt x="1154" y="411"/>
                </a:lnTo>
                <a:lnTo>
                  <a:pt x="1157" y="411"/>
                </a:lnTo>
                <a:lnTo>
                  <a:pt x="1154" y="408"/>
                </a:lnTo>
                <a:lnTo>
                  <a:pt x="1151" y="406"/>
                </a:lnTo>
                <a:lnTo>
                  <a:pt x="1143" y="403"/>
                </a:lnTo>
                <a:lnTo>
                  <a:pt x="1135" y="403"/>
                </a:lnTo>
                <a:lnTo>
                  <a:pt x="1133" y="403"/>
                </a:lnTo>
                <a:lnTo>
                  <a:pt x="1129" y="403"/>
                </a:lnTo>
                <a:lnTo>
                  <a:pt x="1121" y="405"/>
                </a:lnTo>
                <a:lnTo>
                  <a:pt x="1106" y="410"/>
                </a:lnTo>
                <a:lnTo>
                  <a:pt x="1097" y="414"/>
                </a:lnTo>
                <a:lnTo>
                  <a:pt x="1094" y="414"/>
                </a:lnTo>
                <a:lnTo>
                  <a:pt x="1091" y="416"/>
                </a:lnTo>
                <a:lnTo>
                  <a:pt x="1089" y="417"/>
                </a:lnTo>
                <a:lnTo>
                  <a:pt x="1086" y="419"/>
                </a:lnTo>
                <a:lnTo>
                  <a:pt x="1085" y="419"/>
                </a:lnTo>
                <a:lnTo>
                  <a:pt x="1078" y="424"/>
                </a:lnTo>
                <a:lnTo>
                  <a:pt x="1075" y="425"/>
                </a:lnTo>
                <a:lnTo>
                  <a:pt x="1073" y="432"/>
                </a:lnTo>
                <a:lnTo>
                  <a:pt x="1070" y="433"/>
                </a:lnTo>
                <a:lnTo>
                  <a:pt x="1067" y="436"/>
                </a:lnTo>
                <a:lnTo>
                  <a:pt x="1065" y="439"/>
                </a:lnTo>
                <a:lnTo>
                  <a:pt x="1061" y="443"/>
                </a:lnTo>
                <a:lnTo>
                  <a:pt x="1059" y="443"/>
                </a:lnTo>
                <a:lnTo>
                  <a:pt x="1058" y="444"/>
                </a:lnTo>
                <a:lnTo>
                  <a:pt x="1055" y="446"/>
                </a:lnTo>
                <a:lnTo>
                  <a:pt x="1051" y="446"/>
                </a:lnTo>
                <a:lnTo>
                  <a:pt x="1053" y="446"/>
                </a:lnTo>
                <a:lnTo>
                  <a:pt x="1059" y="439"/>
                </a:lnTo>
                <a:lnTo>
                  <a:pt x="1065" y="435"/>
                </a:lnTo>
                <a:lnTo>
                  <a:pt x="1066" y="435"/>
                </a:lnTo>
                <a:lnTo>
                  <a:pt x="1073" y="425"/>
                </a:lnTo>
                <a:lnTo>
                  <a:pt x="1073" y="422"/>
                </a:lnTo>
                <a:lnTo>
                  <a:pt x="1075" y="422"/>
                </a:lnTo>
                <a:lnTo>
                  <a:pt x="1078" y="421"/>
                </a:lnTo>
                <a:lnTo>
                  <a:pt x="1086" y="411"/>
                </a:lnTo>
                <a:lnTo>
                  <a:pt x="1089" y="410"/>
                </a:lnTo>
                <a:lnTo>
                  <a:pt x="1094" y="406"/>
                </a:lnTo>
                <a:lnTo>
                  <a:pt x="1094" y="405"/>
                </a:lnTo>
                <a:lnTo>
                  <a:pt x="1095" y="405"/>
                </a:lnTo>
                <a:lnTo>
                  <a:pt x="1099" y="402"/>
                </a:lnTo>
                <a:lnTo>
                  <a:pt x="1109" y="402"/>
                </a:lnTo>
                <a:lnTo>
                  <a:pt x="1110" y="402"/>
                </a:lnTo>
                <a:lnTo>
                  <a:pt x="1113" y="397"/>
                </a:lnTo>
                <a:lnTo>
                  <a:pt x="1114" y="394"/>
                </a:lnTo>
                <a:lnTo>
                  <a:pt x="1117" y="391"/>
                </a:lnTo>
                <a:lnTo>
                  <a:pt x="1118" y="389"/>
                </a:lnTo>
                <a:lnTo>
                  <a:pt x="1119" y="388"/>
                </a:lnTo>
                <a:lnTo>
                  <a:pt x="1121" y="388"/>
                </a:lnTo>
                <a:lnTo>
                  <a:pt x="1123" y="388"/>
                </a:lnTo>
                <a:lnTo>
                  <a:pt x="1123" y="386"/>
                </a:lnTo>
                <a:lnTo>
                  <a:pt x="1125" y="386"/>
                </a:lnTo>
                <a:lnTo>
                  <a:pt x="1129" y="386"/>
                </a:lnTo>
                <a:lnTo>
                  <a:pt x="1131" y="384"/>
                </a:lnTo>
                <a:lnTo>
                  <a:pt x="1134" y="386"/>
                </a:lnTo>
                <a:lnTo>
                  <a:pt x="1139" y="384"/>
                </a:lnTo>
                <a:lnTo>
                  <a:pt x="1143" y="384"/>
                </a:lnTo>
                <a:lnTo>
                  <a:pt x="1145" y="386"/>
                </a:lnTo>
                <a:lnTo>
                  <a:pt x="1153" y="384"/>
                </a:lnTo>
                <a:lnTo>
                  <a:pt x="1159" y="384"/>
                </a:lnTo>
                <a:lnTo>
                  <a:pt x="1162" y="384"/>
                </a:lnTo>
                <a:lnTo>
                  <a:pt x="1170" y="386"/>
                </a:lnTo>
                <a:lnTo>
                  <a:pt x="1175" y="384"/>
                </a:lnTo>
                <a:lnTo>
                  <a:pt x="1187" y="384"/>
                </a:lnTo>
                <a:lnTo>
                  <a:pt x="1191" y="386"/>
                </a:lnTo>
                <a:lnTo>
                  <a:pt x="1194" y="386"/>
                </a:lnTo>
                <a:lnTo>
                  <a:pt x="1194" y="388"/>
                </a:lnTo>
                <a:lnTo>
                  <a:pt x="1196" y="388"/>
                </a:lnTo>
                <a:lnTo>
                  <a:pt x="1203" y="386"/>
                </a:lnTo>
                <a:lnTo>
                  <a:pt x="1215" y="384"/>
                </a:lnTo>
                <a:lnTo>
                  <a:pt x="1216" y="383"/>
                </a:lnTo>
                <a:lnTo>
                  <a:pt x="1218" y="383"/>
                </a:lnTo>
                <a:lnTo>
                  <a:pt x="1216" y="384"/>
                </a:lnTo>
                <a:lnTo>
                  <a:pt x="1218" y="386"/>
                </a:lnTo>
                <a:lnTo>
                  <a:pt x="1219" y="386"/>
                </a:lnTo>
                <a:lnTo>
                  <a:pt x="1222" y="384"/>
                </a:lnTo>
                <a:lnTo>
                  <a:pt x="1226" y="381"/>
                </a:lnTo>
                <a:lnTo>
                  <a:pt x="1228" y="380"/>
                </a:lnTo>
                <a:lnTo>
                  <a:pt x="1234" y="375"/>
                </a:lnTo>
                <a:lnTo>
                  <a:pt x="1236" y="372"/>
                </a:lnTo>
                <a:lnTo>
                  <a:pt x="1238" y="372"/>
                </a:lnTo>
                <a:lnTo>
                  <a:pt x="1240" y="369"/>
                </a:lnTo>
                <a:lnTo>
                  <a:pt x="1244" y="367"/>
                </a:lnTo>
                <a:lnTo>
                  <a:pt x="1252" y="366"/>
                </a:lnTo>
                <a:lnTo>
                  <a:pt x="1256" y="364"/>
                </a:lnTo>
                <a:lnTo>
                  <a:pt x="1263" y="364"/>
                </a:lnTo>
                <a:lnTo>
                  <a:pt x="1267" y="364"/>
                </a:lnTo>
                <a:lnTo>
                  <a:pt x="1268" y="364"/>
                </a:lnTo>
                <a:lnTo>
                  <a:pt x="1271" y="363"/>
                </a:lnTo>
                <a:lnTo>
                  <a:pt x="1275" y="359"/>
                </a:lnTo>
                <a:lnTo>
                  <a:pt x="1280" y="356"/>
                </a:lnTo>
                <a:lnTo>
                  <a:pt x="1283" y="353"/>
                </a:lnTo>
                <a:lnTo>
                  <a:pt x="1285" y="352"/>
                </a:lnTo>
                <a:lnTo>
                  <a:pt x="1284" y="350"/>
                </a:lnTo>
                <a:lnTo>
                  <a:pt x="1281" y="348"/>
                </a:lnTo>
                <a:lnTo>
                  <a:pt x="1280" y="347"/>
                </a:lnTo>
                <a:lnTo>
                  <a:pt x="1281" y="348"/>
                </a:lnTo>
                <a:lnTo>
                  <a:pt x="1285" y="348"/>
                </a:lnTo>
                <a:lnTo>
                  <a:pt x="1284" y="345"/>
                </a:lnTo>
                <a:lnTo>
                  <a:pt x="1280" y="345"/>
                </a:lnTo>
                <a:lnTo>
                  <a:pt x="1281" y="344"/>
                </a:lnTo>
                <a:lnTo>
                  <a:pt x="1284" y="344"/>
                </a:lnTo>
                <a:lnTo>
                  <a:pt x="1283" y="344"/>
                </a:lnTo>
                <a:lnTo>
                  <a:pt x="1281" y="341"/>
                </a:lnTo>
                <a:lnTo>
                  <a:pt x="1283" y="339"/>
                </a:lnTo>
                <a:lnTo>
                  <a:pt x="1281" y="336"/>
                </a:lnTo>
                <a:lnTo>
                  <a:pt x="1279" y="336"/>
                </a:lnTo>
                <a:lnTo>
                  <a:pt x="1277" y="336"/>
                </a:lnTo>
                <a:lnTo>
                  <a:pt x="1275" y="334"/>
                </a:lnTo>
                <a:lnTo>
                  <a:pt x="1281" y="336"/>
                </a:lnTo>
                <a:lnTo>
                  <a:pt x="1283" y="334"/>
                </a:lnTo>
                <a:lnTo>
                  <a:pt x="1284" y="334"/>
                </a:lnTo>
                <a:lnTo>
                  <a:pt x="1284" y="333"/>
                </a:lnTo>
                <a:lnTo>
                  <a:pt x="1283" y="333"/>
                </a:lnTo>
                <a:lnTo>
                  <a:pt x="1283" y="331"/>
                </a:lnTo>
                <a:lnTo>
                  <a:pt x="1281" y="330"/>
                </a:lnTo>
                <a:lnTo>
                  <a:pt x="1279" y="328"/>
                </a:lnTo>
                <a:lnTo>
                  <a:pt x="1281" y="328"/>
                </a:lnTo>
                <a:lnTo>
                  <a:pt x="1281" y="326"/>
                </a:lnTo>
                <a:lnTo>
                  <a:pt x="1271" y="325"/>
                </a:lnTo>
                <a:lnTo>
                  <a:pt x="1272" y="323"/>
                </a:lnTo>
                <a:lnTo>
                  <a:pt x="1271" y="323"/>
                </a:lnTo>
                <a:lnTo>
                  <a:pt x="1267" y="323"/>
                </a:lnTo>
                <a:lnTo>
                  <a:pt x="1264" y="325"/>
                </a:lnTo>
                <a:lnTo>
                  <a:pt x="1260" y="330"/>
                </a:lnTo>
                <a:lnTo>
                  <a:pt x="1260" y="326"/>
                </a:lnTo>
                <a:lnTo>
                  <a:pt x="1260" y="325"/>
                </a:lnTo>
                <a:lnTo>
                  <a:pt x="1262" y="323"/>
                </a:lnTo>
                <a:lnTo>
                  <a:pt x="1262" y="320"/>
                </a:lnTo>
                <a:lnTo>
                  <a:pt x="1260" y="319"/>
                </a:lnTo>
                <a:lnTo>
                  <a:pt x="1262" y="317"/>
                </a:lnTo>
                <a:lnTo>
                  <a:pt x="1260" y="315"/>
                </a:lnTo>
                <a:lnTo>
                  <a:pt x="1258" y="315"/>
                </a:lnTo>
                <a:lnTo>
                  <a:pt x="1251" y="315"/>
                </a:lnTo>
                <a:lnTo>
                  <a:pt x="1246" y="315"/>
                </a:lnTo>
                <a:lnTo>
                  <a:pt x="1243" y="317"/>
                </a:lnTo>
                <a:lnTo>
                  <a:pt x="1247" y="317"/>
                </a:lnTo>
                <a:lnTo>
                  <a:pt x="1251" y="317"/>
                </a:lnTo>
                <a:lnTo>
                  <a:pt x="1254" y="317"/>
                </a:lnTo>
                <a:lnTo>
                  <a:pt x="1252" y="319"/>
                </a:lnTo>
                <a:lnTo>
                  <a:pt x="1248" y="317"/>
                </a:lnTo>
                <a:lnTo>
                  <a:pt x="1240" y="319"/>
                </a:lnTo>
                <a:lnTo>
                  <a:pt x="1236" y="320"/>
                </a:lnTo>
                <a:lnTo>
                  <a:pt x="1234" y="323"/>
                </a:lnTo>
                <a:lnTo>
                  <a:pt x="1230" y="325"/>
                </a:lnTo>
                <a:lnTo>
                  <a:pt x="1226" y="326"/>
                </a:lnTo>
                <a:lnTo>
                  <a:pt x="1223" y="328"/>
                </a:lnTo>
                <a:lnTo>
                  <a:pt x="1222" y="330"/>
                </a:lnTo>
                <a:lnTo>
                  <a:pt x="1218" y="331"/>
                </a:lnTo>
                <a:lnTo>
                  <a:pt x="1215" y="333"/>
                </a:lnTo>
                <a:lnTo>
                  <a:pt x="1215" y="328"/>
                </a:lnTo>
                <a:lnTo>
                  <a:pt x="1212" y="326"/>
                </a:lnTo>
                <a:lnTo>
                  <a:pt x="1208" y="325"/>
                </a:lnTo>
                <a:lnTo>
                  <a:pt x="1204" y="325"/>
                </a:lnTo>
                <a:lnTo>
                  <a:pt x="1203" y="323"/>
                </a:lnTo>
                <a:lnTo>
                  <a:pt x="1207" y="323"/>
                </a:lnTo>
                <a:lnTo>
                  <a:pt x="1211" y="323"/>
                </a:lnTo>
                <a:lnTo>
                  <a:pt x="1214" y="325"/>
                </a:lnTo>
                <a:lnTo>
                  <a:pt x="1218" y="326"/>
                </a:lnTo>
                <a:lnTo>
                  <a:pt x="1222" y="322"/>
                </a:lnTo>
                <a:lnTo>
                  <a:pt x="1226" y="322"/>
                </a:lnTo>
                <a:lnTo>
                  <a:pt x="1230" y="320"/>
                </a:lnTo>
                <a:lnTo>
                  <a:pt x="1239" y="317"/>
                </a:lnTo>
                <a:lnTo>
                  <a:pt x="1238" y="317"/>
                </a:lnTo>
                <a:lnTo>
                  <a:pt x="1234" y="319"/>
                </a:lnTo>
                <a:lnTo>
                  <a:pt x="1230" y="319"/>
                </a:lnTo>
                <a:lnTo>
                  <a:pt x="1227" y="319"/>
                </a:lnTo>
                <a:lnTo>
                  <a:pt x="1228" y="317"/>
                </a:lnTo>
                <a:lnTo>
                  <a:pt x="1234" y="317"/>
                </a:lnTo>
                <a:lnTo>
                  <a:pt x="1242" y="315"/>
                </a:lnTo>
                <a:lnTo>
                  <a:pt x="1246" y="314"/>
                </a:lnTo>
                <a:lnTo>
                  <a:pt x="1247" y="312"/>
                </a:lnTo>
                <a:lnTo>
                  <a:pt x="1251" y="312"/>
                </a:lnTo>
                <a:lnTo>
                  <a:pt x="1252" y="312"/>
                </a:lnTo>
                <a:lnTo>
                  <a:pt x="1255" y="312"/>
                </a:lnTo>
                <a:lnTo>
                  <a:pt x="1258" y="312"/>
                </a:lnTo>
                <a:lnTo>
                  <a:pt x="1258" y="311"/>
                </a:lnTo>
                <a:lnTo>
                  <a:pt x="1259" y="309"/>
                </a:lnTo>
                <a:lnTo>
                  <a:pt x="1258" y="308"/>
                </a:lnTo>
                <a:lnTo>
                  <a:pt x="1255" y="308"/>
                </a:lnTo>
                <a:lnTo>
                  <a:pt x="1254" y="306"/>
                </a:lnTo>
                <a:lnTo>
                  <a:pt x="1251" y="306"/>
                </a:lnTo>
                <a:lnTo>
                  <a:pt x="1251" y="304"/>
                </a:lnTo>
                <a:lnTo>
                  <a:pt x="1250" y="303"/>
                </a:lnTo>
                <a:lnTo>
                  <a:pt x="1247" y="303"/>
                </a:lnTo>
                <a:lnTo>
                  <a:pt x="1247" y="304"/>
                </a:lnTo>
                <a:lnTo>
                  <a:pt x="1244" y="306"/>
                </a:lnTo>
                <a:lnTo>
                  <a:pt x="1242" y="304"/>
                </a:lnTo>
                <a:lnTo>
                  <a:pt x="1238" y="304"/>
                </a:lnTo>
                <a:lnTo>
                  <a:pt x="1236" y="303"/>
                </a:lnTo>
                <a:lnTo>
                  <a:pt x="1235" y="301"/>
                </a:lnTo>
                <a:lnTo>
                  <a:pt x="1235" y="298"/>
                </a:lnTo>
                <a:lnTo>
                  <a:pt x="1232" y="300"/>
                </a:lnTo>
                <a:lnTo>
                  <a:pt x="1232" y="298"/>
                </a:lnTo>
                <a:lnTo>
                  <a:pt x="1230" y="298"/>
                </a:lnTo>
                <a:lnTo>
                  <a:pt x="1227" y="301"/>
                </a:lnTo>
                <a:lnTo>
                  <a:pt x="1224" y="303"/>
                </a:lnTo>
                <a:lnTo>
                  <a:pt x="1227" y="298"/>
                </a:lnTo>
                <a:lnTo>
                  <a:pt x="1224" y="297"/>
                </a:lnTo>
                <a:lnTo>
                  <a:pt x="1224" y="295"/>
                </a:lnTo>
                <a:lnTo>
                  <a:pt x="1222" y="297"/>
                </a:lnTo>
                <a:lnTo>
                  <a:pt x="1220" y="297"/>
                </a:lnTo>
                <a:lnTo>
                  <a:pt x="1216" y="295"/>
                </a:lnTo>
                <a:lnTo>
                  <a:pt x="1214" y="297"/>
                </a:lnTo>
                <a:lnTo>
                  <a:pt x="1212" y="297"/>
                </a:lnTo>
                <a:lnTo>
                  <a:pt x="1216" y="293"/>
                </a:lnTo>
                <a:lnTo>
                  <a:pt x="1215" y="292"/>
                </a:lnTo>
                <a:lnTo>
                  <a:pt x="1214" y="292"/>
                </a:lnTo>
                <a:lnTo>
                  <a:pt x="1215" y="290"/>
                </a:lnTo>
                <a:lnTo>
                  <a:pt x="1215" y="289"/>
                </a:lnTo>
                <a:lnTo>
                  <a:pt x="1212" y="289"/>
                </a:lnTo>
                <a:lnTo>
                  <a:pt x="1211" y="289"/>
                </a:lnTo>
                <a:lnTo>
                  <a:pt x="1210" y="287"/>
                </a:lnTo>
                <a:lnTo>
                  <a:pt x="1208" y="286"/>
                </a:lnTo>
                <a:lnTo>
                  <a:pt x="1200" y="286"/>
                </a:lnTo>
                <a:lnTo>
                  <a:pt x="1202" y="284"/>
                </a:lnTo>
                <a:lnTo>
                  <a:pt x="1200" y="284"/>
                </a:lnTo>
                <a:lnTo>
                  <a:pt x="1199" y="279"/>
                </a:lnTo>
                <a:lnTo>
                  <a:pt x="1191" y="281"/>
                </a:lnTo>
                <a:lnTo>
                  <a:pt x="1191" y="278"/>
                </a:lnTo>
                <a:lnTo>
                  <a:pt x="1194" y="279"/>
                </a:lnTo>
                <a:lnTo>
                  <a:pt x="1194" y="278"/>
                </a:lnTo>
                <a:lnTo>
                  <a:pt x="1190" y="276"/>
                </a:lnTo>
                <a:lnTo>
                  <a:pt x="1190" y="275"/>
                </a:lnTo>
                <a:lnTo>
                  <a:pt x="1191" y="275"/>
                </a:lnTo>
                <a:lnTo>
                  <a:pt x="1194" y="275"/>
                </a:lnTo>
                <a:lnTo>
                  <a:pt x="1192" y="273"/>
                </a:lnTo>
                <a:lnTo>
                  <a:pt x="1190" y="273"/>
                </a:lnTo>
                <a:lnTo>
                  <a:pt x="1180" y="273"/>
                </a:lnTo>
                <a:lnTo>
                  <a:pt x="1176" y="273"/>
                </a:lnTo>
                <a:lnTo>
                  <a:pt x="1179" y="271"/>
                </a:lnTo>
                <a:lnTo>
                  <a:pt x="1187" y="271"/>
                </a:lnTo>
                <a:lnTo>
                  <a:pt x="1183" y="270"/>
                </a:lnTo>
                <a:lnTo>
                  <a:pt x="1184" y="268"/>
                </a:lnTo>
                <a:lnTo>
                  <a:pt x="1192" y="271"/>
                </a:lnTo>
                <a:lnTo>
                  <a:pt x="1194" y="271"/>
                </a:lnTo>
                <a:lnTo>
                  <a:pt x="1192" y="268"/>
                </a:lnTo>
                <a:lnTo>
                  <a:pt x="1195" y="267"/>
                </a:lnTo>
                <a:lnTo>
                  <a:pt x="1199" y="265"/>
                </a:lnTo>
                <a:lnTo>
                  <a:pt x="1198" y="264"/>
                </a:lnTo>
                <a:lnTo>
                  <a:pt x="1191" y="262"/>
                </a:lnTo>
                <a:lnTo>
                  <a:pt x="1192" y="260"/>
                </a:lnTo>
                <a:lnTo>
                  <a:pt x="1191" y="259"/>
                </a:lnTo>
                <a:lnTo>
                  <a:pt x="1183" y="259"/>
                </a:lnTo>
                <a:lnTo>
                  <a:pt x="1183" y="257"/>
                </a:lnTo>
                <a:lnTo>
                  <a:pt x="1187" y="257"/>
                </a:lnTo>
                <a:lnTo>
                  <a:pt x="1191" y="254"/>
                </a:lnTo>
                <a:lnTo>
                  <a:pt x="1191" y="253"/>
                </a:lnTo>
                <a:lnTo>
                  <a:pt x="1188" y="253"/>
                </a:lnTo>
                <a:lnTo>
                  <a:pt x="1186" y="251"/>
                </a:lnTo>
                <a:lnTo>
                  <a:pt x="1186" y="249"/>
                </a:lnTo>
                <a:lnTo>
                  <a:pt x="1184" y="249"/>
                </a:lnTo>
                <a:lnTo>
                  <a:pt x="1180" y="249"/>
                </a:lnTo>
                <a:lnTo>
                  <a:pt x="1183" y="248"/>
                </a:lnTo>
                <a:lnTo>
                  <a:pt x="1184" y="248"/>
                </a:lnTo>
                <a:lnTo>
                  <a:pt x="1182" y="245"/>
                </a:lnTo>
                <a:lnTo>
                  <a:pt x="1179" y="246"/>
                </a:lnTo>
                <a:lnTo>
                  <a:pt x="1176" y="246"/>
                </a:lnTo>
                <a:lnTo>
                  <a:pt x="1174" y="248"/>
                </a:lnTo>
                <a:lnTo>
                  <a:pt x="1171" y="248"/>
                </a:lnTo>
                <a:lnTo>
                  <a:pt x="1174" y="245"/>
                </a:lnTo>
                <a:lnTo>
                  <a:pt x="1178" y="245"/>
                </a:lnTo>
                <a:lnTo>
                  <a:pt x="1179" y="243"/>
                </a:lnTo>
                <a:lnTo>
                  <a:pt x="1178" y="243"/>
                </a:lnTo>
                <a:lnTo>
                  <a:pt x="1179" y="242"/>
                </a:lnTo>
                <a:lnTo>
                  <a:pt x="1180" y="242"/>
                </a:lnTo>
                <a:lnTo>
                  <a:pt x="1180" y="240"/>
                </a:lnTo>
                <a:lnTo>
                  <a:pt x="1175" y="240"/>
                </a:lnTo>
                <a:lnTo>
                  <a:pt x="1171" y="240"/>
                </a:lnTo>
                <a:lnTo>
                  <a:pt x="1167" y="240"/>
                </a:lnTo>
                <a:lnTo>
                  <a:pt x="1166" y="238"/>
                </a:lnTo>
                <a:lnTo>
                  <a:pt x="1167" y="238"/>
                </a:lnTo>
                <a:lnTo>
                  <a:pt x="1168" y="238"/>
                </a:lnTo>
                <a:lnTo>
                  <a:pt x="1170" y="238"/>
                </a:lnTo>
                <a:lnTo>
                  <a:pt x="1174" y="238"/>
                </a:lnTo>
                <a:lnTo>
                  <a:pt x="1176" y="237"/>
                </a:lnTo>
                <a:lnTo>
                  <a:pt x="1175" y="237"/>
                </a:lnTo>
                <a:lnTo>
                  <a:pt x="1174" y="235"/>
                </a:lnTo>
                <a:lnTo>
                  <a:pt x="1175" y="234"/>
                </a:lnTo>
                <a:lnTo>
                  <a:pt x="1172" y="234"/>
                </a:lnTo>
                <a:lnTo>
                  <a:pt x="1171" y="234"/>
                </a:lnTo>
                <a:lnTo>
                  <a:pt x="1171" y="232"/>
                </a:lnTo>
                <a:lnTo>
                  <a:pt x="1171" y="231"/>
                </a:lnTo>
                <a:lnTo>
                  <a:pt x="1170" y="231"/>
                </a:lnTo>
                <a:lnTo>
                  <a:pt x="1171" y="229"/>
                </a:lnTo>
                <a:lnTo>
                  <a:pt x="1170" y="229"/>
                </a:lnTo>
                <a:lnTo>
                  <a:pt x="1166" y="229"/>
                </a:lnTo>
                <a:lnTo>
                  <a:pt x="1162" y="229"/>
                </a:lnTo>
                <a:lnTo>
                  <a:pt x="1159" y="231"/>
                </a:lnTo>
                <a:lnTo>
                  <a:pt x="1158" y="229"/>
                </a:lnTo>
                <a:lnTo>
                  <a:pt x="1155" y="231"/>
                </a:lnTo>
                <a:lnTo>
                  <a:pt x="1157" y="231"/>
                </a:lnTo>
                <a:lnTo>
                  <a:pt x="1159" y="229"/>
                </a:lnTo>
                <a:lnTo>
                  <a:pt x="1166" y="229"/>
                </a:lnTo>
                <a:lnTo>
                  <a:pt x="1168" y="227"/>
                </a:lnTo>
                <a:lnTo>
                  <a:pt x="1168" y="226"/>
                </a:lnTo>
                <a:lnTo>
                  <a:pt x="1167" y="226"/>
                </a:lnTo>
                <a:lnTo>
                  <a:pt x="1166" y="226"/>
                </a:lnTo>
                <a:lnTo>
                  <a:pt x="1166" y="224"/>
                </a:lnTo>
                <a:lnTo>
                  <a:pt x="1164" y="224"/>
                </a:lnTo>
                <a:lnTo>
                  <a:pt x="1163" y="226"/>
                </a:lnTo>
                <a:lnTo>
                  <a:pt x="1163" y="224"/>
                </a:lnTo>
                <a:lnTo>
                  <a:pt x="1159" y="223"/>
                </a:lnTo>
                <a:lnTo>
                  <a:pt x="1162" y="223"/>
                </a:lnTo>
                <a:lnTo>
                  <a:pt x="1163" y="221"/>
                </a:lnTo>
                <a:lnTo>
                  <a:pt x="1160" y="220"/>
                </a:lnTo>
                <a:lnTo>
                  <a:pt x="1158" y="221"/>
                </a:lnTo>
                <a:lnTo>
                  <a:pt x="1158" y="220"/>
                </a:lnTo>
                <a:lnTo>
                  <a:pt x="1159" y="218"/>
                </a:lnTo>
                <a:lnTo>
                  <a:pt x="1155" y="218"/>
                </a:lnTo>
                <a:lnTo>
                  <a:pt x="1157" y="215"/>
                </a:lnTo>
                <a:lnTo>
                  <a:pt x="1154" y="213"/>
                </a:lnTo>
                <a:lnTo>
                  <a:pt x="1153" y="215"/>
                </a:lnTo>
                <a:lnTo>
                  <a:pt x="1154" y="213"/>
                </a:lnTo>
                <a:lnTo>
                  <a:pt x="1154" y="212"/>
                </a:lnTo>
                <a:lnTo>
                  <a:pt x="1153" y="210"/>
                </a:lnTo>
                <a:lnTo>
                  <a:pt x="1151" y="209"/>
                </a:lnTo>
                <a:lnTo>
                  <a:pt x="1153" y="209"/>
                </a:lnTo>
                <a:lnTo>
                  <a:pt x="1151" y="207"/>
                </a:lnTo>
                <a:lnTo>
                  <a:pt x="1149" y="207"/>
                </a:lnTo>
                <a:lnTo>
                  <a:pt x="1146" y="207"/>
                </a:lnTo>
                <a:lnTo>
                  <a:pt x="1145" y="209"/>
                </a:lnTo>
                <a:lnTo>
                  <a:pt x="1143" y="210"/>
                </a:lnTo>
                <a:lnTo>
                  <a:pt x="1141" y="212"/>
                </a:lnTo>
                <a:lnTo>
                  <a:pt x="1137" y="215"/>
                </a:lnTo>
                <a:lnTo>
                  <a:pt x="1135" y="216"/>
                </a:lnTo>
                <a:lnTo>
                  <a:pt x="1137" y="218"/>
                </a:lnTo>
                <a:lnTo>
                  <a:pt x="1139" y="220"/>
                </a:lnTo>
                <a:lnTo>
                  <a:pt x="1141" y="221"/>
                </a:lnTo>
                <a:lnTo>
                  <a:pt x="1138" y="223"/>
                </a:lnTo>
                <a:lnTo>
                  <a:pt x="1138" y="224"/>
                </a:lnTo>
                <a:lnTo>
                  <a:pt x="1137" y="224"/>
                </a:lnTo>
                <a:lnTo>
                  <a:pt x="1135" y="226"/>
                </a:lnTo>
                <a:lnTo>
                  <a:pt x="1134" y="226"/>
                </a:lnTo>
                <a:lnTo>
                  <a:pt x="1135" y="227"/>
                </a:lnTo>
                <a:lnTo>
                  <a:pt x="1134" y="229"/>
                </a:lnTo>
                <a:lnTo>
                  <a:pt x="1131" y="229"/>
                </a:lnTo>
                <a:lnTo>
                  <a:pt x="1131" y="231"/>
                </a:lnTo>
                <a:lnTo>
                  <a:pt x="1133" y="232"/>
                </a:lnTo>
                <a:lnTo>
                  <a:pt x="1131" y="232"/>
                </a:lnTo>
                <a:lnTo>
                  <a:pt x="1130" y="234"/>
                </a:lnTo>
                <a:lnTo>
                  <a:pt x="1127" y="232"/>
                </a:lnTo>
                <a:lnTo>
                  <a:pt x="1127" y="234"/>
                </a:lnTo>
                <a:lnTo>
                  <a:pt x="1130" y="234"/>
                </a:lnTo>
                <a:lnTo>
                  <a:pt x="1131" y="235"/>
                </a:lnTo>
                <a:lnTo>
                  <a:pt x="1129" y="240"/>
                </a:lnTo>
                <a:lnTo>
                  <a:pt x="1130" y="237"/>
                </a:lnTo>
                <a:lnTo>
                  <a:pt x="1129" y="235"/>
                </a:lnTo>
                <a:lnTo>
                  <a:pt x="1125" y="235"/>
                </a:lnTo>
                <a:lnTo>
                  <a:pt x="1123" y="234"/>
                </a:lnTo>
                <a:lnTo>
                  <a:pt x="1121" y="235"/>
                </a:lnTo>
                <a:lnTo>
                  <a:pt x="1119" y="237"/>
                </a:lnTo>
                <a:lnTo>
                  <a:pt x="1119" y="238"/>
                </a:lnTo>
                <a:lnTo>
                  <a:pt x="1113" y="240"/>
                </a:lnTo>
                <a:lnTo>
                  <a:pt x="1105" y="243"/>
                </a:lnTo>
                <a:lnTo>
                  <a:pt x="1103" y="246"/>
                </a:lnTo>
                <a:lnTo>
                  <a:pt x="1102" y="246"/>
                </a:lnTo>
                <a:lnTo>
                  <a:pt x="1102" y="243"/>
                </a:lnTo>
                <a:lnTo>
                  <a:pt x="1102" y="242"/>
                </a:lnTo>
                <a:lnTo>
                  <a:pt x="1102" y="240"/>
                </a:lnTo>
                <a:lnTo>
                  <a:pt x="1099" y="242"/>
                </a:lnTo>
                <a:lnTo>
                  <a:pt x="1099" y="240"/>
                </a:lnTo>
                <a:lnTo>
                  <a:pt x="1099" y="237"/>
                </a:lnTo>
                <a:lnTo>
                  <a:pt x="1098" y="238"/>
                </a:lnTo>
                <a:lnTo>
                  <a:pt x="1095" y="243"/>
                </a:lnTo>
                <a:lnTo>
                  <a:pt x="1094" y="246"/>
                </a:lnTo>
                <a:lnTo>
                  <a:pt x="1089" y="249"/>
                </a:lnTo>
                <a:lnTo>
                  <a:pt x="1079" y="251"/>
                </a:lnTo>
                <a:lnTo>
                  <a:pt x="1090" y="248"/>
                </a:lnTo>
                <a:lnTo>
                  <a:pt x="1094" y="245"/>
                </a:lnTo>
                <a:lnTo>
                  <a:pt x="1095" y="240"/>
                </a:lnTo>
                <a:lnTo>
                  <a:pt x="1095" y="238"/>
                </a:lnTo>
                <a:lnTo>
                  <a:pt x="1094" y="237"/>
                </a:lnTo>
                <a:lnTo>
                  <a:pt x="1091" y="232"/>
                </a:lnTo>
                <a:lnTo>
                  <a:pt x="1090" y="232"/>
                </a:lnTo>
                <a:lnTo>
                  <a:pt x="1086" y="232"/>
                </a:lnTo>
                <a:lnTo>
                  <a:pt x="1082" y="232"/>
                </a:lnTo>
                <a:lnTo>
                  <a:pt x="1079" y="232"/>
                </a:lnTo>
                <a:lnTo>
                  <a:pt x="1077" y="234"/>
                </a:lnTo>
                <a:lnTo>
                  <a:pt x="1071" y="237"/>
                </a:lnTo>
                <a:lnTo>
                  <a:pt x="1070" y="235"/>
                </a:lnTo>
                <a:lnTo>
                  <a:pt x="1069" y="235"/>
                </a:lnTo>
                <a:lnTo>
                  <a:pt x="1066" y="235"/>
                </a:lnTo>
                <a:lnTo>
                  <a:pt x="1065" y="234"/>
                </a:lnTo>
                <a:lnTo>
                  <a:pt x="1070" y="234"/>
                </a:lnTo>
                <a:lnTo>
                  <a:pt x="1070" y="232"/>
                </a:lnTo>
                <a:lnTo>
                  <a:pt x="1069" y="231"/>
                </a:lnTo>
                <a:lnTo>
                  <a:pt x="1071" y="231"/>
                </a:lnTo>
                <a:lnTo>
                  <a:pt x="1073" y="231"/>
                </a:lnTo>
                <a:lnTo>
                  <a:pt x="1074" y="234"/>
                </a:lnTo>
                <a:lnTo>
                  <a:pt x="1077" y="231"/>
                </a:lnTo>
                <a:lnTo>
                  <a:pt x="1078" y="231"/>
                </a:lnTo>
                <a:lnTo>
                  <a:pt x="1079" y="231"/>
                </a:lnTo>
                <a:lnTo>
                  <a:pt x="1081" y="231"/>
                </a:lnTo>
                <a:lnTo>
                  <a:pt x="1081" y="229"/>
                </a:lnTo>
                <a:lnTo>
                  <a:pt x="1079" y="227"/>
                </a:lnTo>
                <a:lnTo>
                  <a:pt x="1077" y="227"/>
                </a:lnTo>
                <a:lnTo>
                  <a:pt x="1079" y="226"/>
                </a:lnTo>
                <a:lnTo>
                  <a:pt x="1081" y="224"/>
                </a:lnTo>
                <a:lnTo>
                  <a:pt x="1079" y="224"/>
                </a:lnTo>
                <a:lnTo>
                  <a:pt x="1074" y="224"/>
                </a:lnTo>
                <a:lnTo>
                  <a:pt x="1078" y="220"/>
                </a:lnTo>
                <a:lnTo>
                  <a:pt x="1077" y="218"/>
                </a:lnTo>
                <a:lnTo>
                  <a:pt x="1077" y="216"/>
                </a:lnTo>
                <a:lnTo>
                  <a:pt x="1074" y="215"/>
                </a:lnTo>
                <a:lnTo>
                  <a:pt x="1070" y="213"/>
                </a:lnTo>
                <a:lnTo>
                  <a:pt x="1059" y="213"/>
                </a:lnTo>
                <a:lnTo>
                  <a:pt x="1055" y="212"/>
                </a:lnTo>
                <a:lnTo>
                  <a:pt x="1050" y="212"/>
                </a:lnTo>
                <a:lnTo>
                  <a:pt x="1051" y="212"/>
                </a:lnTo>
                <a:lnTo>
                  <a:pt x="1054" y="210"/>
                </a:lnTo>
                <a:lnTo>
                  <a:pt x="1057" y="212"/>
                </a:lnTo>
                <a:lnTo>
                  <a:pt x="1062" y="212"/>
                </a:lnTo>
                <a:lnTo>
                  <a:pt x="1066" y="212"/>
                </a:lnTo>
                <a:lnTo>
                  <a:pt x="1069" y="213"/>
                </a:lnTo>
                <a:lnTo>
                  <a:pt x="1073" y="213"/>
                </a:lnTo>
                <a:lnTo>
                  <a:pt x="1073" y="212"/>
                </a:lnTo>
                <a:lnTo>
                  <a:pt x="1074" y="212"/>
                </a:lnTo>
                <a:lnTo>
                  <a:pt x="1078" y="212"/>
                </a:lnTo>
                <a:lnTo>
                  <a:pt x="1075" y="209"/>
                </a:lnTo>
                <a:lnTo>
                  <a:pt x="1074" y="205"/>
                </a:lnTo>
                <a:lnTo>
                  <a:pt x="1073" y="205"/>
                </a:lnTo>
                <a:lnTo>
                  <a:pt x="1073" y="204"/>
                </a:lnTo>
                <a:lnTo>
                  <a:pt x="1073" y="202"/>
                </a:lnTo>
                <a:lnTo>
                  <a:pt x="1073" y="201"/>
                </a:lnTo>
                <a:lnTo>
                  <a:pt x="1075" y="199"/>
                </a:lnTo>
                <a:lnTo>
                  <a:pt x="1077" y="198"/>
                </a:lnTo>
                <a:lnTo>
                  <a:pt x="1077" y="196"/>
                </a:lnTo>
                <a:lnTo>
                  <a:pt x="1074" y="194"/>
                </a:lnTo>
                <a:lnTo>
                  <a:pt x="1073" y="194"/>
                </a:lnTo>
                <a:lnTo>
                  <a:pt x="1073" y="196"/>
                </a:lnTo>
                <a:lnTo>
                  <a:pt x="1067" y="198"/>
                </a:lnTo>
                <a:lnTo>
                  <a:pt x="1066" y="198"/>
                </a:lnTo>
                <a:lnTo>
                  <a:pt x="1066" y="196"/>
                </a:lnTo>
                <a:lnTo>
                  <a:pt x="1065" y="194"/>
                </a:lnTo>
                <a:lnTo>
                  <a:pt x="1063" y="193"/>
                </a:lnTo>
                <a:lnTo>
                  <a:pt x="1061" y="194"/>
                </a:lnTo>
                <a:lnTo>
                  <a:pt x="1055" y="194"/>
                </a:lnTo>
                <a:lnTo>
                  <a:pt x="1054" y="194"/>
                </a:lnTo>
                <a:lnTo>
                  <a:pt x="1053" y="193"/>
                </a:lnTo>
                <a:lnTo>
                  <a:pt x="1051" y="191"/>
                </a:lnTo>
                <a:lnTo>
                  <a:pt x="1049" y="191"/>
                </a:lnTo>
                <a:lnTo>
                  <a:pt x="1045" y="193"/>
                </a:lnTo>
                <a:lnTo>
                  <a:pt x="1044" y="191"/>
                </a:lnTo>
                <a:lnTo>
                  <a:pt x="1045" y="190"/>
                </a:lnTo>
                <a:lnTo>
                  <a:pt x="1042" y="190"/>
                </a:lnTo>
                <a:lnTo>
                  <a:pt x="1041" y="190"/>
                </a:lnTo>
                <a:lnTo>
                  <a:pt x="1041" y="188"/>
                </a:lnTo>
                <a:lnTo>
                  <a:pt x="1041" y="187"/>
                </a:lnTo>
                <a:lnTo>
                  <a:pt x="1042" y="185"/>
                </a:lnTo>
                <a:lnTo>
                  <a:pt x="1044" y="185"/>
                </a:lnTo>
                <a:lnTo>
                  <a:pt x="1045" y="185"/>
                </a:lnTo>
                <a:lnTo>
                  <a:pt x="1044" y="183"/>
                </a:lnTo>
                <a:lnTo>
                  <a:pt x="1041" y="183"/>
                </a:lnTo>
                <a:lnTo>
                  <a:pt x="1038" y="183"/>
                </a:lnTo>
                <a:lnTo>
                  <a:pt x="1038" y="185"/>
                </a:lnTo>
                <a:lnTo>
                  <a:pt x="1036" y="185"/>
                </a:lnTo>
                <a:lnTo>
                  <a:pt x="1034" y="183"/>
                </a:lnTo>
                <a:lnTo>
                  <a:pt x="1037" y="183"/>
                </a:lnTo>
                <a:lnTo>
                  <a:pt x="1036" y="182"/>
                </a:lnTo>
                <a:lnTo>
                  <a:pt x="1034" y="180"/>
                </a:lnTo>
                <a:lnTo>
                  <a:pt x="1034" y="179"/>
                </a:lnTo>
                <a:lnTo>
                  <a:pt x="1032" y="177"/>
                </a:lnTo>
                <a:lnTo>
                  <a:pt x="1030" y="177"/>
                </a:lnTo>
                <a:lnTo>
                  <a:pt x="1030" y="180"/>
                </a:lnTo>
                <a:lnTo>
                  <a:pt x="1029" y="180"/>
                </a:lnTo>
                <a:lnTo>
                  <a:pt x="1028" y="180"/>
                </a:lnTo>
                <a:lnTo>
                  <a:pt x="1026" y="180"/>
                </a:lnTo>
                <a:lnTo>
                  <a:pt x="1029" y="176"/>
                </a:lnTo>
                <a:lnTo>
                  <a:pt x="1029" y="174"/>
                </a:lnTo>
                <a:lnTo>
                  <a:pt x="1026" y="174"/>
                </a:lnTo>
                <a:lnTo>
                  <a:pt x="1022" y="173"/>
                </a:lnTo>
                <a:lnTo>
                  <a:pt x="1020" y="171"/>
                </a:lnTo>
                <a:lnTo>
                  <a:pt x="1010" y="169"/>
                </a:lnTo>
                <a:lnTo>
                  <a:pt x="1006" y="171"/>
                </a:lnTo>
                <a:lnTo>
                  <a:pt x="998" y="173"/>
                </a:lnTo>
                <a:lnTo>
                  <a:pt x="997" y="173"/>
                </a:lnTo>
                <a:lnTo>
                  <a:pt x="997" y="174"/>
                </a:lnTo>
                <a:lnTo>
                  <a:pt x="992" y="174"/>
                </a:lnTo>
                <a:lnTo>
                  <a:pt x="992" y="173"/>
                </a:lnTo>
                <a:lnTo>
                  <a:pt x="986" y="173"/>
                </a:lnTo>
                <a:lnTo>
                  <a:pt x="984" y="173"/>
                </a:lnTo>
                <a:lnTo>
                  <a:pt x="984" y="171"/>
                </a:lnTo>
                <a:lnTo>
                  <a:pt x="982" y="171"/>
                </a:lnTo>
                <a:lnTo>
                  <a:pt x="977" y="171"/>
                </a:lnTo>
                <a:lnTo>
                  <a:pt x="974" y="169"/>
                </a:lnTo>
                <a:lnTo>
                  <a:pt x="973" y="169"/>
                </a:lnTo>
                <a:lnTo>
                  <a:pt x="965" y="168"/>
                </a:lnTo>
                <a:lnTo>
                  <a:pt x="958" y="168"/>
                </a:lnTo>
                <a:lnTo>
                  <a:pt x="956" y="168"/>
                </a:lnTo>
                <a:lnTo>
                  <a:pt x="954" y="166"/>
                </a:lnTo>
                <a:lnTo>
                  <a:pt x="953" y="168"/>
                </a:lnTo>
                <a:lnTo>
                  <a:pt x="950" y="168"/>
                </a:lnTo>
                <a:lnTo>
                  <a:pt x="948" y="171"/>
                </a:lnTo>
                <a:lnTo>
                  <a:pt x="945" y="173"/>
                </a:lnTo>
                <a:lnTo>
                  <a:pt x="944" y="173"/>
                </a:lnTo>
                <a:lnTo>
                  <a:pt x="944" y="176"/>
                </a:lnTo>
                <a:lnTo>
                  <a:pt x="945" y="177"/>
                </a:lnTo>
                <a:lnTo>
                  <a:pt x="946" y="179"/>
                </a:lnTo>
                <a:lnTo>
                  <a:pt x="946" y="180"/>
                </a:lnTo>
                <a:lnTo>
                  <a:pt x="949" y="182"/>
                </a:lnTo>
                <a:lnTo>
                  <a:pt x="950" y="182"/>
                </a:lnTo>
                <a:lnTo>
                  <a:pt x="953" y="183"/>
                </a:lnTo>
                <a:lnTo>
                  <a:pt x="956" y="183"/>
                </a:lnTo>
                <a:lnTo>
                  <a:pt x="956" y="182"/>
                </a:lnTo>
                <a:lnTo>
                  <a:pt x="956" y="185"/>
                </a:lnTo>
                <a:lnTo>
                  <a:pt x="954" y="185"/>
                </a:lnTo>
                <a:lnTo>
                  <a:pt x="953" y="187"/>
                </a:lnTo>
                <a:lnTo>
                  <a:pt x="952" y="188"/>
                </a:lnTo>
                <a:lnTo>
                  <a:pt x="952" y="190"/>
                </a:lnTo>
                <a:lnTo>
                  <a:pt x="949" y="191"/>
                </a:lnTo>
                <a:lnTo>
                  <a:pt x="948" y="193"/>
                </a:lnTo>
                <a:lnTo>
                  <a:pt x="945" y="196"/>
                </a:lnTo>
                <a:lnTo>
                  <a:pt x="945" y="198"/>
                </a:lnTo>
                <a:lnTo>
                  <a:pt x="948" y="199"/>
                </a:lnTo>
                <a:lnTo>
                  <a:pt x="949" y="199"/>
                </a:lnTo>
                <a:lnTo>
                  <a:pt x="952" y="199"/>
                </a:lnTo>
                <a:lnTo>
                  <a:pt x="953" y="199"/>
                </a:lnTo>
                <a:lnTo>
                  <a:pt x="956" y="199"/>
                </a:lnTo>
                <a:lnTo>
                  <a:pt x="950" y="201"/>
                </a:lnTo>
                <a:lnTo>
                  <a:pt x="950" y="202"/>
                </a:lnTo>
                <a:lnTo>
                  <a:pt x="953" y="202"/>
                </a:lnTo>
                <a:lnTo>
                  <a:pt x="952" y="205"/>
                </a:lnTo>
                <a:lnTo>
                  <a:pt x="953" y="209"/>
                </a:lnTo>
                <a:lnTo>
                  <a:pt x="954" y="209"/>
                </a:lnTo>
                <a:lnTo>
                  <a:pt x="956" y="210"/>
                </a:lnTo>
                <a:lnTo>
                  <a:pt x="956" y="212"/>
                </a:lnTo>
                <a:lnTo>
                  <a:pt x="953" y="212"/>
                </a:lnTo>
                <a:lnTo>
                  <a:pt x="952" y="212"/>
                </a:lnTo>
                <a:lnTo>
                  <a:pt x="952" y="213"/>
                </a:lnTo>
                <a:lnTo>
                  <a:pt x="958" y="213"/>
                </a:lnTo>
                <a:lnTo>
                  <a:pt x="960" y="213"/>
                </a:lnTo>
                <a:lnTo>
                  <a:pt x="958" y="215"/>
                </a:lnTo>
                <a:lnTo>
                  <a:pt x="957" y="215"/>
                </a:lnTo>
                <a:lnTo>
                  <a:pt x="957" y="216"/>
                </a:lnTo>
                <a:lnTo>
                  <a:pt x="957" y="218"/>
                </a:lnTo>
                <a:lnTo>
                  <a:pt x="958" y="220"/>
                </a:lnTo>
                <a:lnTo>
                  <a:pt x="962" y="220"/>
                </a:lnTo>
                <a:lnTo>
                  <a:pt x="957" y="221"/>
                </a:lnTo>
                <a:lnTo>
                  <a:pt x="956" y="220"/>
                </a:lnTo>
                <a:lnTo>
                  <a:pt x="952" y="220"/>
                </a:lnTo>
                <a:lnTo>
                  <a:pt x="950" y="221"/>
                </a:lnTo>
                <a:lnTo>
                  <a:pt x="950" y="223"/>
                </a:lnTo>
                <a:lnTo>
                  <a:pt x="952" y="223"/>
                </a:lnTo>
                <a:lnTo>
                  <a:pt x="952" y="226"/>
                </a:lnTo>
                <a:lnTo>
                  <a:pt x="948" y="226"/>
                </a:lnTo>
                <a:lnTo>
                  <a:pt x="946" y="227"/>
                </a:lnTo>
                <a:lnTo>
                  <a:pt x="941" y="227"/>
                </a:lnTo>
                <a:lnTo>
                  <a:pt x="938" y="229"/>
                </a:lnTo>
                <a:lnTo>
                  <a:pt x="936" y="229"/>
                </a:lnTo>
                <a:lnTo>
                  <a:pt x="936" y="231"/>
                </a:lnTo>
                <a:lnTo>
                  <a:pt x="936" y="232"/>
                </a:lnTo>
                <a:lnTo>
                  <a:pt x="937" y="234"/>
                </a:lnTo>
                <a:lnTo>
                  <a:pt x="936" y="234"/>
                </a:lnTo>
                <a:lnTo>
                  <a:pt x="937" y="235"/>
                </a:lnTo>
                <a:lnTo>
                  <a:pt x="941" y="238"/>
                </a:lnTo>
                <a:lnTo>
                  <a:pt x="946" y="240"/>
                </a:lnTo>
                <a:lnTo>
                  <a:pt x="948" y="242"/>
                </a:lnTo>
                <a:lnTo>
                  <a:pt x="953" y="243"/>
                </a:lnTo>
                <a:lnTo>
                  <a:pt x="956" y="243"/>
                </a:lnTo>
                <a:lnTo>
                  <a:pt x="956" y="245"/>
                </a:lnTo>
                <a:lnTo>
                  <a:pt x="957" y="248"/>
                </a:lnTo>
                <a:lnTo>
                  <a:pt x="958" y="249"/>
                </a:lnTo>
                <a:lnTo>
                  <a:pt x="960" y="254"/>
                </a:lnTo>
                <a:lnTo>
                  <a:pt x="964" y="260"/>
                </a:lnTo>
                <a:lnTo>
                  <a:pt x="964" y="264"/>
                </a:lnTo>
                <a:lnTo>
                  <a:pt x="964" y="265"/>
                </a:lnTo>
                <a:lnTo>
                  <a:pt x="965" y="267"/>
                </a:lnTo>
                <a:lnTo>
                  <a:pt x="966" y="270"/>
                </a:lnTo>
                <a:lnTo>
                  <a:pt x="966" y="275"/>
                </a:lnTo>
                <a:lnTo>
                  <a:pt x="968" y="278"/>
                </a:lnTo>
                <a:lnTo>
                  <a:pt x="968" y="279"/>
                </a:lnTo>
                <a:lnTo>
                  <a:pt x="969" y="278"/>
                </a:lnTo>
                <a:lnTo>
                  <a:pt x="972" y="273"/>
                </a:lnTo>
                <a:lnTo>
                  <a:pt x="972" y="275"/>
                </a:lnTo>
                <a:lnTo>
                  <a:pt x="974" y="279"/>
                </a:lnTo>
                <a:lnTo>
                  <a:pt x="976" y="279"/>
                </a:lnTo>
                <a:lnTo>
                  <a:pt x="974" y="281"/>
                </a:lnTo>
                <a:lnTo>
                  <a:pt x="972" y="282"/>
                </a:lnTo>
                <a:lnTo>
                  <a:pt x="969" y="281"/>
                </a:lnTo>
                <a:lnTo>
                  <a:pt x="966" y="281"/>
                </a:lnTo>
                <a:lnTo>
                  <a:pt x="965" y="281"/>
                </a:lnTo>
                <a:lnTo>
                  <a:pt x="964" y="284"/>
                </a:lnTo>
                <a:lnTo>
                  <a:pt x="958" y="290"/>
                </a:lnTo>
                <a:lnTo>
                  <a:pt x="953" y="295"/>
                </a:lnTo>
                <a:lnTo>
                  <a:pt x="957" y="292"/>
                </a:lnTo>
                <a:lnTo>
                  <a:pt x="953" y="295"/>
                </a:lnTo>
                <a:lnTo>
                  <a:pt x="949" y="298"/>
                </a:lnTo>
                <a:lnTo>
                  <a:pt x="946" y="300"/>
                </a:lnTo>
                <a:lnTo>
                  <a:pt x="938" y="303"/>
                </a:lnTo>
                <a:lnTo>
                  <a:pt x="934" y="304"/>
                </a:lnTo>
                <a:lnTo>
                  <a:pt x="928" y="308"/>
                </a:lnTo>
                <a:lnTo>
                  <a:pt x="923" y="309"/>
                </a:lnTo>
                <a:lnTo>
                  <a:pt x="924" y="309"/>
                </a:lnTo>
                <a:lnTo>
                  <a:pt x="925" y="311"/>
                </a:lnTo>
                <a:lnTo>
                  <a:pt x="928" y="312"/>
                </a:lnTo>
                <a:lnTo>
                  <a:pt x="931" y="317"/>
                </a:lnTo>
                <a:lnTo>
                  <a:pt x="933" y="319"/>
                </a:lnTo>
                <a:lnTo>
                  <a:pt x="933" y="320"/>
                </a:lnTo>
                <a:lnTo>
                  <a:pt x="934" y="323"/>
                </a:lnTo>
                <a:lnTo>
                  <a:pt x="933" y="325"/>
                </a:lnTo>
                <a:lnTo>
                  <a:pt x="934" y="330"/>
                </a:lnTo>
                <a:lnTo>
                  <a:pt x="934" y="331"/>
                </a:lnTo>
                <a:lnTo>
                  <a:pt x="936" y="341"/>
                </a:lnTo>
                <a:lnTo>
                  <a:pt x="937" y="341"/>
                </a:lnTo>
                <a:lnTo>
                  <a:pt x="937" y="342"/>
                </a:lnTo>
                <a:lnTo>
                  <a:pt x="936" y="342"/>
                </a:lnTo>
                <a:lnTo>
                  <a:pt x="937" y="345"/>
                </a:lnTo>
                <a:lnTo>
                  <a:pt x="940" y="347"/>
                </a:lnTo>
                <a:lnTo>
                  <a:pt x="941" y="350"/>
                </a:lnTo>
                <a:lnTo>
                  <a:pt x="942" y="350"/>
                </a:lnTo>
                <a:lnTo>
                  <a:pt x="945" y="350"/>
                </a:lnTo>
                <a:lnTo>
                  <a:pt x="949" y="350"/>
                </a:lnTo>
                <a:lnTo>
                  <a:pt x="948" y="352"/>
                </a:lnTo>
                <a:lnTo>
                  <a:pt x="942" y="352"/>
                </a:lnTo>
                <a:lnTo>
                  <a:pt x="941" y="352"/>
                </a:lnTo>
                <a:lnTo>
                  <a:pt x="940" y="353"/>
                </a:lnTo>
                <a:lnTo>
                  <a:pt x="938" y="356"/>
                </a:lnTo>
                <a:lnTo>
                  <a:pt x="936" y="356"/>
                </a:lnTo>
                <a:lnTo>
                  <a:pt x="936" y="358"/>
                </a:lnTo>
                <a:lnTo>
                  <a:pt x="933" y="358"/>
                </a:lnTo>
                <a:lnTo>
                  <a:pt x="933" y="359"/>
                </a:lnTo>
                <a:lnTo>
                  <a:pt x="936" y="363"/>
                </a:lnTo>
                <a:lnTo>
                  <a:pt x="938" y="364"/>
                </a:lnTo>
                <a:lnTo>
                  <a:pt x="937" y="366"/>
                </a:lnTo>
                <a:lnTo>
                  <a:pt x="937" y="367"/>
                </a:lnTo>
                <a:lnTo>
                  <a:pt x="934" y="367"/>
                </a:lnTo>
                <a:lnTo>
                  <a:pt x="933" y="369"/>
                </a:lnTo>
                <a:lnTo>
                  <a:pt x="933" y="364"/>
                </a:lnTo>
                <a:lnTo>
                  <a:pt x="929" y="363"/>
                </a:lnTo>
                <a:lnTo>
                  <a:pt x="929" y="361"/>
                </a:lnTo>
                <a:lnTo>
                  <a:pt x="928" y="361"/>
                </a:lnTo>
                <a:lnTo>
                  <a:pt x="925" y="363"/>
                </a:lnTo>
                <a:lnTo>
                  <a:pt x="925" y="364"/>
                </a:lnTo>
                <a:lnTo>
                  <a:pt x="923" y="364"/>
                </a:lnTo>
                <a:lnTo>
                  <a:pt x="921" y="366"/>
                </a:lnTo>
                <a:lnTo>
                  <a:pt x="923" y="372"/>
                </a:lnTo>
                <a:lnTo>
                  <a:pt x="921" y="372"/>
                </a:lnTo>
                <a:lnTo>
                  <a:pt x="917" y="369"/>
                </a:lnTo>
                <a:lnTo>
                  <a:pt x="916" y="369"/>
                </a:lnTo>
                <a:lnTo>
                  <a:pt x="912" y="367"/>
                </a:lnTo>
                <a:lnTo>
                  <a:pt x="911" y="367"/>
                </a:lnTo>
                <a:lnTo>
                  <a:pt x="909" y="369"/>
                </a:lnTo>
                <a:lnTo>
                  <a:pt x="903" y="372"/>
                </a:lnTo>
                <a:lnTo>
                  <a:pt x="909" y="366"/>
                </a:lnTo>
                <a:lnTo>
                  <a:pt x="911" y="364"/>
                </a:lnTo>
                <a:lnTo>
                  <a:pt x="909" y="361"/>
                </a:lnTo>
                <a:lnTo>
                  <a:pt x="908" y="359"/>
                </a:lnTo>
                <a:lnTo>
                  <a:pt x="900" y="353"/>
                </a:lnTo>
                <a:lnTo>
                  <a:pt x="897" y="353"/>
                </a:lnTo>
                <a:lnTo>
                  <a:pt x="895" y="352"/>
                </a:lnTo>
                <a:lnTo>
                  <a:pt x="887" y="355"/>
                </a:lnTo>
                <a:lnTo>
                  <a:pt x="885" y="355"/>
                </a:lnTo>
                <a:lnTo>
                  <a:pt x="888" y="353"/>
                </a:lnTo>
                <a:lnTo>
                  <a:pt x="893" y="350"/>
                </a:lnTo>
                <a:lnTo>
                  <a:pt x="896" y="350"/>
                </a:lnTo>
                <a:lnTo>
                  <a:pt x="895" y="348"/>
                </a:lnTo>
                <a:lnTo>
                  <a:pt x="893" y="345"/>
                </a:lnTo>
                <a:lnTo>
                  <a:pt x="891" y="344"/>
                </a:lnTo>
                <a:lnTo>
                  <a:pt x="888" y="344"/>
                </a:lnTo>
                <a:lnTo>
                  <a:pt x="887" y="341"/>
                </a:lnTo>
                <a:lnTo>
                  <a:pt x="885" y="339"/>
                </a:lnTo>
                <a:lnTo>
                  <a:pt x="884" y="339"/>
                </a:lnTo>
                <a:lnTo>
                  <a:pt x="883" y="337"/>
                </a:lnTo>
                <a:lnTo>
                  <a:pt x="884" y="334"/>
                </a:lnTo>
                <a:lnTo>
                  <a:pt x="885" y="333"/>
                </a:lnTo>
                <a:lnTo>
                  <a:pt x="884" y="326"/>
                </a:lnTo>
                <a:lnTo>
                  <a:pt x="884" y="322"/>
                </a:lnTo>
                <a:lnTo>
                  <a:pt x="883" y="319"/>
                </a:lnTo>
                <a:lnTo>
                  <a:pt x="881" y="317"/>
                </a:lnTo>
                <a:lnTo>
                  <a:pt x="881" y="314"/>
                </a:lnTo>
                <a:lnTo>
                  <a:pt x="883" y="311"/>
                </a:lnTo>
                <a:lnTo>
                  <a:pt x="884" y="304"/>
                </a:lnTo>
                <a:lnTo>
                  <a:pt x="883" y="300"/>
                </a:lnTo>
                <a:lnTo>
                  <a:pt x="881" y="300"/>
                </a:lnTo>
                <a:lnTo>
                  <a:pt x="879" y="300"/>
                </a:lnTo>
                <a:lnTo>
                  <a:pt x="876" y="298"/>
                </a:lnTo>
                <a:lnTo>
                  <a:pt x="873" y="298"/>
                </a:lnTo>
                <a:lnTo>
                  <a:pt x="873" y="297"/>
                </a:lnTo>
                <a:lnTo>
                  <a:pt x="871" y="297"/>
                </a:lnTo>
                <a:lnTo>
                  <a:pt x="869" y="298"/>
                </a:lnTo>
                <a:lnTo>
                  <a:pt x="867" y="298"/>
                </a:lnTo>
                <a:lnTo>
                  <a:pt x="861" y="298"/>
                </a:lnTo>
                <a:lnTo>
                  <a:pt x="853" y="297"/>
                </a:lnTo>
                <a:lnTo>
                  <a:pt x="839" y="297"/>
                </a:lnTo>
                <a:lnTo>
                  <a:pt x="837" y="298"/>
                </a:lnTo>
                <a:lnTo>
                  <a:pt x="836" y="301"/>
                </a:lnTo>
                <a:lnTo>
                  <a:pt x="832" y="304"/>
                </a:lnTo>
                <a:lnTo>
                  <a:pt x="835" y="301"/>
                </a:lnTo>
                <a:lnTo>
                  <a:pt x="836" y="298"/>
                </a:lnTo>
                <a:lnTo>
                  <a:pt x="837" y="297"/>
                </a:lnTo>
                <a:lnTo>
                  <a:pt x="837" y="295"/>
                </a:lnTo>
                <a:lnTo>
                  <a:pt x="832" y="293"/>
                </a:lnTo>
                <a:lnTo>
                  <a:pt x="832" y="292"/>
                </a:lnTo>
                <a:lnTo>
                  <a:pt x="828" y="290"/>
                </a:lnTo>
                <a:lnTo>
                  <a:pt x="818" y="287"/>
                </a:lnTo>
                <a:lnTo>
                  <a:pt x="814" y="286"/>
                </a:lnTo>
                <a:lnTo>
                  <a:pt x="812" y="286"/>
                </a:lnTo>
                <a:lnTo>
                  <a:pt x="810" y="286"/>
                </a:lnTo>
                <a:lnTo>
                  <a:pt x="807" y="286"/>
                </a:lnTo>
                <a:lnTo>
                  <a:pt x="807" y="284"/>
                </a:lnTo>
                <a:lnTo>
                  <a:pt x="804" y="284"/>
                </a:lnTo>
                <a:lnTo>
                  <a:pt x="803" y="284"/>
                </a:lnTo>
                <a:lnTo>
                  <a:pt x="802" y="284"/>
                </a:lnTo>
                <a:lnTo>
                  <a:pt x="802" y="282"/>
                </a:lnTo>
                <a:lnTo>
                  <a:pt x="802" y="281"/>
                </a:lnTo>
                <a:lnTo>
                  <a:pt x="795" y="276"/>
                </a:lnTo>
                <a:lnTo>
                  <a:pt x="791" y="275"/>
                </a:lnTo>
                <a:lnTo>
                  <a:pt x="780" y="270"/>
                </a:lnTo>
                <a:lnTo>
                  <a:pt x="779" y="270"/>
                </a:lnTo>
                <a:lnTo>
                  <a:pt x="774" y="270"/>
                </a:lnTo>
                <a:lnTo>
                  <a:pt x="767" y="267"/>
                </a:lnTo>
                <a:lnTo>
                  <a:pt x="763" y="267"/>
                </a:lnTo>
                <a:lnTo>
                  <a:pt x="760" y="265"/>
                </a:lnTo>
                <a:lnTo>
                  <a:pt x="758" y="264"/>
                </a:lnTo>
                <a:lnTo>
                  <a:pt x="756" y="262"/>
                </a:lnTo>
                <a:lnTo>
                  <a:pt x="750" y="260"/>
                </a:lnTo>
                <a:lnTo>
                  <a:pt x="736" y="265"/>
                </a:lnTo>
                <a:lnTo>
                  <a:pt x="732" y="267"/>
                </a:lnTo>
                <a:lnTo>
                  <a:pt x="731" y="267"/>
                </a:lnTo>
                <a:lnTo>
                  <a:pt x="731" y="265"/>
                </a:lnTo>
                <a:lnTo>
                  <a:pt x="726" y="268"/>
                </a:lnTo>
                <a:lnTo>
                  <a:pt x="726" y="267"/>
                </a:lnTo>
                <a:lnTo>
                  <a:pt x="727" y="267"/>
                </a:lnTo>
                <a:lnTo>
                  <a:pt x="728" y="265"/>
                </a:lnTo>
                <a:lnTo>
                  <a:pt x="730" y="264"/>
                </a:lnTo>
                <a:lnTo>
                  <a:pt x="730" y="262"/>
                </a:lnTo>
                <a:lnTo>
                  <a:pt x="730" y="257"/>
                </a:lnTo>
                <a:lnTo>
                  <a:pt x="726" y="254"/>
                </a:lnTo>
                <a:lnTo>
                  <a:pt x="726" y="253"/>
                </a:lnTo>
                <a:lnTo>
                  <a:pt x="726" y="248"/>
                </a:lnTo>
                <a:lnTo>
                  <a:pt x="720" y="240"/>
                </a:lnTo>
                <a:lnTo>
                  <a:pt x="720" y="237"/>
                </a:lnTo>
                <a:lnTo>
                  <a:pt x="719" y="235"/>
                </a:lnTo>
                <a:lnTo>
                  <a:pt x="716" y="234"/>
                </a:lnTo>
                <a:lnTo>
                  <a:pt x="715" y="235"/>
                </a:lnTo>
                <a:lnTo>
                  <a:pt x="714" y="235"/>
                </a:lnTo>
                <a:lnTo>
                  <a:pt x="712" y="234"/>
                </a:lnTo>
                <a:lnTo>
                  <a:pt x="705" y="234"/>
                </a:lnTo>
                <a:lnTo>
                  <a:pt x="703" y="234"/>
                </a:lnTo>
                <a:lnTo>
                  <a:pt x="703" y="238"/>
                </a:lnTo>
                <a:lnTo>
                  <a:pt x="702" y="235"/>
                </a:lnTo>
                <a:lnTo>
                  <a:pt x="702" y="234"/>
                </a:lnTo>
                <a:lnTo>
                  <a:pt x="701" y="235"/>
                </a:lnTo>
                <a:lnTo>
                  <a:pt x="698" y="234"/>
                </a:lnTo>
                <a:lnTo>
                  <a:pt x="697" y="232"/>
                </a:lnTo>
                <a:lnTo>
                  <a:pt x="695" y="231"/>
                </a:lnTo>
                <a:lnTo>
                  <a:pt x="693" y="229"/>
                </a:lnTo>
                <a:lnTo>
                  <a:pt x="695" y="227"/>
                </a:lnTo>
                <a:lnTo>
                  <a:pt x="695" y="226"/>
                </a:lnTo>
                <a:lnTo>
                  <a:pt x="695" y="223"/>
                </a:lnTo>
                <a:lnTo>
                  <a:pt x="695" y="218"/>
                </a:lnTo>
                <a:lnTo>
                  <a:pt x="697" y="212"/>
                </a:lnTo>
                <a:lnTo>
                  <a:pt x="697" y="207"/>
                </a:lnTo>
                <a:lnTo>
                  <a:pt x="697" y="204"/>
                </a:lnTo>
                <a:lnTo>
                  <a:pt x="699" y="202"/>
                </a:lnTo>
                <a:lnTo>
                  <a:pt x="699" y="201"/>
                </a:lnTo>
                <a:lnTo>
                  <a:pt x="699" y="198"/>
                </a:lnTo>
                <a:lnTo>
                  <a:pt x="702" y="198"/>
                </a:lnTo>
                <a:lnTo>
                  <a:pt x="703" y="196"/>
                </a:lnTo>
                <a:lnTo>
                  <a:pt x="703" y="193"/>
                </a:lnTo>
                <a:lnTo>
                  <a:pt x="705" y="191"/>
                </a:lnTo>
                <a:lnTo>
                  <a:pt x="698" y="188"/>
                </a:lnTo>
                <a:lnTo>
                  <a:pt x="699" y="188"/>
                </a:lnTo>
                <a:lnTo>
                  <a:pt x="707" y="187"/>
                </a:lnTo>
                <a:lnTo>
                  <a:pt x="708" y="187"/>
                </a:lnTo>
                <a:lnTo>
                  <a:pt x="714" y="183"/>
                </a:lnTo>
                <a:lnTo>
                  <a:pt x="716" y="180"/>
                </a:lnTo>
                <a:lnTo>
                  <a:pt x="715" y="180"/>
                </a:lnTo>
                <a:lnTo>
                  <a:pt x="715" y="179"/>
                </a:lnTo>
                <a:lnTo>
                  <a:pt x="719" y="179"/>
                </a:lnTo>
                <a:lnTo>
                  <a:pt x="719" y="177"/>
                </a:lnTo>
                <a:lnTo>
                  <a:pt x="720" y="177"/>
                </a:lnTo>
                <a:lnTo>
                  <a:pt x="720" y="176"/>
                </a:lnTo>
                <a:lnTo>
                  <a:pt x="723" y="174"/>
                </a:lnTo>
                <a:lnTo>
                  <a:pt x="722" y="174"/>
                </a:lnTo>
                <a:lnTo>
                  <a:pt x="724" y="173"/>
                </a:lnTo>
                <a:lnTo>
                  <a:pt x="728" y="176"/>
                </a:lnTo>
                <a:lnTo>
                  <a:pt x="727" y="171"/>
                </a:lnTo>
                <a:lnTo>
                  <a:pt x="727" y="169"/>
                </a:lnTo>
                <a:lnTo>
                  <a:pt x="728" y="166"/>
                </a:lnTo>
                <a:lnTo>
                  <a:pt x="731" y="166"/>
                </a:lnTo>
                <a:lnTo>
                  <a:pt x="734" y="168"/>
                </a:lnTo>
                <a:lnTo>
                  <a:pt x="738" y="166"/>
                </a:lnTo>
                <a:lnTo>
                  <a:pt x="736" y="166"/>
                </a:lnTo>
                <a:lnTo>
                  <a:pt x="732" y="166"/>
                </a:lnTo>
                <a:lnTo>
                  <a:pt x="730" y="163"/>
                </a:lnTo>
                <a:lnTo>
                  <a:pt x="731" y="163"/>
                </a:lnTo>
                <a:lnTo>
                  <a:pt x="734" y="163"/>
                </a:lnTo>
                <a:lnTo>
                  <a:pt x="736" y="163"/>
                </a:lnTo>
                <a:lnTo>
                  <a:pt x="743" y="163"/>
                </a:lnTo>
                <a:lnTo>
                  <a:pt x="746" y="163"/>
                </a:lnTo>
                <a:lnTo>
                  <a:pt x="748" y="162"/>
                </a:lnTo>
                <a:lnTo>
                  <a:pt x="750" y="162"/>
                </a:lnTo>
                <a:lnTo>
                  <a:pt x="756" y="162"/>
                </a:lnTo>
                <a:lnTo>
                  <a:pt x="758" y="160"/>
                </a:lnTo>
                <a:lnTo>
                  <a:pt x="759" y="158"/>
                </a:lnTo>
                <a:lnTo>
                  <a:pt x="758" y="154"/>
                </a:lnTo>
                <a:lnTo>
                  <a:pt x="756" y="154"/>
                </a:lnTo>
                <a:lnTo>
                  <a:pt x="754" y="152"/>
                </a:lnTo>
                <a:lnTo>
                  <a:pt x="755" y="151"/>
                </a:lnTo>
                <a:lnTo>
                  <a:pt x="754" y="151"/>
                </a:lnTo>
                <a:lnTo>
                  <a:pt x="751" y="151"/>
                </a:lnTo>
                <a:lnTo>
                  <a:pt x="747" y="151"/>
                </a:lnTo>
                <a:lnTo>
                  <a:pt x="744" y="149"/>
                </a:lnTo>
                <a:lnTo>
                  <a:pt x="743" y="147"/>
                </a:lnTo>
                <a:lnTo>
                  <a:pt x="740" y="147"/>
                </a:lnTo>
                <a:lnTo>
                  <a:pt x="738" y="147"/>
                </a:lnTo>
                <a:lnTo>
                  <a:pt x="736" y="147"/>
                </a:lnTo>
                <a:lnTo>
                  <a:pt x="735" y="149"/>
                </a:lnTo>
                <a:lnTo>
                  <a:pt x="734" y="149"/>
                </a:lnTo>
                <a:lnTo>
                  <a:pt x="734" y="147"/>
                </a:lnTo>
                <a:lnTo>
                  <a:pt x="736" y="147"/>
                </a:lnTo>
                <a:lnTo>
                  <a:pt x="736" y="146"/>
                </a:lnTo>
                <a:lnTo>
                  <a:pt x="731" y="146"/>
                </a:lnTo>
                <a:lnTo>
                  <a:pt x="728" y="146"/>
                </a:lnTo>
                <a:lnTo>
                  <a:pt x="728" y="144"/>
                </a:lnTo>
                <a:lnTo>
                  <a:pt x="724" y="144"/>
                </a:lnTo>
                <a:lnTo>
                  <a:pt x="720" y="144"/>
                </a:lnTo>
                <a:lnTo>
                  <a:pt x="718" y="143"/>
                </a:lnTo>
                <a:lnTo>
                  <a:pt x="718" y="144"/>
                </a:lnTo>
                <a:lnTo>
                  <a:pt x="716" y="144"/>
                </a:lnTo>
                <a:lnTo>
                  <a:pt x="714" y="144"/>
                </a:lnTo>
                <a:lnTo>
                  <a:pt x="714" y="143"/>
                </a:lnTo>
                <a:lnTo>
                  <a:pt x="715" y="141"/>
                </a:lnTo>
                <a:lnTo>
                  <a:pt x="715" y="140"/>
                </a:lnTo>
                <a:lnTo>
                  <a:pt x="728" y="144"/>
                </a:lnTo>
                <a:lnTo>
                  <a:pt x="735" y="146"/>
                </a:lnTo>
                <a:lnTo>
                  <a:pt x="738" y="146"/>
                </a:lnTo>
                <a:lnTo>
                  <a:pt x="739" y="146"/>
                </a:lnTo>
                <a:lnTo>
                  <a:pt x="740" y="146"/>
                </a:lnTo>
                <a:lnTo>
                  <a:pt x="743" y="146"/>
                </a:lnTo>
                <a:lnTo>
                  <a:pt x="744" y="144"/>
                </a:lnTo>
                <a:lnTo>
                  <a:pt x="746" y="146"/>
                </a:lnTo>
                <a:lnTo>
                  <a:pt x="747" y="146"/>
                </a:lnTo>
                <a:lnTo>
                  <a:pt x="750" y="147"/>
                </a:lnTo>
                <a:lnTo>
                  <a:pt x="754" y="147"/>
                </a:lnTo>
                <a:lnTo>
                  <a:pt x="755" y="149"/>
                </a:lnTo>
                <a:lnTo>
                  <a:pt x="756" y="149"/>
                </a:lnTo>
                <a:lnTo>
                  <a:pt x="758" y="151"/>
                </a:lnTo>
                <a:lnTo>
                  <a:pt x="759" y="149"/>
                </a:lnTo>
                <a:lnTo>
                  <a:pt x="760" y="149"/>
                </a:lnTo>
                <a:lnTo>
                  <a:pt x="762" y="149"/>
                </a:lnTo>
                <a:lnTo>
                  <a:pt x="763" y="149"/>
                </a:lnTo>
                <a:lnTo>
                  <a:pt x="764" y="149"/>
                </a:lnTo>
                <a:lnTo>
                  <a:pt x="766" y="147"/>
                </a:lnTo>
                <a:lnTo>
                  <a:pt x="767" y="146"/>
                </a:lnTo>
                <a:lnTo>
                  <a:pt x="768" y="144"/>
                </a:lnTo>
                <a:lnTo>
                  <a:pt x="767" y="144"/>
                </a:lnTo>
                <a:lnTo>
                  <a:pt x="767" y="141"/>
                </a:lnTo>
                <a:lnTo>
                  <a:pt x="770" y="143"/>
                </a:lnTo>
                <a:lnTo>
                  <a:pt x="771" y="143"/>
                </a:lnTo>
                <a:lnTo>
                  <a:pt x="770" y="141"/>
                </a:lnTo>
                <a:lnTo>
                  <a:pt x="770" y="140"/>
                </a:lnTo>
                <a:lnTo>
                  <a:pt x="770" y="138"/>
                </a:lnTo>
                <a:lnTo>
                  <a:pt x="771" y="138"/>
                </a:lnTo>
                <a:lnTo>
                  <a:pt x="772" y="140"/>
                </a:lnTo>
                <a:lnTo>
                  <a:pt x="774" y="140"/>
                </a:lnTo>
                <a:lnTo>
                  <a:pt x="775" y="141"/>
                </a:lnTo>
                <a:lnTo>
                  <a:pt x="775" y="140"/>
                </a:lnTo>
                <a:lnTo>
                  <a:pt x="782" y="141"/>
                </a:lnTo>
                <a:lnTo>
                  <a:pt x="788" y="141"/>
                </a:lnTo>
                <a:lnTo>
                  <a:pt x="792" y="140"/>
                </a:lnTo>
                <a:lnTo>
                  <a:pt x="795" y="138"/>
                </a:lnTo>
                <a:lnTo>
                  <a:pt x="796" y="138"/>
                </a:lnTo>
                <a:lnTo>
                  <a:pt x="799" y="135"/>
                </a:lnTo>
                <a:lnTo>
                  <a:pt x="800" y="135"/>
                </a:lnTo>
                <a:lnTo>
                  <a:pt x="800" y="132"/>
                </a:lnTo>
                <a:lnTo>
                  <a:pt x="804" y="132"/>
                </a:lnTo>
                <a:lnTo>
                  <a:pt x="806" y="129"/>
                </a:lnTo>
                <a:lnTo>
                  <a:pt x="808" y="129"/>
                </a:lnTo>
                <a:lnTo>
                  <a:pt x="810" y="125"/>
                </a:lnTo>
                <a:lnTo>
                  <a:pt x="812" y="124"/>
                </a:lnTo>
                <a:lnTo>
                  <a:pt x="812" y="122"/>
                </a:lnTo>
                <a:lnTo>
                  <a:pt x="814" y="122"/>
                </a:lnTo>
                <a:lnTo>
                  <a:pt x="815" y="119"/>
                </a:lnTo>
                <a:lnTo>
                  <a:pt x="812" y="121"/>
                </a:lnTo>
                <a:lnTo>
                  <a:pt x="812" y="119"/>
                </a:lnTo>
                <a:lnTo>
                  <a:pt x="806" y="119"/>
                </a:lnTo>
                <a:lnTo>
                  <a:pt x="799" y="119"/>
                </a:lnTo>
                <a:lnTo>
                  <a:pt x="796" y="119"/>
                </a:lnTo>
                <a:lnTo>
                  <a:pt x="790" y="118"/>
                </a:lnTo>
                <a:lnTo>
                  <a:pt x="782" y="118"/>
                </a:lnTo>
                <a:lnTo>
                  <a:pt x="778" y="116"/>
                </a:lnTo>
                <a:lnTo>
                  <a:pt x="774" y="113"/>
                </a:lnTo>
                <a:lnTo>
                  <a:pt x="770" y="111"/>
                </a:lnTo>
                <a:lnTo>
                  <a:pt x="766" y="110"/>
                </a:lnTo>
                <a:lnTo>
                  <a:pt x="767" y="108"/>
                </a:lnTo>
                <a:lnTo>
                  <a:pt x="771" y="108"/>
                </a:lnTo>
                <a:lnTo>
                  <a:pt x="774" y="108"/>
                </a:lnTo>
                <a:lnTo>
                  <a:pt x="775" y="108"/>
                </a:lnTo>
                <a:lnTo>
                  <a:pt x="782" y="110"/>
                </a:lnTo>
                <a:lnTo>
                  <a:pt x="787" y="111"/>
                </a:lnTo>
                <a:lnTo>
                  <a:pt x="795" y="114"/>
                </a:lnTo>
                <a:lnTo>
                  <a:pt x="798" y="116"/>
                </a:lnTo>
                <a:lnTo>
                  <a:pt x="798" y="118"/>
                </a:lnTo>
                <a:lnTo>
                  <a:pt x="808" y="118"/>
                </a:lnTo>
                <a:lnTo>
                  <a:pt x="811" y="116"/>
                </a:lnTo>
                <a:lnTo>
                  <a:pt x="812" y="116"/>
                </a:lnTo>
                <a:lnTo>
                  <a:pt x="814" y="113"/>
                </a:lnTo>
                <a:lnTo>
                  <a:pt x="818" y="113"/>
                </a:lnTo>
                <a:lnTo>
                  <a:pt x="818" y="111"/>
                </a:lnTo>
                <a:lnTo>
                  <a:pt x="820" y="111"/>
                </a:lnTo>
                <a:lnTo>
                  <a:pt x="821" y="110"/>
                </a:lnTo>
                <a:lnTo>
                  <a:pt x="823" y="108"/>
                </a:lnTo>
                <a:lnTo>
                  <a:pt x="825" y="107"/>
                </a:lnTo>
                <a:lnTo>
                  <a:pt x="827" y="107"/>
                </a:lnTo>
                <a:lnTo>
                  <a:pt x="827" y="105"/>
                </a:lnTo>
                <a:lnTo>
                  <a:pt x="827" y="103"/>
                </a:lnTo>
                <a:lnTo>
                  <a:pt x="828" y="102"/>
                </a:lnTo>
                <a:lnTo>
                  <a:pt x="827" y="100"/>
                </a:lnTo>
                <a:lnTo>
                  <a:pt x="824" y="100"/>
                </a:lnTo>
                <a:lnTo>
                  <a:pt x="818" y="99"/>
                </a:lnTo>
                <a:lnTo>
                  <a:pt x="816" y="99"/>
                </a:lnTo>
                <a:lnTo>
                  <a:pt x="818" y="97"/>
                </a:lnTo>
                <a:lnTo>
                  <a:pt x="820" y="96"/>
                </a:lnTo>
                <a:lnTo>
                  <a:pt x="828" y="97"/>
                </a:lnTo>
                <a:lnTo>
                  <a:pt x="829" y="97"/>
                </a:lnTo>
                <a:lnTo>
                  <a:pt x="831" y="97"/>
                </a:lnTo>
                <a:lnTo>
                  <a:pt x="835" y="96"/>
                </a:lnTo>
                <a:lnTo>
                  <a:pt x="837" y="96"/>
                </a:lnTo>
                <a:lnTo>
                  <a:pt x="840" y="102"/>
                </a:lnTo>
                <a:lnTo>
                  <a:pt x="841" y="100"/>
                </a:lnTo>
                <a:lnTo>
                  <a:pt x="844" y="102"/>
                </a:lnTo>
                <a:lnTo>
                  <a:pt x="845" y="102"/>
                </a:lnTo>
                <a:lnTo>
                  <a:pt x="851" y="102"/>
                </a:lnTo>
                <a:lnTo>
                  <a:pt x="851" y="99"/>
                </a:lnTo>
                <a:lnTo>
                  <a:pt x="852" y="99"/>
                </a:lnTo>
                <a:lnTo>
                  <a:pt x="855" y="100"/>
                </a:lnTo>
                <a:lnTo>
                  <a:pt x="859" y="102"/>
                </a:lnTo>
                <a:lnTo>
                  <a:pt x="861" y="102"/>
                </a:lnTo>
                <a:lnTo>
                  <a:pt x="861" y="103"/>
                </a:lnTo>
                <a:lnTo>
                  <a:pt x="861" y="102"/>
                </a:lnTo>
                <a:lnTo>
                  <a:pt x="860" y="100"/>
                </a:lnTo>
                <a:lnTo>
                  <a:pt x="860" y="97"/>
                </a:lnTo>
                <a:lnTo>
                  <a:pt x="856" y="96"/>
                </a:lnTo>
                <a:lnTo>
                  <a:pt x="856" y="94"/>
                </a:lnTo>
                <a:lnTo>
                  <a:pt x="857" y="94"/>
                </a:lnTo>
                <a:lnTo>
                  <a:pt x="860" y="96"/>
                </a:lnTo>
                <a:lnTo>
                  <a:pt x="865" y="97"/>
                </a:lnTo>
                <a:lnTo>
                  <a:pt x="867" y="99"/>
                </a:lnTo>
                <a:lnTo>
                  <a:pt x="868" y="99"/>
                </a:lnTo>
                <a:lnTo>
                  <a:pt x="869" y="99"/>
                </a:lnTo>
                <a:lnTo>
                  <a:pt x="872" y="97"/>
                </a:lnTo>
                <a:lnTo>
                  <a:pt x="873" y="96"/>
                </a:lnTo>
                <a:lnTo>
                  <a:pt x="879" y="96"/>
                </a:lnTo>
                <a:lnTo>
                  <a:pt x="887" y="92"/>
                </a:lnTo>
                <a:lnTo>
                  <a:pt x="888" y="91"/>
                </a:lnTo>
                <a:lnTo>
                  <a:pt x="888" y="89"/>
                </a:lnTo>
                <a:lnTo>
                  <a:pt x="891" y="88"/>
                </a:lnTo>
                <a:lnTo>
                  <a:pt x="893" y="88"/>
                </a:lnTo>
                <a:lnTo>
                  <a:pt x="897" y="86"/>
                </a:lnTo>
                <a:lnTo>
                  <a:pt x="897" y="85"/>
                </a:lnTo>
                <a:lnTo>
                  <a:pt x="899" y="85"/>
                </a:lnTo>
                <a:lnTo>
                  <a:pt x="897" y="83"/>
                </a:lnTo>
                <a:lnTo>
                  <a:pt x="897" y="81"/>
                </a:lnTo>
                <a:lnTo>
                  <a:pt x="899" y="80"/>
                </a:lnTo>
                <a:lnTo>
                  <a:pt x="897" y="78"/>
                </a:lnTo>
                <a:lnTo>
                  <a:pt x="893" y="77"/>
                </a:lnTo>
                <a:lnTo>
                  <a:pt x="887" y="72"/>
                </a:lnTo>
                <a:lnTo>
                  <a:pt x="887" y="70"/>
                </a:lnTo>
                <a:lnTo>
                  <a:pt x="887" y="69"/>
                </a:lnTo>
                <a:lnTo>
                  <a:pt x="888" y="67"/>
                </a:lnTo>
                <a:lnTo>
                  <a:pt x="884" y="67"/>
                </a:lnTo>
                <a:lnTo>
                  <a:pt x="884" y="66"/>
                </a:lnTo>
                <a:lnTo>
                  <a:pt x="883" y="66"/>
                </a:lnTo>
                <a:lnTo>
                  <a:pt x="884" y="64"/>
                </a:lnTo>
                <a:lnTo>
                  <a:pt x="880" y="63"/>
                </a:lnTo>
                <a:lnTo>
                  <a:pt x="880" y="61"/>
                </a:lnTo>
                <a:lnTo>
                  <a:pt x="884" y="63"/>
                </a:lnTo>
                <a:lnTo>
                  <a:pt x="885" y="61"/>
                </a:lnTo>
                <a:lnTo>
                  <a:pt x="887" y="61"/>
                </a:lnTo>
                <a:lnTo>
                  <a:pt x="888" y="63"/>
                </a:lnTo>
                <a:lnTo>
                  <a:pt x="889" y="64"/>
                </a:lnTo>
                <a:lnTo>
                  <a:pt x="891" y="63"/>
                </a:lnTo>
                <a:lnTo>
                  <a:pt x="892" y="61"/>
                </a:lnTo>
                <a:lnTo>
                  <a:pt x="895" y="61"/>
                </a:lnTo>
                <a:lnTo>
                  <a:pt x="897" y="59"/>
                </a:lnTo>
                <a:lnTo>
                  <a:pt x="899" y="59"/>
                </a:lnTo>
                <a:lnTo>
                  <a:pt x="899" y="58"/>
                </a:lnTo>
                <a:lnTo>
                  <a:pt x="897" y="56"/>
                </a:lnTo>
                <a:lnTo>
                  <a:pt x="889" y="55"/>
                </a:lnTo>
                <a:lnTo>
                  <a:pt x="891" y="53"/>
                </a:lnTo>
                <a:lnTo>
                  <a:pt x="895" y="53"/>
                </a:lnTo>
                <a:lnTo>
                  <a:pt x="897" y="50"/>
                </a:lnTo>
                <a:lnTo>
                  <a:pt x="895" y="50"/>
                </a:lnTo>
                <a:lnTo>
                  <a:pt x="892" y="48"/>
                </a:lnTo>
                <a:lnTo>
                  <a:pt x="884" y="48"/>
                </a:lnTo>
                <a:lnTo>
                  <a:pt x="883" y="47"/>
                </a:lnTo>
                <a:lnTo>
                  <a:pt x="880" y="44"/>
                </a:lnTo>
                <a:lnTo>
                  <a:pt x="877" y="44"/>
                </a:lnTo>
                <a:lnTo>
                  <a:pt x="880" y="44"/>
                </a:lnTo>
                <a:lnTo>
                  <a:pt x="880" y="41"/>
                </a:lnTo>
                <a:lnTo>
                  <a:pt x="879" y="41"/>
                </a:lnTo>
                <a:lnTo>
                  <a:pt x="876" y="41"/>
                </a:lnTo>
                <a:lnTo>
                  <a:pt x="873" y="41"/>
                </a:lnTo>
                <a:lnTo>
                  <a:pt x="871" y="41"/>
                </a:lnTo>
                <a:lnTo>
                  <a:pt x="864" y="41"/>
                </a:lnTo>
                <a:lnTo>
                  <a:pt x="857" y="39"/>
                </a:lnTo>
                <a:lnTo>
                  <a:pt x="855" y="39"/>
                </a:lnTo>
                <a:lnTo>
                  <a:pt x="849" y="37"/>
                </a:lnTo>
                <a:lnTo>
                  <a:pt x="844" y="37"/>
                </a:lnTo>
                <a:lnTo>
                  <a:pt x="841" y="39"/>
                </a:lnTo>
                <a:lnTo>
                  <a:pt x="836" y="39"/>
                </a:lnTo>
                <a:lnTo>
                  <a:pt x="836" y="41"/>
                </a:lnTo>
                <a:lnTo>
                  <a:pt x="835" y="41"/>
                </a:lnTo>
                <a:lnTo>
                  <a:pt x="836" y="42"/>
                </a:lnTo>
                <a:lnTo>
                  <a:pt x="836" y="44"/>
                </a:lnTo>
                <a:lnTo>
                  <a:pt x="836" y="45"/>
                </a:lnTo>
                <a:lnTo>
                  <a:pt x="836" y="47"/>
                </a:lnTo>
                <a:lnTo>
                  <a:pt x="837" y="48"/>
                </a:lnTo>
                <a:lnTo>
                  <a:pt x="839" y="50"/>
                </a:lnTo>
                <a:lnTo>
                  <a:pt x="843" y="50"/>
                </a:lnTo>
                <a:lnTo>
                  <a:pt x="845" y="52"/>
                </a:lnTo>
                <a:lnTo>
                  <a:pt x="847" y="52"/>
                </a:lnTo>
                <a:lnTo>
                  <a:pt x="848" y="53"/>
                </a:lnTo>
                <a:lnTo>
                  <a:pt x="844" y="53"/>
                </a:lnTo>
                <a:lnTo>
                  <a:pt x="843" y="53"/>
                </a:lnTo>
                <a:lnTo>
                  <a:pt x="844" y="53"/>
                </a:lnTo>
                <a:lnTo>
                  <a:pt x="841" y="53"/>
                </a:lnTo>
                <a:lnTo>
                  <a:pt x="841" y="55"/>
                </a:lnTo>
                <a:lnTo>
                  <a:pt x="840" y="55"/>
                </a:lnTo>
                <a:lnTo>
                  <a:pt x="841" y="56"/>
                </a:lnTo>
                <a:lnTo>
                  <a:pt x="845" y="56"/>
                </a:lnTo>
                <a:lnTo>
                  <a:pt x="847" y="56"/>
                </a:lnTo>
                <a:lnTo>
                  <a:pt x="844" y="58"/>
                </a:lnTo>
                <a:lnTo>
                  <a:pt x="840" y="56"/>
                </a:lnTo>
                <a:lnTo>
                  <a:pt x="837" y="58"/>
                </a:lnTo>
                <a:lnTo>
                  <a:pt x="836" y="56"/>
                </a:lnTo>
                <a:lnTo>
                  <a:pt x="836" y="58"/>
                </a:lnTo>
                <a:lnTo>
                  <a:pt x="832" y="58"/>
                </a:lnTo>
                <a:lnTo>
                  <a:pt x="831" y="59"/>
                </a:lnTo>
                <a:lnTo>
                  <a:pt x="831" y="64"/>
                </a:lnTo>
                <a:lnTo>
                  <a:pt x="829" y="66"/>
                </a:lnTo>
                <a:lnTo>
                  <a:pt x="828" y="67"/>
                </a:lnTo>
                <a:lnTo>
                  <a:pt x="825" y="70"/>
                </a:lnTo>
                <a:lnTo>
                  <a:pt x="823" y="72"/>
                </a:lnTo>
                <a:lnTo>
                  <a:pt x="820" y="75"/>
                </a:lnTo>
                <a:lnTo>
                  <a:pt x="819" y="75"/>
                </a:lnTo>
                <a:lnTo>
                  <a:pt x="820" y="78"/>
                </a:lnTo>
                <a:lnTo>
                  <a:pt x="819" y="81"/>
                </a:lnTo>
                <a:lnTo>
                  <a:pt x="816" y="81"/>
                </a:lnTo>
                <a:lnTo>
                  <a:pt x="816" y="80"/>
                </a:lnTo>
                <a:lnTo>
                  <a:pt x="815" y="81"/>
                </a:lnTo>
                <a:lnTo>
                  <a:pt x="814" y="80"/>
                </a:lnTo>
                <a:lnTo>
                  <a:pt x="811" y="81"/>
                </a:lnTo>
                <a:lnTo>
                  <a:pt x="811" y="83"/>
                </a:lnTo>
                <a:lnTo>
                  <a:pt x="807" y="85"/>
                </a:lnTo>
                <a:lnTo>
                  <a:pt x="806" y="83"/>
                </a:lnTo>
                <a:lnTo>
                  <a:pt x="804" y="83"/>
                </a:lnTo>
                <a:lnTo>
                  <a:pt x="798" y="77"/>
                </a:lnTo>
                <a:lnTo>
                  <a:pt x="795" y="75"/>
                </a:lnTo>
                <a:lnTo>
                  <a:pt x="794" y="74"/>
                </a:lnTo>
                <a:lnTo>
                  <a:pt x="791" y="70"/>
                </a:lnTo>
                <a:lnTo>
                  <a:pt x="792" y="67"/>
                </a:lnTo>
                <a:lnTo>
                  <a:pt x="791" y="66"/>
                </a:lnTo>
                <a:lnTo>
                  <a:pt x="794" y="63"/>
                </a:lnTo>
                <a:lnTo>
                  <a:pt x="794" y="66"/>
                </a:lnTo>
                <a:lnTo>
                  <a:pt x="795" y="66"/>
                </a:lnTo>
                <a:lnTo>
                  <a:pt x="798" y="66"/>
                </a:lnTo>
                <a:lnTo>
                  <a:pt x="800" y="66"/>
                </a:lnTo>
                <a:lnTo>
                  <a:pt x="799" y="63"/>
                </a:lnTo>
                <a:lnTo>
                  <a:pt x="798" y="61"/>
                </a:lnTo>
                <a:lnTo>
                  <a:pt x="796" y="56"/>
                </a:lnTo>
                <a:lnTo>
                  <a:pt x="795" y="55"/>
                </a:lnTo>
                <a:lnTo>
                  <a:pt x="787" y="52"/>
                </a:lnTo>
                <a:lnTo>
                  <a:pt x="783" y="50"/>
                </a:lnTo>
                <a:lnTo>
                  <a:pt x="782" y="48"/>
                </a:lnTo>
                <a:lnTo>
                  <a:pt x="779" y="47"/>
                </a:lnTo>
                <a:lnTo>
                  <a:pt x="775" y="48"/>
                </a:lnTo>
                <a:lnTo>
                  <a:pt x="774" y="50"/>
                </a:lnTo>
                <a:lnTo>
                  <a:pt x="770" y="52"/>
                </a:lnTo>
                <a:lnTo>
                  <a:pt x="770" y="53"/>
                </a:lnTo>
                <a:lnTo>
                  <a:pt x="770" y="56"/>
                </a:lnTo>
                <a:lnTo>
                  <a:pt x="770" y="58"/>
                </a:lnTo>
                <a:lnTo>
                  <a:pt x="768" y="58"/>
                </a:lnTo>
                <a:lnTo>
                  <a:pt x="767" y="59"/>
                </a:lnTo>
                <a:lnTo>
                  <a:pt x="767" y="61"/>
                </a:lnTo>
                <a:lnTo>
                  <a:pt x="764" y="64"/>
                </a:lnTo>
                <a:lnTo>
                  <a:pt x="762" y="66"/>
                </a:lnTo>
                <a:lnTo>
                  <a:pt x="762" y="64"/>
                </a:lnTo>
                <a:lnTo>
                  <a:pt x="760" y="63"/>
                </a:lnTo>
                <a:lnTo>
                  <a:pt x="759" y="61"/>
                </a:lnTo>
                <a:lnTo>
                  <a:pt x="759" y="59"/>
                </a:lnTo>
                <a:lnTo>
                  <a:pt x="759" y="58"/>
                </a:lnTo>
                <a:lnTo>
                  <a:pt x="760" y="56"/>
                </a:lnTo>
                <a:lnTo>
                  <a:pt x="758" y="55"/>
                </a:lnTo>
                <a:lnTo>
                  <a:pt x="759" y="53"/>
                </a:lnTo>
                <a:lnTo>
                  <a:pt x="756" y="52"/>
                </a:lnTo>
                <a:lnTo>
                  <a:pt x="755" y="50"/>
                </a:lnTo>
                <a:lnTo>
                  <a:pt x="754" y="50"/>
                </a:lnTo>
                <a:lnTo>
                  <a:pt x="746" y="47"/>
                </a:lnTo>
                <a:lnTo>
                  <a:pt x="748" y="47"/>
                </a:lnTo>
                <a:lnTo>
                  <a:pt x="750" y="47"/>
                </a:lnTo>
                <a:lnTo>
                  <a:pt x="752" y="47"/>
                </a:lnTo>
                <a:lnTo>
                  <a:pt x="754" y="47"/>
                </a:lnTo>
                <a:lnTo>
                  <a:pt x="755" y="45"/>
                </a:lnTo>
                <a:lnTo>
                  <a:pt x="754" y="44"/>
                </a:lnTo>
                <a:lnTo>
                  <a:pt x="752" y="44"/>
                </a:lnTo>
                <a:lnTo>
                  <a:pt x="751" y="44"/>
                </a:lnTo>
                <a:lnTo>
                  <a:pt x="750" y="44"/>
                </a:lnTo>
                <a:lnTo>
                  <a:pt x="747" y="42"/>
                </a:lnTo>
                <a:lnTo>
                  <a:pt x="746" y="44"/>
                </a:lnTo>
                <a:lnTo>
                  <a:pt x="747" y="42"/>
                </a:lnTo>
                <a:lnTo>
                  <a:pt x="744" y="42"/>
                </a:lnTo>
                <a:lnTo>
                  <a:pt x="742" y="44"/>
                </a:lnTo>
                <a:lnTo>
                  <a:pt x="739" y="44"/>
                </a:lnTo>
                <a:lnTo>
                  <a:pt x="735" y="42"/>
                </a:lnTo>
                <a:lnTo>
                  <a:pt x="734" y="42"/>
                </a:lnTo>
                <a:lnTo>
                  <a:pt x="732" y="41"/>
                </a:lnTo>
                <a:lnTo>
                  <a:pt x="727" y="41"/>
                </a:lnTo>
                <a:lnTo>
                  <a:pt x="726" y="39"/>
                </a:lnTo>
                <a:lnTo>
                  <a:pt x="728" y="39"/>
                </a:lnTo>
                <a:lnTo>
                  <a:pt x="728" y="37"/>
                </a:lnTo>
                <a:lnTo>
                  <a:pt x="731" y="37"/>
                </a:lnTo>
                <a:lnTo>
                  <a:pt x="732" y="37"/>
                </a:lnTo>
                <a:lnTo>
                  <a:pt x="734" y="37"/>
                </a:lnTo>
                <a:lnTo>
                  <a:pt x="736" y="36"/>
                </a:lnTo>
                <a:lnTo>
                  <a:pt x="738" y="36"/>
                </a:lnTo>
                <a:lnTo>
                  <a:pt x="735" y="34"/>
                </a:lnTo>
                <a:lnTo>
                  <a:pt x="730" y="33"/>
                </a:lnTo>
                <a:lnTo>
                  <a:pt x="731" y="33"/>
                </a:lnTo>
                <a:lnTo>
                  <a:pt x="731" y="31"/>
                </a:lnTo>
                <a:lnTo>
                  <a:pt x="732" y="31"/>
                </a:lnTo>
                <a:lnTo>
                  <a:pt x="739" y="33"/>
                </a:lnTo>
                <a:lnTo>
                  <a:pt x="744" y="33"/>
                </a:lnTo>
                <a:lnTo>
                  <a:pt x="743" y="31"/>
                </a:lnTo>
                <a:lnTo>
                  <a:pt x="742" y="31"/>
                </a:lnTo>
                <a:lnTo>
                  <a:pt x="740" y="30"/>
                </a:lnTo>
                <a:lnTo>
                  <a:pt x="739" y="28"/>
                </a:lnTo>
                <a:lnTo>
                  <a:pt x="739" y="30"/>
                </a:lnTo>
                <a:lnTo>
                  <a:pt x="738" y="30"/>
                </a:lnTo>
                <a:lnTo>
                  <a:pt x="736" y="30"/>
                </a:lnTo>
                <a:lnTo>
                  <a:pt x="736" y="28"/>
                </a:lnTo>
                <a:lnTo>
                  <a:pt x="735" y="28"/>
                </a:lnTo>
                <a:lnTo>
                  <a:pt x="734" y="26"/>
                </a:lnTo>
                <a:lnTo>
                  <a:pt x="732" y="25"/>
                </a:lnTo>
                <a:lnTo>
                  <a:pt x="732" y="23"/>
                </a:lnTo>
                <a:lnTo>
                  <a:pt x="731" y="23"/>
                </a:lnTo>
                <a:lnTo>
                  <a:pt x="727" y="23"/>
                </a:lnTo>
                <a:lnTo>
                  <a:pt x="726" y="20"/>
                </a:lnTo>
                <a:lnTo>
                  <a:pt x="723" y="20"/>
                </a:lnTo>
                <a:lnTo>
                  <a:pt x="722" y="20"/>
                </a:lnTo>
                <a:lnTo>
                  <a:pt x="723" y="20"/>
                </a:lnTo>
                <a:lnTo>
                  <a:pt x="723" y="17"/>
                </a:lnTo>
                <a:lnTo>
                  <a:pt x="723" y="15"/>
                </a:lnTo>
                <a:lnTo>
                  <a:pt x="722" y="12"/>
                </a:lnTo>
                <a:lnTo>
                  <a:pt x="715" y="8"/>
                </a:lnTo>
                <a:lnTo>
                  <a:pt x="712" y="8"/>
                </a:lnTo>
                <a:lnTo>
                  <a:pt x="711" y="6"/>
                </a:lnTo>
                <a:lnTo>
                  <a:pt x="711" y="4"/>
                </a:lnTo>
                <a:lnTo>
                  <a:pt x="711" y="3"/>
                </a:lnTo>
                <a:lnTo>
                  <a:pt x="707" y="4"/>
                </a:lnTo>
                <a:lnTo>
                  <a:pt x="705" y="3"/>
                </a:lnTo>
                <a:lnTo>
                  <a:pt x="703" y="4"/>
                </a:lnTo>
                <a:lnTo>
                  <a:pt x="701" y="4"/>
                </a:lnTo>
                <a:lnTo>
                  <a:pt x="701" y="3"/>
                </a:lnTo>
                <a:lnTo>
                  <a:pt x="699" y="4"/>
                </a:lnTo>
                <a:lnTo>
                  <a:pt x="698" y="3"/>
                </a:lnTo>
                <a:lnTo>
                  <a:pt x="699" y="3"/>
                </a:lnTo>
                <a:lnTo>
                  <a:pt x="699" y="1"/>
                </a:lnTo>
                <a:lnTo>
                  <a:pt x="701" y="1"/>
                </a:lnTo>
                <a:lnTo>
                  <a:pt x="697" y="0"/>
                </a:lnTo>
                <a:lnTo>
                  <a:pt x="694" y="0"/>
                </a:lnTo>
                <a:lnTo>
                  <a:pt x="693" y="0"/>
                </a:lnTo>
                <a:lnTo>
                  <a:pt x="690" y="0"/>
                </a:lnTo>
                <a:lnTo>
                  <a:pt x="687" y="1"/>
                </a:lnTo>
                <a:lnTo>
                  <a:pt x="687" y="3"/>
                </a:lnTo>
                <a:lnTo>
                  <a:pt x="686" y="3"/>
                </a:lnTo>
                <a:lnTo>
                  <a:pt x="682" y="4"/>
                </a:lnTo>
                <a:lnTo>
                  <a:pt x="681" y="8"/>
                </a:lnTo>
                <a:lnTo>
                  <a:pt x="682" y="9"/>
                </a:lnTo>
                <a:lnTo>
                  <a:pt x="685" y="9"/>
                </a:lnTo>
                <a:lnTo>
                  <a:pt x="685" y="11"/>
                </a:lnTo>
                <a:lnTo>
                  <a:pt x="683" y="12"/>
                </a:lnTo>
                <a:lnTo>
                  <a:pt x="678" y="11"/>
                </a:lnTo>
                <a:lnTo>
                  <a:pt x="675" y="11"/>
                </a:lnTo>
                <a:lnTo>
                  <a:pt x="675" y="12"/>
                </a:lnTo>
                <a:lnTo>
                  <a:pt x="674" y="12"/>
                </a:lnTo>
                <a:lnTo>
                  <a:pt x="673" y="12"/>
                </a:lnTo>
                <a:lnTo>
                  <a:pt x="673" y="14"/>
                </a:lnTo>
                <a:lnTo>
                  <a:pt x="671" y="15"/>
                </a:lnTo>
                <a:lnTo>
                  <a:pt x="673" y="15"/>
                </a:lnTo>
                <a:lnTo>
                  <a:pt x="671" y="17"/>
                </a:lnTo>
                <a:lnTo>
                  <a:pt x="670" y="19"/>
                </a:lnTo>
                <a:lnTo>
                  <a:pt x="670" y="20"/>
                </a:lnTo>
                <a:lnTo>
                  <a:pt x="673" y="22"/>
                </a:lnTo>
                <a:lnTo>
                  <a:pt x="675" y="23"/>
                </a:lnTo>
                <a:lnTo>
                  <a:pt x="677" y="23"/>
                </a:lnTo>
                <a:lnTo>
                  <a:pt x="677" y="25"/>
                </a:lnTo>
                <a:lnTo>
                  <a:pt x="675" y="25"/>
                </a:lnTo>
                <a:lnTo>
                  <a:pt x="674" y="25"/>
                </a:lnTo>
                <a:lnTo>
                  <a:pt x="671" y="28"/>
                </a:lnTo>
                <a:lnTo>
                  <a:pt x="670" y="28"/>
                </a:lnTo>
                <a:lnTo>
                  <a:pt x="669" y="28"/>
                </a:lnTo>
                <a:lnTo>
                  <a:pt x="667" y="30"/>
                </a:lnTo>
                <a:lnTo>
                  <a:pt x="667" y="31"/>
                </a:lnTo>
                <a:lnTo>
                  <a:pt x="669" y="33"/>
                </a:lnTo>
                <a:lnTo>
                  <a:pt x="671" y="34"/>
                </a:lnTo>
                <a:lnTo>
                  <a:pt x="671" y="36"/>
                </a:lnTo>
                <a:lnTo>
                  <a:pt x="677" y="36"/>
                </a:lnTo>
                <a:lnTo>
                  <a:pt x="675" y="37"/>
                </a:lnTo>
                <a:lnTo>
                  <a:pt x="677" y="37"/>
                </a:lnTo>
                <a:lnTo>
                  <a:pt x="681" y="39"/>
                </a:lnTo>
                <a:lnTo>
                  <a:pt x="687" y="39"/>
                </a:lnTo>
                <a:lnTo>
                  <a:pt x="689" y="41"/>
                </a:lnTo>
                <a:lnTo>
                  <a:pt x="693" y="41"/>
                </a:lnTo>
                <a:lnTo>
                  <a:pt x="693" y="42"/>
                </a:lnTo>
                <a:lnTo>
                  <a:pt x="695" y="42"/>
                </a:lnTo>
                <a:lnTo>
                  <a:pt x="697" y="42"/>
                </a:lnTo>
                <a:lnTo>
                  <a:pt x="695" y="41"/>
                </a:lnTo>
                <a:lnTo>
                  <a:pt x="698" y="42"/>
                </a:lnTo>
                <a:lnTo>
                  <a:pt x="701" y="45"/>
                </a:lnTo>
                <a:lnTo>
                  <a:pt x="705" y="45"/>
                </a:lnTo>
                <a:lnTo>
                  <a:pt x="708" y="44"/>
                </a:lnTo>
                <a:lnTo>
                  <a:pt x="711" y="44"/>
                </a:lnTo>
                <a:lnTo>
                  <a:pt x="712" y="45"/>
                </a:lnTo>
                <a:lnTo>
                  <a:pt x="712" y="48"/>
                </a:lnTo>
                <a:lnTo>
                  <a:pt x="708" y="50"/>
                </a:lnTo>
                <a:lnTo>
                  <a:pt x="708" y="48"/>
                </a:lnTo>
                <a:lnTo>
                  <a:pt x="708" y="47"/>
                </a:lnTo>
                <a:lnTo>
                  <a:pt x="710" y="45"/>
                </a:lnTo>
                <a:lnTo>
                  <a:pt x="705" y="47"/>
                </a:lnTo>
                <a:lnTo>
                  <a:pt x="702" y="48"/>
                </a:lnTo>
                <a:lnTo>
                  <a:pt x="702" y="50"/>
                </a:lnTo>
                <a:lnTo>
                  <a:pt x="703" y="50"/>
                </a:lnTo>
                <a:lnTo>
                  <a:pt x="703" y="52"/>
                </a:lnTo>
                <a:lnTo>
                  <a:pt x="701" y="53"/>
                </a:lnTo>
                <a:lnTo>
                  <a:pt x="699" y="53"/>
                </a:lnTo>
                <a:lnTo>
                  <a:pt x="698" y="53"/>
                </a:lnTo>
                <a:lnTo>
                  <a:pt x="698" y="56"/>
                </a:lnTo>
                <a:lnTo>
                  <a:pt x="697" y="58"/>
                </a:lnTo>
                <a:lnTo>
                  <a:pt x="701" y="58"/>
                </a:lnTo>
                <a:lnTo>
                  <a:pt x="706" y="56"/>
                </a:lnTo>
                <a:lnTo>
                  <a:pt x="708" y="55"/>
                </a:lnTo>
                <a:lnTo>
                  <a:pt x="707" y="55"/>
                </a:lnTo>
                <a:lnTo>
                  <a:pt x="706" y="55"/>
                </a:lnTo>
                <a:lnTo>
                  <a:pt x="707" y="53"/>
                </a:lnTo>
                <a:lnTo>
                  <a:pt x="707" y="52"/>
                </a:lnTo>
                <a:lnTo>
                  <a:pt x="710" y="53"/>
                </a:lnTo>
                <a:lnTo>
                  <a:pt x="711" y="55"/>
                </a:lnTo>
                <a:lnTo>
                  <a:pt x="711" y="56"/>
                </a:lnTo>
                <a:lnTo>
                  <a:pt x="711" y="59"/>
                </a:lnTo>
                <a:lnTo>
                  <a:pt x="714" y="59"/>
                </a:lnTo>
                <a:lnTo>
                  <a:pt x="712" y="61"/>
                </a:lnTo>
                <a:lnTo>
                  <a:pt x="705" y="63"/>
                </a:lnTo>
                <a:lnTo>
                  <a:pt x="703" y="64"/>
                </a:lnTo>
                <a:lnTo>
                  <a:pt x="703" y="66"/>
                </a:lnTo>
                <a:lnTo>
                  <a:pt x="699" y="67"/>
                </a:lnTo>
                <a:lnTo>
                  <a:pt x="698" y="67"/>
                </a:lnTo>
                <a:lnTo>
                  <a:pt x="697" y="69"/>
                </a:lnTo>
                <a:lnTo>
                  <a:pt x="695" y="69"/>
                </a:lnTo>
                <a:lnTo>
                  <a:pt x="691" y="69"/>
                </a:lnTo>
                <a:lnTo>
                  <a:pt x="689" y="69"/>
                </a:lnTo>
                <a:lnTo>
                  <a:pt x="687" y="69"/>
                </a:lnTo>
                <a:lnTo>
                  <a:pt x="686" y="69"/>
                </a:lnTo>
                <a:lnTo>
                  <a:pt x="685" y="69"/>
                </a:lnTo>
                <a:lnTo>
                  <a:pt x="683" y="69"/>
                </a:lnTo>
                <a:lnTo>
                  <a:pt x="683" y="70"/>
                </a:lnTo>
                <a:lnTo>
                  <a:pt x="685" y="70"/>
                </a:lnTo>
                <a:lnTo>
                  <a:pt x="682" y="74"/>
                </a:lnTo>
                <a:lnTo>
                  <a:pt x="682" y="75"/>
                </a:lnTo>
                <a:lnTo>
                  <a:pt x="686" y="77"/>
                </a:lnTo>
                <a:lnTo>
                  <a:pt x="687" y="78"/>
                </a:lnTo>
                <a:lnTo>
                  <a:pt x="687" y="80"/>
                </a:lnTo>
                <a:lnTo>
                  <a:pt x="689" y="81"/>
                </a:lnTo>
                <a:lnTo>
                  <a:pt x="687" y="85"/>
                </a:lnTo>
                <a:lnTo>
                  <a:pt x="685" y="83"/>
                </a:lnTo>
                <a:lnTo>
                  <a:pt x="683" y="83"/>
                </a:lnTo>
                <a:lnTo>
                  <a:pt x="685" y="81"/>
                </a:lnTo>
                <a:lnTo>
                  <a:pt x="685" y="80"/>
                </a:lnTo>
                <a:lnTo>
                  <a:pt x="682" y="81"/>
                </a:lnTo>
                <a:lnTo>
                  <a:pt x="681" y="81"/>
                </a:lnTo>
                <a:lnTo>
                  <a:pt x="677" y="83"/>
                </a:lnTo>
                <a:lnTo>
                  <a:pt x="677" y="80"/>
                </a:lnTo>
                <a:lnTo>
                  <a:pt x="673" y="80"/>
                </a:lnTo>
                <a:lnTo>
                  <a:pt x="671" y="78"/>
                </a:lnTo>
                <a:lnTo>
                  <a:pt x="677" y="77"/>
                </a:lnTo>
                <a:lnTo>
                  <a:pt x="674" y="74"/>
                </a:lnTo>
                <a:lnTo>
                  <a:pt x="675" y="72"/>
                </a:lnTo>
                <a:lnTo>
                  <a:pt x="677" y="70"/>
                </a:lnTo>
                <a:lnTo>
                  <a:pt x="677" y="69"/>
                </a:lnTo>
                <a:lnTo>
                  <a:pt x="677" y="67"/>
                </a:lnTo>
                <a:lnTo>
                  <a:pt x="677" y="66"/>
                </a:lnTo>
                <a:lnTo>
                  <a:pt x="670" y="67"/>
                </a:lnTo>
                <a:lnTo>
                  <a:pt x="670" y="70"/>
                </a:lnTo>
                <a:lnTo>
                  <a:pt x="669" y="69"/>
                </a:lnTo>
                <a:lnTo>
                  <a:pt x="667" y="69"/>
                </a:lnTo>
                <a:lnTo>
                  <a:pt x="666" y="69"/>
                </a:lnTo>
                <a:lnTo>
                  <a:pt x="667" y="67"/>
                </a:lnTo>
                <a:lnTo>
                  <a:pt x="669" y="66"/>
                </a:lnTo>
                <a:lnTo>
                  <a:pt x="669" y="64"/>
                </a:lnTo>
                <a:lnTo>
                  <a:pt x="665" y="66"/>
                </a:lnTo>
                <a:lnTo>
                  <a:pt x="662" y="64"/>
                </a:lnTo>
                <a:lnTo>
                  <a:pt x="663" y="64"/>
                </a:lnTo>
                <a:lnTo>
                  <a:pt x="659" y="63"/>
                </a:lnTo>
                <a:lnTo>
                  <a:pt x="658" y="61"/>
                </a:lnTo>
                <a:lnTo>
                  <a:pt x="654" y="61"/>
                </a:lnTo>
                <a:lnTo>
                  <a:pt x="655" y="63"/>
                </a:lnTo>
                <a:lnTo>
                  <a:pt x="653" y="61"/>
                </a:lnTo>
                <a:lnTo>
                  <a:pt x="649" y="61"/>
                </a:lnTo>
                <a:lnTo>
                  <a:pt x="646" y="61"/>
                </a:lnTo>
                <a:lnTo>
                  <a:pt x="651" y="63"/>
                </a:lnTo>
                <a:lnTo>
                  <a:pt x="651" y="64"/>
                </a:lnTo>
                <a:lnTo>
                  <a:pt x="646" y="64"/>
                </a:lnTo>
                <a:lnTo>
                  <a:pt x="645" y="63"/>
                </a:lnTo>
                <a:lnTo>
                  <a:pt x="642" y="63"/>
                </a:lnTo>
                <a:lnTo>
                  <a:pt x="642" y="64"/>
                </a:lnTo>
                <a:lnTo>
                  <a:pt x="641" y="64"/>
                </a:lnTo>
                <a:lnTo>
                  <a:pt x="638" y="63"/>
                </a:lnTo>
                <a:lnTo>
                  <a:pt x="637" y="63"/>
                </a:lnTo>
                <a:lnTo>
                  <a:pt x="639" y="64"/>
                </a:lnTo>
                <a:lnTo>
                  <a:pt x="639" y="66"/>
                </a:lnTo>
                <a:lnTo>
                  <a:pt x="642" y="67"/>
                </a:lnTo>
                <a:lnTo>
                  <a:pt x="642" y="69"/>
                </a:lnTo>
                <a:lnTo>
                  <a:pt x="641" y="67"/>
                </a:lnTo>
                <a:lnTo>
                  <a:pt x="642" y="69"/>
                </a:lnTo>
                <a:lnTo>
                  <a:pt x="645" y="70"/>
                </a:lnTo>
                <a:lnTo>
                  <a:pt x="646" y="74"/>
                </a:lnTo>
                <a:lnTo>
                  <a:pt x="647" y="74"/>
                </a:lnTo>
                <a:lnTo>
                  <a:pt x="647" y="72"/>
                </a:lnTo>
                <a:lnTo>
                  <a:pt x="649" y="70"/>
                </a:lnTo>
                <a:lnTo>
                  <a:pt x="654" y="70"/>
                </a:lnTo>
                <a:lnTo>
                  <a:pt x="655" y="70"/>
                </a:lnTo>
                <a:lnTo>
                  <a:pt x="655" y="72"/>
                </a:lnTo>
                <a:lnTo>
                  <a:pt x="658" y="72"/>
                </a:lnTo>
                <a:lnTo>
                  <a:pt x="658" y="70"/>
                </a:lnTo>
                <a:lnTo>
                  <a:pt x="659" y="70"/>
                </a:lnTo>
                <a:lnTo>
                  <a:pt x="659" y="75"/>
                </a:lnTo>
                <a:lnTo>
                  <a:pt x="657" y="77"/>
                </a:lnTo>
                <a:lnTo>
                  <a:pt x="654" y="77"/>
                </a:lnTo>
                <a:lnTo>
                  <a:pt x="653" y="77"/>
                </a:lnTo>
                <a:lnTo>
                  <a:pt x="649" y="75"/>
                </a:lnTo>
                <a:lnTo>
                  <a:pt x="647" y="75"/>
                </a:lnTo>
                <a:lnTo>
                  <a:pt x="645" y="74"/>
                </a:lnTo>
                <a:lnTo>
                  <a:pt x="642" y="72"/>
                </a:lnTo>
                <a:lnTo>
                  <a:pt x="642" y="70"/>
                </a:lnTo>
                <a:lnTo>
                  <a:pt x="641" y="70"/>
                </a:lnTo>
                <a:lnTo>
                  <a:pt x="639" y="69"/>
                </a:lnTo>
                <a:lnTo>
                  <a:pt x="638" y="69"/>
                </a:lnTo>
                <a:lnTo>
                  <a:pt x="637" y="69"/>
                </a:lnTo>
                <a:lnTo>
                  <a:pt x="635" y="70"/>
                </a:lnTo>
                <a:lnTo>
                  <a:pt x="637" y="70"/>
                </a:lnTo>
                <a:lnTo>
                  <a:pt x="638" y="72"/>
                </a:lnTo>
                <a:lnTo>
                  <a:pt x="641" y="74"/>
                </a:lnTo>
                <a:lnTo>
                  <a:pt x="637" y="74"/>
                </a:lnTo>
                <a:lnTo>
                  <a:pt x="631" y="75"/>
                </a:lnTo>
                <a:lnTo>
                  <a:pt x="631" y="74"/>
                </a:lnTo>
                <a:lnTo>
                  <a:pt x="629" y="74"/>
                </a:lnTo>
                <a:lnTo>
                  <a:pt x="629" y="75"/>
                </a:lnTo>
                <a:lnTo>
                  <a:pt x="625" y="74"/>
                </a:lnTo>
                <a:lnTo>
                  <a:pt x="622" y="74"/>
                </a:lnTo>
                <a:lnTo>
                  <a:pt x="611" y="72"/>
                </a:lnTo>
                <a:lnTo>
                  <a:pt x="609" y="74"/>
                </a:lnTo>
                <a:lnTo>
                  <a:pt x="605" y="75"/>
                </a:lnTo>
                <a:lnTo>
                  <a:pt x="598" y="74"/>
                </a:lnTo>
                <a:lnTo>
                  <a:pt x="594" y="75"/>
                </a:lnTo>
                <a:lnTo>
                  <a:pt x="590" y="75"/>
                </a:lnTo>
                <a:lnTo>
                  <a:pt x="589" y="75"/>
                </a:lnTo>
                <a:lnTo>
                  <a:pt x="588" y="74"/>
                </a:lnTo>
                <a:lnTo>
                  <a:pt x="586" y="75"/>
                </a:lnTo>
                <a:lnTo>
                  <a:pt x="584" y="74"/>
                </a:lnTo>
                <a:lnTo>
                  <a:pt x="584" y="75"/>
                </a:lnTo>
                <a:lnTo>
                  <a:pt x="582" y="75"/>
                </a:lnTo>
                <a:lnTo>
                  <a:pt x="578" y="74"/>
                </a:lnTo>
                <a:lnTo>
                  <a:pt x="576" y="74"/>
                </a:lnTo>
                <a:lnTo>
                  <a:pt x="573" y="72"/>
                </a:lnTo>
                <a:lnTo>
                  <a:pt x="572" y="72"/>
                </a:lnTo>
                <a:lnTo>
                  <a:pt x="568" y="70"/>
                </a:lnTo>
                <a:lnTo>
                  <a:pt x="568" y="67"/>
                </a:lnTo>
                <a:lnTo>
                  <a:pt x="562" y="67"/>
                </a:lnTo>
                <a:lnTo>
                  <a:pt x="561" y="69"/>
                </a:lnTo>
                <a:lnTo>
                  <a:pt x="560" y="69"/>
                </a:lnTo>
                <a:lnTo>
                  <a:pt x="557" y="69"/>
                </a:lnTo>
                <a:lnTo>
                  <a:pt x="554" y="70"/>
                </a:lnTo>
                <a:lnTo>
                  <a:pt x="550" y="69"/>
                </a:lnTo>
                <a:lnTo>
                  <a:pt x="548" y="69"/>
                </a:lnTo>
                <a:lnTo>
                  <a:pt x="546" y="69"/>
                </a:lnTo>
                <a:lnTo>
                  <a:pt x="546" y="67"/>
                </a:lnTo>
                <a:lnTo>
                  <a:pt x="545" y="66"/>
                </a:lnTo>
                <a:lnTo>
                  <a:pt x="546" y="66"/>
                </a:lnTo>
                <a:lnTo>
                  <a:pt x="541" y="66"/>
                </a:lnTo>
                <a:lnTo>
                  <a:pt x="538" y="64"/>
                </a:lnTo>
                <a:lnTo>
                  <a:pt x="536" y="63"/>
                </a:lnTo>
                <a:lnTo>
                  <a:pt x="533" y="61"/>
                </a:lnTo>
                <a:lnTo>
                  <a:pt x="532" y="63"/>
                </a:lnTo>
                <a:lnTo>
                  <a:pt x="532" y="61"/>
                </a:lnTo>
                <a:lnTo>
                  <a:pt x="533" y="61"/>
                </a:lnTo>
                <a:lnTo>
                  <a:pt x="536" y="61"/>
                </a:lnTo>
                <a:lnTo>
                  <a:pt x="533" y="59"/>
                </a:lnTo>
                <a:lnTo>
                  <a:pt x="533" y="58"/>
                </a:lnTo>
                <a:lnTo>
                  <a:pt x="530" y="58"/>
                </a:lnTo>
                <a:lnTo>
                  <a:pt x="533" y="56"/>
                </a:lnTo>
                <a:lnTo>
                  <a:pt x="529" y="56"/>
                </a:lnTo>
                <a:lnTo>
                  <a:pt x="529" y="55"/>
                </a:lnTo>
                <a:lnTo>
                  <a:pt x="526" y="53"/>
                </a:lnTo>
                <a:lnTo>
                  <a:pt x="525" y="53"/>
                </a:lnTo>
                <a:lnTo>
                  <a:pt x="522" y="53"/>
                </a:lnTo>
                <a:lnTo>
                  <a:pt x="521" y="53"/>
                </a:lnTo>
                <a:lnTo>
                  <a:pt x="517" y="53"/>
                </a:lnTo>
                <a:lnTo>
                  <a:pt x="516" y="55"/>
                </a:lnTo>
                <a:lnTo>
                  <a:pt x="512" y="55"/>
                </a:lnTo>
                <a:lnTo>
                  <a:pt x="510" y="56"/>
                </a:lnTo>
                <a:lnTo>
                  <a:pt x="506" y="56"/>
                </a:lnTo>
                <a:lnTo>
                  <a:pt x="500" y="58"/>
                </a:lnTo>
                <a:lnTo>
                  <a:pt x="490" y="58"/>
                </a:lnTo>
                <a:lnTo>
                  <a:pt x="489" y="59"/>
                </a:lnTo>
                <a:lnTo>
                  <a:pt x="486" y="61"/>
                </a:lnTo>
                <a:lnTo>
                  <a:pt x="484" y="64"/>
                </a:lnTo>
                <a:lnTo>
                  <a:pt x="484" y="66"/>
                </a:lnTo>
                <a:lnTo>
                  <a:pt x="488" y="64"/>
                </a:lnTo>
                <a:lnTo>
                  <a:pt x="488" y="66"/>
                </a:lnTo>
                <a:lnTo>
                  <a:pt x="490" y="66"/>
                </a:lnTo>
                <a:lnTo>
                  <a:pt x="489" y="67"/>
                </a:lnTo>
                <a:lnTo>
                  <a:pt x="492" y="66"/>
                </a:lnTo>
                <a:lnTo>
                  <a:pt x="492" y="67"/>
                </a:lnTo>
                <a:lnTo>
                  <a:pt x="497" y="67"/>
                </a:lnTo>
                <a:lnTo>
                  <a:pt x="494" y="67"/>
                </a:lnTo>
                <a:lnTo>
                  <a:pt x="496" y="67"/>
                </a:lnTo>
                <a:lnTo>
                  <a:pt x="498" y="67"/>
                </a:lnTo>
                <a:lnTo>
                  <a:pt x="501" y="67"/>
                </a:lnTo>
                <a:lnTo>
                  <a:pt x="500" y="66"/>
                </a:lnTo>
                <a:lnTo>
                  <a:pt x="498" y="66"/>
                </a:lnTo>
                <a:lnTo>
                  <a:pt x="497" y="64"/>
                </a:lnTo>
                <a:lnTo>
                  <a:pt x="498" y="64"/>
                </a:lnTo>
                <a:lnTo>
                  <a:pt x="502" y="63"/>
                </a:lnTo>
                <a:lnTo>
                  <a:pt x="504" y="64"/>
                </a:lnTo>
                <a:lnTo>
                  <a:pt x="506" y="64"/>
                </a:lnTo>
                <a:lnTo>
                  <a:pt x="508" y="64"/>
                </a:lnTo>
                <a:lnTo>
                  <a:pt x="509" y="64"/>
                </a:lnTo>
                <a:lnTo>
                  <a:pt x="510" y="63"/>
                </a:lnTo>
                <a:lnTo>
                  <a:pt x="514" y="63"/>
                </a:lnTo>
                <a:lnTo>
                  <a:pt x="514" y="64"/>
                </a:lnTo>
                <a:lnTo>
                  <a:pt x="516" y="64"/>
                </a:lnTo>
                <a:lnTo>
                  <a:pt x="514" y="64"/>
                </a:lnTo>
                <a:lnTo>
                  <a:pt x="516" y="64"/>
                </a:lnTo>
                <a:lnTo>
                  <a:pt x="517" y="64"/>
                </a:lnTo>
                <a:lnTo>
                  <a:pt x="517" y="63"/>
                </a:lnTo>
                <a:lnTo>
                  <a:pt x="516" y="63"/>
                </a:lnTo>
                <a:lnTo>
                  <a:pt x="514" y="61"/>
                </a:lnTo>
                <a:lnTo>
                  <a:pt x="518" y="61"/>
                </a:lnTo>
                <a:lnTo>
                  <a:pt x="517" y="59"/>
                </a:lnTo>
                <a:lnTo>
                  <a:pt x="525" y="58"/>
                </a:lnTo>
                <a:lnTo>
                  <a:pt x="526" y="58"/>
                </a:lnTo>
                <a:lnTo>
                  <a:pt x="528" y="58"/>
                </a:lnTo>
                <a:lnTo>
                  <a:pt x="528" y="59"/>
                </a:lnTo>
                <a:lnTo>
                  <a:pt x="526" y="59"/>
                </a:lnTo>
                <a:lnTo>
                  <a:pt x="528" y="61"/>
                </a:lnTo>
                <a:lnTo>
                  <a:pt x="524" y="61"/>
                </a:lnTo>
                <a:lnTo>
                  <a:pt x="524" y="63"/>
                </a:lnTo>
                <a:lnTo>
                  <a:pt x="522" y="63"/>
                </a:lnTo>
                <a:lnTo>
                  <a:pt x="521" y="66"/>
                </a:lnTo>
                <a:lnTo>
                  <a:pt x="521" y="64"/>
                </a:lnTo>
                <a:lnTo>
                  <a:pt x="520" y="64"/>
                </a:lnTo>
                <a:lnTo>
                  <a:pt x="520" y="66"/>
                </a:lnTo>
                <a:lnTo>
                  <a:pt x="517" y="66"/>
                </a:lnTo>
                <a:lnTo>
                  <a:pt x="514" y="66"/>
                </a:lnTo>
                <a:lnTo>
                  <a:pt x="514" y="67"/>
                </a:lnTo>
                <a:lnTo>
                  <a:pt x="508" y="67"/>
                </a:lnTo>
                <a:lnTo>
                  <a:pt x="505" y="69"/>
                </a:lnTo>
                <a:lnTo>
                  <a:pt x="501" y="69"/>
                </a:lnTo>
                <a:lnTo>
                  <a:pt x="498" y="70"/>
                </a:lnTo>
                <a:lnTo>
                  <a:pt x="501" y="70"/>
                </a:lnTo>
                <a:lnTo>
                  <a:pt x="500" y="72"/>
                </a:lnTo>
                <a:lnTo>
                  <a:pt x="498" y="72"/>
                </a:lnTo>
                <a:lnTo>
                  <a:pt x="497" y="72"/>
                </a:lnTo>
                <a:lnTo>
                  <a:pt x="494" y="74"/>
                </a:lnTo>
                <a:lnTo>
                  <a:pt x="496" y="75"/>
                </a:lnTo>
                <a:lnTo>
                  <a:pt x="500" y="77"/>
                </a:lnTo>
                <a:lnTo>
                  <a:pt x="501" y="78"/>
                </a:lnTo>
                <a:lnTo>
                  <a:pt x="501" y="80"/>
                </a:lnTo>
                <a:lnTo>
                  <a:pt x="500" y="80"/>
                </a:lnTo>
                <a:lnTo>
                  <a:pt x="502" y="81"/>
                </a:lnTo>
                <a:lnTo>
                  <a:pt x="504" y="83"/>
                </a:lnTo>
                <a:lnTo>
                  <a:pt x="505" y="85"/>
                </a:lnTo>
                <a:lnTo>
                  <a:pt x="506" y="85"/>
                </a:lnTo>
                <a:lnTo>
                  <a:pt x="508" y="86"/>
                </a:lnTo>
                <a:lnTo>
                  <a:pt x="505" y="86"/>
                </a:lnTo>
                <a:lnTo>
                  <a:pt x="508" y="89"/>
                </a:lnTo>
                <a:lnTo>
                  <a:pt x="505" y="89"/>
                </a:lnTo>
                <a:lnTo>
                  <a:pt x="504" y="89"/>
                </a:lnTo>
                <a:lnTo>
                  <a:pt x="501" y="89"/>
                </a:lnTo>
                <a:lnTo>
                  <a:pt x="500" y="89"/>
                </a:lnTo>
                <a:lnTo>
                  <a:pt x="498" y="92"/>
                </a:lnTo>
                <a:lnTo>
                  <a:pt x="497" y="91"/>
                </a:lnTo>
                <a:lnTo>
                  <a:pt x="494" y="89"/>
                </a:lnTo>
                <a:lnTo>
                  <a:pt x="490" y="88"/>
                </a:lnTo>
                <a:lnTo>
                  <a:pt x="490" y="86"/>
                </a:lnTo>
                <a:lnTo>
                  <a:pt x="492" y="86"/>
                </a:lnTo>
                <a:lnTo>
                  <a:pt x="494" y="86"/>
                </a:lnTo>
                <a:lnTo>
                  <a:pt x="496" y="86"/>
                </a:lnTo>
                <a:lnTo>
                  <a:pt x="498" y="85"/>
                </a:lnTo>
                <a:lnTo>
                  <a:pt x="497" y="83"/>
                </a:lnTo>
                <a:lnTo>
                  <a:pt x="496" y="81"/>
                </a:lnTo>
                <a:lnTo>
                  <a:pt x="493" y="81"/>
                </a:lnTo>
                <a:lnTo>
                  <a:pt x="490" y="80"/>
                </a:lnTo>
                <a:lnTo>
                  <a:pt x="489" y="80"/>
                </a:lnTo>
                <a:lnTo>
                  <a:pt x="488" y="80"/>
                </a:lnTo>
                <a:lnTo>
                  <a:pt x="488" y="78"/>
                </a:lnTo>
                <a:lnTo>
                  <a:pt x="486" y="78"/>
                </a:lnTo>
                <a:lnTo>
                  <a:pt x="486" y="77"/>
                </a:lnTo>
                <a:lnTo>
                  <a:pt x="485" y="77"/>
                </a:lnTo>
                <a:lnTo>
                  <a:pt x="485" y="78"/>
                </a:lnTo>
                <a:lnTo>
                  <a:pt x="484" y="80"/>
                </a:lnTo>
                <a:lnTo>
                  <a:pt x="481" y="80"/>
                </a:lnTo>
                <a:lnTo>
                  <a:pt x="482" y="78"/>
                </a:lnTo>
                <a:lnTo>
                  <a:pt x="481" y="77"/>
                </a:lnTo>
                <a:lnTo>
                  <a:pt x="481" y="75"/>
                </a:lnTo>
                <a:lnTo>
                  <a:pt x="481" y="74"/>
                </a:lnTo>
                <a:lnTo>
                  <a:pt x="475" y="74"/>
                </a:lnTo>
                <a:lnTo>
                  <a:pt x="475" y="75"/>
                </a:lnTo>
                <a:lnTo>
                  <a:pt x="469" y="74"/>
                </a:lnTo>
                <a:lnTo>
                  <a:pt x="471" y="74"/>
                </a:lnTo>
                <a:lnTo>
                  <a:pt x="469" y="72"/>
                </a:lnTo>
                <a:lnTo>
                  <a:pt x="468" y="72"/>
                </a:lnTo>
                <a:lnTo>
                  <a:pt x="467" y="72"/>
                </a:lnTo>
                <a:lnTo>
                  <a:pt x="467" y="70"/>
                </a:lnTo>
                <a:lnTo>
                  <a:pt x="465" y="69"/>
                </a:lnTo>
                <a:lnTo>
                  <a:pt x="464" y="70"/>
                </a:lnTo>
                <a:lnTo>
                  <a:pt x="460" y="70"/>
                </a:lnTo>
                <a:lnTo>
                  <a:pt x="457" y="72"/>
                </a:lnTo>
                <a:lnTo>
                  <a:pt x="455" y="74"/>
                </a:lnTo>
                <a:lnTo>
                  <a:pt x="452" y="74"/>
                </a:lnTo>
                <a:lnTo>
                  <a:pt x="449" y="74"/>
                </a:lnTo>
                <a:lnTo>
                  <a:pt x="449" y="72"/>
                </a:lnTo>
                <a:lnTo>
                  <a:pt x="447" y="72"/>
                </a:lnTo>
                <a:lnTo>
                  <a:pt x="445" y="74"/>
                </a:lnTo>
                <a:lnTo>
                  <a:pt x="443" y="74"/>
                </a:lnTo>
                <a:lnTo>
                  <a:pt x="443" y="75"/>
                </a:lnTo>
                <a:lnTo>
                  <a:pt x="440" y="75"/>
                </a:lnTo>
                <a:lnTo>
                  <a:pt x="439" y="74"/>
                </a:lnTo>
                <a:lnTo>
                  <a:pt x="437" y="75"/>
                </a:lnTo>
                <a:lnTo>
                  <a:pt x="439" y="75"/>
                </a:lnTo>
                <a:lnTo>
                  <a:pt x="436" y="75"/>
                </a:lnTo>
                <a:lnTo>
                  <a:pt x="436" y="74"/>
                </a:lnTo>
                <a:lnTo>
                  <a:pt x="432" y="74"/>
                </a:lnTo>
                <a:lnTo>
                  <a:pt x="431" y="75"/>
                </a:lnTo>
                <a:lnTo>
                  <a:pt x="424" y="75"/>
                </a:lnTo>
                <a:lnTo>
                  <a:pt x="420" y="75"/>
                </a:lnTo>
                <a:lnTo>
                  <a:pt x="421" y="75"/>
                </a:lnTo>
                <a:lnTo>
                  <a:pt x="416" y="75"/>
                </a:lnTo>
                <a:lnTo>
                  <a:pt x="412" y="75"/>
                </a:lnTo>
                <a:lnTo>
                  <a:pt x="407" y="75"/>
                </a:lnTo>
                <a:lnTo>
                  <a:pt x="403" y="74"/>
                </a:lnTo>
                <a:lnTo>
                  <a:pt x="400" y="74"/>
                </a:lnTo>
                <a:lnTo>
                  <a:pt x="399" y="74"/>
                </a:lnTo>
                <a:lnTo>
                  <a:pt x="396" y="74"/>
                </a:lnTo>
                <a:lnTo>
                  <a:pt x="395" y="74"/>
                </a:lnTo>
                <a:lnTo>
                  <a:pt x="389" y="72"/>
                </a:lnTo>
                <a:lnTo>
                  <a:pt x="385" y="72"/>
                </a:lnTo>
                <a:lnTo>
                  <a:pt x="387" y="72"/>
                </a:lnTo>
                <a:lnTo>
                  <a:pt x="385" y="72"/>
                </a:lnTo>
                <a:lnTo>
                  <a:pt x="384" y="72"/>
                </a:lnTo>
                <a:lnTo>
                  <a:pt x="383" y="70"/>
                </a:lnTo>
                <a:lnTo>
                  <a:pt x="387" y="70"/>
                </a:lnTo>
                <a:lnTo>
                  <a:pt x="387" y="67"/>
                </a:lnTo>
                <a:lnTo>
                  <a:pt x="388" y="67"/>
                </a:lnTo>
                <a:lnTo>
                  <a:pt x="387" y="67"/>
                </a:lnTo>
                <a:lnTo>
                  <a:pt x="392" y="67"/>
                </a:lnTo>
                <a:lnTo>
                  <a:pt x="393" y="66"/>
                </a:lnTo>
                <a:lnTo>
                  <a:pt x="391" y="66"/>
                </a:lnTo>
                <a:lnTo>
                  <a:pt x="396" y="66"/>
                </a:lnTo>
                <a:lnTo>
                  <a:pt x="399" y="64"/>
                </a:lnTo>
                <a:lnTo>
                  <a:pt x="400" y="66"/>
                </a:lnTo>
                <a:lnTo>
                  <a:pt x="403" y="66"/>
                </a:lnTo>
                <a:lnTo>
                  <a:pt x="403" y="64"/>
                </a:lnTo>
                <a:lnTo>
                  <a:pt x="405" y="66"/>
                </a:lnTo>
                <a:lnTo>
                  <a:pt x="404" y="64"/>
                </a:lnTo>
                <a:lnTo>
                  <a:pt x="405" y="63"/>
                </a:lnTo>
                <a:lnTo>
                  <a:pt x="405" y="61"/>
                </a:lnTo>
                <a:lnTo>
                  <a:pt x="403" y="63"/>
                </a:lnTo>
                <a:lnTo>
                  <a:pt x="403" y="61"/>
                </a:lnTo>
                <a:lnTo>
                  <a:pt x="401" y="59"/>
                </a:lnTo>
                <a:lnTo>
                  <a:pt x="399" y="58"/>
                </a:lnTo>
                <a:lnTo>
                  <a:pt x="393" y="56"/>
                </a:lnTo>
                <a:lnTo>
                  <a:pt x="393" y="55"/>
                </a:lnTo>
                <a:lnTo>
                  <a:pt x="391" y="56"/>
                </a:lnTo>
                <a:lnTo>
                  <a:pt x="391" y="55"/>
                </a:lnTo>
                <a:lnTo>
                  <a:pt x="385" y="53"/>
                </a:lnTo>
                <a:lnTo>
                  <a:pt x="388" y="53"/>
                </a:lnTo>
                <a:lnTo>
                  <a:pt x="380" y="53"/>
                </a:lnTo>
                <a:lnTo>
                  <a:pt x="377" y="53"/>
                </a:lnTo>
                <a:lnTo>
                  <a:pt x="375" y="53"/>
                </a:lnTo>
                <a:lnTo>
                  <a:pt x="372" y="53"/>
                </a:lnTo>
                <a:lnTo>
                  <a:pt x="376" y="55"/>
                </a:lnTo>
                <a:lnTo>
                  <a:pt x="376" y="56"/>
                </a:lnTo>
                <a:lnTo>
                  <a:pt x="373" y="55"/>
                </a:lnTo>
                <a:lnTo>
                  <a:pt x="369" y="55"/>
                </a:lnTo>
                <a:lnTo>
                  <a:pt x="362" y="53"/>
                </a:lnTo>
                <a:lnTo>
                  <a:pt x="362" y="55"/>
                </a:lnTo>
                <a:lnTo>
                  <a:pt x="359" y="53"/>
                </a:lnTo>
                <a:lnTo>
                  <a:pt x="356" y="53"/>
                </a:lnTo>
                <a:lnTo>
                  <a:pt x="351" y="53"/>
                </a:lnTo>
                <a:lnTo>
                  <a:pt x="344" y="52"/>
                </a:lnTo>
                <a:lnTo>
                  <a:pt x="340" y="52"/>
                </a:lnTo>
                <a:lnTo>
                  <a:pt x="338" y="50"/>
                </a:lnTo>
                <a:lnTo>
                  <a:pt x="335" y="48"/>
                </a:lnTo>
                <a:lnTo>
                  <a:pt x="334" y="48"/>
                </a:lnTo>
                <a:lnTo>
                  <a:pt x="331" y="48"/>
                </a:lnTo>
                <a:lnTo>
                  <a:pt x="326" y="47"/>
                </a:lnTo>
                <a:lnTo>
                  <a:pt x="322" y="47"/>
                </a:lnTo>
                <a:lnTo>
                  <a:pt x="319" y="47"/>
                </a:lnTo>
                <a:lnTo>
                  <a:pt x="314" y="45"/>
                </a:lnTo>
                <a:lnTo>
                  <a:pt x="308" y="45"/>
                </a:lnTo>
                <a:lnTo>
                  <a:pt x="303" y="42"/>
                </a:lnTo>
                <a:lnTo>
                  <a:pt x="295" y="39"/>
                </a:lnTo>
                <a:lnTo>
                  <a:pt x="288" y="39"/>
                </a:lnTo>
                <a:lnTo>
                  <a:pt x="283" y="39"/>
                </a:lnTo>
                <a:lnTo>
                  <a:pt x="283" y="37"/>
                </a:lnTo>
                <a:lnTo>
                  <a:pt x="280" y="37"/>
                </a:lnTo>
                <a:lnTo>
                  <a:pt x="279" y="37"/>
                </a:lnTo>
                <a:lnTo>
                  <a:pt x="275" y="37"/>
                </a:lnTo>
                <a:lnTo>
                  <a:pt x="271" y="39"/>
                </a:lnTo>
                <a:lnTo>
                  <a:pt x="270" y="39"/>
                </a:lnTo>
                <a:lnTo>
                  <a:pt x="268" y="41"/>
                </a:lnTo>
                <a:lnTo>
                  <a:pt x="267" y="42"/>
                </a:lnTo>
                <a:lnTo>
                  <a:pt x="267" y="44"/>
                </a:lnTo>
                <a:lnTo>
                  <a:pt x="264" y="44"/>
                </a:lnTo>
                <a:lnTo>
                  <a:pt x="263" y="45"/>
                </a:lnTo>
                <a:lnTo>
                  <a:pt x="262" y="47"/>
                </a:lnTo>
                <a:lnTo>
                  <a:pt x="256" y="45"/>
                </a:lnTo>
                <a:lnTo>
                  <a:pt x="255" y="45"/>
                </a:lnTo>
                <a:lnTo>
                  <a:pt x="254" y="47"/>
                </a:lnTo>
                <a:lnTo>
                  <a:pt x="247" y="47"/>
                </a:lnTo>
                <a:lnTo>
                  <a:pt x="247" y="45"/>
                </a:lnTo>
                <a:lnTo>
                  <a:pt x="249" y="44"/>
                </a:lnTo>
                <a:lnTo>
                  <a:pt x="249" y="45"/>
                </a:lnTo>
                <a:lnTo>
                  <a:pt x="250" y="44"/>
                </a:lnTo>
                <a:lnTo>
                  <a:pt x="255" y="41"/>
                </a:lnTo>
                <a:lnTo>
                  <a:pt x="253" y="39"/>
                </a:lnTo>
                <a:lnTo>
                  <a:pt x="250" y="41"/>
                </a:lnTo>
                <a:lnTo>
                  <a:pt x="249" y="39"/>
                </a:lnTo>
                <a:lnTo>
                  <a:pt x="249" y="37"/>
                </a:lnTo>
                <a:lnTo>
                  <a:pt x="250" y="36"/>
                </a:lnTo>
                <a:lnTo>
                  <a:pt x="250" y="34"/>
                </a:lnTo>
                <a:lnTo>
                  <a:pt x="249" y="33"/>
                </a:lnTo>
                <a:lnTo>
                  <a:pt x="245" y="33"/>
                </a:lnTo>
                <a:lnTo>
                  <a:pt x="246" y="33"/>
                </a:lnTo>
                <a:lnTo>
                  <a:pt x="249" y="34"/>
                </a:lnTo>
                <a:lnTo>
                  <a:pt x="246" y="34"/>
                </a:lnTo>
                <a:lnTo>
                  <a:pt x="246" y="36"/>
                </a:lnTo>
                <a:lnTo>
                  <a:pt x="245" y="34"/>
                </a:lnTo>
                <a:lnTo>
                  <a:pt x="243" y="34"/>
                </a:lnTo>
                <a:lnTo>
                  <a:pt x="241" y="34"/>
                </a:lnTo>
                <a:lnTo>
                  <a:pt x="239" y="34"/>
                </a:lnTo>
                <a:lnTo>
                  <a:pt x="238" y="34"/>
                </a:lnTo>
                <a:lnTo>
                  <a:pt x="238" y="36"/>
                </a:lnTo>
                <a:lnTo>
                  <a:pt x="239" y="36"/>
                </a:lnTo>
                <a:lnTo>
                  <a:pt x="241" y="36"/>
                </a:lnTo>
                <a:lnTo>
                  <a:pt x="242" y="34"/>
                </a:lnTo>
                <a:lnTo>
                  <a:pt x="243" y="34"/>
                </a:lnTo>
                <a:lnTo>
                  <a:pt x="242" y="36"/>
                </a:lnTo>
                <a:lnTo>
                  <a:pt x="238" y="39"/>
                </a:lnTo>
                <a:lnTo>
                  <a:pt x="237" y="37"/>
                </a:lnTo>
                <a:lnTo>
                  <a:pt x="237" y="39"/>
                </a:lnTo>
                <a:lnTo>
                  <a:pt x="239" y="39"/>
                </a:lnTo>
                <a:lnTo>
                  <a:pt x="239" y="41"/>
                </a:lnTo>
                <a:lnTo>
                  <a:pt x="235" y="41"/>
                </a:lnTo>
                <a:lnTo>
                  <a:pt x="234" y="41"/>
                </a:lnTo>
                <a:lnTo>
                  <a:pt x="237" y="44"/>
                </a:lnTo>
                <a:lnTo>
                  <a:pt x="238" y="44"/>
                </a:lnTo>
                <a:lnTo>
                  <a:pt x="235" y="44"/>
                </a:lnTo>
                <a:lnTo>
                  <a:pt x="231" y="44"/>
                </a:lnTo>
                <a:lnTo>
                  <a:pt x="230" y="45"/>
                </a:lnTo>
                <a:lnTo>
                  <a:pt x="235" y="44"/>
                </a:lnTo>
                <a:lnTo>
                  <a:pt x="238" y="45"/>
                </a:lnTo>
                <a:lnTo>
                  <a:pt x="235" y="45"/>
                </a:lnTo>
                <a:lnTo>
                  <a:pt x="234" y="45"/>
                </a:lnTo>
                <a:lnTo>
                  <a:pt x="234" y="47"/>
                </a:lnTo>
                <a:lnTo>
                  <a:pt x="227" y="45"/>
                </a:lnTo>
                <a:lnTo>
                  <a:pt x="225" y="45"/>
                </a:lnTo>
                <a:lnTo>
                  <a:pt x="221" y="44"/>
                </a:lnTo>
                <a:lnTo>
                  <a:pt x="218" y="42"/>
                </a:lnTo>
                <a:lnTo>
                  <a:pt x="215" y="42"/>
                </a:lnTo>
                <a:lnTo>
                  <a:pt x="214" y="41"/>
                </a:lnTo>
                <a:lnTo>
                  <a:pt x="210" y="36"/>
                </a:lnTo>
                <a:lnTo>
                  <a:pt x="209" y="34"/>
                </a:lnTo>
                <a:lnTo>
                  <a:pt x="207" y="31"/>
                </a:lnTo>
                <a:lnTo>
                  <a:pt x="206" y="30"/>
                </a:lnTo>
                <a:lnTo>
                  <a:pt x="198" y="26"/>
                </a:lnTo>
                <a:lnTo>
                  <a:pt x="194" y="25"/>
                </a:lnTo>
                <a:lnTo>
                  <a:pt x="193" y="26"/>
                </a:lnTo>
                <a:lnTo>
                  <a:pt x="191" y="26"/>
                </a:lnTo>
                <a:lnTo>
                  <a:pt x="191" y="28"/>
                </a:lnTo>
                <a:lnTo>
                  <a:pt x="194" y="28"/>
                </a:lnTo>
                <a:lnTo>
                  <a:pt x="195" y="28"/>
                </a:lnTo>
                <a:lnTo>
                  <a:pt x="195" y="30"/>
                </a:lnTo>
                <a:lnTo>
                  <a:pt x="194" y="30"/>
                </a:lnTo>
                <a:lnTo>
                  <a:pt x="197" y="30"/>
                </a:lnTo>
                <a:lnTo>
                  <a:pt x="201" y="31"/>
                </a:lnTo>
                <a:lnTo>
                  <a:pt x="198" y="31"/>
                </a:lnTo>
                <a:lnTo>
                  <a:pt x="191" y="33"/>
                </a:lnTo>
                <a:lnTo>
                  <a:pt x="190" y="33"/>
                </a:lnTo>
                <a:lnTo>
                  <a:pt x="191" y="34"/>
                </a:lnTo>
                <a:lnTo>
                  <a:pt x="190" y="36"/>
                </a:lnTo>
                <a:lnTo>
                  <a:pt x="186" y="37"/>
                </a:lnTo>
                <a:lnTo>
                  <a:pt x="185" y="39"/>
                </a:lnTo>
                <a:lnTo>
                  <a:pt x="178" y="41"/>
                </a:lnTo>
                <a:lnTo>
                  <a:pt x="178" y="39"/>
                </a:lnTo>
                <a:lnTo>
                  <a:pt x="179" y="37"/>
                </a:lnTo>
                <a:lnTo>
                  <a:pt x="181" y="37"/>
                </a:lnTo>
                <a:lnTo>
                  <a:pt x="182" y="36"/>
                </a:lnTo>
                <a:lnTo>
                  <a:pt x="177" y="37"/>
                </a:lnTo>
                <a:lnTo>
                  <a:pt x="169" y="39"/>
                </a:lnTo>
                <a:lnTo>
                  <a:pt x="166" y="39"/>
                </a:lnTo>
                <a:lnTo>
                  <a:pt x="163" y="41"/>
                </a:lnTo>
                <a:lnTo>
                  <a:pt x="159" y="41"/>
                </a:lnTo>
                <a:lnTo>
                  <a:pt x="159" y="42"/>
                </a:lnTo>
                <a:lnTo>
                  <a:pt x="154" y="45"/>
                </a:lnTo>
                <a:lnTo>
                  <a:pt x="149" y="48"/>
                </a:lnTo>
                <a:lnTo>
                  <a:pt x="150" y="47"/>
                </a:lnTo>
                <a:lnTo>
                  <a:pt x="150" y="45"/>
                </a:lnTo>
                <a:lnTo>
                  <a:pt x="149" y="44"/>
                </a:lnTo>
                <a:lnTo>
                  <a:pt x="146" y="44"/>
                </a:lnTo>
                <a:lnTo>
                  <a:pt x="143" y="47"/>
                </a:lnTo>
                <a:lnTo>
                  <a:pt x="143" y="45"/>
                </a:lnTo>
                <a:lnTo>
                  <a:pt x="141" y="47"/>
                </a:lnTo>
                <a:lnTo>
                  <a:pt x="142" y="45"/>
                </a:lnTo>
                <a:lnTo>
                  <a:pt x="141" y="45"/>
                </a:lnTo>
                <a:lnTo>
                  <a:pt x="138" y="45"/>
                </a:lnTo>
                <a:lnTo>
                  <a:pt x="137" y="45"/>
                </a:lnTo>
                <a:lnTo>
                  <a:pt x="138" y="47"/>
                </a:lnTo>
                <a:lnTo>
                  <a:pt x="133" y="50"/>
                </a:lnTo>
                <a:lnTo>
                  <a:pt x="125" y="50"/>
                </a:lnTo>
                <a:lnTo>
                  <a:pt x="122" y="52"/>
                </a:lnTo>
                <a:lnTo>
                  <a:pt x="121" y="52"/>
                </a:lnTo>
                <a:lnTo>
                  <a:pt x="121" y="50"/>
                </a:lnTo>
                <a:lnTo>
                  <a:pt x="124" y="48"/>
                </a:lnTo>
                <a:lnTo>
                  <a:pt x="125" y="48"/>
                </a:lnTo>
                <a:lnTo>
                  <a:pt x="126" y="50"/>
                </a:lnTo>
                <a:lnTo>
                  <a:pt x="126" y="48"/>
                </a:lnTo>
                <a:lnTo>
                  <a:pt x="128" y="47"/>
                </a:lnTo>
                <a:lnTo>
                  <a:pt x="129" y="48"/>
                </a:lnTo>
                <a:lnTo>
                  <a:pt x="130" y="47"/>
                </a:lnTo>
                <a:lnTo>
                  <a:pt x="134" y="45"/>
                </a:lnTo>
                <a:lnTo>
                  <a:pt x="133" y="45"/>
                </a:lnTo>
                <a:lnTo>
                  <a:pt x="134" y="44"/>
                </a:lnTo>
                <a:lnTo>
                  <a:pt x="137" y="44"/>
                </a:lnTo>
                <a:lnTo>
                  <a:pt x="146" y="42"/>
                </a:lnTo>
                <a:lnTo>
                  <a:pt x="150" y="42"/>
                </a:lnTo>
                <a:lnTo>
                  <a:pt x="154" y="41"/>
                </a:lnTo>
                <a:lnTo>
                  <a:pt x="157" y="39"/>
                </a:lnTo>
                <a:lnTo>
                  <a:pt x="159" y="37"/>
                </a:lnTo>
                <a:lnTo>
                  <a:pt x="170" y="34"/>
                </a:lnTo>
                <a:lnTo>
                  <a:pt x="173" y="34"/>
                </a:lnTo>
                <a:lnTo>
                  <a:pt x="173" y="33"/>
                </a:lnTo>
                <a:lnTo>
                  <a:pt x="170" y="31"/>
                </a:lnTo>
                <a:lnTo>
                  <a:pt x="167" y="31"/>
                </a:lnTo>
                <a:lnTo>
                  <a:pt x="166" y="33"/>
                </a:lnTo>
                <a:lnTo>
                  <a:pt x="163" y="33"/>
                </a:lnTo>
                <a:lnTo>
                  <a:pt x="162" y="33"/>
                </a:lnTo>
                <a:lnTo>
                  <a:pt x="161" y="33"/>
                </a:lnTo>
                <a:lnTo>
                  <a:pt x="157" y="31"/>
                </a:lnTo>
                <a:lnTo>
                  <a:pt x="155" y="33"/>
                </a:lnTo>
                <a:lnTo>
                  <a:pt x="151" y="33"/>
                </a:lnTo>
                <a:lnTo>
                  <a:pt x="150" y="34"/>
                </a:lnTo>
                <a:lnTo>
                  <a:pt x="150" y="36"/>
                </a:lnTo>
                <a:lnTo>
                  <a:pt x="149" y="36"/>
                </a:lnTo>
                <a:lnTo>
                  <a:pt x="143" y="36"/>
                </a:lnTo>
                <a:lnTo>
                  <a:pt x="142" y="37"/>
                </a:lnTo>
                <a:lnTo>
                  <a:pt x="137" y="39"/>
                </a:lnTo>
                <a:lnTo>
                  <a:pt x="134" y="39"/>
                </a:lnTo>
                <a:lnTo>
                  <a:pt x="133" y="41"/>
                </a:lnTo>
                <a:lnTo>
                  <a:pt x="129" y="41"/>
                </a:lnTo>
                <a:lnTo>
                  <a:pt x="129" y="39"/>
                </a:lnTo>
                <a:lnTo>
                  <a:pt x="126" y="39"/>
                </a:lnTo>
                <a:lnTo>
                  <a:pt x="125" y="41"/>
                </a:lnTo>
                <a:lnTo>
                  <a:pt x="124" y="41"/>
                </a:lnTo>
                <a:lnTo>
                  <a:pt x="122" y="41"/>
                </a:lnTo>
                <a:lnTo>
                  <a:pt x="121" y="42"/>
                </a:lnTo>
                <a:lnTo>
                  <a:pt x="120" y="44"/>
                </a:lnTo>
                <a:lnTo>
                  <a:pt x="118" y="45"/>
                </a:lnTo>
                <a:lnTo>
                  <a:pt x="116" y="45"/>
                </a:lnTo>
                <a:lnTo>
                  <a:pt x="109" y="45"/>
                </a:lnTo>
                <a:lnTo>
                  <a:pt x="109" y="47"/>
                </a:lnTo>
                <a:lnTo>
                  <a:pt x="106" y="47"/>
                </a:lnTo>
                <a:lnTo>
                  <a:pt x="105" y="48"/>
                </a:lnTo>
                <a:lnTo>
                  <a:pt x="101" y="48"/>
                </a:lnTo>
                <a:lnTo>
                  <a:pt x="98" y="50"/>
                </a:lnTo>
                <a:lnTo>
                  <a:pt x="96" y="52"/>
                </a:lnTo>
                <a:lnTo>
                  <a:pt x="97" y="53"/>
                </a:lnTo>
                <a:lnTo>
                  <a:pt x="101" y="56"/>
                </a:lnTo>
                <a:lnTo>
                  <a:pt x="102" y="58"/>
                </a:lnTo>
                <a:lnTo>
                  <a:pt x="104" y="59"/>
                </a:lnTo>
                <a:lnTo>
                  <a:pt x="102" y="61"/>
                </a:lnTo>
                <a:lnTo>
                  <a:pt x="101" y="59"/>
                </a:lnTo>
                <a:lnTo>
                  <a:pt x="97" y="58"/>
                </a:lnTo>
                <a:lnTo>
                  <a:pt x="96" y="58"/>
                </a:lnTo>
                <a:lnTo>
                  <a:pt x="94" y="55"/>
                </a:lnTo>
                <a:lnTo>
                  <a:pt x="93" y="55"/>
                </a:lnTo>
                <a:lnTo>
                  <a:pt x="90" y="55"/>
                </a:lnTo>
                <a:lnTo>
                  <a:pt x="88" y="55"/>
                </a:lnTo>
                <a:lnTo>
                  <a:pt x="84" y="55"/>
                </a:lnTo>
                <a:lnTo>
                  <a:pt x="82" y="55"/>
                </a:lnTo>
                <a:lnTo>
                  <a:pt x="84" y="55"/>
                </a:lnTo>
                <a:lnTo>
                  <a:pt x="84" y="56"/>
                </a:lnTo>
                <a:lnTo>
                  <a:pt x="88" y="58"/>
                </a:lnTo>
                <a:lnTo>
                  <a:pt x="86" y="58"/>
                </a:lnTo>
                <a:lnTo>
                  <a:pt x="85" y="58"/>
                </a:lnTo>
                <a:lnTo>
                  <a:pt x="78" y="56"/>
                </a:lnTo>
                <a:lnTo>
                  <a:pt x="76" y="55"/>
                </a:lnTo>
                <a:lnTo>
                  <a:pt x="73" y="55"/>
                </a:lnTo>
                <a:lnTo>
                  <a:pt x="72" y="55"/>
                </a:lnTo>
                <a:lnTo>
                  <a:pt x="69" y="53"/>
                </a:lnTo>
                <a:lnTo>
                  <a:pt x="66" y="53"/>
                </a:lnTo>
                <a:lnTo>
                  <a:pt x="68" y="55"/>
                </a:lnTo>
                <a:lnTo>
                  <a:pt x="66" y="55"/>
                </a:lnTo>
                <a:lnTo>
                  <a:pt x="64" y="55"/>
                </a:lnTo>
                <a:lnTo>
                  <a:pt x="62" y="55"/>
                </a:lnTo>
                <a:lnTo>
                  <a:pt x="58" y="53"/>
                </a:lnTo>
                <a:lnTo>
                  <a:pt x="54" y="53"/>
                </a:lnTo>
                <a:lnTo>
                  <a:pt x="52" y="53"/>
                </a:lnTo>
                <a:lnTo>
                  <a:pt x="49" y="52"/>
                </a:lnTo>
                <a:lnTo>
                  <a:pt x="46" y="52"/>
                </a:lnTo>
                <a:lnTo>
                  <a:pt x="44" y="50"/>
                </a:lnTo>
                <a:lnTo>
                  <a:pt x="41" y="48"/>
                </a:lnTo>
                <a:lnTo>
                  <a:pt x="40" y="48"/>
                </a:lnTo>
                <a:lnTo>
                  <a:pt x="38" y="48"/>
                </a:lnTo>
                <a:lnTo>
                  <a:pt x="36" y="48"/>
                </a:lnTo>
                <a:lnTo>
                  <a:pt x="29" y="44"/>
                </a:lnTo>
                <a:lnTo>
                  <a:pt x="25" y="42"/>
                </a:lnTo>
                <a:lnTo>
                  <a:pt x="20" y="42"/>
                </a:lnTo>
                <a:lnTo>
                  <a:pt x="19" y="41"/>
                </a:lnTo>
                <a:lnTo>
                  <a:pt x="16" y="41"/>
                </a:lnTo>
                <a:lnTo>
                  <a:pt x="5" y="41"/>
                </a:lnTo>
                <a:lnTo>
                  <a:pt x="3" y="41"/>
                </a:lnTo>
                <a:lnTo>
                  <a:pt x="0" y="41"/>
                </a:lnTo>
                <a:lnTo>
                  <a:pt x="0" y="39"/>
                </a:lnTo>
                <a:lnTo>
                  <a:pt x="0" y="56"/>
                </a:lnTo>
                <a:lnTo>
                  <a:pt x="0" y="74"/>
                </a:lnTo>
                <a:lnTo>
                  <a:pt x="0" y="89"/>
                </a:lnTo>
                <a:lnTo>
                  <a:pt x="0" y="103"/>
                </a:lnTo>
                <a:lnTo>
                  <a:pt x="0" y="121"/>
                </a:lnTo>
                <a:lnTo>
                  <a:pt x="0" y="138"/>
                </a:lnTo>
                <a:lnTo>
                  <a:pt x="0" y="154"/>
                </a:lnTo>
                <a:lnTo>
                  <a:pt x="0" y="168"/>
                </a:lnTo>
                <a:lnTo>
                  <a:pt x="0" y="183"/>
                </a:lnTo>
                <a:lnTo>
                  <a:pt x="0" y="201"/>
                </a:lnTo>
                <a:lnTo>
                  <a:pt x="0" y="207"/>
                </a:lnTo>
                <a:lnTo>
                  <a:pt x="5" y="209"/>
                </a:lnTo>
                <a:lnTo>
                  <a:pt x="9" y="207"/>
                </a:lnTo>
                <a:lnTo>
                  <a:pt x="13" y="209"/>
                </a:lnTo>
                <a:lnTo>
                  <a:pt x="15" y="210"/>
                </a:lnTo>
                <a:lnTo>
                  <a:pt x="19" y="207"/>
                </a:lnTo>
                <a:lnTo>
                  <a:pt x="28" y="207"/>
                </a:lnTo>
                <a:lnTo>
                  <a:pt x="28" y="210"/>
                </a:lnTo>
                <a:lnTo>
                  <a:pt x="28" y="212"/>
                </a:lnTo>
                <a:lnTo>
                  <a:pt x="27" y="212"/>
                </a:lnTo>
                <a:lnTo>
                  <a:pt x="28" y="212"/>
                </a:lnTo>
                <a:lnTo>
                  <a:pt x="32" y="215"/>
                </a:lnTo>
                <a:lnTo>
                  <a:pt x="33" y="216"/>
                </a:lnTo>
                <a:lnTo>
                  <a:pt x="41" y="221"/>
                </a:lnTo>
                <a:lnTo>
                  <a:pt x="41" y="223"/>
                </a:lnTo>
                <a:lnTo>
                  <a:pt x="42" y="221"/>
                </a:lnTo>
                <a:lnTo>
                  <a:pt x="45" y="221"/>
                </a:lnTo>
                <a:lnTo>
                  <a:pt x="46" y="221"/>
                </a:lnTo>
                <a:lnTo>
                  <a:pt x="42" y="220"/>
                </a:lnTo>
                <a:lnTo>
                  <a:pt x="48" y="221"/>
                </a:lnTo>
                <a:lnTo>
                  <a:pt x="42" y="224"/>
                </a:lnTo>
                <a:lnTo>
                  <a:pt x="48" y="226"/>
                </a:lnTo>
                <a:lnTo>
                  <a:pt x="50" y="231"/>
                </a:lnTo>
                <a:lnTo>
                  <a:pt x="52" y="231"/>
                </a:lnTo>
                <a:lnTo>
                  <a:pt x="52" y="232"/>
                </a:lnTo>
                <a:lnTo>
                  <a:pt x="56" y="231"/>
                </a:lnTo>
                <a:lnTo>
                  <a:pt x="60" y="229"/>
                </a:lnTo>
                <a:lnTo>
                  <a:pt x="65" y="227"/>
                </a:lnTo>
                <a:lnTo>
                  <a:pt x="65" y="226"/>
                </a:lnTo>
                <a:lnTo>
                  <a:pt x="65" y="224"/>
                </a:lnTo>
                <a:lnTo>
                  <a:pt x="66" y="224"/>
                </a:lnTo>
                <a:lnTo>
                  <a:pt x="68" y="224"/>
                </a:lnTo>
                <a:lnTo>
                  <a:pt x="69" y="223"/>
                </a:lnTo>
                <a:lnTo>
                  <a:pt x="69" y="221"/>
                </a:lnTo>
                <a:lnTo>
                  <a:pt x="70" y="220"/>
                </a:lnTo>
                <a:lnTo>
                  <a:pt x="76" y="220"/>
                </a:lnTo>
                <a:lnTo>
                  <a:pt x="82" y="216"/>
                </a:lnTo>
                <a:lnTo>
                  <a:pt x="84" y="216"/>
                </a:lnTo>
                <a:lnTo>
                  <a:pt x="85" y="218"/>
                </a:lnTo>
                <a:lnTo>
                  <a:pt x="88" y="221"/>
                </a:lnTo>
                <a:lnTo>
                  <a:pt x="89" y="221"/>
                </a:lnTo>
                <a:lnTo>
                  <a:pt x="90" y="221"/>
                </a:lnTo>
                <a:lnTo>
                  <a:pt x="90" y="223"/>
                </a:lnTo>
                <a:lnTo>
                  <a:pt x="93" y="226"/>
                </a:lnTo>
                <a:lnTo>
                  <a:pt x="94" y="227"/>
                </a:lnTo>
                <a:lnTo>
                  <a:pt x="97" y="229"/>
                </a:lnTo>
                <a:lnTo>
                  <a:pt x="98" y="232"/>
                </a:lnTo>
                <a:lnTo>
                  <a:pt x="100" y="234"/>
                </a:lnTo>
                <a:lnTo>
                  <a:pt x="105" y="234"/>
                </a:lnTo>
                <a:lnTo>
                  <a:pt x="108" y="237"/>
                </a:lnTo>
                <a:lnTo>
                  <a:pt x="110" y="240"/>
                </a:lnTo>
                <a:lnTo>
                  <a:pt x="113" y="243"/>
                </a:lnTo>
                <a:lnTo>
                  <a:pt x="121" y="251"/>
                </a:lnTo>
                <a:lnTo>
                  <a:pt x="122" y="254"/>
                </a:lnTo>
                <a:lnTo>
                  <a:pt x="124" y="254"/>
                </a:lnTo>
                <a:lnTo>
                  <a:pt x="125" y="257"/>
                </a:lnTo>
                <a:lnTo>
                  <a:pt x="129" y="260"/>
                </a:lnTo>
                <a:lnTo>
                  <a:pt x="130" y="262"/>
                </a:lnTo>
                <a:lnTo>
                  <a:pt x="130" y="264"/>
                </a:lnTo>
                <a:lnTo>
                  <a:pt x="129" y="264"/>
                </a:lnTo>
                <a:lnTo>
                  <a:pt x="130" y="265"/>
                </a:lnTo>
                <a:lnTo>
                  <a:pt x="133" y="267"/>
                </a:lnTo>
                <a:lnTo>
                  <a:pt x="133" y="268"/>
                </a:lnTo>
                <a:lnTo>
                  <a:pt x="134" y="271"/>
                </a:lnTo>
                <a:lnTo>
                  <a:pt x="136" y="273"/>
                </a:lnTo>
                <a:lnTo>
                  <a:pt x="137" y="275"/>
                </a:lnTo>
                <a:lnTo>
                  <a:pt x="141" y="275"/>
                </a:lnTo>
                <a:lnTo>
                  <a:pt x="150" y="278"/>
                </a:lnTo>
                <a:lnTo>
                  <a:pt x="158" y="281"/>
                </a:lnTo>
                <a:lnTo>
                  <a:pt x="159" y="282"/>
                </a:lnTo>
                <a:lnTo>
                  <a:pt x="163" y="282"/>
                </a:lnTo>
                <a:lnTo>
                  <a:pt x="165" y="284"/>
                </a:lnTo>
                <a:lnTo>
                  <a:pt x="166" y="284"/>
                </a:lnTo>
                <a:lnTo>
                  <a:pt x="166" y="286"/>
                </a:lnTo>
                <a:lnTo>
                  <a:pt x="165" y="286"/>
                </a:lnTo>
                <a:lnTo>
                  <a:pt x="165" y="289"/>
                </a:lnTo>
                <a:lnTo>
                  <a:pt x="165" y="293"/>
                </a:lnTo>
                <a:lnTo>
                  <a:pt x="166" y="297"/>
                </a:lnTo>
                <a:lnTo>
                  <a:pt x="166" y="298"/>
                </a:lnTo>
                <a:lnTo>
                  <a:pt x="165" y="298"/>
                </a:lnTo>
                <a:lnTo>
                  <a:pt x="165" y="300"/>
                </a:lnTo>
                <a:lnTo>
                  <a:pt x="163" y="300"/>
                </a:lnTo>
                <a:lnTo>
                  <a:pt x="165" y="301"/>
                </a:lnTo>
                <a:lnTo>
                  <a:pt x="165" y="303"/>
                </a:lnTo>
                <a:lnTo>
                  <a:pt x="163" y="303"/>
                </a:lnTo>
                <a:lnTo>
                  <a:pt x="163" y="304"/>
                </a:lnTo>
                <a:lnTo>
                  <a:pt x="163" y="306"/>
                </a:lnTo>
                <a:lnTo>
                  <a:pt x="165" y="308"/>
                </a:lnTo>
                <a:lnTo>
                  <a:pt x="163" y="308"/>
                </a:lnTo>
                <a:lnTo>
                  <a:pt x="162" y="306"/>
                </a:lnTo>
                <a:lnTo>
                  <a:pt x="161" y="308"/>
                </a:lnTo>
                <a:lnTo>
                  <a:pt x="159" y="308"/>
                </a:lnTo>
                <a:lnTo>
                  <a:pt x="158" y="309"/>
                </a:lnTo>
                <a:lnTo>
                  <a:pt x="158" y="312"/>
                </a:lnTo>
                <a:lnTo>
                  <a:pt x="159" y="312"/>
                </a:lnTo>
                <a:lnTo>
                  <a:pt x="162" y="315"/>
                </a:lnTo>
                <a:lnTo>
                  <a:pt x="163" y="315"/>
                </a:lnTo>
                <a:lnTo>
                  <a:pt x="166" y="315"/>
                </a:lnTo>
                <a:lnTo>
                  <a:pt x="167" y="317"/>
                </a:lnTo>
                <a:lnTo>
                  <a:pt x="166" y="317"/>
                </a:lnTo>
                <a:lnTo>
                  <a:pt x="165" y="317"/>
                </a:lnTo>
                <a:lnTo>
                  <a:pt x="163" y="319"/>
                </a:lnTo>
                <a:lnTo>
                  <a:pt x="165" y="320"/>
                </a:lnTo>
                <a:lnTo>
                  <a:pt x="169" y="323"/>
                </a:lnTo>
                <a:lnTo>
                  <a:pt x="170" y="323"/>
                </a:lnTo>
                <a:lnTo>
                  <a:pt x="171" y="325"/>
                </a:lnTo>
                <a:lnTo>
                  <a:pt x="175" y="328"/>
                </a:lnTo>
                <a:lnTo>
                  <a:pt x="177" y="330"/>
                </a:lnTo>
                <a:lnTo>
                  <a:pt x="178" y="328"/>
                </a:lnTo>
                <a:lnTo>
                  <a:pt x="179" y="328"/>
                </a:lnTo>
                <a:lnTo>
                  <a:pt x="179" y="330"/>
                </a:lnTo>
                <a:lnTo>
                  <a:pt x="181" y="331"/>
                </a:lnTo>
                <a:lnTo>
                  <a:pt x="179" y="334"/>
                </a:lnTo>
                <a:lnTo>
                  <a:pt x="178" y="337"/>
                </a:lnTo>
                <a:lnTo>
                  <a:pt x="179" y="339"/>
                </a:lnTo>
                <a:lnTo>
                  <a:pt x="182" y="342"/>
                </a:lnTo>
                <a:lnTo>
                  <a:pt x="183" y="342"/>
                </a:lnTo>
                <a:lnTo>
                  <a:pt x="183" y="345"/>
                </a:lnTo>
                <a:lnTo>
                  <a:pt x="185" y="345"/>
                </a:lnTo>
                <a:lnTo>
                  <a:pt x="187" y="345"/>
                </a:lnTo>
                <a:lnTo>
                  <a:pt x="190" y="345"/>
                </a:lnTo>
                <a:lnTo>
                  <a:pt x="191" y="345"/>
                </a:lnTo>
                <a:lnTo>
                  <a:pt x="193" y="345"/>
                </a:lnTo>
                <a:lnTo>
                  <a:pt x="193" y="347"/>
                </a:lnTo>
                <a:lnTo>
                  <a:pt x="191" y="347"/>
                </a:lnTo>
                <a:lnTo>
                  <a:pt x="191" y="348"/>
                </a:lnTo>
                <a:lnTo>
                  <a:pt x="194" y="348"/>
                </a:lnTo>
                <a:lnTo>
                  <a:pt x="197" y="347"/>
                </a:lnTo>
                <a:lnTo>
                  <a:pt x="197" y="348"/>
                </a:lnTo>
                <a:lnTo>
                  <a:pt x="197" y="350"/>
                </a:lnTo>
                <a:lnTo>
                  <a:pt x="198" y="350"/>
                </a:lnTo>
                <a:lnTo>
                  <a:pt x="198" y="352"/>
                </a:lnTo>
                <a:lnTo>
                  <a:pt x="198" y="353"/>
                </a:lnTo>
                <a:lnTo>
                  <a:pt x="198" y="355"/>
                </a:lnTo>
                <a:lnTo>
                  <a:pt x="198" y="358"/>
                </a:lnTo>
                <a:lnTo>
                  <a:pt x="198" y="359"/>
                </a:lnTo>
                <a:lnTo>
                  <a:pt x="198" y="361"/>
                </a:lnTo>
                <a:lnTo>
                  <a:pt x="199" y="363"/>
                </a:lnTo>
                <a:lnTo>
                  <a:pt x="201" y="361"/>
                </a:lnTo>
                <a:lnTo>
                  <a:pt x="203" y="359"/>
                </a:lnTo>
                <a:lnTo>
                  <a:pt x="205" y="361"/>
                </a:lnTo>
                <a:lnTo>
                  <a:pt x="203" y="363"/>
                </a:lnTo>
                <a:lnTo>
                  <a:pt x="207" y="364"/>
                </a:lnTo>
                <a:lnTo>
                  <a:pt x="206" y="364"/>
                </a:lnTo>
                <a:lnTo>
                  <a:pt x="203" y="364"/>
                </a:lnTo>
                <a:lnTo>
                  <a:pt x="201" y="366"/>
                </a:lnTo>
                <a:lnTo>
                  <a:pt x="199" y="366"/>
                </a:lnTo>
                <a:lnTo>
                  <a:pt x="203" y="366"/>
                </a:lnTo>
                <a:lnTo>
                  <a:pt x="205" y="366"/>
                </a:lnTo>
                <a:lnTo>
                  <a:pt x="205" y="367"/>
                </a:lnTo>
                <a:lnTo>
                  <a:pt x="203" y="367"/>
                </a:lnTo>
                <a:lnTo>
                  <a:pt x="201" y="367"/>
                </a:lnTo>
                <a:lnTo>
                  <a:pt x="199" y="367"/>
                </a:lnTo>
                <a:lnTo>
                  <a:pt x="199" y="369"/>
                </a:lnTo>
                <a:lnTo>
                  <a:pt x="201" y="370"/>
                </a:lnTo>
                <a:lnTo>
                  <a:pt x="203" y="372"/>
                </a:lnTo>
                <a:lnTo>
                  <a:pt x="209" y="375"/>
                </a:lnTo>
                <a:lnTo>
                  <a:pt x="210" y="374"/>
                </a:lnTo>
                <a:lnTo>
                  <a:pt x="210" y="372"/>
                </a:lnTo>
                <a:lnTo>
                  <a:pt x="214" y="374"/>
                </a:lnTo>
                <a:lnTo>
                  <a:pt x="215" y="374"/>
                </a:lnTo>
                <a:lnTo>
                  <a:pt x="218" y="372"/>
                </a:lnTo>
                <a:lnTo>
                  <a:pt x="222" y="374"/>
                </a:lnTo>
                <a:lnTo>
                  <a:pt x="223" y="374"/>
                </a:lnTo>
                <a:lnTo>
                  <a:pt x="222" y="375"/>
                </a:lnTo>
                <a:lnTo>
                  <a:pt x="221" y="375"/>
                </a:lnTo>
                <a:lnTo>
                  <a:pt x="219" y="375"/>
                </a:lnTo>
                <a:lnTo>
                  <a:pt x="222" y="375"/>
                </a:lnTo>
                <a:lnTo>
                  <a:pt x="225" y="375"/>
                </a:lnTo>
                <a:lnTo>
                  <a:pt x="223" y="378"/>
                </a:lnTo>
                <a:lnTo>
                  <a:pt x="227" y="378"/>
                </a:lnTo>
                <a:lnTo>
                  <a:pt x="226" y="378"/>
                </a:lnTo>
                <a:lnTo>
                  <a:pt x="219" y="380"/>
                </a:lnTo>
                <a:lnTo>
                  <a:pt x="221" y="381"/>
                </a:lnTo>
                <a:lnTo>
                  <a:pt x="229" y="381"/>
                </a:lnTo>
                <a:lnTo>
                  <a:pt x="230" y="381"/>
                </a:lnTo>
                <a:lnTo>
                  <a:pt x="231" y="380"/>
                </a:lnTo>
                <a:lnTo>
                  <a:pt x="233" y="381"/>
                </a:lnTo>
                <a:lnTo>
                  <a:pt x="234" y="381"/>
                </a:lnTo>
                <a:lnTo>
                  <a:pt x="237" y="381"/>
                </a:lnTo>
                <a:lnTo>
                  <a:pt x="241" y="380"/>
                </a:lnTo>
                <a:lnTo>
                  <a:pt x="242" y="383"/>
                </a:lnTo>
                <a:lnTo>
                  <a:pt x="243" y="383"/>
                </a:lnTo>
                <a:lnTo>
                  <a:pt x="246" y="383"/>
                </a:lnTo>
                <a:lnTo>
                  <a:pt x="246" y="384"/>
                </a:lnTo>
                <a:lnTo>
                  <a:pt x="246" y="386"/>
                </a:lnTo>
                <a:lnTo>
                  <a:pt x="247" y="386"/>
                </a:lnTo>
                <a:lnTo>
                  <a:pt x="246" y="388"/>
                </a:lnTo>
                <a:lnTo>
                  <a:pt x="245" y="389"/>
                </a:lnTo>
                <a:lnTo>
                  <a:pt x="246" y="391"/>
                </a:lnTo>
                <a:lnTo>
                  <a:pt x="247" y="392"/>
                </a:lnTo>
                <a:lnTo>
                  <a:pt x="250" y="394"/>
                </a:lnTo>
                <a:lnTo>
                  <a:pt x="253" y="394"/>
                </a:lnTo>
                <a:lnTo>
                  <a:pt x="254" y="392"/>
                </a:lnTo>
                <a:lnTo>
                  <a:pt x="255" y="391"/>
                </a:lnTo>
                <a:lnTo>
                  <a:pt x="256" y="392"/>
                </a:lnTo>
                <a:lnTo>
                  <a:pt x="256" y="389"/>
                </a:lnTo>
                <a:lnTo>
                  <a:pt x="258" y="391"/>
                </a:lnTo>
                <a:lnTo>
                  <a:pt x="259" y="392"/>
                </a:lnTo>
                <a:lnTo>
                  <a:pt x="259" y="394"/>
                </a:lnTo>
                <a:lnTo>
                  <a:pt x="260" y="394"/>
                </a:lnTo>
                <a:lnTo>
                  <a:pt x="260" y="395"/>
                </a:lnTo>
                <a:lnTo>
                  <a:pt x="262" y="395"/>
                </a:lnTo>
                <a:lnTo>
                  <a:pt x="260" y="397"/>
                </a:lnTo>
                <a:lnTo>
                  <a:pt x="260" y="399"/>
                </a:lnTo>
                <a:lnTo>
                  <a:pt x="262" y="400"/>
                </a:lnTo>
                <a:lnTo>
                  <a:pt x="263" y="400"/>
                </a:lnTo>
                <a:lnTo>
                  <a:pt x="264" y="399"/>
                </a:lnTo>
                <a:lnTo>
                  <a:pt x="267" y="397"/>
                </a:lnTo>
                <a:lnTo>
                  <a:pt x="267" y="395"/>
                </a:lnTo>
                <a:lnTo>
                  <a:pt x="268" y="395"/>
                </a:lnTo>
                <a:lnTo>
                  <a:pt x="268" y="400"/>
                </a:lnTo>
                <a:lnTo>
                  <a:pt x="268" y="402"/>
                </a:lnTo>
                <a:lnTo>
                  <a:pt x="268" y="403"/>
                </a:lnTo>
                <a:lnTo>
                  <a:pt x="272" y="403"/>
                </a:lnTo>
                <a:lnTo>
                  <a:pt x="275" y="403"/>
                </a:lnTo>
                <a:lnTo>
                  <a:pt x="276" y="403"/>
                </a:lnTo>
                <a:lnTo>
                  <a:pt x="278" y="405"/>
                </a:lnTo>
                <a:lnTo>
                  <a:pt x="274" y="405"/>
                </a:lnTo>
                <a:lnTo>
                  <a:pt x="271" y="405"/>
                </a:lnTo>
                <a:lnTo>
                  <a:pt x="271" y="406"/>
                </a:lnTo>
                <a:lnTo>
                  <a:pt x="272" y="406"/>
                </a:lnTo>
                <a:lnTo>
                  <a:pt x="274" y="408"/>
                </a:lnTo>
                <a:lnTo>
                  <a:pt x="275" y="408"/>
                </a:lnTo>
                <a:lnTo>
                  <a:pt x="292" y="408"/>
                </a:lnTo>
                <a:lnTo>
                  <a:pt x="306" y="408"/>
                </a:lnTo>
                <a:lnTo>
                  <a:pt x="320" y="408"/>
                </a:lnTo>
                <a:lnTo>
                  <a:pt x="334" y="408"/>
                </a:lnTo>
                <a:lnTo>
                  <a:pt x="346" y="408"/>
                </a:lnTo>
                <a:lnTo>
                  <a:pt x="360" y="408"/>
                </a:lnTo>
                <a:lnTo>
                  <a:pt x="375" y="408"/>
                </a:lnTo>
                <a:lnTo>
                  <a:pt x="405" y="408"/>
                </a:lnTo>
                <a:lnTo>
                  <a:pt x="424" y="408"/>
                </a:lnTo>
                <a:lnTo>
                  <a:pt x="437" y="408"/>
                </a:lnTo>
                <a:lnTo>
                  <a:pt x="452" y="408"/>
                </a:lnTo>
                <a:lnTo>
                  <a:pt x="467" y="408"/>
                </a:lnTo>
                <a:lnTo>
                  <a:pt x="475" y="408"/>
                </a:lnTo>
                <a:lnTo>
                  <a:pt x="489" y="408"/>
                </a:lnTo>
                <a:lnTo>
                  <a:pt x="502" y="408"/>
                </a:lnTo>
                <a:lnTo>
                  <a:pt x="516" y="408"/>
                </a:lnTo>
                <a:lnTo>
                  <a:pt x="529" y="408"/>
                </a:lnTo>
                <a:lnTo>
                  <a:pt x="544" y="408"/>
                </a:lnTo>
                <a:lnTo>
                  <a:pt x="556" y="408"/>
                </a:lnTo>
                <a:lnTo>
                  <a:pt x="595" y="408"/>
                </a:lnTo>
                <a:lnTo>
                  <a:pt x="601" y="408"/>
                </a:lnTo>
                <a:lnTo>
                  <a:pt x="614" y="408"/>
                </a:lnTo>
                <a:lnTo>
                  <a:pt x="629" y="408"/>
                </a:lnTo>
                <a:lnTo>
                  <a:pt x="642" y="408"/>
                </a:lnTo>
                <a:lnTo>
                  <a:pt x="655" y="408"/>
                </a:lnTo>
                <a:lnTo>
                  <a:pt x="658" y="408"/>
                </a:lnTo>
                <a:lnTo>
                  <a:pt x="674" y="408"/>
                </a:lnTo>
                <a:lnTo>
                  <a:pt x="690" y="408"/>
                </a:lnTo>
                <a:lnTo>
                  <a:pt x="690" y="402"/>
                </a:lnTo>
                <a:lnTo>
                  <a:pt x="691" y="402"/>
                </a:lnTo>
                <a:lnTo>
                  <a:pt x="693" y="402"/>
                </a:lnTo>
                <a:lnTo>
                  <a:pt x="697" y="408"/>
                </a:lnTo>
                <a:lnTo>
                  <a:pt x="699" y="413"/>
                </a:lnTo>
                <a:lnTo>
                  <a:pt x="702" y="413"/>
                </a:lnTo>
                <a:lnTo>
                  <a:pt x="703" y="413"/>
                </a:lnTo>
                <a:lnTo>
                  <a:pt x="706" y="413"/>
                </a:lnTo>
                <a:lnTo>
                  <a:pt x="707" y="414"/>
                </a:lnTo>
                <a:lnTo>
                  <a:pt x="710" y="414"/>
                </a:lnTo>
                <a:lnTo>
                  <a:pt x="711" y="414"/>
                </a:lnTo>
                <a:lnTo>
                  <a:pt x="711" y="416"/>
                </a:lnTo>
                <a:lnTo>
                  <a:pt x="712" y="416"/>
                </a:lnTo>
                <a:lnTo>
                  <a:pt x="716" y="416"/>
                </a:lnTo>
                <a:lnTo>
                  <a:pt x="718" y="414"/>
                </a:lnTo>
                <a:lnTo>
                  <a:pt x="726" y="414"/>
                </a:lnTo>
                <a:lnTo>
                  <a:pt x="728" y="416"/>
                </a:lnTo>
                <a:lnTo>
                  <a:pt x="731" y="417"/>
                </a:lnTo>
                <a:lnTo>
                  <a:pt x="732" y="419"/>
                </a:lnTo>
                <a:lnTo>
                  <a:pt x="734" y="419"/>
                </a:lnTo>
                <a:lnTo>
                  <a:pt x="736" y="419"/>
                </a:lnTo>
                <a:lnTo>
                  <a:pt x="738" y="421"/>
                </a:lnTo>
                <a:lnTo>
                  <a:pt x="742" y="422"/>
                </a:lnTo>
                <a:lnTo>
                  <a:pt x="743" y="424"/>
                </a:lnTo>
                <a:lnTo>
                  <a:pt x="747" y="425"/>
                </a:lnTo>
                <a:lnTo>
                  <a:pt x="748" y="425"/>
                </a:lnTo>
                <a:lnTo>
                  <a:pt x="752" y="424"/>
                </a:lnTo>
                <a:lnTo>
                  <a:pt x="755" y="424"/>
                </a:lnTo>
                <a:lnTo>
                  <a:pt x="759" y="425"/>
                </a:lnTo>
                <a:lnTo>
                  <a:pt x="766" y="425"/>
                </a:lnTo>
                <a:lnTo>
                  <a:pt x="770" y="427"/>
                </a:lnTo>
                <a:lnTo>
                  <a:pt x="771" y="427"/>
                </a:lnTo>
                <a:lnTo>
                  <a:pt x="775" y="427"/>
                </a:lnTo>
                <a:lnTo>
                  <a:pt x="787" y="427"/>
                </a:lnTo>
                <a:lnTo>
                  <a:pt x="804" y="428"/>
                </a:lnTo>
                <a:lnTo>
                  <a:pt x="820" y="433"/>
                </a:lnTo>
                <a:lnTo>
                  <a:pt x="835" y="441"/>
                </a:lnTo>
                <a:lnTo>
                  <a:pt x="841" y="446"/>
                </a:lnTo>
                <a:lnTo>
                  <a:pt x="845" y="450"/>
                </a:lnTo>
                <a:lnTo>
                  <a:pt x="847" y="452"/>
                </a:lnTo>
                <a:lnTo>
                  <a:pt x="851" y="454"/>
                </a:lnTo>
                <a:lnTo>
                  <a:pt x="852" y="454"/>
                </a:lnTo>
                <a:lnTo>
                  <a:pt x="853" y="454"/>
                </a:lnTo>
                <a:lnTo>
                  <a:pt x="855" y="457"/>
                </a:lnTo>
                <a:lnTo>
                  <a:pt x="859" y="458"/>
                </a:lnTo>
                <a:lnTo>
                  <a:pt x="864" y="460"/>
                </a:lnTo>
                <a:lnTo>
                  <a:pt x="868" y="465"/>
                </a:lnTo>
                <a:lnTo>
                  <a:pt x="871" y="469"/>
                </a:lnTo>
                <a:lnTo>
                  <a:pt x="873" y="472"/>
                </a:lnTo>
                <a:lnTo>
                  <a:pt x="877" y="477"/>
                </a:lnTo>
                <a:lnTo>
                  <a:pt x="879" y="483"/>
                </a:lnTo>
                <a:lnTo>
                  <a:pt x="881" y="490"/>
                </a:lnTo>
                <a:lnTo>
                  <a:pt x="881" y="494"/>
                </a:lnTo>
                <a:lnTo>
                  <a:pt x="883" y="499"/>
                </a:lnTo>
                <a:lnTo>
                  <a:pt x="883" y="505"/>
                </a:lnTo>
                <a:lnTo>
                  <a:pt x="883" y="509"/>
                </a:lnTo>
                <a:lnTo>
                  <a:pt x="881" y="513"/>
                </a:lnTo>
                <a:lnTo>
                  <a:pt x="881" y="515"/>
                </a:lnTo>
                <a:lnTo>
                  <a:pt x="880" y="521"/>
                </a:lnTo>
                <a:lnTo>
                  <a:pt x="873" y="526"/>
                </a:lnTo>
                <a:lnTo>
                  <a:pt x="872" y="527"/>
                </a:lnTo>
                <a:lnTo>
                  <a:pt x="871" y="531"/>
                </a:lnTo>
                <a:lnTo>
                  <a:pt x="871" y="532"/>
                </a:lnTo>
                <a:lnTo>
                  <a:pt x="872" y="535"/>
                </a:lnTo>
                <a:lnTo>
                  <a:pt x="875" y="537"/>
                </a:lnTo>
                <a:lnTo>
                  <a:pt x="879" y="537"/>
                </a:lnTo>
                <a:lnTo>
                  <a:pt x="883" y="537"/>
                </a:lnTo>
                <a:lnTo>
                  <a:pt x="891" y="535"/>
                </a:lnTo>
                <a:lnTo>
                  <a:pt x="893" y="532"/>
                </a:lnTo>
                <a:lnTo>
                  <a:pt x="899" y="531"/>
                </a:lnTo>
                <a:lnTo>
                  <a:pt x="904" y="529"/>
                </a:lnTo>
                <a:lnTo>
                  <a:pt x="908" y="529"/>
                </a:lnTo>
                <a:lnTo>
                  <a:pt x="913" y="526"/>
                </a:lnTo>
                <a:lnTo>
                  <a:pt x="917" y="524"/>
                </a:lnTo>
                <a:lnTo>
                  <a:pt x="920" y="523"/>
                </a:lnTo>
                <a:lnTo>
                  <a:pt x="925" y="523"/>
                </a:lnTo>
                <a:lnTo>
                  <a:pt x="928" y="520"/>
                </a:lnTo>
                <a:lnTo>
                  <a:pt x="932" y="520"/>
                </a:lnTo>
                <a:lnTo>
                  <a:pt x="936" y="518"/>
                </a:lnTo>
                <a:lnTo>
                  <a:pt x="934" y="515"/>
                </a:lnTo>
                <a:lnTo>
                  <a:pt x="933" y="513"/>
                </a:lnTo>
                <a:lnTo>
                  <a:pt x="933" y="510"/>
                </a:lnTo>
                <a:lnTo>
                  <a:pt x="932" y="509"/>
                </a:lnTo>
                <a:lnTo>
                  <a:pt x="934" y="505"/>
                </a:lnTo>
                <a:lnTo>
                  <a:pt x="940" y="505"/>
                </a:lnTo>
                <a:lnTo>
                  <a:pt x="944" y="504"/>
                </a:lnTo>
                <a:lnTo>
                  <a:pt x="949" y="504"/>
                </a:lnTo>
                <a:lnTo>
                  <a:pt x="956" y="504"/>
                </a:lnTo>
                <a:lnTo>
                  <a:pt x="961" y="502"/>
                </a:lnTo>
                <a:lnTo>
                  <a:pt x="966" y="501"/>
                </a:lnTo>
                <a:lnTo>
                  <a:pt x="968" y="498"/>
                </a:lnTo>
                <a:lnTo>
                  <a:pt x="970" y="494"/>
                </a:lnTo>
                <a:lnTo>
                  <a:pt x="976" y="493"/>
                </a:lnTo>
                <a:lnTo>
                  <a:pt x="978" y="491"/>
                </a:lnTo>
                <a:lnTo>
                  <a:pt x="981" y="490"/>
                </a:lnTo>
                <a:lnTo>
                  <a:pt x="982" y="487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62" name="Freeform 762"/>
          <p:cNvSpPr>
            <a:spLocks/>
          </p:cNvSpPr>
          <p:nvPr/>
        </p:nvSpPr>
        <p:spPr bwMode="auto">
          <a:xfrm>
            <a:off x="3493701" y="2604699"/>
            <a:ext cx="426791" cy="201875"/>
          </a:xfrm>
          <a:custGeom>
            <a:avLst/>
            <a:gdLst/>
            <a:ahLst/>
            <a:cxnLst>
              <a:cxn ang="0">
                <a:pos x="11" y="77"/>
              </a:cxn>
              <a:cxn ang="0">
                <a:pos x="64" y="73"/>
              </a:cxn>
              <a:cxn ang="0">
                <a:pos x="72" y="71"/>
              </a:cxn>
              <a:cxn ang="0">
                <a:pos x="77" y="69"/>
              </a:cxn>
              <a:cxn ang="0">
                <a:pos x="80" y="65"/>
              </a:cxn>
              <a:cxn ang="0">
                <a:pos x="84" y="52"/>
              </a:cxn>
              <a:cxn ang="0">
                <a:pos x="96" y="33"/>
              </a:cxn>
              <a:cxn ang="0">
                <a:pos x="101" y="36"/>
              </a:cxn>
              <a:cxn ang="0">
                <a:pos x="113" y="35"/>
              </a:cxn>
              <a:cxn ang="0">
                <a:pos x="124" y="66"/>
              </a:cxn>
              <a:cxn ang="0">
                <a:pos x="128" y="74"/>
              </a:cxn>
              <a:cxn ang="0">
                <a:pos x="136" y="74"/>
              </a:cxn>
              <a:cxn ang="0">
                <a:pos x="148" y="71"/>
              </a:cxn>
              <a:cxn ang="0">
                <a:pos x="164" y="65"/>
              </a:cxn>
              <a:cxn ang="0">
                <a:pos x="172" y="62"/>
              </a:cxn>
              <a:cxn ang="0">
                <a:pos x="169" y="69"/>
              </a:cxn>
              <a:cxn ang="0">
                <a:pos x="188" y="69"/>
              </a:cxn>
              <a:cxn ang="0">
                <a:pos x="173" y="74"/>
              </a:cxn>
              <a:cxn ang="0">
                <a:pos x="155" y="79"/>
              </a:cxn>
              <a:cxn ang="0">
                <a:pos x="147" y="85"/>
              </a:cxn>
              <a:cxn ang="0">
                <a:pos x="147" y="88"/>
              </a:cxn>
              <a:cxn ang="0">
                <a:pos x="149" y="98"/>
              </a:cxn>
              <a:cxn ang="0">
                <a:pos x="157" y="102"/>
              </a:cxn>
              <a:cxn ang="0">
                <a:pos x="163" y="99"/>
              </a:cxn>
              <a:cxn ang="0">
                <a:pos x="171" y="90"/>
              </a:cxn>
              <a:cxn ang="0">
                <a:pos x="177" y="85"/>
              </a:cxn>
              <a:cxn ang="0">
                <a:pos x="185" y="85"/>
              </a:cxn>
              <a:cxn ang="0">
                <a:pos x="189" y="80"/>
              </a:cxn>
              <a:cxn ang="0">
                <a:pos x="200" y="79"/>
              </a:cxn>
              <a:cxn ang="0">
                <a:pos x="210" y="74"/>
              </a:cxn>
              <a:cxn ang="0">
                <a:pos x="221" y="71"/>
              </a:cxn>
              <a:cxn ang="0">
                <a:pos x="218" y="68"/>
              </a:cxn>
              <a:cxn ang="0">
                <a:pos x="213" y="65"/>
              </a:cxn>
              <a:cxn ang="0">
                <a:pos x="209" y="60"/>
              </a:cxn>
              <a:cxn ang="0">
                <a:pos x="189" y="62"/>
              </a:cxn>
              <a:cxn ang="0">
                <a:pos x="181" y="57"/>
              </a:cxn>
              <a:cxn ang="0">
                <a:pos x="171" y="52"/>
              </a:cxn>
              <a:cxn ang="0">
                <a:pos x="165" y="46"/>
              </a:cxn>
              <a:cxn ang="0">
                <a:pos x="159" y="38"/>
              </a:cxn>
              <a:cxn ang="0">
                <a:pos x="164" y="25"/>
              </a:cxn>
              <a:cxn ang="0">
                <a:pos x="152" y="27"/>
              </a:cxn>
              <a:cxn ang="0">
                <a:pos x="140" y="21"/>
              </a:cxn>
              <a:cxn ang="0">
                <a:pos x="160" y="21"/>
              </a:cxn>
              <a:cxn ang="0">
                <a:pos x="173" y="10"/>
              </a:cxn>
              <a:cxn ang="0">
                <a:pos x="169" y="3"/>
              </a:cxn>
              <a:cxn ang="0">
                <a:pos x="147" y="0"/>
              </a:cxn>
              <a:cxn ang="0">
                <a:pos x="112" y="11"/>
              </a:cxn>
              <a:cxn ang="0">
                <a:pos x="103" y="16"/>
              </a:cxn>
              <a:cxn ang="0">
                <a:pos x="88" y="30"/>
              </a:cxn>
            </a:cxnLst>
            <a:rect l="0" t="0" r="r" b="b"/>
            <a:pathLst>
              <a:path w="222" h="102">
                <a:moveTo>
                  <a:pt x="0" y="84"/>
                </a:moveTo>
                <a:lnTo>
                  <a:pt x="2" y="82"/>
                </a:lnTo>
                <a:lnTo>
                  <a:pt x="7" y="80"/>
                </a:lnTo>
                <a:lnTo>
                  <a:pt x="11" y="77"/>
                </a:lnTo>
                <a:lnTo>
                  <a:pt x="15" y="77"/>
                </a:lnTo>
                <a:lnTo>
                  <a:pt x="36" y="77"/>
                </a:lnTo>
                <a:lnTo>
                  <a:pt x="63" y="77"/>
                </a:lnTo>
                <a:lnTo>
                  <a:pt x="64" y="73"/>
                </a:lnTo>
                <a:lnTo>
                  <a:pt x="65" y="73"/>
                </a:lnTo>
                <a:lnTo>
                  <a:pt x="69" y="73"/>
                </a:lnTo>
                <a:lnTo>
                  <a:pt x="69" y="71"/>
                </a:lnTo>
                <a:lnTo>
                  <a:pt x="72" y="71"/>
                </a:lnTo>
                <a:lnTo>
                  <a:pt x="75" y="71"/>
                </a:lnTo>
                <a:lnTo>
                  <a:pt x="76" y="69"/>
                </a:lnTo>
                <a:lnTo>
                  <a:pt x="77" y="71"/>
                </a:lnTo>
                <a:lnTo>
                  <a:pt x="77" y="69"/>
                </a:lnTo>
                <a:lnTo>
                  <a:pt x="77" y="68"/>
                </a:lnTo>
                <a:lnTo>
                  <a:pt x="79" y="66"/>
                </a:lnTo>
                <a:lnTo>
                  <a:pt x="80" y="66"/>
                </a:lnTo>
                <a:lnTo>
                  <a:pt x="80" y="65"/>
                </a:lnTo>
                <a:lnTo>
                  <a:pt x="81" y="57"/>
                </a:lnTo>
                <a:lnTo>
                  <a:pt x="83" y="55"/>
                </a:lnTo>
                <a:lnTo>
                  <a:pt x="84" y="54"/>
                </a:lnTo>
                <a:lnTo>
                  <a:pt x="84" y="52"/>
                </a:lnTo>
                <a:lnTo>
                  <a:pt x="85" y="49"/>
                </a:lnTo>
                <a:lnTo>
                  <a:pt x="87" y="44"/>
                </a:lnTo>
                <a:lnTo>
                  <a:pt x="95" y="33"/>
                </a:lnTo>
                <a:lnTo>
                  <a:pt x="96" y="33"/>
                </a:lnTo>
                <a:lnTo>
                  <a:pt x="97" y="33"/>
                </a:lnTo>
                <a:lnTo>
                  <a:pt x="100" y="35"/>
                </a:lnTo>
                <a:lnTo>
                  <a:pt x="100" y="36"/>
                </a:lnTo>
                <a:lnTo>
                  <a:pt x="101" y="36"/>
                </a:lnTo>
                <a:lnTo>
                  <a:pt x="104" y="38"/>
                </a:lnTo>
                <a:lnTo>
                  <a:pt x="109" y="36"/>
                </a:lnTo>
                <a:lnTo>
                  <a:pt x="111" y="35"/>
                </a:lnTo>
                <a:lnTo>
                  <a:pt x="113" y="35"/>
                </a:lnTo>
                <a:lnTo>
                  <a:pt x="120" y="40"/>
                </a:lnTo>
                <a:lnTo>
                  <a:pt x="120" y="52"/>
                </a:lnTo>
                <a:lnTo>
                  <a:pt x="120" y="65"/>
                </a:lnTo>
                <a:lnTo>
                  <a:pt x="124" y="66"/>
                </a:lnTo>
                <a:lnTo>
                  <a:pt x="124" y="69"/>
                </a:lnTo>
                <a:lnTo>
                  <a:pt x="124" y="71"/>
                </a:lnTo>
                <a:lnTo>
                  <a:pt x="125" y="73"/>
                </a:lnTo>
                <a:lnTo>
                  <a:pt x="128" y="74"/>
                </a:lnTo>
                <a:lnTo>
                  <a:pt x="131" y="74"/>
                </a:lnTo>
                <a:lnTo>
                  <a:pt x="132" y="73"/>
                </a:lnTo>
                <a:lnTo>
                  <a:pt x="135" y="74"/>
                </a:lnTo>
                <a:lnTo>
                  <a:pt x="136" y="74"/>
                </a:lnTo>
                <a:lnTo>
                  <a:pt x="137" y="74"/>
                </a:lnTo>
                <a:lnTo>
                  <a:pt x="144" y="74"/>
                </a:lnTo>
                <a:lnTo>
                  <a:pt x="145" y="73"/>
                </a:lnTo>
                <a:lnTo>
                  <a:pt x="148" y="71"/>
                </a:lnTo>
                <a:lnTo>
                  <a:pt x="149" y="71"/>
                </a:lnTo>
                <a:lnTo>
                  <a:pt x="152" y="71"/>
                </a:lnTo>
                <a:lnTo>
                  <a:pt x="155" y="69"/>
                </a:lnTo>
                <a:lnTo>
                  <a:pt x="164" y="65"/>
                </a:lnTo>
                <a:lnTo>
                  <a:pt x="167" y="63"/>
                </a:lnTo>
                <a:lnTo>
                  <a:pt x="169" y="60"/>
                </a:lnTo>
                <a:lnTo>
                  <a:pt x="171" y="62"/>
                </a:lnTo>
                <a:lnTo>
                  <a:pt x="172" y="62"/>
                </a:lnTo>
                <a:lnTo>
                  <a:pt x="169" y="65"/>
                </a:lnTo>
                <a:lnTo>
                  <a:pt x="165" y="68"/>
                </a:lnTo>
                <a:lnTo>
                  <a:pt x="167" y="69"/>
                </a:lnTo>
                <a:lnTo>
                  <a:pt x="169" y="69"/>
                </a:lnTo>
                <a:lnTo>
                  <a:pt x="172" y="68"/>
                </a:lnTo>
                <a:lnTo>
                  <a:pt x="180" y="69"/>
                </a:lnTo>
                <a:lnTo>
                  <a:pt x="184" y="68"/>
                </a:lnTo>
                <a:lnTo>
                  <a:pt x="188" y="69"/>
                </a:lnTo>
                <a:lnTo>
                  <a:pt x="181" y="71"/>
                </a:lnTo>
                <a:lnTo>
                  <a:pt x="178" y="73"/>
                </a:lnTo>
                <a:lnTo>
                  <a:pt x="176" y="74"/>
                </a:lnTo>
                <a:lnTo>
                  <a:pt x="173" y="74"/>
                </a:lnTo>
                <a:lnTo>
                  <a:pt x="172" y="71"/>
                </a:lnTo>
                <a:lnTo>
                  <a:pt x="168" y="73"/>
                </a:lnTo>
                <a:lnTo>
                  <a:pt x="161" y="76"/>
                </a:lnTo>
                <a:lnTo>
                  <a:pt x="155" y="79"/>
                </a:lnTo>
                <a:lnTo>
                  <a:pt x="155" y="80"/>
                </a:lnTo>
                <a:lnTo>
                  <a:pt x="152" y="82"/>
                </a:lnTo>
                <a:lnTo>
                  <a:pt x="151" y="82"/>
                </a:lnTo>
                <a:lnTo>
                  <a:pt x="147" y="85"/>
                </a:lnTo>
                <a:lnTo>
                  <a:pt x="145" y="87"/>
                </a:lnTo>
                <a:lnTo>
                  <a:pt x="148" y="85"/>
                </a:lnTo>
                <a:lnTo>
                  <a:pt x="149" y="84"/>
                </a:lnTo>
                <a:lnTo>
                  <a:pt x="147" y="88"/>
                </a:lnTo>
                <a:lnTo>
                  <a:pt x="145" y="90"/>
                </a:lnTo>
                <a:lnTo>
                  <a:pt x="147" y="95"/>
                </a:lnTo>
                <a:lnTo>
                  <a:pt x="148" y="98"/>
                </a:lnTo>
                <a:lnTo>
                  <a:pt x="149" y="98"/>
                </a:lnTo>
                <a:lnTo>
                  <a:pt x="152" y="99"/>
                </a:lnTo>
                <a:lnTo>
                  <a:pt x="153" y="102"/>
                </a:lnTo>
                <a:lnTo>
                  <a:pt x="156" y="102"/>
                </a:lnTo>
                <a:lnTo>
                  <a:pt x="157" y="102"/>
                </a:lnTo>
                <a:lnTo>
                  <a:pt x="159" y="102"/>
                </a:lnTo>
                <a:lnTo>
                  <a:pt x="159" y="99"/>
                </a:lnTo>
                <a:lnTo>
                  <a:pt x="160" y="99"/>
                </a:lnTo>
                <a:lnTo>
                  <a:pt x="163" y="99"/>
                </a:lnTo>
                <a:lnTo>
                  <a:pt x="164" y="96"/>
                </a:lnTo>
                <a:lnTo>
                  <a:pt x="167" y="96"/>
                </a:lnTo>
                <a:lnTo>
                  <a:pt x="168" y="95"/>
                </a:lnTo>
                <a:lnTo>
                  <a:pt x="171" y="90"/>
                </a:lnTo>
                <a:lnTo>
                  <a:pt x="175" y="88"/>
                </a:lnTo>
                <a:lnTo>
                  <a:pt x="175" y="85"/>
                </a:lnTo>
                <a:lnTo>
                  <a:pt x="176" y="84"/>
                </a:lnTo>
                <a:lnTo>
                  <a:pt x="177" y="85"/>
                </a:lnTo>
                <a:lnTo>
                  <a:pt x="180" y="82"/>
                </a:lnTo>
                <a:lnTo>
                  <a:pt x="180" y="84"/>
                </a:lnTo>
                <a:lnTo>
                  <a:pt x="181" y="85"/>
                </a:lnTo>
                <a:lnTo>
                  <a:pt x="185" y="85"/>
                </a:lnTo>
                <a:lnTo>
                  <a:pt x="185" y="84"/>
                </a:lnTo>
                <a:lnTo>
                  <a:pt x="184" y="80"/>
                </a:lnTo>
                <a:lnTo>
                  <a:pt x="188" y="82"/>
                </a:lnTo>
                <a:lnTo>
                  <a:pt x="189" y="80"/>
                </a:lnTo>
                <a:lnTo>
                  <a:pt x="192" y="80"/>
                </a:lnTo>
                <a:lnTo>
                  <a:pt x="194" y="80"/>
                </a:lnTo>
                <a:lnTo>
                  <a:pt x="198" y="79"/>
                </a:lnTo>
                <a:lnTo>
                  <a:pt x="200" y="79"/>
                </a:lnTo>
                <a:lnTo>
                  <a:pt x="201" y="77"/>
                </a:lnTo>
                <a:lnTo>
                  <a:pt x="202" y="77"/>
                </a:lnTo>
                <a:lnTo>
                  <a:pt x="205" y="76"/>
                </a:lnTo>
                <a:lnTo>
                  <a:pt x="210" y="74"/>
                </a:lnTo>
                <a:lnTo>
                  <a:pt x="214" y="73"/>
                </a:lnTo>
                <a:lnTo>
                  <a:pt x="216" y="73"/>
                </a:lnTo>
                <a:lnTo>
                  <a:pt x="218" y="71"/>
                </a:lnTo>
                <a:lnTo>
                  <a:pt x="221" y="71"/>
                </a:lnTo>
                <a:lnTo>
                  <a:pt x="222" y="71"/>
                </a:lnTo>
                <a:lnTo>
                  <a:pt x="222" y="69"/>
                </a:lnTo>
                <a:lnTo>
                  <a:pt x="217" y="69"/>
                </a:lnTo>
                <a:lnTo>
                  <a:pt x="218" y="68"/>
                </a:lnTo>
                <a:lnTo>
                  <a:pt x="220" y="68"/>
                </a:lnTo>
                <a:lnTo>
                  <a:pt x="218" y="66"/>
                </a:lnTo>
                <a:lnTo>
                  <a:pt x="217" y="65"/>
                </a:lnTo>
                <a:lnTo>
                  <a:pt x="213" y="65"/>
                </a:lnTo>
                <a:lnTo>
                  <a:pt x="212" y="65"/>
                </a:lnTo>
                <a:lnTo>
                  <a:pt x="209" y="65"/>
                </a:lnTo>
                <a:lnTo>
                  <a:pt x="210" y="63"/>
                </a:lnTo>
                <a:lnTo>
                  <a:pt x="209" y="60"/>
                </a:lnTo>
                <a:lnTo>
                  <a:pt x="204" y="63"/>
                </a:lnTo>
                <a:lnTo>
                  <a:pt x="197" y="65"/>
                </a:lnTo>
                <a:lnTo>
                  <a:pt x="196" y="63"/>
                </a:lnTo>
                <a:lnTo>
                  <a:pt x="189" y="62"/>
                </a:lnTo>
                <a:lnTo>
                  <a:pt x="184" y="60"/>
                </a:lnTo>
                <a:lnTo>
                  <a:pt x="181" y="60"/>
                </a:lnTo>
                <a:lnTo>
                  <a:pt x="178" y="58"/>
                </a:lnTo>
                <a:lnTo>
                  <a:pt x="181" y="57"/>
                </a:lnTo>
                <a:lnTo>
                  <a:pt x="180" y="55"/>
                </a:lnTo>
                <a:lnTo>
                  <a:pt x="175" y="54"/>
                </a:lnTo>
                <a:lnTo>
                  <a:pt x="171" y="54"/>
                </a:lnTo>
                <a:lnTo>
                  <a:pt x="171" y="52"/>
                </a:lnTo>
                <a:lnTo>
                  <a:pt x="168" y="51"/>
                </a:lnTo>
                <a:lnTo>
                  <a:pt x="168" y="49"/>
                </a:lnTo>
                <a:lnTo>
                  <a:pt x="167" y="47"/>
                </a:lnTo>
                <a:lnTo>
                  <a:pt x="165" y="46"/>
                </a:lnTo>
                <a:lnTo>
                  <a:pt x="164" y="44"/>
                </a:lnTo>
                <a:lnTo>
                  <a:pt x="165" y="40"/>
                </a:lnTo>
                <a:lnTo>
                  <a:pt x="161" y="38"/>
                </a:lnTo>
                <a:lnTo>
                  <a:pt x="159" y="38"/>
                </a:lnTo>
                <a:lnTo>
                  <a:pt x="163" y="35"/>
                </a:lnTo>
                <a:lnTo>
                  <a:pt x="165" y="30"/>
                </a:lnTo>
                <a:lnTo>
                  <a:pt x="167" y="27"/>
                </a:lnTo>
                <a:lnTo>
                  <a:pt x="164" y="25"/>
                </a:lnTo>
                <a:lnTo>
                  <a:pt x="163" y="25"/>
                </a:lnTo>
                <a:lnTo>
                  <a:pt x="161" y="24"/>
                </a:lnTo>
                <a:lnTo>
                  <a:pt x="153" y="29"/>
                </a:lnTo>
                <a:lnTo>
                  <a:pt x="152" y="27"/>
                </a:lnTo>
                <a:lnTo>
                  <a:pt x="151" y="24"/>
                </a:lnTo>
                <a:lnTo>
                  <a:pt x="143" y="22"/>
                </a:lnTo>
                <a:lnTo>
                  <a:pt x="139" y="22"/>
                </a:lnTo>
                <a:lnTo>
                  <a:pt x="140" y="21"/>
                </a:lnTo>
                <a:lnTo>
                  <a:pt x="144" y="21"/>
                </a:lnTo>
                <a:lnTo>
                  <a:pt x="151" y="19"/>
                </a:lnTo>
                <a:lnTo>
                  <a:pt x="155" y="21"/>
                </a:lnTo>
                <a:lnTo>
                  <a:pt x="160" y="21"/>
                </a:lnTo>
                <a:lnTo>
                  <a:pt x="164" y="19"/>
                </a:lnTo>
                <a:lnTo>
                  <a:pt x="171" y="14"/>
                </a:lnTo>
                <a:lnTo>
                  <a:pt x="173" y="13"/>
                </a:lnTo>
                <a:lnTo>
                  <a:pt x="173" y="10"/>
                </a:lnTo>
                <a:lnTo>
                  <a:pt x="172" y="8"/>
                </a:lnTo>
                <a:lnTo>
                  <a:pt x="175" y="8"/>
                </a:lnTo>
                <a:lnTo>
                  <a:pt x="172" y="5"/>
                </a:lnTo>
                <a:lnTo>
                  <a:pt x="169" y="3"/>
                </a:lnTo>
                <a:lnTo>
                  <a:pt x="161" y="0"/>
                </a:lnTo>
                <a:lnTo>
                  <a:pt x="153" y="0"/>
                </a:lnTo>
                <a:lnTo>
                  <a:pt x="151" y="0"/>
                </a:lnTo>
                <a:lnTo>
                  <a:pt x="147" y="0"/>
                </a:lnTo>
                <a:lnTo>
                  <a:pt x="139" y="2"/>
                </a:lnTo>
                <a:lnTo>
                  <a:pt x="124" y="7"/>
                </a:lnTo>
                <a:lnTo>
                  <a:pt x="115" y="11"/>
                </a:lnTo>
                <a:lnTo>
                  <a:pt x="112" y="11"/>
                </a:lnTo>
                <a:lnTo>
                  <a:pt x="109" y="13"/>
                </a:lnTo>
                <a:lnTo>
                  <a:pt x="107" y="14"/>
                </a:lnTo>
                <a:lnTo>
                  <a:pt x="104" y="16"/>
                </a:lnTo>
                <a:lnTo>
                  <a:pt x="103" y="16"/>
                </a:lnTo>
                <a:lnTo>
                  <a:pt x="96" y="21"/>
                </a:lnTo>
                <a:lnTo>
                  <a:pt x="93" y="22"/>
                </a:lnTo>
                <a:lnTo>
                  <a:pt x="91" y="29"/>
                </a:lnTo>
                <a:lnTo>
                  <a:pt x="88" y="30"/>
                </a:lnTo>
                <a:lnTo>
                  <a:pt x="85" y="33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63" name="Freeform 763"/>
          <p:cNvSpPr>
            <a:spLocks/>
          </p:cNvSpPr>
          <p:nvPr/>
        </p:nvSpPr>
        <p:spPr bwMode="auto">
          <a:xfrm>
            <a:off x="3628169" y="2368462"/>
            <a:ext cx="444330" cy="322141"/>
          </a:xfrm>
          <a:custGeom>
            <a:avLst/>
            <a:gdLst/>
            <a:ahLst/>
            <a:cxnLst>
              <a:cxn ang="0">
                <a:pos x="8" y="159"/>
              </a:cxn>
              <a:cxn ang="0">
                <a:pos x="2" y="162"/>
              </a:cxn>
              <a:cxn ang="0">
                <a:pos x="22" y="141"/>
              </a:cxn>
              <a:cxn ang="0">
                <a:pos x="35" y="127"/>
              </a:cxn>
              <a:cxn ang="0">
                <a:pos x="44" y="121"/>
              </a:cxn>
              <a:cxn ang="0">
                <a:pos x="62" y="113"/>
              </a:cxn>
              <a:cxn ang="0">
                <a:pos x="68" y="104"/>
              </a:cxn>
              <a:cxn ang="0">
                <a:pos x="74" y="102"/>
              </a:cxn>
              <a:cxn ang="0">
                <a:pos x="88" y="100"/>
              </a:cxn>
              <a:cxn ang="0">
                <a:pos x="108" y="100"/>
              </a:cxn>
              <a:cxn ang="0">
                <a:pos x="136" y="100"/>
              </a:cxn>
              <a:cxn ang="0">
                <a:pos x="145" y="104"/>
              </a:cxn>
              <a:cxn ang="0">
                <a:pos x="167" y="99"/>
              </a:cxn>
              <a:cxn ang="0">
                <a:pos x="171" y="100"/>
              </a:cxn>
              <a:cxn ang="0">
                <a:pos x="185" y="88"/>
              </a:cxn>
              <a:cxn ang="0">
                <a:pos x="201" y="82"/>
              </a:cxn>
              <a:cxn ang="0">
                <a:pos x="217" y="80"/>
              </a:cxn>
              <a:cxn ang="0">
                <a:pos x="232" y="69"/>
              </a:cxn>
              <a:cxn ang="0">
                <a:pos x="229" y="63"/>
              </a:cxn>
              <a:cxn ang="0">
                <a:pos x="229" y="61"/>
              </a:cxn>
              <a:cxn ang="0">
                <a:pos x="230" y="57"/>
              </a:cxn>
              <a:cxn ang="0">
                <a:pos x="226" y="52"/>
              </a:cxn>
              <a:cxn ang="0">
                <a:pos x="233" y="50"/>
              </a:cxn>
              <a:cxn ang="0">
                <a:pos x="230" y="46"/>
              </a:cxn>
              <a:cxn ang="0">
                <a:pos x="220" y="41"/>
              </a:cxn>
              <a:cxn ang="0">
                <a:pos x="213" y="41"/>
              </a:cxn>
              <a:cxn ang="0">
                <a:pos x="211" y="39"/>
              </a:cxn>
              <a:cxn ang="0">
                <a:pos x="209" y="31"/>
              </a:cxn>
              <a:cxn ang="0">
                <a:pos x="192" y="33"/>
              </a:cxn>
              <a:cxn ang="0">
                <a:pos x="201" y="35"/>
              </a:cxn>
              <a:cxn ang="0">
                <a:pos x="183" y="39"/>
              </a:cxn>
              <a:cxn ang="0">
                <a:pos x="171" y="46"/>
              </a:cxn>
              <a:cxn ang="0">
                <a:pos x="161" y="42"/>
              </a:cxn>
              <a:cxn ang="0">
                <a:pos x="156" y="39"/>
              </a:cxn>
              <a:cxn ang="0">
                <a:pos x="171" y="38"/>
              </a:cxn>
              <a:cxn ang="0">
                <a:pos x="187" y="33"/>
              </a:cxn>
              <a:cxn ang="0">
                <a:pos x="177" y="33"/>
              </a:cxn>
              <a:cxn ang="0">
                <a:pos x="196" y="28"/>
              </a:cxn>
              <a:cxn ang="0">
                <a:pos x="207" y="28"/>
              </a:cxn>
              <a:cxn ang="0">
                <a:pos x="204" y="24"/>
              </a:cxn>
              <a:cxn ang="0">
                <a:pos x="199" y="19"/>
              </a:cxn>
              <a:cxn ang="0">
                <a:pos x="191" y="20"/>
              </a:cxn>
              <a:cxn ang="0">
                <a:pos x="184" y="14"/>
              </a:cxn>
              <a:cxn ang="0">
                <a:pos x="176" y="17"/>
              </a:cxn>
              <a:cxn ang="0">
                <a:pos x="173" y="11"/>
              </a:cxn>
              <a:cxn ang="0">
                <a:pos x="163" y="13"/>
              </a:cxn>
              <a:cxn ang="0">
                <a:pos x="163" y="8"/>
              </a:cxn>
              <a:cxn ang="0">
                <a:pos x="160" y="5"/>
              </a:cxn>
              <a:cxn ang="0">
                <a:pos x="151" y="0"/>
              </a:cxn>
            </a:cxnLst>
            <a:rect l="0" t="0" r="r" b="b"/>
            <a:pathLst>
              <a:path w="234" h="162">
                <a:moveTo>
                  <a:pt x="16" y="152"/>
                </a:moveTo>
                <a:lnTo>
                  <a:pt x="14" y="155"/>
                </a:lnTo>
                <a:lnTo>
                  <a:pt x="10" y="159"/>
                </a:lnTo>
                <a:lnTo>
                  <a:pt x="8" y="159"/>
                </a:lnTo>
                <a:lnTo>
                  <a:pt x="7" y="160"/>
                </a:lnTo>
                <a:lnTo>
                  <a:pt x="4" y="162"/>
                </a:lnTo>
                <a:lnTo>
                  <a:pt x="0" y="162"/>
                </a:lnTo>
                <a:lnTo>
                  <a:pt x="2" y="162"/>
                </a:lnTo>
                <a:lnTo>
                  <a:pt x="8" y="155"/>
                </a:lnTo>
                <a:lnTo>
                  <a:pt x="14" y="151"/>
                </a:lnTo>
                <a:lnTo>
                  <a:pt x="15" y="151"/>
                </a:lnTo>
                <a:lnTo>
                  <a:pt x="22" y="141"/>
                </a:lnTo>
                <a:lnTo>
                  <a:pt x="22" y="138"/>
                </a:lnTo>
                <a:lnTo>
                  <a:pt x="24" y="138"/>
                </a:lnTo>
                <a:lnTo>
                  <a:pt x="27" y="137"/>
                </a:lnTo>
                <a:lnTo>
                  <a:pt x="35" y="127"/>
                </a:lnTo>
                <a:lnTo>
                  <a:pt x="38" y="126"/>
                </a:lnTo>
                <a:lnTo>
                  <a:pt x="43" y="122"/>
                </a:lnTo>
                <a:lnTo>
                  <a:pt x="43" y="121"/>
                </a:lnTo>
                <a:lnTo>
                  <a:pt x="44" y="121"/>
                </a:lnTo>
                <a:lnTo>
                  <a:pt x="48" y="118"/>
                </a:lnTo>
                <a:lnTo>
                  <a:pt x="58" y="118"/>
                </a:lnTo>
                <a:lnTo>
                  <a:pt x="59" y="118"/>
                </a:lnTo>
                <a:lnTo>
                  <a:pt x="62" y="113"/>
                </a:lnTo>
                <a:lnTo>
                  <a:pt x="63" y="110"/>
                </a:lnTo>
                <a:lnTo>
                  <a:pt x="66" y="107"/>
                </a:lnTo>
                <a:lnTo>
                  <a:pt x="67" y="105"/>
                </a:lnTo>
                <a:lnTo>
                  <a:pt x="68" y="104"/>
                </a:lnTo>
                <a:lnTo>
                  <a:pt x="70" y="104"/>
                </a:lnTo>
                <a:lnTo>
                  <a:pt x="72" y="104"/>
                </a:lnTo>
                <a:lnTo>
                  <a:pt x="72" y="102"/>
                </a:lnTo>
                <a:lnTo>
                  <a:pt x="74" y="102"/>
                </a:lnTo>
                <a:lnTo>
                  <a:pt x="78" y="102"/>
                </a:lnTo>
                <a:lnTo>
                  <a:pt x="80" y="100"/>
                </a:lnTo>
                <a:lnTo>
                  <a:pt x="83" y="102"/>
                </a:lnTo>
                <a:lnTo>
                  <a:pt x="88" y="100"/>
                </a:lnTo>
                <a:lnTo>
                  <a:pt x="92" y="100"/>
                </a:lnTo>
                <a:lnTo>
                  <a:pt x="94" y="102"/>
                </a:lnTo>
                <a:lnTo>
                  <a:pt x="102" y="100"/>
                </a:lnTo>
                <a:lnTo>
                  <a:pt x="108" y="100"/>
                </a:lnTo>
                <a:lnTo>
                  <a:pt x="111" y="100"/>
                </a:lnTo>
                <a:lnTo>
                  <a:pt x="119" y="102"/>
                </a:lnTo>
                <a:lnTo>
                  <a:pt x="124" y="100"/>
                </a:lnTo>
                <a:lnTo>
                  <a:pt x="136" y="100"/>
                </a:lnTo>
                <a:lnTo>
                  <a:pt x="140" y="102"/>
                </a:lnTo>
                <a:lnTo>
                  <a:pt x="143" y="102"/>
                </a:lnTo>
                <a:lnTo>
                  <a:pt x="143" y="104"/>
                </a:lnTo>
                <a:lnTo>
                  <a:pt x="145" y="104"/>
                </a:lnTo>
                <a:lnTo>
                  <a:pt x="152" y="102"/>
                </a:lnTo>
                <a:lnTo>
                  <a:pt x="164" y="100"/>
                </a:lnTo>
                <a:lnTo>
                  <a:pt x="165" y="99"/>
                </a:lnTo>
                <a:lnTo>
                  <a:pt x="167" y="99"/>
                </a:lnTo>
                <a:lnTo>
                  <a:pt x="165" y="100"/>
                </a:lnTo>
                <a:lnTo>
                  <a:pt x="167" y="102"/>
                </a:lnTo>
                <a:lnTo>
                  <a:pt x="168" y="102"/>
                </a:lnTo>
                <a:lnTo>
                  <a:pt x="171" y="100"/>
                </a:lnTo>
                <a:lnTo>
                  <a:pt x="175" y="97"/>
                </a:lnTo>
                <a:lnTo>
                  <a:pt x="177" y="96"/>
                </a:lnTo>
                <a:lnTo>
                  <a:pt x="183" y="91"/>
                </a:lnTo>
                <a:lnTo>
                  <a:pt x="185" y="88"/>
                </a:lnTo>
                <a:lnTo>
                  <a:pt x="187" y="88"/>
                </a:lnTo>
                <a:lnTo>
                  <a:pt x="189" y="85"/>
                </a:lnTo>
                <a:lnTo>
                  <a:pt x="193" y="83"/>
                </a:lnTo>
                <a:lnTo>
                  <a:pt x="201" y="82"/>
                </a:lnTo>
                <a:lnTo>
                  <a:pt x="205" y="80"/>
                </a:lnTo>
                <a:lnTo>
                  <a:pt x="212" y="80"/>
                </a:lnTo>
                <a:lnTo>
                  <a:pt x="216" y="80"/>
                </a:lnTo>
                <a:lnTo>
                  <a:pt x="217" y="80"/>
                </a:lnTo>
                <a:lnTo>
                  <a:pt x="220" y="79"/>
                </a:lnTo>
                <a:lnTo>
                  <a:pt x="224" y="75"/>
                </a:lnTo>
                <a:lnTo>
                  <a:pt x="229" y="72"/>
                </a:lnTo>
                <a:lnTo>
                  <a:pt x="232" y="69"/>
                </a:lnTo>
                <a:lnTo>
                  <a:pt x="234" y="68"/>
                </a:lnTo>
                <a:lnTo>
                  <a:pt x="233" y="66"/>
                </a:lnTo>
                <a:lnTo>
                  <a:pt x="230" y="64"/>
                </a:lnTo>
                <a:lnTo>
                  <a:pt x="229" y="63"/>
                </a:lnTo>
                <a:lnTo>
                  <a:pt x="230" y="64"/>
                </a:lnTo>
                <a:lnTo>
                  <a:pt x="234" y="64"/>
                </a:lnTo>
                <a:lnTo>
                  <a:pt x="233" y="61"/>
                </a:lnTo>
                <a:lnTo>
                  <a:pt x="229" y="61"/>
                </a:lnTo>
                <a:lnTo>
                  <a:pt x="230" y="60"/>
                </a:lnTo>
                <a:lnTo>
                  <a:pt x="233" y="60"/>
                </a:lnTo>
                <a:lnTo>
                  <a:pt x="232" y="60"/>
                </a:lnTo>
                <a:lnTo>
                  <a:pt x="230" y="57"/>
                </a:lnTo>
                <a:lnTo>
                  <a:pt x="232" y="55"/>
                </a:lnTo>
                <a:lnTo>
                  <a:pt x="230" y="52"/>
                </a:lnTo>
                <a:lnTo>
                  <a:pt x="228" y="52"/>
                </a:lnTo>
                <a:lnTo>
                  <a:pt x="226" y="52"/>
                </a:lnTo>
                <a:lnTo>
                  <a:pt x="224" y="50"/>
                </a:lnTo>
                <a:lnTo>
                  <a:pt x="230" y="52"/>
                </a:lnTo>
                <a:lnTo>
                  <a:pt x="232" y="50"/>
                </a:lnTo>
                <a:lnTo>
                  <a:pt x="233" y="50"/>
                </a:lnTo>
                <a:lnTo>
                  <a:pt x="233" y="49"/>
                </a:lnTo>
                <a:lnTo>
                  <a:pt x="232" y="49"/>
                </a:lnTo>
                <a:lnTo>
                  <a:pt x="232" y="47"/>
                </a:lnTo>
                <a:lnTo>
                  <a:pt x="230" y="46"/>
                </a:lnTo>
                <a:lnTo>
                  <a:pt x="228" y="44"/>
                </a:lnTo>
                <a:lnTo>
                  <a:pt x="230" y="44"/>
                </a:lnTo>
                <a:lnTo>
                  <a:pt x="230" y="42"/>
                </a:lnTo>
                <a:lnTo>
                  <a:pt x="220" y="41"/>
                </a:lnTo>
                <a:lnTo>
                  <a:pt x="221" y="39"/>
                </a:lnTo>
                <a:lnTo>
                  <a:pt x="220" y="39"/>
                </a:lnTo>
                <a:lnTo>
                  <a:pt x="216" y="39"/>
                </a:lnTo>
                <a:lnTo>
                  <a:pt x="213" y="41"/>
                </a:lnTo>
                <a:lnTo>
                  <a:pt x="209" y="46"/>
                </a:lnTo>
                <a:lnTo>
                  <a:pt x="209" y="42"/>
                </a:lnTo>
                <a:lnTo>
                  <a:pt x="209" y="41"/>
                </a:lnTo>
                <a:lnTo>
                  <a:pt x="211" y="39"/>
                </a:lnTo>
                <a:lnTo>
                  <a:pt x="211" y="36"/>
                </a:lnTo>
                <a:lnTo>
                  <a:pt x="209" y="35"/>
                </a:lnTo>
                <a:lnTo>
                  <a:pt x="211" y="33"/>
                </a:lnTo>
                <a:lnTo>
                  <a:pt x="209" y="31"/>
                </a:lnTo>
                <a:lnTo>
                  <a:pt x="207" y="31"/>
                </a:lnTo>
                <a:lnTo>
                  <a:pt x="200" y="31"/>
                </a:lnTo>
                <a:lnTo>
                  <a:pt x="195" y="31"/>
                </a:lnTo>
                <a:lnTo>
                  <a:pt x="192" y="33"/>
                </a:lnTo>
                <a:lnTo>
                  <a:pt x="196" y="33"/>
                </a:lnTo>
                <a:lnTo>
                  <a:pt x="200" y="33"/>
                </a:lnTo>
                <a:lnTo>
                  <a:pt x="203" y="33"/>
                </a:lnTo>
                <a:lnTo>
                  <a:pt x="201" y="35"/>
                </a:lnTo>
                <a:lnTo>
                  <a:pt x="197" y="33"/>
                </a:lnTo>
                <a:lnTo>
                  <a:pt x="189" y="35"/>
                </a:lnTo>
                <a:lnTo>
                  <a:pt x="185" y="36"/>
                </a:lnTo>
                <a:lnTo>
                  <a:pt x="183" y="39"/>
                </a:lnTo>
                <a:lnTo>
                  <a:pt x="179" y="41"/>
                </a:lnTo>
                <a:lnTo>
                  <a:pt x="175" y="42"/>
                </a:lnTo>
                <a:lnTo>
                  <a:pt x="172" y="44"/>
                </a:lnTo>
                <a:lnTo>
                  <a:pt x="171" y="46"/>
                </a:lnTo>
                <a:lnTo>
                  <a:pt x="167" y="47"/>
                </a:lnTo>
                <a:lnTo>
                  <a:pt x="164" y="49"/>
                </a:lnTo>
                <a:lnTo>
                  <a:pt x="164" y="44"/>
                </a:lnTo>
                <a:lnTo>
                  <a:pt x="161" y="42"/>
                </a:lnTo>
                <a:lnTo>
                  <a:pt x="157" y="41"/>
                </a:lnTo>
                <a:lnTo>
                  <a:pt x="153" y="41"/>
                </a:lnTo>
                <a:lnTo>
                  <a:pt x="152" y="39"/>
                </a:lnTo>
                <a:lnTo>
                  <a:pt x="156" y="39"/>
                </a:lnTo>
                <a:lnTo>
                  <a:pt x="160" y="39"/>
                </a:lnTo>
                <a:lnTo>
                  <a:pt x="163" y="41"/>
                </a:lnTo>
                <a:lnTo>
                  <a:pt x="167" y="42"/>
                </a:lnTo>
                <a:lnTo>
                  <a:pt x="171" y="38"/>
                </a:lnTo>
                <a:lnTo>
                  <a:pt x="175" y="38"/>
                </a:lnTo>
                <a:lnTo>
                  <a:pt x="179" y="36"/>
                </a:lnTo>
                <a:lnTo>
                  <a:pt x="188" y="33"/>
                </a:lnTo>
                <a:lnTo>
                  <a:pt x="187" y="33"/>
                </a:lnTo>
                <a:lnTo>
                  <a:pt x="183" y="35"/>
                </a:lnTo>
                <a:lnTo>
                  <a:pt x="179" y="35"/>
                </a:lnTo>
                <a:lnTo>
                  <a:pt x="176" y="35"/>
                </a:lnTo>
                <a:lnTo>
                  <a:pt x="177" y="33"/>
                </a:lnTo>
                <a:lnTo>
                  <a:pt x="183" y="33"/>
                </a:lnTo>
                <a:lnTo>
                  <a:pt x="191" y="31"/>
                </a:lnTo>
                <a:lnTo>
                  <a:pt x="195" y="30"/>
                </a:lnTo>
                <a:lnTo>
                  <a:pt x="196" y="28"/>
                </a:lnTo>
                <a:lnTo>
                  <a:pt x="200" y="28"/>
                </a:lnTo>
                <a:lnTo>
                  <a:pt x="201" y="28"/>
                </a:lnTo>
                <a:lnTo>
                  <a:pt x="204" y="28"/>
                </a:lnTo>
                <a:lnTo>
                  <a:pt x="207" y="28"/>
                </a:lnTo>
                <a:lnTo>
                  <a:pt x="207" y="27"/>
                </a:lnTo>
                <a:lnTo>
                  <a:pt x="208" y="25"/>
                </a:lnTo>
                <a:lnTo>
                  <a:pt x="207" y="24"/>
                </a:lnTo>
                <a:lnTo>
                  <a:pt x="204" y="24"/>
                </a:lnTo>
                <a:lnTo>
                  <a:pt x="203" y="22"/>
                </a:lnTo>
                <a:lnTo>
                  <a:pt x="200" y="22"/>
                </a:lnTo>
                <a:lnTo>
                  <a:pt x="200" y="20"/>
                </a:lnTo>
                <a:lnTo>
                  <a:pt x="199" y="19"/>
                </a:lnTo>
                <a:lnTo>
                  <a:pt x="196" y="19"/>
                </a:lnTo>
                <a:lnTo>
                  <a:pt x="196" y="20"/>
                </a:lnTo>
                <a:lnTo>
                  <a:pt x="193" y="22"/>
                </a:lnTo>
                <a:lnTo>
                  <a:pt x="191" y="20"/>
                </a:lnTo>
                <a:lnTo>
                  <a:pt x="187" y="20"/>
                </a:lnTo>
                <a:lnTo>
                  <a:pt x="185" y="19"/>
                </a:lnTo>
                <a:lnTo>
                  <a:pt x="184" y="17"/>
                </a:lnTo>
                <a:lnTo>
                  <a:pt x="184" y="14"/>
                </a:lnTo>
                <a:lnTo>
                  <a:pt x="181" y="16"/>
                </a:lnTo>
                <a:lnTo>
                  <a:pt x="181" y="14"/>
                </a:lnTo>
                <a:lnTo>
                  <a:pt x="179" y="14"/>
                </a:lnTo>
                <a:lnTo>
                  <a:pt x="176" y="17"/>
                </a:lnTo>
                <a:lnTo>
                  <a:pt x="173" y="19"/>
                </a:lnTo>
                <a:lnTo>
                  <a:pt x="176" y="14"/>
                </a:lnTo>
                <a:lnTo>
                  <a:pt x="173" y="13"/>
                </a:lnTo>
                <a:lnTo>
                  <a:pt x="173" y="11"/>
                </a:lnTo>
                <a:lnTo>
                  <a:pt x="171" y="13"/>
                </a:lnTo>
                <a:lnTo>
                  <a:pt x="169" y="13"/>
                </a:lnTo>
                <a:lnTo>
                  <a:pt x="165" y="11"/>
                </a:lnTo>
                <a:lnTo>
                  <a:pt x="163" y="13"/>
                </a:lnTo>
                <a:lnTo>
                  <a:pt x="161" y="13"/>
                </a:lnTo>
                <a:lnTo>
                  <a:pt x="165" y="9"/>
                </a:lnTo>
                <a:lnTo>
                  <a:pt x="164" y="8"/>
                </a:lnTo>
                <a:lnTo>
                  <a:pt x="163" y="8"/>
                </a:lnTo>
                <a:lnTo>
                  <a:pt x="164" y="6"/>
                </a:lnTo>
                <a:lnTo>
                  <a:pt x="164" y="5"/>
                </a:lnTo>
                <a:lnTo>
                  <a:pt x="161" y="5"/>
                </a:lnTo>
                <a:lnTo>
                  <a:pt x="160" y="5"/>
                </a:lnTo>
                <a:lnTo>
                  <a:pt x="159" y="3"/>
                </a:lnTo>
                <a:lnTo>
                  <a:pt x="157" y="2"/>
                </a:lnTo>
                <a:lnTo>
                  <a:pt x="149" y="2"/>
                </a:lnTo>
                <a:lnTo>
                  <a:pt x="151" y="0"/>
                </a:lnTo>
                <a:lnTo>
                  <a:pt x="149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64" name="Freeform 764"/>
          <p:cNvSpPr>
            <a:spLocks/>
          </p:cNvSpPr>
          <p:nvPr/>
        </p:nvSpPr>
        <p:spPr bwMode="auto">
          <a:xfrm>
            <a:off x="3626222" y="2215981"/>
            <a:ext cx="284527" cy="152481"/>
          </a:xfrm>
          <a:custGeom>
            <a:avLst/>
            <a:gdLst/>
            <a:ahLst/>
            <a:cxnLst>
              <a:cxn ang="0">
                <a:pos x="141" y="71"/>
              </a:cxn>
              <a:cxn ang="0">
                <a:pos x="140" y="68"/>
              </a:cxn>
              <a:cxn ang="0">
                <a:pos x="140" y="66"/>
              </a:cxn>
              <a:cxn ang="0">
                <a:pos x="137" y="64"/>
              </a:cxn>
              <a:cxn ang="0">
                <a:pos x="144" y="64"/>
              </a:cxn>
              <a:cxn ang="0">
                <a:pos x="148" y="57"/>
              </a:cxn>
              <a:cxn ang="0">
                <a:pos x="133" y="52"/>
              </a:cxn>
              <a:cxn ang="0">
                <a:pos x="141" y="46"/>
              </a:cxn>
              <a:cxn ang="0">
                <a:pos x="134" y="42"/>
              </a:cxn>
              <a:cxn ang="0">
                <a:pos x="132" y="38"/>
              </a:cxn>
              <a:cxn ang="0">
                <a:pos x="121" y="41"/>
              </a:cxn>
              <a:cxn ang="0">
                <a:pos x="128" y="36"/>
              </a:cxn>
              <a:cxn ang="0">
                <a:pos x="125" y="33"/>
              </a:cxn>
              <a:cxn ang="0">
                <a:pos x="117" y="31"/>
              </a:cxn>
              <a:cxn ang="0">
                <a:pos x="126" y="30"/>
              </a:cxn>
              <a:cxn ang="0">
                <a:pos x="122" y="27"/>
              </a:cxn>
              <a:cxn ang="0">
                <a:pos x="120" y="24"/>
              </a:cxn>
              <a:cxn ang="0">
                <a:pos x="112" y="22"/>
              </a:cxn>
              <a:cxn ang="0">
                <a:pos x="107" y="24"/>
              </a:cxn>
              <a:cxn ang="0">
                <a:pos x="118" y="19"/>
              </a:cxn>
              <a:cxn ang="0">
                <a:pos x="114" y="17"/>
              </a:cxn>
              <a:cxn ang="0">
                <a:pos x="112" y="16"/>
              </a:cxn>
              <a:cxn ang="0">
                <a:pos x="108" y="13"/>
              </a:cxn>
              <a:cxn ang="0">
                <a:pos x="104" y="6"/>
              </a:cxn>
              <a:cxn ang="0">
                <a:pos x="103" y="3"/>
              </a:cxn>
              <a:cxn ang="0">
                <a:pos x="99" y="0"/>
              </a:cxn>
              <a:cxn ang="0">
                <a:pos x="91" y="5"/>
              </a:cxn>
              <a:cxn ang="0">
                <a:pos x="89" y="13"/>
              </a:cxn>
              <a:cxn ang="0">
                <a:pos x="87" y="17"/>
              </a:cxn>
              <a:cxn ang="0">
                <a:pos x="84" y="22"/>
              </a:cxn>
              <a:cxn ang="0">
                <a:pos x="81" y="25"/>
              </a:cxn>
              <a:cxn ang="0">
                <a:pos x="80" y="27"/>
              </a:cxn>
              <a:cxn ang="0">
                <a:pos x="79" y="28"/>
              </a:cxn>
              <a:cxn ang="0">
                <a:pos x="69" y="30"/>
              </a:cxn>
              <a:cxn ang="0">
                <a:pos x="53" y="39"/>
              </a:cxn>
              <a:cxn ang="0">
                <a:pos x="52" y="33"/>
              </a:cxn>
              <a:cxn ang="0">
                <a:pos x="48" y="31"/>
              </a:cxn>
              <a:cxn ang="0">
                <a:pos x="29" y="44"/>
              </a:cxn>
              <a:cxn ang="0">
                <a:pos x="45" y="31"/>
              </a:cxn>
              <a:cxn ang="0">
                <a:pos x="36" y="25"/>
              </a:cxn>
              <a:cxn ang="0">
                <a:pos x="21" y="30"/>
              </a:cxn>
              <a:cxn ang="0">
                <a:pos x="15" y="27"/>
              </a:cxn>
              <a:cxn ang="0">
                <a:pos x="21" y="24"/>
              </a:cxn>
              <a:cxn ang="0">
                <a:pos x="28" y="24"/>
              </a:cxn>
              <a:cxn ang="0">
                <a:pos x="29" y="20"/>
              </a:cxn>
              <a:cxn ang="0">
                <a:pos x="29" y="17"/>
              </a:cxn>
              <a:cxn ang="0">
                <a:pos x="27" y="9"/>
              </a:cxn>
              <a:cxn ang="0">
                <a:pos x="5" y="5"/>
              </a:cxn>
              <a:cxn ang="0">
                <a:pos x="7" y="5"/>
              </a:cxn>
            </a:cxnLst>
            <a:rect l="0" t="0" r="r" b="b"/>
            <a:pathLst>
              <a:path w="150" h="77">
                <a:moveTo>
                  <a:pt x="150" y="77"/>
                </a:moveTo>
                <a:lnTo>
                  <a:pt x="149" y="72"/>
                </a:lnTo>
                <a:lnTo>
                  <a:pt x="141" y="74"/>
                </a:lnTo>
                <a:lnTo>
                  <a:pt x="141" y="71"/>
                </a:lnTo>
                <a:lnTo>
                  <a:pt x="144" y="72"/>
                </a:lnTo>
                <a:lnTo>
                  <a:pt x="144" y="71"/>
                </a:lnTo>
                <a:lnTo>
                  <a:pt x="140" y="69"/>
                </a:lnTo>
                <a:lnTo>
                  <a:pt x="140" y="68"/>
                </a:lnTo>
                <a:lnTo>
                  <a:pt x="141" y="68"/>
                </a:lnTo>
                <a:lnTo>
                  <a:pt x="144" y="68"/>
                </a:lnTo>
                <a:lnTo>
                  <a:pt x="142" y="66"/>
                </a:lnTo>
                <a:lnTo>
                  <a:pt x="140" y="66"/>
                </a:lnTo>
                <a:lnTo>
                  <a:pt x="130" y="66"/>
                </a:lnTo>
                <a:lnTo>
                  <a:pt x="126" y="66"/>
                </a:lnTo>
                <a:lnTo>
                  <a:pt x="129" y="64"/>
                </a:lnTo>
                <a:lnTo>
                  <a:pt x="137" y="64"/>
                </a:lnTo>
                <a:lnTo>
                  <a:pt x="133" y="63"/>
                </a:lnTo>
                <a:lnTo>
                  <a:pt x="134" y="61"/>
                </a:lnTo>
                <a:lnTo>
                  <a:pt x="142" y="64"/>
                </a:lnTo>
                <a:lnTo>
                  <a:pt x="144" y="64"/>
                </a:lnTo>
                <a:lnTo>
                  <a:pt x="142" y="61"/>
                </a:lnTo>
                <a:lnTo>
                  <a:pt x="145" y="60"/>
                </a:lnTo>
                <a:lnTo>
                  <a:pt x="149" y="58"/>
                </a:lnTo>
                <a:lnTo>
                  <a:pt x="148" y="57"/>
                </a:lnTo>
                <a:lnTo>
                  <a:pt x="141" y="55"/>
                </a:lnTo>
                <a:lnTo>
                  <a:pt x="142" y="53"/>
                </a:lnTo>
                <a:lnTo>
                  <a:pt x="141" y="52"/>
                </a:lnTo>
                <a:lnTo>
                  <a:pt x="133" y="52"/>
                </a:lnTo>
                <a:lnTo>
                  <a:pt x="133" y="50"/>
                </a:lnTo>
                <a:lnTo>
                  <a:pt x="137" y="50"/>
                </a:lnTo>
                <a:lnTo>
                  <a:pt x="141" y="47"/>
                </a:lnTo>
                <a:lnTo>
                  <a:pt x="141" y="46"/>
                </a:lnTo>
                <a:lnTo>
                  <a:pt x="138" y="46"/>
                </a:lnTo>
                <a:lnTo>
                  <a:pt x="136" y="44"/>
                </a:lnTo>
                <a:lnTo>
                  <a:pt x="136" y="42"/>
                </a:lnTo>
                <a:lnTo>
                  <a:pt x="134" y="42"/>
                </a:lnTo>
                <a:lnTo>
                  <a:pt x="130" y="42"/>
                </a:lnTo>
                <a:lnTo>
                  <a:pt x="133" y="41"/>
                </a:lnTo>
                <a:lnTo>
                  <a:pt x="134" y="41"/>
                </a:lnTo>
                <a:lnTo>
                  <a:pt x="132" y="38"/>
                </a:lnTo>
                <a:lnTo>
                  <a:pt x="129" y="39"/>
                </a:lnTo>
                <a:lnTo>
                  <a:pt x="126" y="39"/>
                </a:lnTo>
                <a:lnTo>
                  <a:pt x="124" y="41"/>
                </a:lnTo>
                <a:lnTo>
                  <a:pt x="121" y="41"/>
                </a:lnTo>
                <a:lnTo>
                  <a:pt x="124" y="38"/>
                </a:lnTo>
                <a:lnTo>
                  <a:pt x="128" y="38"/>
                </a:lnTo>
                <a:lnTo>
                  <a:pt x="129" y="36"/>
                </a:lnTo>
                <a:lnTo>
                  <a:pt x="128" y="36"/>
                </a:lnTo>
                <a:lnTo>
                  <a:pt x="129" y="35"/>
                </a:lnTo>
                <a:lnTo>
                  <a:pt x="130" y="35"/>
                </a:lnTo>
                <a:lnTo>
                  <a:pt x="130" y="33"/>
                </a:lnTo>
                <a:lnTo>
                  <a:pt x="125" y="33"/>
                </a:lnTo>
                <a:lnTo>
                  <a:pt x="121" y="33"/>
                </a:lnTo>
                <a:lnTo>
                  <a:pt x="117" y="33"/>
                </a:lnTo>
                <a:lnTo>
                  <a:pt x="116" y="31"/>
                </a:lnTo>
                <a:lnTo>
                  <a:pt x="117" y="31"/>
                </a:lnTo>
                <a:lnTo>
                  <a:pt x="118" y="31"/>
                </a:lnTo>
                <a:lnTo>
                  <a:pt x="120" y="31"/>
                </a:lnTo>
                <a:lnTo>
                  <a:pt x="124" y="31"/>
                </a:lnTo>
                <a:lnTo>
                  <a:pt x="126" y="30"/>
                </a:lnTo>
                <a:lnTo>
                  <a:pt x="125" y="30"/>
                </a:lnTo>
                <a:lnTo>
                  <a:pt x="124" y="28"/>
                </a:lnTo>
                <a:lnTo>
                  <a:pt x="125" y="27"/>
                </a:lnTo>
                <a:lnTo>
                  <a:pt x="122" y="27"/>
                </a:lnTo>
                <a:lnTo>
                  <a:pt x="121" y="27"/>
                </a:lnTo>
                <a:lnTo>
                  <a:pt x="121" y="25"/>
                </a:lnTo>
                <a:lnTo>
                  <a:pt x="121" y="24"/>
                </a:lnTo>
                <a:lnTo>
                  <a:pt x="120" y="24"/>
                </a:lnTo>
                <a:lnTo>
                  <a:pt x="121" y="22"/>
                </a:lnTo>
                <a:lnTo>
                  <a:pt x="120" y="22"/>
                </a:lnTo>
                <a:lnTo>
                  <a:pt x="116" y="22"/>
                </a:lnTo>
                <a:lnTo>
                  <a:pt x="112" y="22"/>
                </a:lnTo>
                <a:lnTo>
                  <a:pt x="109" y="24"/>
                </a:lnTo>
                <a:lnTo>
                  <a:pt x="108" y="22"/>
                </a:lnTo>
                <a:lnTo>
                  <a:pt x="105" y="24"/>
                </a:lnTo>
                <a:lnTo>
                  <a:pt x="107" y="24"/>
                </a:lnTo>
                <a:lnTo>
                  <a:pt x="109" y="22"/>
                </a:lnTo>
                <a:lnTo>
                  <a:pt x="116" y="22"/>
                </a:lnTo>
                <a:lnTo>
                  <a:pt x="118" y="20"/>
                </a:lnTo>
                <a:lnTo>
                  <a:pt x="118" y="19"/>
                </a:lnTo>
                <a:lnTo>
                  <a:pt x="117" y="19"/>
                </a:lnTo>
                <a:lnTo>
                  <a:pt x="116" y="19"/>
                </a:lnTo>
                <a:lnTo>
                  <a:pt x="116" y="17"/>
                </a:lnTo>
                <a:lnTo>
                  <a:pt x="114" y="17"/>
                </a:lnTo>
                <a:lnTo>
                  <a:pt x="113" y="19"/>
                </a:lnTo>
                <a:lnTo>
                  <a:pt x="113" y="17"/>
                </a:lnTo>
                <a:lnTo>
                  <a:pt x="109" y="16"/>
                </a:lnTo>
                <a:lnTo>
                  <a:pt x="112" y="16"/>
                </a:lnTo>
                <a:lnTo>
                  <a:pt x="113" y="14"/>
                </a:lnTo>
                <a:lnTo>
                  <a:pt x="110" y="13"/>
                </a:lnTo>
                <a:lnTo>
                  <a:pt x="108" y="14"/>
                </a:lnTo>
                <a:lnTo>
                  <a:pt x="108" y="13"/>
                </a:lnTo>
                <a:lnTo>
                  <a:pt x="109" y="11"/>
                </a:lnTo>
                <a:lnTo>
                  <a:pt x="105" y="11"/>
                </a:lnTo>
                <a:lnTo>
                  <a:pt x="107" y="8"/>
                </a:lnTo>
                <a:lnTo>
                  <a:pt x="104" y="6"/>
                </a:lnTo>
                <a:lnTo>
                  <a:pt x="103" y="8"/>
                </a:lnTo>
                <a:lnTo>
                  <a:pt x="104" y="6"/>
                </a:lnTo>
                <a:lnTo>
                  <a:pt x="104" y="5"/>
                </a:lnTo>
                <a:lnTo>
                  <a:pt x="103" y="3"/>
                </a:lnTo>
                <a:lnTo>
                  <a:pt x="101" y="2"/>
                </a:lnTo>
                <a:lnTo>
                  <a:pt x="103" y="2"/>
                </a:lnTo>
                <a:lnTo>
                  <a:pt x="101" y="0"/>
                </a:lnTo>
                <a:lnTo>
                  <a:pt x="99" y="0"/>
                </a:lnTo>
                <a:lnTo>
                  <a:pt x="96" y="0"/>
                </a:lnTo>
                <a:lnTo>
                  <a:pt x="95" y="2"/>
                </a:lnTo>
                <a:lnTo>
                  <a:pt x="93" y="3"/>
                </a:lnTo>
                <a:lnTo>
                  <a:pt x="91" y="5"/>
                </a:lnTo>
                <a:lnTo>
                  <a:pt x="87" y="8"/>
                </a:lnTo>
                <a:lnTo>
                  <a:pt x="85" y="9"/>
                </a:lnTo>
                <a:lnTo>
                  <a:pt x="87" y="11"/>
                </a:lnTo>
                <a:lnTo>
                  <a:pt x="89" y="13"/>
                </a:lnTo>
                <a:lnTo>
                  <a:pt x="91" y="14"/>
                </a:lnTo>
                <a:lnTo>
                  <a:pt x="88" y="16"/>
                </a:lnTo>
                <a:lnTo>
                  <a:pt x="88" y="17"/>
                </a:lnTo>
                <a:lnTo>
                  <a:pt x="87" y="17"/>
                </a:lnTo>
                <a:lnTo>
                  <a:pt x="85" y="19"/>
                </a:lnTo>
                <a:lnTo>
                  <a:pt x="84" y="19"/>
                </a:lnTo>
                <a:lnTo>
                  <a:pt x="85" y="20"/>
                </a:lnTo>
                <a:lnTo>
                  <a:pt x="84" y="22"/>
                </a:lnTo>
                <a:lnTo>
                  <a:pt x="81" y="22"/>
                </a:lnTo>
                <a:lnTo>
                  <a:pt x="81" y="24"/>
                </a:lnTo>
                <a:lnTo>
                  <a:pt x="83" y="25"/>
                </a:lnTo>
                <a:lnTo>
                  <a:pt x="81" y="25"/>
                </a:lnTo>
                <a:lnTo>
                  <a:pt x="80" y="27"/>
                </a:lnTo>
                <a:lnTo>
                  <a:pt x="77" y="25"/>
                </a:lnTo>
                <a:lnTo>
                  <a:pt x="77" y="27"/>
                </a:lnTo>
                <a:lnTo>
                  <a:pt x="80" y="27"/>
                </a:lnTo>
                <a:lnTo>
                  <a:pt x="81" y="28"/>
                </a:lnTo>
                <a:lnTo>
                  <a:pt x="79" y="33"/>
                </a:lnTo>
                <a:lnTo>
                  <a:pt x="80" y="30"/>
                </a:lnTo>
                <a:lnTo>
                  <a:pt x="79" y="28"/>
                </a:lnTo>
                <a:lnTo>
                  <a:pt x="75" y="28"/>
                </a:lnTo>
                <a:lnTo>
                  <a:pt x="73" y="27"/>
                </a:lnTo>
                <a:lnTo>
                  <a:pt x="71" y="28"/>
                </a:lnTo>
                <a:lnTo>
                  <a:pt x="69" y="30"/>
                </a:lnTo>
                <a:lnTo>
                  <a:pt x="69" y="31"/>
                </a:lnTo>
                <a:lnTo>
                  <a:pt x="63" y="33"/>
                </a:lnTo>
                <a:lnTo>
                  <a:pt x="55" y="36"/>
                </a:lnTo>
                <a:lnTo>
                  <a:pt x="53" y="39"/>
                </a:lnTo>
                <a:lnTo>
                  <a:pt x="52" y="39"/>
                </a:lnTo>
                <a:lnTo>
                  <a:pt x="52" y="36"/>
                </a:lnTo>
                <a:lnTo>
                  <a:pt x="52" y="35"/>
                </a:lnTo>
                <a:lnTo>
                  <a:pt x="52" y="33"/>
                </a:lnTo>
                <a:lnTo>
                  <a:pt x="49" y="35"/>
                </a:lnTo>
                <a:lnTo>
                  <a:pt x="49" y="33"/>
                </a:lnTo>
                <a:lnTo>
                  <a:pt x="49" y="30"/>
                </a:lnTo>
                <a:lnTo>
                  <a:pt x="48" y="31"/>
                </a:lnTo>
                <a:lnTo>
                  <a:pt x="45" y="36"/>
                </a:lnTo>
                <a:lnTo>
                  <a:pt x="44" y="39"/>
                </a:lnTo>
                <a:lnTo>
                  <a:pt x="39" y="42"/>
                </a:lnTo>
                <a:lnTo>
                  <a:pt x="29" y="44"/>
                </a:lnTo>
                <a:lnTo>
                  <a:pt x="40" y="41"/>
                </a:lnTo>
                <a:lnTo>
                  <a:pt x="44" y="38"/>
                </a:lnTo>
                <a:lnTo>
                  <a:pt x="45" y="33"/>
                </a:lnTo>
                <a:lnTo>
                  <a:pt x="45" y="31"/>
                </a:lnTo>
                <a:lnTo>
                  <a:pt x="44" y="30"/>
                </a:lnTo>
                <a:lnTo>
                  <a:pt x="41" y="25"/>
                </a:lnTo>
                <a:lnTo>
                  <a:pt x="40" y="25"/>
                </a:lnTo>
                <a:lnTo>
                  <a:pt x="36" y="25"/>
                </a:lnTo>
                <a:lnTo>
                  <a:pt x="32" y="25"/>
                </a:lnTo>
                <a:lnTo>
                  <a:pt x="29" y="25"/>
                </a:lnTo>
                <a:lnTo>
                  <a:pt x="27" y="27"/>
                </a:lnTo>
                <a:lnTo>
                  <a:pt x="21" y="30"/>
                </a:lnTo>
                <a:lnTo>
                  <a:pt x="20" y="28"/>
                </a:lnTo>
                <a:lnTo>
                  <a:pt x="19" y="28"/>
                </a:lnTo>
                <a:lnTo>
                  <a:pt x="16" y="28"/>
                </a:lnTo>
                <a:lnTo>
                  <a:pt x="15" y="27"/>
                </a:lnTo>
                <a:lnTo>
                  <a:pt x="20" y="27"/>
                </a:lnTo>
                <a:lnTo>
                  <a:pt x="20" y="25"/>
                </a:lnTo>
                <a:lnTo>
                  <a:pt x="19" y="24"/>
                </a:lnTo>
                <a:lnTo>
                  <a:pt x="21" y="24"/>
                </a:lnTo>
                <a:lnTo>
                  <a:pt x="23" y="24"/>
                </a:lnTo>
                <a:lnTo>
                  <a:pt x="24" y="27"/>
                </a:lnTo>
                <a:lnTo>
                  <a:pt x="27" y="24"/>
                </a:lnTo>
                <a:lnTo>
                  <a:pt x="28" y="24"/>
                </a:lnTo>
                <a:lnTo>
                  <a:pt x="29" y="24"/>
                </a:lnTo>
                <a:lnTo>
                  <a:pt x="31" y="24"/>
                </a:lnTo>
                <a:lnTo>
                  <a:pt x="31" y="22"/>
                </a:lnTo>
                <a:lnTo>
                  <a:pt x="29" y="20"/>
                </a:lnTo>
                <a:lnTo>
                  <a:pt x="27" y="20"/>
                </a:lnTo>
                <a:lnTo>
                  <a:pt x="29" y="19"/>
                </a:lnTo>
                <a:lnTo>
                  <a:pt x="31" y="17"/>
                </a:lnTo>
                <a:lnTo>
                  <a:pt x="29" y="17"/>
                </a:lnTo>
                <a:lnTo>
                  <a:pt x="24" y="17"/>
                </a:lnTo>
                <a:lnTo>
                  <a:pt x="28" y="13"/>
                </a:lnTo>
                <a:lnTo>
                  <a:pt x="27" y="11"/>
                </a:lnTo>
                <a:lnTo>
                  <a:pt x="27" y="9"/>
                </a:lnTo>
                <a:lnTo>
                  <a:pt x="24" y="8"/>
                </a:lnTo>
                <a:lnTo>
                  <a:pt x="20" y="6"/>
                </a:lnTo>
                <a:lnTo>
                  <a:pt x="9" y="6"/>
                </a:lnTo>
                <a:lnTo>
                  <a:pt x="5" y="5"/>
                </a:lnTo>
                <a:lnTo>
                  <a:pt x="0" y="5"/>
                </a:lnTo>
                <a:lnTo>
                  <a:pt x="1" y="5"/>
                </a:lnTo>
                <a:lnTo>
                  <a:pt x="4" y="3"/>
                </a:lnTo>
                <a:lnTo>
                  <a:pt x="7" y="5"/>
                </a:lnTo>
                <a:lnTo>
                  <a:pt x="12" y="5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65" name="Freeform 765"/>
          <p:cNvSpPr>
            <a:spLocks/>
          </p:cNvSpPr>
          <p:nvPr/>
        </p:nvSpPr>
        <p:spPr bwMode="auto">
          <a:xfrm>
            <a:off x="3382619" y="2136520"/>
            <a:ext cx="296220" cy="358650"/>
          </a:xfrm>
          <a:custGeom>
            <a:avLst/>
            <a:gdLst/>
            <a:ahLst/>
            <a:cxnLst>
              <a:cxn ang="0">
                <a:pos x="150" y="47"/>
              </a:cxn>
              <a:cxn ang="0">
                <a:pos x="152" y="43"/>
              </a:cxn>
              <a:cxn ang="0">
                <a:pos x="150" y="36"/>
              </a:cxn>
              <a:cxn ang="0">
                <a:pos x="154" y="30"/>
              </a:cxn>
              <a:cxn ang="0">
                <a:pos x="144" y="32"/>
              </a:cxn>
              <a:cxn ang="0">
                <a:pos x="140" y="27"/>
              </a:cxn>
              <a:cxn ang="0">
                <a:pos x="130" y="27"/>
              </a:cxn>
              <a:cxn ang="0">
                <a:pos x="121" y="25"/>
              </a:cxn>
              <a:cxn ang="0">
                <a:pos x="118" y="22"/>
              </a:cxn>
              <a:cxn ang="0">
                <a:pos x="122" y="19"/>
              </a:cxn>
              <a:cxn ang="0">
                <a:pos x="115" y="19"/>
              </a:cxn>
              <a:cxn ang="0">
                <a:pos x="113" y="16"/>
              </a:cxn>
              <a:cxn ang="0">
                <a:pos x="107" y="11"/>
              </a:cxn>
              <a:cxn ang="0">
                <a:pos x="103" y="14"/>
              </a:cxn>
              <a:cxn ang="0">
                <a:pos x="99" y="7"/>
              </a:cxn>
              <a:cxn ang="0">
                <a:pos x="75" y="7"/>
              </a:cxn>
              <a:cxn ang="0">
                <a:pos x="69" y="7"/>
              </a:cxn>
              <a:cxn ang="0">
                <a:pos x="59" y="5"/>
              </a:cxn>
              <a:cxn ang="0">
                <a:pos x="42" y="2"/>
              </a:cxn>
              <a:cxn ang="0">
                <a:pos x="30" y="2"/>
              </a:cxn>
              <a:cxn ang="0">
                <a:pos x="21" y="7"/>
              </a:cxn>
              <a:cxn ang="0">
                <a:pos x="23" y="14"/>
              </a:cxn>
              <a:cxn ang="0">
                <a:pos x="33" y="17"/>
              </a:cxn>
              <a:cxn ang="0">
                <a:pos x="30" y="21"/>
              </a:cxn>
              <a:cxn ang="0">
                <a:pos x="25" y="27"/>
              </a:cxn>
              <a:cxn ang="0">
                <a:pos x="26" y="33"/>
              </a:cxn>
              <a:cxn ang="0">
                <a:pos x="27" y="35"/>
              </a:cxn>
              <a:cxn ang="0">
                <a:pos x="30" y="43"/>
              </a:cxn>
              <a:cxn ang="0">
                <a:pos x="30" y="46"/>
              </a:cxn>
              <a:cxn ang="0">
                <a:pos x="37" y="47"/>
              </a:cxn>
              <a:cxn ang="0">
                <a:pos x="34" y="52"/>
              </a:cxn>
              <a:cxn ang="0">
                <a:pos x="33" y="54"/>
              </a:cxn>
              <a:cxn ang="0">
                <a:pos x="29" y="57"/>
              </a:cxn>
              <a:cxn ang="0">
                <a:pos x="18" y="61"/>
              </a:cxn>
              <a:cxn ang="0">
                <a:pos x="13" y="66"/>
              </a:cxn>
              <a:cxn ang="0">
                <a:pos x="18" y="72"/>
              </a:cxn>
              <a:cxn ang="0">
                <a:pos x="33" y="77"/>
              </a:cxn>
              <a:cxn ang="0">
                <a:pos x="37" y="88"/>
              </a:cxn>
              <a:cxn ang="0">
                <a:pos x="42" y="101"/>
              </a:cxn>
              <a:cxn ang="0">
                <a:pos x="45" y="113"/>
              </a:cxn>
              <a:cxn ang="0">
                <a:pos x="51" y="113"/>
              </a:cxn>
              <a:cxn ang="0">
                <a:pos x="46" y="115"/>
              </a:cxn>
              <a:cxn ang="0">
                <a:pos x="35" y="124"/>
              </a:cxn>
              <a:cxn ang="0">
                <a:pos x="26" y="132"/>
              </a:cxn>
              <a:cxn ang="0">
                <a:pos x="5" y="142"/>
              </a:cxn>
              <a:cxn ang="0">
                <a:pos x="5" y="146"/>
              </a:cxn>
              <a:cxn ang="0">
                <a:pos x="11" y="157"/>
              </a:cxn>
              <a:cxn ang="0">
                <a:pos x="13" y="175"/>
              </a:cxn>
              <a:cxn ang="0">
                <a:pos x="14" y="179"/>
              </a:cxn>
            </a:cxnLst>
            <a:rect l="0" t="0" r="r" b="b"/>
            <a:pathLst>
              <a:path w="155" h="181">
                <a:moveTo>
                  <a:pt x="139" y="46"/>
                </a:moveTo>
                <a:lnTo>
                  <a:pt x="143" y="46"/>
                </a:lnTo>
                <a:lnTo>
                  <a:pt x="146" y="47"/>
                </a:lnTo>
                <a:lnTo>
                  <a:pt x="150" y="47"/>
                </a:lnTo>
                <a:lnTo>
                  <a:pt x="150" y="46"/>
                </a:lnTo>
                <a:lnTo>
                  <a:pt x="151" y="46"/>
                </a:lnTo>
                <a:lnTo>
                  <a:pt x="155" y="46"/>
                </a:lnTo>
                <a:lnTo>
                  <a:pt x="152" y="43"/>
                </a:lnTo>
                <a:lnTo>
                  <a:pt x="151" y="39"/>
                </a:lnTo>
                <a:lnTo>
                  <a:pt x="150" y="39"/>
                </a:lnTo>
                <a:lnTo>
                  <a:pt x="150" y="38"/>
                </a:lnTo>
                <a:lnTo>
                  <a:pt x="150" y="36"/>
                </a:lnTo>
                <a:lnTo>
                  <a:pt x="150" y="35"/>
                </a:lnTo>
                <a:lnTo>
                  <a:pt x="152" y="33"/>
                </a:lnTo>
                <a:lnTo>
                  <a:pt x="154" y="32"/>
                </a:lnTo>
                <a:lnTo>
                  <a:pt x="154" y="30"/>
                </a:lnTo>
                <a:lnTo>
                  <a:pt x="151" y="28"/>
                </a:lnTo>
                <a:lnTo>
                  <a:pt x="150" y="28"/>
                </a:lnTo>
                <a:lnTo>
                  <a:pt x="150" y="30"/>
                </a:lnTo>
                <a:lnTo>
                  <a:pt x="144" y="32"/>
                </a:lnTo>
                <a:lnTo>
                  <a:pt x="143" y="32"/>
                </a:lnTo>
                <a:lnTo>
                  <a:pt x="143" y="30"/>
                </a:lnTo>
                <a:lnTo>
                  <a:pt x="142" y="28"/>
                </a:lnTo>
                <a:lnTo>
                  <a:pt x="140" y="27"/>
                </a:lnTo>
                <a:lnTo>
                  <a:pt x="138" y="28"/>
                </a:lnTo>
                <a:lnTo>
                  <a:pt x="132" y="28"/>
                </a:lnTo>
                <a:lnTo>
                  <a:pt x="131" y="28"/>
                </a:lnTo>
                <a:lnTo>
                  <a:pt x="130" y="27"/>
                </a:lnTo>
                <a:lnTo>
                  <a:pt x="128" y="25"/>
                </a:lnTo>
                <a:lnTo>
                  <a:pt x="126" y="25"/>
                </a:lnTo>
                <a:lnTo>
                  <a:pt x="122" y="27"/>
                </a:lnTo>
                <a:lnTo>
                  <a:pt x="121" y="25"/>
                </a:lnTo>
                <a:lnTo>
                  <a:pt x="122" y="24"/>
                </a:lnTo>
                <a:lnTo>
                  <a:pt x="119" y="24"/>
                </a:lnTo>
                <a:lnTo>
                  <a:pt x="118" y="24"/>
                </a:lnTo>
                <a:lnTo>
                  <a:pt x="118" y="22"/>
                </a:lnTo>
                <a:lnTo>
                  <a:pt x="118" y="21"/>
                </a:lnTo>
                <a:lnTo>
                  <a:pt x="119" y="19"/>
                </a:lnTo>
                <a:lnTo>
                  <a:pt x="121" y="19"/>
                </a:lnTo>
                <a:lnTo>
                  <a:pt x="122" y="19"/>
                </a:lnTo>
                <a:lnTo>
                  <a:pt x="121" y="17"/>
                </a:lnTo>
                <a:lnTo>
                  <a:pt x="118" y="17"/>
                </a:lnTo>
                <a:lnTo>
                  <a:pt x="115" y="17"/>
                </a:lnTo>
                <a:lnTo>
                  <a:pt x="115" y="19"/>
                </a:lnTo>
                <a:lnTo>
                  <a:pt x="113" y="19"/>
                </a:lnTo>
                <a:lnTo>
                  <a:pt x="111" y="17"/>
                </a:lnTo>
                <a:lnTo>
                  <a:pt x="114" y="17"/>
                </a:lnTo>
                <a:lnTo>
                  <a:pt x="113" y="16"/>
                </a:lnTo>
                <a:lnTo>
                  <a:pt x="111" y="14"/>
                </a:lnTo>
                <a:lnTo>
                  <a:pt x="111" y="13"/>
                </a:lnTo>
                <a:lnTo>
                  <a:pt x="109" y="11"/>
                </a:lnTo>
                <a:lnTo>
                  <a:pt x="107" y="11"/>
                </a:lnTo>
                <a:lnTo>
                  <a:pt x="107" y="14"/>
                </a:lnTo>
                <a:lnTo>
                  <a:pt x="106" y="14"/>
                </a:lnTo>
                <a:lnTo>
                  <a:pt x="105" y="14"/>
                </a:lnTo>
                <a:lnTo>
                  <a:pt x="103" y="14"/>
                </a:lnTo>
                <a:lnTo>
                  <a:pt x="106" y="10"/>
                </a:lnTo>
                <a:lnTo>
                  <a:pt x="106" y="8"/>
                </a:lnTo>
                <a:lnTo>
                  <a:pt x="103" y="8"/>
                </a:lnTo>
                <a:lnTo>
                  <a:pt x="99" y="7"/>
                </a:lnTo>
                <a:lnTo>
                  <a:pt x="97" y="5"/>
                </a:lnTo>
                <a:lnTo>
                  <a:pt x="87" y="3"/>
                </a:lnTo>
                <a:lnTo>
                  <a:pt x="83" y="5"/>
                </a:lnTo>
                <a:lnTo>
                  <a:pt x="75" y="7"/>
                </a:lnTo>
                <a:lnTo>
                  <a:pt x="74" y="7"/>
                </a:lnTo>
                <a:lnTo>
                  <a:pt x="74" y="8"/>
                </a:lnTo>
                <a:lnTo>
                  <a:pt x="69" y="8"/>
                </a:lnTo>
                <a:lnTo>
                  <a:pt x="69" y="7"/>
                </a:lnTo>
                <a:lnTo>
                  <a:pt x="63" y="7"/>
                </a:lnTo>
                <a:lnTo>
                  <a:pt x="61" y="7"/>
                </a:lnTo>
                <a:lnTo>
                  <a:pt x="61" y="5"/>
                </a:lnTo>
                <a:lnTo>
                  <a:pt x="59" y="5"/>
                </a:lnTo>
                <a:lnTo>
                  <a:pt x="54" y="5"/>
                </a:lnTo>
                <a:lnTo>
                  <a:pt x="51" y="3"/>
                </a:lnTo>
                <a:lnTo>
                  <a:pt x="50" y="3"/>
                </a:lnTo>
                <a:lnTo>
                  <a:pt x="42" y="2"/>
                </a:lnTo>
                <a:lnTo>
                  <a:pt x="35" y="2"/>
                </a:lnTo>
                <a:lnTo>
                  <a:pt x="33" y="2"/>
                </a:lnTo>
                <a:lnTo>
                  <a:pt x="31" y="0"/>
                </a:lnTo>
                <a:lnTo>
                  <a:pt x="30" y="2"/>
                </a:lnTo>
                <a:lnTo>
                  <a:pt x="27" y="2"/>
                </a:lnTo>
                <a:lnTo>
                  <a:pt x="25" y="5"/>
                </a:lnTo>
                <a:lnTo>
                  <a:pt x="22" y="7"/>
                </a:lnTo>
                <a:lnTo>
                  <a:pt x="21" y="7"/>
                </a:lnTo>
                <a:lnTo>
                  <a:pt x="21" y="10"/>
                </a:lnTo>
                <a:lnTo>
                  <a:pt x="22" y="11"/>
                </a:lnTo>
                <a:lnTo>
                  <a:pt x="23" y="13"/>
                </a:lnTo>
                <a:lnTo>
                  <a:pt x="23" y="14"/>
                </a:lnTo>
                <a:lnTo>
                  <a:pt x="26" y="16"/>
                </a:lnTo>
                <a:lnTo>
                  <a:pt x="27" y="16"/>
                </a:lnTo>
                <a:lnTo>
                  <a:pt x="30" y="17"/>
                </a:lnTo>
                <a:lnTo>
                  <a:pt x="33" y="17"/>
                </a:lnTo>
                <a:lnTo>
                  <a:pt x="33" y="16"/>
                </a:lnTo>
                <a:lnTo>
                  <a:pt x="33" y="19"/>
                </a:lnTo>
                <a:lnTo>
                  <a:pt x="31" y="19"/>
                </a:lnTo>
                <a:lnTo>
                  <a:pt x="30" y="21"/>
                </a:lnTo>
                <a:lnTo>
                  <a:pt x="29" y="22"/>
                </a:lnTo>
                <a:lnTo>
                  <a:pt x="29" y="24"/>
                </a:lnTo>
                <a:lnTo>
                  <a:pt x="26" y="25"/>
                </a:lnTo>
                <a:lnTo>
                  <a:pt x="25" y="27"/>
                </a:lnTo>
                <a:lnTo>
                  <a:pt x="22" y="30"/>
                </a:lnTo>
                <a:lnTo>
                  <a:pt x="22" y="32"/>
                </a:lnTo>
                <a:lnTo>
                  <a:pt x="25" y="33"/>
                </a:lnTo>
                <a:lnTo>
                  <a:pt x="26" y="33"/>
                </a:lnTo>
                <a:lnTo>
                  <a:pt x="29" y="33"/>
                </a:lnTo>
                <a:lnTo>
                  <a:pt x="30" y="33"/>
                </a:lnTo>
                <a:lnTo>
                  <a:pt x="33" y="33"/>
                </a:lnTo>
                <a:lnTo>
                  <a:pt x="27" y="35"/>
                </a:lnTo>
                <a:lnTo>
                  <a:pt x="27" y="36"/>
                </a:lnTo>
                <a:lnTo>
                  <a:pt x="30" y="36"/>
                </a:lnTo>
                <a:lnTo>
                  <a:pt x="29" y="39"/>
                </a:lnTo>
                <a:lnTo>
                  <a:pt x="30" y="43"/>
                </a:lnTo>
                <a:lnTo>
                  <a:pt x="31" y="43"/>
                </a:lnTo>
                <a:lnTo>
                  <a:pt x="33" y="44"/>
                </a:lnTo>
                <a:lnTo>
                  <a:pt x="33" y="46"/>
                </a:lnTo>
                <a:lnTo>
                  <a:pt x="30" y="46"/>
                </a:lnTo>
                <a:lnTo>
                  <a:pt x="29" y="46"/>
                </a:lnTo>
                <a:lnTo>
                  <a:pt x="29" y="47"/>
                </a:lnTo>
                <a:lnTo>
                  <a:pt x="35" y="47"/>
                </a:lnTo>
                <a:lnTo>
                  <a:pt x="37" y="47"/>
                </a:lnTo>
                <a:lnTo>
                  <a:pt x="35" y="49"/>
                </a:lnTo>
                <a:lnTo>
                  <a:pt x="34" y="49"/>
                </a:lnTo>
                <a:lnTo>
                  <a:pt x="34" y="50"/>
                </a:lnTo>
                <a:lnTo>
                  <a:pt x="34" y="52"/>
                </a:lnTo>
                <a:lnTo>
                  <a:pt x="35" y="54"/>
                </a:lnTo>
                <a:lnTo>
                  <a:pt x="39" y="54"/>
                </a:lnTo>
                <a:lnTo>
                  <a:pt x="34" y="55"/>
                </a:lnTo>
                <a:lnTo>
                  <a:pt x="33" y="54"/>
                </a:lnTo>
                <a:lnTo>
                  <a:pt x="29" y="54"/>
                </a:lnTo>
                <a:lnTo>
                  <a:pt x="27" y="55"/>
                </a:lnTo>
                <a:lnTo>
                  <a:pt x="27" y="57"/>
                </a:lnTo>
                <a:lnTo>
                  <a:pt x="29" y="57"/>
                </a:lnTo>
                <a:lnTo>
                  <a:pt x="29" y="60"/>
                </a:lnTo>
                <a:lnTo>
                  <a:pt x="25" y="60"/>
                </a:lnTo>
                <a:lnTo>
                  <a:pt x="23" y="61"/>
                </a:lnTo>
                <a:lnTo>
                  <a:pt x="18" y="61"/>
                </a:lnTo>
                <a:lnTo>
                  <a:pt x="15" y="63"/>
                </a:lnTo>
                <a:lnTo>
                  <a:pt x="13" y="63"/>
                </a:lnTo>
                <a:lnTo>
                  <a:pt x="13" y="65"/>
                </a:lnTo>
                <a:lnTo>
                  <a:pt x="13" y="66"/>
                </a:lnTo>
                <a:lnTo>
                  <a:pt x="14" y="68"/>
                </a:lnTo>
                <a:lnTo>
                  <a:pt x="13" y="68"/>
                </a:lnTo>
                <a:lnTo>
                  <a:pt x="14" y="69"/>
                </a:lnTo>
                <a:lnTo>
                  <a:pt x="18" y="72"/>
                </a:lnTo>
                <a:lnTo>
                  <a:pt x="23" y="74"/>
                </a:lnTo>
                <a:lnTo>
                  <a:pt x="25" y="76"/>
                </a:lnTo>
                <a:lnTo>
                  <a:pt x="30" y="77"/>
                </a:lnTo>
                <a:lnTo>
                  <a:pt x="33" y="77"/>
                </a:lnTo>
                <a:lnTo>
                  <a:pt x="33" y="79"/>
                </a:lnTo>
                <a:lnTo>
                  <a:pt x="34" y="82"/>
                </a:lnTo>
                <a:lnTo>
                  <a:pt x="35" y="83"/>
                </a:lnTo>
                <a:lnTo>
                  <a:pt x="37" y="88"/>
                </a:lnTo>
                <a:lnTo>
                  <a:pt x="41" y="94"/>
                </a:lnTo>
                <a:lnTo>
                  <a:pt x="41" y="98"/>
                </a:lnTo>
                <a:lnTo>
                  <a:pt x="41" y="99"/>
                </a:lnTo>
                <a:lnTo>
                  <a:pt x="42" y="101"/>
                </a:lnTo>
                <a:lnTo>
                  <a:pt x="43" y="104"/>
                </a:lnTo>
                <a:lnTo>
                  <a:pt x="43" y="109"/>
                </a:lnTo>
                <a:lnTo>
                  <a:pt x="45" y="112"/>
                </a:lnTo>
                <a:lnTo>
                  <a:pt x="45" y="113"/>
                </a:lnTo>
                <a:lnTo>
                  <a:pt x="46" y="112"/>
                </a:lnTo>
                <a:lnTo>
                  <a:pt x="49" y="107"/>
                </a:lnTo>
                <a:lnTo>
                  <a:pt x="49" y="109"/>
                </a:lnTo>
                <a:lnTo>
                  <a:pt x="51" y="113"/>
                </a:lnTo>
                <a:lnTo>
                  <a:pt x="53" y="113"/>
                </a:lnTo>
                <a:lnTo>
                  <a:pt x="51" y="115"/>
                </a:lnTo>
                <a:lnTo>
                  <a:pt x="49" y="116"/>
                </a:lnTo>
                <a:lnTo>
                  <a:pt x="46" y="115"/>
                </a:lnTo>
                <a:lnTo>
                  <a:pt x="43" y="115"/>
                </a:lnTo>
                <a:lnTo>
                  <a:pt x="42" y="115"/>
                </a:lnTo>
                <a:lnTo>
                  <a:pt x="41" y="118"/>
                </a:lnTo>
                <a:lnTo>
                  <a:pt x="35" y="124"/>
                </a:lnTo>
                <a:lnTo>
                  <a:pt x="30" y="129"/>
                </a:lnTo>
                <a:lnTo>
                  <a:pt x="34" y="126"/>
                </a:lnTo>
                <a:lnTo>
                  <a:pt x="30" y="129"/>
                </a:lnTo>
                <a:lnTo>
                  <a:pt x="26" y="132"/>
                </a:lnTo>
                <a:lnTo>
                  <a:pt x="23" y="134"/>
                </a:lnTo>
                <a:lnTo>
                  <a:pt x="15" y="137"/>
                </a:lnTo>
                <a:lnTo>
                  <a:pt x="11" y="138"/>
                </a:lnTo>
                <a:lnTo>
                  <a:pt x="5" y="142"/>
                </a:lnTo>
                <a:lnTo>
                  <a:pt x="0" y="143"/>
                </a:lnTo>
                <a:lnTo>
                  <a:pt x="1" y="143"/>
                </a:lnTo>
                <a:lnTo>
                  <a:pt x="2" y="145"/>
                </a:lnTo>
                <a:lnTo>
                  <a:pt x="5" y="146"/>
                </a:lnTo>
                <a:lnTo>
                  <a:pt x="8" y="151"/>
                </a:lnTo>
                <a:lnTo>
                  <a:pt x="10" y="153"/>
                </a:lnTo>
                <a:lnTo>
                  <a:pt x="10" y="154"/>
                </a:lnTo>
                <a:lnTo>
                  <a:pt x="11" y="157"/>
                </a:lnTo>
                <a:lnTo>
                  <a:pt x="10" y="159"/>
                </a:lnTo>
                <a:lnTo>
                  <a:pt x="11" y="164"/>
                </a:lnTo>
                <a:lnTo>
                  <a:pt x="11" y="165"/>
                </a:lnTo>
                <a:lnTo>
                  <a:pt x="13" y="175"/>
                </a:lnTo>
                <a:lnTo>
                  <a:pt x="14" y="175"/>
                </a:lnTo>
                <a:lnTo>
                  <a:pt x="14" y="176"/>
                </a:lnTo>
                <a:lnTo>
                  <a:pt x="13" y="176"/>
                </a:lnTo>
                <a:lnTo>
                  <a:pt x="14" y="179"/>
                </a:lnTo>
                <a:lnTo>
                  <a:pt x="17" y="181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66" name="Freeform 766"/>
          <p:cNvSpPr>
            <a:spLocks/>
          </p:cNvSpPr>
          <p:nvPr/>
        </p:nvSpPr>
        <p:spPr bwMode="auto">
          <a:xfrm>
            <a:off x="2981164" y="1878807"/>
            <a:ext cx="354685" cy="225499"/>
          </a:xfrm>
          <a:custGeom>
            <a:avLst/>
            <a:gdLst/>
            <a:ahLst/>
            <a:cxnLst>
              <a:cxn ang="0">
                <a:pos x="24" y="110"/>
              </a:cxn>
              <a:cxn ang="0">
                <a:pos x="20" y="110"/>
              </a:cxn>
              <a:cxn ang="0">
                <a:pos x="14" y="109"/>
              </a:cxn>
              <a:cxn ang="0">
                <a:pos x="4" y="106"/>
              </a:cxn>
              <a:cxn ang="0">
                <a:pos x="0" y="106"/>
              </a:cxn>
              <a:cxn ang="0">
                <a:pos x="21" y="109"/>
              </a:cxn>
              <a:cxn ang="0">
                <a:pos x="29" y="109"/>
              </a:cxn>
              <a:cxn ang="0">
                <a:pos x="36" y="110"/>
              </a:cxn>
              <a:cxn ang="0">
                <a:pos x="44" y="114"/>
              </a:cxn>
              <a:cxn ang="0">
                <a:pos x="49" y="112"/>
              </a:cxn>
              <a:cxn ang="0">
                <a:pos x="54" y="107"/>
              </a:cxn>
              <a:cxn ang="0">
                <a:pos x="57" y="106"/>
              </a:cxn>
              <a:cxn ang="0">
                <a:pos x="57" y="101"/>
              </a:cxn>
              <a:cxn ang="0">
                <a:pos x="61" y="103"/>
              </a:cxn>
              <a:cxn ang="0">
                <a:pos x="81" y="101"/>
              </a:cxn>
              <a:cxn ang="0">
                <a:pos x="86" y="95"/>
              </a:cxn>
              <a:cxn ang="0">
                <a:pos x="96" y="88"/>
              </a:cxn>
              <a:cxn ang="0">
                <a:pos x="101" y="82"/>
              </a:cxn>
              <a:cxn ang="0">
                <a:pos x="85" y="82"/>
              </a:cxn>
              <a:cxn ang="0">
                <a:pos x="64" y="79"/>
              </a:cxn>
              <a:cxn ang="0">
                <a:pos x="53" y="71"/>
              </a:cxn>
              <a:cxn ang="0">
                <a:pos x="68" y="73"/>
              </a:cxn>
              <a:cxn ang="0">
                <a:pos x="84" y="81"/>
              </a:cxn>
              <a:cxn ang="0">
                <a:pos x="100" y="76"/>
              </a:cxn>
              <a:cxn ang="0">
                <a:pos x="107" y="73"/>
              </a:cxn>
              <a:cxn ang="0">
                <a:pos x="113" y="68"/>
              </a:cxn>
              <a:cxn ang="0">
                <a:pos x="110" y="63"/>
              </a:cxn>
              <a:cxn ang="0">
                <a:pos x="106" y="59"/>
              </a:cxn>
              <a:cxn ang="0">
                <a:pos x="121" y="59"/>
              </a:cxn>
              <a:cxn ang="0">
                <a:pos x="130" y="65"/>
              </a:cxn>
              <a:cxn ang="0">
                <a:pos x="138" y="62"/>
              </a:cxn>
              <a:cxn ang="0">
                <a:pos x="147" y="66"/>
              </a:cxn>
              <a:cxn ang="0">
                <a:pos x="142" y="59"/>
              </a:cxn>
              <a:cxn ang="0">
                <a:pos x="151" y="60"/>
              </a:cxn>
              <a:cxn ang="0">
                <a:pos x="158" y="60"/>
              </a:cxn>
              <a:cxn ang="0">
                <a:pos x="174" y="54"/>
              </a:cxn>
              <a:cxn ang="0">
                <a:pos x="183" y="49"/>
              </a:cxn>
              <a:cxn ang="0">
                <a:pos x="183" y="44"/>
              </a:cxn>
              <a:cxn ang="0">
                <a:pos x="173" y="35"/>
              </a:cxn>
              <a:cxn ang="0">
                <a:pos x="170" y="30"/>
              </a:cxn>
              <a:cxn ang="0">
                <a:pos x="166" y="26"/>
              </a:cxn>
              <a:cxn ang="0">
                <a:pos x="173" y="24"/>
              </a:cxn>
              <a:cxn ang="0">
                <a:pos x="178" y="24"/>
              </a:cxn>
              <a:cxn ang="0">
                <a:pos x="185" y="21"/>
              </a:cxn>
              <a:cxn ang="0">
                <a:pos x="181" y="16"/>
              </a:cxn>
              <a:cxn ang="0">
                <a:pos x="170" y="11"/>
              </a:cxn>
              <a:cxn ang="0">
                <a:pos x="166" y="7"/>
              </a:cxn>
              <a:cxn ang="0">
                <a:pos x="159" y="4"/>
              </a:cxn>
              <a:cxn ang="0">
                <a:pos x="141" y="2"/>
              </a:cxn>
            </a:cxnLst>
            <a:rect l="0" t="0" r="r" b="b"/>
            <a:pathLst>
              <a:path w="185" h="114">
                <a:moveTo>
                  <a:pt x="30" y="112"/>
                </a:moveTo>
                <a:lnTo>
                  <a:pt x="29" y="110"/>
                </a:lnTo>
                <a:lnTo>
                  <a:pt x="26" y="110"/>
                </a:lnTo>
                <a:lnTo>
                  <a:pt x="24" y="110"/>
                </a:lnTo>
                <a:lnTo>
                  <a:pt x="22" y="110"/>
                </a:lnTo>
                <a:lnTo>
                  <a:pt x="21" y="112"/>
                </a:lnTo>
                <a:lnTo>
                  <a:pt x="20" y="112"/>
                </a:lnTo>
                <a:lnTo>
                  <a:pt x="20" y="110"/>
                </a:lnTo>
                <a:lnTo>
                  <a:pt x="22" y="110"/>
                </a:lnTo>
                <a:lnTo>
                  <a:pt x="22" y="109"/>
                </a:lnTo>
                <a:lnTo>
                  <a:pt x="17" y="109"/>
                </a:lnTo>
                <a:lnTo>
                  <a:pt x="14" y="109"/>
                </a:lnTo>
                <a:lnTo>
                  <a:pt x="14" y="107"/>
                </a:lnTo>
                <a:lnTo>
                  <a:pt x="10" y="107"/>
                </a:lnTo>
                <a:lnTo>
                  <a:pt x="6" y="107"/>
                </a:lnTo>
                <a:lnTo>
                  <a:pt x="4" y="106"/>
                </a:lnTo>
                <a:lnTo>
                  <a:pt x="4" y="107"/>
                </a:lnTo>
                <a:lnTo>
                  <a:pt x="2" y="107"/>
                </a:lnTo>
                <a:lnTo>
                  <a:pt x="0" y="107"/>
                </a:lnTo>
                <a:lnTo>
                  <a:pt x="0" y="106"/>
                </a:lnTo>
                <a:lnTo>
                  <a:pt x="1" y="104"/>
                </a:lnTo>
                <a:lnTo>
                  <a:pt x="1" y="103"/>
                </a:lnTo>
                <a:lnTo>
                  <a:pt x="14" y="107"/>
                </a:lnTo>
                <a:lnTo>
                  <a:pt x="21" y="109"/>
                </a:lnTo>
                <a:lnTo>
                  <a:pt x="24" y="109"/>
                </a:lnTo>
                <a:lnTo>
                  <a:pt x="25" y="109"/>
                </a:lnTo>
                <a:lnTo>
                  <a:pt x="26" y="109"/>
                </a:lnTo>
                <a:lnTo>
                  <a:pt x="29" y="109"/>
                </a:lnTo>
                <a:lnTo>
                  <a:pt x="30" y="107"/>
                </a:lnTo>
                <a:lnTo>
                  <a:pt x="32" y="109"/>
                </a:lnTo>
                <a:lnTo>
                  <a:pt x="33" y="109"/>
                </a:lnTo>
                <a:lnTo>
                  <a:pt x="36" y="110"/>
                </a:lnTo>
                <a:lnTo>
                  <a:pt x="40" y="110"/>
                </a:lnTo>
                <a:lnTo>
                  <a:pt x="41" y="112"/>
                </a:lnTo>
                <a:lnTo>
                  <a:pt x="42" y="112"/>
                </a:lnTo>
                <a:lnTo>
                  <a:pt x="44" y="114"/>
                </a:lnTo>
                <a:lnTo>
                  <a:pt x="45" y="112"/>
                </a:lnTo>
                <a:lnTo>
                  <a:pt x="46" y="112"/>
                </a:lnTo>
                <a:lnTo>
                  <a:pt x="48" y="112"/>
                </a:lnTo>
                <a:lnTo>
                  <a:pt x="49" y="112"/>
                </a:lnTo>
                <a:lnTo>
                  <a:pt x="50" y="112"/>
                </a:lnTo>
                <a:lnTo>
                  <a:pt x="52" y="110"/>
                </a:lnTo>
                <a:lnTo>
                  <a:pt x="53" y="109"/>
                </a:lnTo>
                <a:lnTo>
                  <a:pt x="54" y="107"/>
                </a:lnTo>
                <a:lnTo>
                  <a:pt x="53" y="107"/>
                </a:lnTo>
                <a:lnTo>
                  <a:pt x="53" y="104"/>
                </a:lnTo>
                <a:lnTo>
                  <a:pt x="56" y="106"/>
                </a:lnTo>
                <a:lnTo>
                  <a:pt x="57" y="106"/>
                </a:lnTo>
                <a:lnTo>
                  <a:pt x="56" y="104"/>
                </a:lnTo>
                <a:lnTo>
                  <a:pt x="56" y="103"/>
                </a:lnTo>
                <a:lnTo>
                  <a:pt x="56" y="101"/>
                </a:lnTo>
                <a:lnTo>
                  <a:pt x="57" y="101"/>
                </a:lnTo>
                <a:lnTo>
                  <a:pt x="58" y="103"/>
                </a:lnTo>
                <a:lnTo>
                  <a:pt x="60" y="103"/>
                </a:lnTo>
                <a:lnTo>
                  <a:pt x="61" y="104"/>
                </a:lnTo>
                <a:lnTo>
                  <a:pt x="61" y="103"/>
                </a:lnTo>
                <a:lnTo>
                  <a:pt x="68" y="104"/>
                </a:lnTo>
                <a:lnTo>
                  <a:pt x="74" y="104"/>
                </a:lnTo>
                <a:lnTo>
                  <a:pt x="78" y="103"/>
                </a:lnTo>
                <a:lnTo>
                  <a:pt x="81" y="101"/>
                </a:lnTo>
                <a:lnTo>
                  <a:pt x="82" y="101"/>
                </a:lnTo>
                <a:lnTo>
                  <a:pt x="85" y="98"/>
                </a:lnTo>
                <a:lnTo>
                  <a:pt x="86" y="98"/>
                </a:lnTo>
                <a:lnTo>
                  <a:pt x="86" y="95"/>
                </a:lnTo>
                <a:lnTo>
                  <a:pt x="90" y="95"/>
                </a:lnTo>
                <a:lnTo>
                  <a:pt x="92" y="92"/>
                </a:lnTo>
                <a:lnTo>
                  <a:pt x="94" y="92"/>
                </a:lnTo>
                <a:lnTo>
                  <a:pt x="96" y="88"/>
                </a:lnTo>
                <a:lnTo>
                  <a:pt x="98" y="87"/>
                </a:lnTo>
                <a:lnTo>
                  <a:pt x="98" y="85"/>
                </a:lnTo>
                <a:lnTo>
                  <a:pt x="100" y="85"/>
                </a:lnTo>
                <a:lnTo>
                  <a:pt x="101" y="82"/>
                </a:lnTo>
                <a:lnTo>
                  <a:pt x="98" y="84"/>
                </a:lnTo>
                <a:lnTo>
                  <a:pt x="98" y="82"/>
                </a:lnTo>
                <a:lnTo>
                  <a:pt x="92" y="82"/>
                </a:lnTo>
                <a:lnTo>
                  <a:pt x="85" y="82"/>
                </a:lnTo>
                <a:lnTo>
                  <a:pt x="82" y="82"/>
                </a:lnTo>
                <a:lnTo>
                  <a:pt x="76" y="81"/>
                </a:lnTo>
                <a:lnTo>
                  <a:pt x="68" y="81"/>
                </a:lnTo>
                <a:lnTo>
                  <a:pt x="64" y="79"/>
                </a:lnTo>
                <a:lnTo>
                  <a:pt x="60" y="76"/>
                </a:lnTo>
                <a:lnTo>
                  <a:pt x="56" y="74"/>
                </a:lnTo>
                <a:lnTo>
                  <a:pt x="52" y="73"/>
                </a:lnTo>
                <a:lnTo>
                  <a:pt x="53" y="71"/>
                </a:lnTo>
                <a:lnTo>
                  <a:pt x="57" y="71"/>
                </a:lnTo>
                <a:lnTo>
                  <a:pt x="60" y="71"/>
                </a:lnTo>
                <a:lnTo>
                  <a:pt x="61" y="71"/>
                </a:lnTo>
                <a:lnTo>
                  <a:pt x="68" y="73"/>
                </a:lnTo>
                <a:lnTo>
                  <a:pt x="73" y="74"/>
                </a:lnTo>
                <a:lnTo>
                  <a:pt x="81" y="77"/>
                </a:lnTo>
                <a:lnTo>
                  <a:pt x="84" y="79"/>
                </a:lnTo>
                <a:lnTo>
                  <a:pt x="84" y="81"/>
                </a:lnTo>
                <a:lnTo>
                  <a:pt x="94" y="81"/>
                </a:lnTo>
                <a:lnTo>
                  <a:pt x="97" y="79"/>
                </a:lnTo>
                <a:lnTo>
                  <a:pt x="98" y="79"/>
                </a:lnTo>
                <a:lnTo>
                  <a:pt x="100" y="76"/>
                </a:lnTo>
                <a:lnTo>
                  <a:pt x="104" y="76"/>
                </a:lnTo>
                <a:lnTo>
                  <a:pt x="104" y="74"/>
                </a:lnTo>
                <a:lnTo>
                  <a:pt x="106" y="74"/>
                </a:lnTo>
                <a:lnTo>
                  <a:pt x="107" y="73"/>
                </a:lnTo>
                <a:lnTo>
                  <a:pt x="109" y="71"/>
                </a:lnTo>
                <a:lnTo>
                  <a:pt x="111" y="70"/>
                </a:lnTo>
                <a:lnTo>
                  <a:pt x="113" y="70"/>
                </a:lnTo>
                <a:lnTo>
                  <a:pt x="113" y="68"/>
                </a:lnTo>
                <a:lnTo>
                  <a:pt x="113" y="66"/>
                </a:lnTo>
                <a:lnTo>
                  <a:pt x="114" y="65"/>
                </a:lnTo>
                <a:lnTo>
                  <a:pt x="113" y="63"/>
                </a:lnTo>
                <a:lnTo>
                  <a:pt x="110" y="63"/>
                </a:lnTo>
                <a:lnTo>
                  <a:pt x="104" y="62"/>
                </a:lnTo>
                <a:lnTo>
                  <a:pt x="102" y="62"/>
                </a:lnTo>
                <a:lnTo>
                  <a:pt x="104" y="60"/>
                </a:lnTo>
                <a:lnTo>
                  <a:pt x="106" y="59"/>
                </a:lnTo>
                <a:lnTo>
                  <a:pt x="114" y="60"/>
                </a:lnTo>
                <a:lnTo>
                  <a:pt x="115" y="60"/>
                </a:lnTo>
                <a:lnTo>
                  <a:pt x="117" y="60"/>
                </a:lnTo>
                <a:lnTo>
                  <a:pt x="121" y="59"/>
                </a:lnTo>
                <a:lnTo>
                  <a:pt x="123" y="59"/>
                </a:lnTo>
                <a:lnTo>
                  <a:pt x="126" y="65"/>
                </a:lnTo>
                <a:lnTo>
                  <a:pt x="127" y="63"/>
                </a:lnTo>
                <a:lnTo>
                  <a:pt x="130" y="65"/>
                </a:lnTo>
                <a:lnTo>
                  <a:pt x="131" y="65"/>
                </a:lnTo>
                <a:lnTo>
                  <a:pt x="137" y="65"/>
                </a:lnTo>
                <a:lnTo>
                  <a:pt x="137" y="62"/>
                </a:lnTo>
                <a:lnTo>
                  <a:pt x="138" y="62"/>
                </a:lnTo>
                <a:lnTo>
                  <a:pt x="141" y="63"/>
                </a:lnTo>
                <a:lnTo>
                  <a:pt x="145" y="65"/>
                </a:lnTo>
                <a:lnTo>
                  <a:pt x="147" y="65"/>
                </a:lnTo>
                <a:lnTo>
                  <a:pt x="147" y="66"/>
                </a:lnTo>
                <a:lnTo>
                  <a:pt x="147" y="65"/>
                </a:lnTo>
                <a:lnTo>
                  <a:pt x="146" y="63"/>
                </a:lnTo>
                <a:lnTo>
                  <a:pt x="146" y="60"/>
                </a:lnTo>
                <a:lnTo>
                  <a:pt x="142" y="59"/>
                </a:lnTo>
                <a:lnTo>
                  <a:pt x="142" y="57"/>
                </a:lnTo>
                <a:lnTo>
                  <a:pt x="143" y="57"/>
                </a:lnTo>
                <a:lnTo>
                  <a:pt x="146" y="59"/>
                </a:lnTo>
                <a:lnTo>
                  <a:pt x="151" y="60"/>
                </a:lnTo>
                <a:lnTo>
                  <a:pt x="153" y="62"/>
                </a:lnTo>
                <a:lnTo>
                  <a:pt x="154" y="62"/>
                </a:lnTo>
                <a:lnTo>
                  <a:pt x="155" y="62"/>
                </a:lnTo>
                <a:lnTo>
                  <a:pt x="158" y="60"/>
                </a:lnTo>
                <a:lnTo>
                  <a:pt x="159" y="59"/>
                </a:lnTo>
                <a:lnTo>
                  <a:pt x="165" y="59"/>
                </a:lnTo>
                <a:lnTo>
                  <a:pt x="173" y="55"/>
                </a:lnTo>
                <a:lnTo>
                  <a:pt x="174" y="54"/>
                </a:lnTo>
                <a:lnTo>
                  <a:pt x="174" y="52"/>
                </a:lnTo>
                <a:lnTo>
                  <a:pt x="177" y="51"/>
                </a:lnTo>
                <a:lnTo>
                  <a:pt x="179" y="51"/>
                </a:lnTo>
                <a:lnTo>
                  <a:pt x="183" y="49"/>
                </a:lnTo>
                <a:lnTo>
                  <a:pt x="183" y="48"/>
                </a:lnTo>
                <a:lnTo>
                  <a:pt x="185" y="48"/>
                </a:lnTo>
                <a:lnTo>
                  <a:pt x="183" y="46"/>
                </a:lnTo>
                <a:lnTo>
                  <a:pt x="183" y="44"/>
                </a:lnTo>
                <a:lnTo>
                  <a:pt x="185" y="43"/>
                </a:lnTo>
                <a:lnTo>
                  <a:pt x="183" y="41"/>
                </a:lnTo>
                <a:lnTo>
                  <a:pt x="179" y="40"/>
                </a:lnTo>
                <a:lnTo>
                  <a:pt x="173" y="35"/>
                </a:lnTo>
                <a:lnTo>
                  <a:pt x="173" y="33"/>
                </a:lnTo>
                <a:lnTo>
                  <a:pt x="173" y="32"/>
                </a:lnTo>
                <a:lnTo>
                  <a:pt x="174" y="30"/>
                </a:lnTo>
                <a:lnTo>
                  <a:pt x="170" y="30"/>
                </a:lnTo>
                <a:lnTo>
                  <a:pt x="170" y="29"/>
                </a:lnTo>
                <a:lnTo>
                  <a:pt x="169" y="29"/>
                </a:lnTo>
                <a:lnTo>
                  <a:pt x="170" y="27"/>
                </a:lnTo>
                <a:lnTo>
                  <a:pt x="166" y="26"/>
                </a:lnTo>
                <a:lnTo>
                  <a:pt x="166" y="24"/>
                </a:lnTo>
                <a:lnTo>
                  <a:pt x="170" y="26"/>
                </a:lnTo>
                <a:lnTo>
                  <a:pt x="171" y="24"/>
                </a:lnTo>
                <a:lnTo>
                  <a:pt x="173" y="24"/>
                </a:lnTo>
                <a:lnTo>
                  <a:pt x="174" y="26"/>
                </a:lnTo>
                <a:lnTo>
                  <a:pt x="175" y="27"/>
                </a:lnTo>
                <a:lnTo>
                  <a:pt x="177" y="26"/>
                </a:lnTo>
                <a:lnTo>
                  <a:pt x="178" y="24"/>
                </a:lnTo>
                <a:lnTo>
                  <a:pt x="181" y="24"/>
                </a:lnTo>
                <a:lnTo>
                  <a:pt x="183" y="22"/>
                </a:lnTo>
                <a:lnTo>
                  <a:pt x="185" y="22"/>
                </a:lnTo>
                <a:lnTo>
                  <a:pt x="185" y="21"/>
                </a:lnTo>
                <a:lnTo>
                  <a:pt x="183" y="19"/>
                </a:lnTo>
                <a:lnTo>
                  <a:pt x="175" y="18"/>
                </a:lnTo>
                <a:lnTo>
                  <a:pt x="177" y="16"/>
                </a:lnTo>
                <a:lnTo>
                  <a:pt x="181" y="16"/>
                </a:lnTo>
                <a:lnTo>
                  <a:pt x="183" y="13"/>
                </a:lnTo>
                <a:lnTo>
                  <a:pt x="181" y="13"/>
                </a:lnTo>
                <a:lnTo>
                  <a:pt x="178" y="11"/>
                </a:lnTo>
                <a:lnTo>
                  <a:pt x="170" y="11"/>
                </a:lnTo>
                <a:lnTo>
                  <a:pt x="169" y="10"/>
                </a:lnTo>
                <a:lnTo>
                  <a:pt x="166" y="7"/>
                </a:lnTo>
                <a:lnTo>
                  <a:pt x="163" y="7"/>
                </a:lnTo>
                <a:lnTo>
                  <a:pt x="166" y="7"/>
                </a:lnTo>
                <a:lnTo>
                  <a:pt x="166" y="4"/>
                </a:lnTo>
                <a:lnTo>
                  <a:pt x="165" y="4"/>
                </a:lnTo>
                <a:lnTo>
                  <a:pt x="162" y="4"/>
                </a:lnTo>
                <a:lnTo>
                  <a:pt x="159" y="4"/>
                </a:lnTo>
                <a:lnTo>
                  <a:pt x="157" y="4"/>
                </a:lnTo>
                <a:lnTo>
                  <a:pt x="150" y="4"/>
                </a:lnTo>
                <a:lnTo>
                  <a:pt x="143" y="2"/>
                </a:lnTo>
                <a:lnTo>
                  <a:pt x="141" y="2"/>
                </a:lnTo>
                <a:lnTo>
                  <a:pt x="135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67" name="Freeform 767"/>
          <p:cNvSpPr>
            <a:spLocks/>
          </p:cNvSpPr>
          <p:nvPr/>
        </p:nvSpPr>
        <p:spPr bwMode="auto">
          <a:xfrm>
            <a:off x="2893467" y="1807935"/>
            <a:ext cx="346888" cy="165366"/>
          </a:xfrm>
          <a:custGeom>
            <a:avLst/>
            <a:gdLst/>
            <a:ahLst/>
            <a:cxnLst>
              <a:cxn ang="0">
                <a:pos x="169" y="39"/>
              </a:cxn>
              <a:cxn ang="0">
                <a:pos x="169" y="44"/>
              </a:cxn>
              <a:cxn ang="0">
                <a:pos x="172" y="50"/>
              </a:cxn>
              <a:cxn ang="0">
                <a:pos x="181" y="53"/>
              </a:cxn>
              <a:cxn ang="0">
                <a:pos x="174" y="53"/>
              </a:cxn>
              <a:cxn ang="0">
                <a:pos x="178" y="56"/>
              </a:cxn>
              <a:cxn ang="0">
                <a:pos x="170" y="58"/>
              </a:cxn>
              <a:cxn ang="0">
                <a:pos x="164" y="59"/>
              </a:cxn>
              <a:cxn ang="0">
                <a:pos x="158" y="70"/>
              </a:cxn>
              <a:cxn ang="0">
                <a:pos x="153" y="78"/>
              </a:cxn>
              <a:cxn ang="0">
                <a:pos x="148" y="81"/>
              </a:cxn>
              <a:cxn ang="0">
                <a:pos x="140" y="85"/>
              </a:cxn>
              <a:cxn ang="0">
                <a:pos x="128" y="75"/>
              </a:cxn>
              <a:cxn ang="0">
                <a:pos x="124" y="66"/>
              </a:cxn>
              <a:cxn ang="0">
                <a:pos x="131" y="66"/>
              </a:cxn>
              <a:cxn ang="0">
                <a:pos x="129" y="56"/>
              </a:cxn>
              <a:cxn ang="0">
                <a:pos x="115" y="48"/>
              </a:cxn>
              <a:cxn ang="0">
                <a:pos x="103" y="52"/>
              </a:cxn>
              <a:cxn ang="0">
                <a:pos x="101" y="58"/>
              </a:cxn>
              <a:cxn ang="0">
                <a:pos x="95" y="66"/>
              </a:cxn>
              <a:cxn ang="0">
                <a:pos x="92" y="59"/>
              </a:cxn>
              <a:cxn ang="0">
                <a:pos x="92" y="53"/>
              </a:cxn>
              <a:cxn ang="0">
                <a:pos x="79" y="47"/>
              </a:cxn>
              <a:cxn ang="0">
                <a:pos x="87" y="47"/>
              </a:cxn>
              <a:cxn ang="0">
                <a:pos x="84" y="44"/>
              </a:cxn>
              <a:cxn ang="0">
                <a:pos x="80" y="42"/>
              </a:cxn>
              <a:cxn ang="0">
                <a:pos x="68" y="42"/>
              </a:cxn>
              <a:cxn ang="0">
                <a:pos x="59" y="39"/>
              </a:cxn>
              <a:cxn ang="0">
                <a:pos x="65" y="37"/>
              </a:cxn>
              <a:cxn ang="0">
                <a:pos x="68" y="34"/>
              </a:cxn>
              <a:cxn ang="0">
                <a:pos x="65" y="31"/>
              </a:cxn>
              <a:cxn ang="0">
                <a:pos x="75" y="31"/>
              </a:cxn>
              <a:cxn ang="0">
                <a:pos x="71" y="30"/>
              </a:cxn>
              <a:cxn ang="0">
                <a:pos x="67" y="26"/>
              </a:cxn>
              <a:cxn ang="0">
                <a:pos x="60" y="23"/>
              </a:cxn>
              <a:cxn ang="0">
                <a:pos x="56" y="20"/>
              </a:cxn>
              <a:cxn ang="0">
                <a:pos x="48" y="8"/>
              </a:cxn>
              <a:cxn ang="0">
                <a:pos x="44" y="3"/>
              </a:cxn>
              <a:cxn ang="0">
                <a:pos x="34" y="4"/>
              </a:cxn>
              <a:cxn ang="0">
                <a:pos x="32" y="3"/>
              </a:cxn>
              <a:cxn ang="0">
                <a:pos x="27" y="0"/>
              </a:cxn>
              <a:cxn ang="0">
                <a:pos x="20" y="3"/>
              </a:cxn>
              <a:cxn ang="0">
                <a:pos x="15" y="9"/>
              </a:cxn>
              <a:cxn ang="0">
                <a:pos x="11" y="11"/>
              </a:cxn>
              <a:cxn ang="0">
                <a:pos x="6" y="12"/>
              </a:cxn>
              <a:cxn ang="0">
                <a:pos x="4" y="17"/>
              </a:cxn>
              <a:cxn ang="0">
                <a:pos x="8" y="23"/>
              </a:cxn>
              <a:cxn ang="0">
                <a:pos x="7" y="25"/>
              </a:cxn>
              <a:cxn ang="0">
                <a:pos x="0" y="30"/>
              </a:cxn>
            </a:cxnLst>
            <a:rect l="0" t="0" r="r" b="b"/>
            <a:pathLst>
              <a:path w="182" h="85">
                <a:moveTo>
                  <a:pt x="182" y="37"/>
                </a:moveTo>
                <a:lnTo>
                  <a:pt x="177" y="37"/>
                </a:lnTo>
                <a:lnTo>
                  <a:pt x="174" y="39"/>
                </a:lnTo>
                <a:lnTo>
                  <a:pt x="169" y="39"/>
                </a:lnTo>
                <a:lnTo>
                  <a:pt x="169" y="41"/>
                </a:lnTo>
                <a:lnTo>
                  <a:pt x="168" y="41"/>
                </a:lnTo>
                <a:lnTo>
                  <a:pt x="169" y="42"/>
                </a:lnTo>
                <a:lnTo>
                  <a:pt x="169" y="44"/>
                </a:lnTo>
                <a:lnTo>
                  <a:pt x="169" y="45"/>
                </a:lnTo>
                <a:lnTo>
                  <a:pt x="169" y="47"/>
                </a:lnTo>
                <a:lnTo>
                  <a:pt x="170" y="48"/>
                </a:lnTo>
                <a:lnTo>
                  <a:pt x="172" y="50"/>
                </a:lnTo>
                <a:lnTo>
                  <a:pt x="176" y="50"/>
                </a:lnTo>
                <a:lnTo>
                  <a:pt x="178" y="52"/>
                </a:lnTo>
                <a:lnTo>
                  <a:pt x="180" y="52"/>
                </a:lnTo>
                <a:lnTo>
                  <a:pt x="181" y="53"/>
                </a:lnTo>
                <a:lnTo>
                  <a:pt x="177" y="53"/>
                </a:lnTo>
                <a:lnTo>
                  <a:pt x="176" y="53"/>
                </a:lnTo>
                <a:lnTo>
                  <a:pt x="177" y="53"/>
                </a:lnTo>
                <a:lnTo>
                  <a:pt x="174" y="53"/>
                </a:lnTo>
                <a:lnTo>
                  <a:pt x="174" y="55"/>
                </a:lnTo>
                <a:lnTo>
                  <a:pt x="173" y="55"/>
                </a:lnTo>
                <a:lnTo>
                  <a:pt x="174" y="56"/>
                </a:lnTo>
                <a:lnTo>
                  <a:pt x="178" y="56"/>
                </a:lnTo>
                <a:lnTo>
                  <a:pt x="180" y="56"/>
                </a:lnTo>
                <a:lnTo>
                  <a:pt x="177" y="58"/>
                </a:lnTo>
                <a:lnTo>
                  <a:pt x="173" y="56"/>
                </a:lnTo>
                <a:lnTo>
                  <a:pt x="170" y="58"/>
                </a:lnTo>
                <a:lnTo>
                  <a:pt x="169" y="56"/>
                </a:lnTo>
                <a:lnTo>
                  <a:pt x="169" y="58"/>
                </a:lnTo>
                <a:lnTo>
                  <a:pt x="165" y="58"/>
                </a:lnTo>
                <a:lnTo>
                  <a:pt x="164" y="59"/>
                </a:lnTo>
                <a:lnTo>
                  <a:pt x="164" y="64"/>
                </a:lnTo>
                <a:lnTo>
                  <a:pt x="162" y="66"/>
                </a:lnTo>
                <a:lnTo>
                  <a:pt x="161" y="67"/>
                </a:lnTo>
                <a:lnTo>
                  <a:pt x="158" y="70"/>
                </a:lnTo>
                <a:lnTo>
                  <a:pt x="156" y="72"/>
                </a:lnTo>
                <a:lnTo>
                  <a:pt x="153" y="75"/>
                </a:lnTo>
                <a:lnTo>
                  <a:pt x="152" y="75"/>
                </a:lnTo>
                <a:lnTo>
                  <a:pt x="153" y="78"/>
                </a:lnTo>
                <a:lnTo>
                  <a:pt x="152" y="81"/>
                </a:lnTo>
                <a:lnTo>
                  <a:pt x="149" y="81"/>
                </a:lnTo>
                <a:lnTo>
                  <a:pt x="149" y="80"/>
                </a:lnTo>
                <a:lnTo>
                  <a:pt x="148" y="81"/>
                </a:lnTo>
                <a:lnTo>
                  <a:pt x="147" y="80"/>
                </a:lnTo>
                <a:lnTo>
                  <a:pt x="144" y="81"/>
                </a:lnTo>
                <a:lnTo>
                  <a:pt x="144" y="83"/>
                </a:lnTo>
                <a:lnTo>
                  <a:pt x="140" y="85"/>
                </a:lnTo>
                <a:lnTo>
                  <a:pt x="139" y="83"/>
                </a:lnTo>
                <a:lnTo>
                  <a:pt x="137" y="83"/>
                </a:lnTo>
                <a:lnTo>
                  <a:pt x="131" y="77"/>
                </a:lnTo>
                <a:lnTo>
                  <a:pt x="128" y="75"/>
                </a:lnTo>
                <a:lnTo>
                  <a:pt x="127" y="74"/>
                </a:lnTo>
                <a:lnTo>
                  <a:pt x="124" y="70"/>
                </a:lnTo>
                <a:lnTo>
                  <a:pt x="125" y="67"/>
                </a:lnTo>
                <a:lnTo>
                  <a:pt x="124" y="66"/>
                </a:lnTo>
                <a:lnTo>
                  <a:pt x="127" y="63"/>
                </a:lnTo>
                <a:lnTo>
                  <a:pt x="127" y="66"/>
                </a:lnTo>
                <a:lnTo>
                  <a:pt x="128" y="66"/>
                </a:lnTo>
                <a:lnTo>
                  <a:pt x="131" y="66"/>
                </a:lnTo>
                <a:lnTo>
                  <a:pt x="133" y="66"/>
                </a:lnTo>
                <a:lnTo>
                  <a:pt x="132" y="63"/>
                </a:lnTo>
                <a:lnTo>
                  <a:pt x="131" y="61"/>
                </a:lnTo>
                <a:lnTo>
                  <a:pt x="129" y="56"/>
                </a:lnTo>
                <a:lnTo>
                  <a:pt x="128" y="55"/>
                </a:lnTo>
                <a:lnTo>
                  <a:pt x="120" y="52"/>
                </a:lnTo>
                <a:lnTo>
                  <a:pt x="116" y="50"/>
                </a:lnTo>
                <a:lnTo>
                  <a:pt x="115" y="48"/>
                </a:lnTo>
                <a:lnTo>
                  <a:pt x="112" y="47"/>
                </a:lnTo>
                <a:lnTo>
                  <a:pt x="108" y="48"/>
                </a:lnTo>
                <a:lnTo>
                  <a:pt x="107" y="50"/>
                </a:lnTo>
                <a:lnTo>
                  <a:pt x="103" y="52"/>
                </a:lnTo>
                <a:lnTo>
                  <a:pt x="103" y="53"/>
                </a:lnTo>
                <a:lnTo>
                  <a:pt x="103" y="56"/>
                </a:lnTo>
                <a:lnTo>
                  <a:pt x="103" y="58"/>
                </a:lnTo>
                <a:lnTo>
                  <a:pt x="101" y="58"/>
                </a:lnTo>
                <a:lnTo>
                  <a:pt x="100" y="59"/>
                </a:lnTo>
                <a:lnTo>
                  <a:pt x="100" y="61"/>
                </a:lnTo>
                <a:lnTo>
                  <a:pt x="97" y="64"/>
                </a:lnTo>
                <a:lnTo>
                  <a:pt x="95" y="66"/>
                </a:lnTo>
                <a:lnTo>
                  <a:pt x="95" y="64"/>
                </a:lnTo>
                <a:lnTo>
                  <a:pt x="93" y="63"/>
                </a:lnTo>
                <a:lnTo>
                  <a:pt x="92" y="61"/>
                </a:lnTo>
                <a:lnTo>
                  <a:pt x="92" y="59"/>
                </a:lnTo>
                <a:lnTo>
                  <a:pt x="92" y="58"/>
                </a:lnTo>
                <a:lnTo>
                  <a:pt x="93" y="56"/>
                </a:lnTo>
                <a:lnTo>
                  <a:pt x="91" y="55"/>
                </a:lnTo>
                <a:lnTo>
                  <a:pt x="92" y="53"/>
                </a:lnTo>
                <a:lnTo>
                  <a:pt x="89" y="52"/>
                </a:lnTo>
                <a:lnTo>
                  <a:pt x="88" y="50"/>
                </a:lnTo>
                <a:lnTo>
                  <a:pt x="87" y="50"/>
                </a:lnTo>
                <a:lnTo>
                  <a:pt x="79" y="47"/>
                </a:lnTo>
                <a:lnTo>
                  <a:pt x="81" y="47"/>
                </a:lnTo>
                <a:lnTo>
                  <a:pt x="83" y="47"/>
                </a:lnTo>
                <a:lnTo>
                  <a:pt x="85" y="47"/>
                </a:lnTo>
                <a:lnTo>
                  <a:pt x="87" y="47"/>
                </a:lnTo>
                <a:lnTo>
                  <a:pt x="88" y="45"/>
                </a:lnTo>
                <a:lnTo>
                  <a:pt x="87" y="44"/>
                </a:lnTo>
                <a:lnTo>
                  <a:pt x="85" y="44"/>
                </a:lnTo>
                <a:lnTo>
                  <a:pt x="84" y="44"/>
                </a:lnTo>
                <a:lnTo>
                  <a:pt x="83" y="44"/>
                </a:lnTo>
                <a:lnTo>
                  <a:pt x="80" y="42"/>
                </a:lnTo>
                <a:lnTo>
                  <a:pt x="79" y="44"/>
                </a:lnTo>
                <a:lnTo>
                  <a:pt x="80" y="42"/>
                </a:lnTo>
                <a:lnTo>
                  <a:pt x="77" y="42"/>
                </a:lnTo>
                <a:lnTo>
                  <a:pt x="75" y="44"/>
                </a:lnTo>
                <a:lnTo>
                  <a:pt x="72" y="44"/>
                </a:lnTo>
                <a:lnTo>
                  <a:pt x="68" y="42"/>
                </a:lnTo>
                <a:lnTo>
                  <a:pt x="67" y="42"/>
                </a:lnTo>
                <a:lnTo>
                  <a:pt x="65" y="41"/>
                </a:lnTo>
                <a:lnTo>
                  <a:pt x="60" y="41"/>
                </a:lnTo>
                <a:lnTo>
                  <a:pt x="59" y="39"/>
                </a:lnTo>
                <a:lnTo>
                  <a:pt x="61" y="39"/>
                </a:lnTo>
                <a:lnTo>
                  <a:pt x="61" y="37"/>
                </a:lnTo>
                <a:lnTo>
                  <a:pt x="64" y="37"/>
                </a:lnTo>
                <a:lnTo>
                  <a:pt x="65" y="37"/>
                </a:lnTo>
                <a:lnTo>
                  <a:pt x="67" y="37"/>
                </a:lnTo>
                <a:lnTo>
                  <a:pt x="69" y="36"/>
                </a:lnTo>
                <a:lnTo>
                  <a:pt x="71" y="36"/>
                </a:lnTo>
                <a:lnTo>
                  <a:pt x="68" y="34"/>
                </a:lnTo>
                <a:lnTo>
                  <a:pt x="63" y="33"/>
                </a:lnTo>
                <a:lnTo>
                  <a:pt x="64" y="33"/>
                </a:lnTo>
                <a:lnTo>
                  <a:pt x="64" y="31"/>
                </a:lnTo>
                <a:lnTo>
                  <a:pt x="65" y="31"/>
                </a:lnTo>
                <a:lnTo>
                  <a:pt x="72" y="33"/>
                </a:lnTo>
                <a:lnTo>
                  <a:pt x="77" y="33"/>
                </a:lnTo>
                <a:lnTo>
                  <a:pt x="76" y="31"/>
                </a:lnTo>
                <a:lnTo>
                  <a:pt x="75" y="31"/>
                </a:lnTo>
                <a:lnTo>
                  <a:pt x="73" y="30"/>
                </a:lnTo>
                <a:lnTo>
                  <a:pt x="72" y="28"/>
                </a:lnTo>
                <a:lnTo>
                  <a:pt x="72" y="30"/>
                </a:lnTo>
                <a:lnTo>
                  <a:pt x="71" y="30"/>
                </a:lnTo>
                <a:lnTo>
                  <a:pt x="69" y="30"/>
                </a:lnTo>
                <a:lnTo>
                  <a:pt x="69" y="28"/>
                </a:lnTo>
                <a:lnTo>
                  <a:pt x="68" y="28"/>
                </a:lnTo>
                <a:lnTo>
                  <a:pt x="67" y="26"/>
                </a:lnTo>
                <a:lnTo>
                  <a:pt x="65" y="25"/>
                </a:lnTo>
                <a:lnTo>
                  <a:pt x="65" y="23"/>
                </a:lnTo>
                <a:lnTo>
                  <a:pt x="64" y="23"/>
                </a:lnTo>
                <a:lnTo>
                  <a:pt x="60" y="23"/>
                </a:lnTo>
                <a:lnTo>
                  <a:pt x="59" y="20"/>
                </a:lnTo>
                <a:lnTo>
                  <a:pt x="56" y="20"/>
                </a:lnTo>
                <a:lnTo>
                  <a:pt x="55" y="20"/>
                </a:lnTo>
                <a:lnTo>
                  <a:pt x="56" y="20"/>
                </a:lnTo>
                <a:lnTo>
                  <a:pt x="56" y="17"/>
                </a:lnTo>
                <a:lnTo>
                  <a:pt x="56" y="15"/>
                </a:lnTo>
                <a:lnTo>
                  <a:pt x="55" y="12"/>
                </a:lnTo>
                <a:lnTo>
                  <a:pt x="48" y="8"/>
                </a:lnTo>
                <a:lnTo>
                  <a:pt x="45" y="8"/>
                </a:lnTo>
                <a:lnTo>
                  <a:pt x="44" y="6"/>
                </a:lnTo>
                <a:lnTo>
                  <a:pt x="44" y="4"/>
                </a:lnTo>
                <a:lnTo>
                  <a:pt x="44" y="3"/>
                </a:lnTo>
                <a:lnTo>
                  <a:pt x="40" y="4"/>
                </a:lnTo>
                <a:lnTo>
                  <a:pt x="38" y="3"/>
                </a:lnTo>
                <a:lnTo>
                  <a:pt x="36" y="4"/>
                </a:lnTo>
                <a:lnTo>
                  <a:pt x="34" y="4"/>
                </a:lnTo>
                <a:lnTo>
                  <a:pt x="34" y="3"/>
                </a:lnTo>
                <a:lnTo>
                  <a:pt x="32" y="4"/>
                </a:lnTo>
                <a:lnTo>
                  <a:pt x="31" y="3"/>
                </a:lnTo>
                <a:lnTo>
                  <a:pt x="32" y="3"/>
                </a:lnTo>
                <a:lnTo>
                  <a:pt x="32" y="1"/>
                </a:lnTo>
                <a:lnTo>
                  <a:pt x="34" y="1"/>
                </a:lnTo>
                <a:lnTo>
                  <a:pt x="30" y="0"/>
                </a:lnTo>
                <a:lnTo>
                  <a:pt x="27" y="0"/>
                </a:lnTo>
                <a:lnTo>
                  <a:pt x="26" y="0"/>
                </a:lnTo>
                <a:lnTo>
                  <a:pt x="23" y="0"/>
                </a:lnTo>
                <a:lnTo>
                  <a:pt x="20" y="1"/>
                </a:lnTo>
                <a:lnTo>
                  <a:pt x="20" y="3"/>
                </a:lnTo>
                <a:lnTo>
                  <a:pt x="19" y="3"/>
                </a:lnTo>
                <a:lnTo>
                  <a:pt x="15" y="4"/>
                </a:lnTo>
                <a:lnTo>
                  <a:pt x="14" y="8"/>
                </a:lnTo>
                <a:lnTo>
                  <a:pt x="15" y="9"/>
                </a:lnTo>
                <a:lnTo>
                  <a:pt x="18" y="9"/>
                </a:lnTo>
                <a:lnTo>
                  <a:pt x="18" y="11"/>
                </a:lnTo>
                <a:lnTo>
                  <a:pt x="16" y="12"/>
                </a:lnTo>
                <a:lnTo>
                  <a:pt x="11" y="11"/>
                </a:lnTo>
                <a:lnTo>
                  <a:pt x="8" y="11"/>
                </a:lnTo>
                <a:lnTo>
                  <a:pt x="8" y="12"/>
                </a:lnTo>
                <a:lnTo>
                  <a:pt x="7" y="12"/>
                </a:lnTo>
                <a:lnTo>
                  <a:pt x="6" y="12"/>
                </a:lnTo>
                <a:lnTo>
                  <a:pt x="6" y="14"/>
                </a:lnTo>
                <a:lnTo>
                  <a:pt x="4" y="15"/>
                </a:lnTo>
                <a:lnTo>
                  <a:pt x="6" y="15"/>
                </a:lnTo>
                <a:lnTo>
                  <a:pt x="4" y="17"/>
                </a:lnTo>
                <a:lnTo>
                  <a:pt x="3" y="19"/>
                </a:lnTo>
                <a:lnTo>
                  <a:pt x="3" y="20"/>
                </a:lnTo>
                <a:lnTo>
                  <a:pt x="6" y="22"/>
                </a:lnTo>
                <a:lnTo>
                  <a:pt x="8" y="23"/>
                </a:lnTo>
                <a:lnTo>
                  <a:pt x="10" y="23"/>
                </a:lnTo>
                <a:lnTo>
                  <a:pt x="10" y="25"/>
                </a:lnTo>
                <a:lnTo>
                  <a:pt x="8" y="25"/>
                </a:lnTo>
                <a:lnTo>
                  <a:pt x="7" y="25"/>
                </a:lnTo>
                <a:lnTo>
                  <a:pt x="4" y="28"/>
                </a:lnTo>
                <a:lnTo>
                  <a:pt x="3" y="28"/>
                </a:lnTo>
                <a:lnTo>
                  <a:pt x="2" y="28"/>
                </a:lnTo>
                <a:lnTo>
                  <a:pt x="0" y="30"/>
                </a:lnTo>
                <a:lnTo>
                  <a:pt x="0" y="31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68" name="Freeform 768"/>
          <p:cNvSpPr>
            <a:spLocks/>
          </p:cNvSpPr>
          <p:nvPr/>
        </p:nvSpPr>
        <p:spPr bwMode="auto">
          <a:xfrm>
            <a:off x="2632325" y="1868068"/>
            <a:ext cx="348839" cy="105233"/>
          </a:xfrm>
          <a:custGeom>
            <a:avLst/>
            <a:gdLst/>
            <a:ahLst/>
            <a:cxnLst>
              <a:cxn ang="0">
                <a:pos x="141" y="5"/>
              </a:cxn>
              <a:cxn ang="0">
                <a:pos x="151" y="8"/>
              </a:cxn>
              <a:cxn ang="0">
                <a:pos x="163" y="11"/>
              </a:cxn>
              <a:cxn ang="0">
                <a:pos x="168" y="11"/>
              </a:cxn>
              <a:cxn ang="0">
                <a:pos x="181" y="13"/>
              </a:cxn>
              <a:cxn ang="0">
                <a:pos x="178" y="17"/>
              </a:cxn>
              <a:cxn ang="0">
                <a:pos x="172" y="17"/>
              </a:cxn>
              <a:cxn ang="0">
                <a:pos x="171" y="22"/>
              </a:cxn>
              <a:cxn ang="0">
                <a:pos x="167" y="27"/>
              </a:cxn>
              <a:cxn ang="0">
                <a:pos x="177" y="24"/>
              </a:cxn>
              <a:cxn ang="0">
                <a:pos x="180" y="22"/>
              </a:cxn>
              <a:cxn ang="0">
                <a:pos x="184" y="28"/>
              </a:cxn>
              <a:cxn ang="0">
                <a:pos x="173" y="35"/>
              </a:cxn>
              <a:cxn ang="0">
                <a:pos x="165" y="38"/>
              </a:cxn>
              <a:cxn ang="0">
                <a:pos x="156" y="38"/>
              </a:cxn>
              <a:cxn ang="0">
                <a:pos x="155" y="39"/>
              </a:cxn>
              <a:cxn ang="0">
                <a:pos x="157" y="47"/>
              </a:cxn>
              <a:cxn ang="0">
                <a:pos x="155" y="52"/>
              </a:cxn>
              <a:cxn ang="0">
                <a:pos x="152" y="50"/>
              </a:cxn>
              <a:cxn ang="0">
                <a:pos x="143" y="49"/>
              </a:cxn>
              <a:cxn ang="0">
                <a:pos x="145" y="41"/>
              </a:cxn>
              <a:cxn ang="0">
                <a:pos x="147" y="35"/>
              </a:cxn>
              <a:cxn ang="0">
                <a:pos x="137" y="38"/>
              </a:cxn>
              <a:cxn ang="0">
                <a:pos x="139" y="33"/>
              </a:cxn>
              <a:cxn ang="0">
                <a:pos x="129" y="32"/>
              </a:cxn>
              <a:cxn ang="0">
                <a:pos x="123" y="30"/>
              </a:cxn>
              <a:cxn ang="0">
                <a:pos x="121" y="33"/>
              </a:cxn>
              <a:cxn ang="0">
                <a:pos x="112" y="33"/>
              </a:cxn>
              <a:cxn ang="0">
                <a:pos x="109" y="33"/>
              </a:cxn>
              <a:cxn ang="0">
                <a:pos x="111" y="36"/>
              </a:cxn>
              <a:cxn ang="0">
                <a:pos x="117" y="43"/>
              </a:cxn>
              <a:cxn ang="0">
                <a:pos x="125" y="39"/>
              </a:cxn>
              <a:cxn ang="0">
                <a:pos x="129" y="39"/>
              </a:cxn>
              <a:cxn ang="0">
                <a:pos x="123" y="46"/>
              </a:cxn>
              <a:cxn ang="0">
                <a:pos x="112" y="41"/>
              </a:cxn>
              <a:cxn ang="0">
                <a:pos x="108" y="38"/>
              </a:cxn>
              <a:cxn ang="0">
                <a:pos x="108" y="41"/>
              </a:cxn>
              <a:cxn ang="0">
                <a:pos x="101" y="43"/>
              </a:cxn>
              <a:cxn ang="0">
                <a:pos x="92" y="43"/>
              </a:cxn>
              <a:cxn ang="0">
                <a:pos x="68" y="43"/>
              </a:cxn>
              <a:cxn ang="0">
                <a:pos x="58" y="43"/>
              </a:cxn>
              <a:cxn ang="0">
                <a:pos x="52" y="44"/>
              </a:cxn>
              <a:cxn ang="0">
                <a:pos x="42" y="41"/>
              </a:cxn>
              <a:cxn ang="0">
                <a:pos x="31" y="38"/>
              </a:cxn>
              <a:cxn ang="0">
                <a:pos x="20" y="38"/>
              </a:cxn>
              <a:cxn ang="0">
                <a:pos x="15" y="35"/>
              </a:cxn>
              <a:cxn ang="0">
                <a:pos x="6" y="32"/>
              </a:cxn>
              <a:cxn ang="0">
                <a:pos x="3" y="30"/>
              </a:cxn>
              <a:cxn ang="0">
                <a:pos x="0" y="27"/>
              </a:cxn>
            </a:cxnLst>
            <a:rect l="0" t="0" r="r" b="b"/>
            <a:pathLst>
              <a:path w="184" h="54">
                <a:moveTo>
                  <a:pt x="137" y="0"/>
                </a:moveTo>
                <a:lnTo>
                  <a:pt x="139" y="2"/>
                </a:lnTo>
                <a:lnTo>
                  <a:pt x="141" y="3"/>
                </a:lnTo>
                <a:lnTo>
                  <a:pt x="141" y="5"/>
                </a:lnTo>
                <a:lnTo>
                  <a:pt x="147" y="5"/>
                </a:lnTo>
                <a:lnTo>
                  <a:pt x="145" y="6"/>
                </a:lnTo>
                <a:lnTo>
                  <a:pt x="147" y="6"/>
                </a:lnTo>
                <a:lnTo>
                  <a:pt x="151" y="8"/>
                </a:lnTo>
                <a:lnTo>
                  <a:pt x="157" y="8"/>
                </a:lnTo>
                <a:lnTo>
                  <a:pt x="159" y="10"/>
                </a:lnTo>
                <a:lnTo>
                  <a:pt x="163" y="10"/>
                </a:lnTo>
                <a:lnTo>
                  <a:pt x="163" y="11"/>
                </a:lnTo>
                <a:lnTo>
                  <a:pt x="165" y="11"/>
                </a:lnTo>
                <a:lnTo>
                  <a:pt x="167" y="11"/>
                </a:lnTo>
                <a:lnTo>
                  <a:pt x="165" y="10"/>
                </a:lnTo>
                <a:lnTo>
                  <a:pt x="168" y="11"/>
                </a:lnTo>
                <a:lnTo>
                  <a:pt x="171" y="14"/>
                </a:lnTo>
                <a:lnTo>
                  <a:pt x="175" y="14"/>
                </a:lnTo>
                <a:lnTo>
                  <a:pt x="178" y="13"/>
                </a:lnTo>
                <a:lnTo>
                  <a:pt x="181" y="13"/>
                </a:lnTo>
                <a:lnTo>
                  <a:pt x="182" y="14"/>
                </a:lnTo>
                <a:lnTo>
                  <a:pt x="182" y="17"/>
                </a:lnTo>
                <a:lnTo>
                  <a:pt x="178" y="19"/>
                </a:lnTo>
                <a:lnTo>
                  <a:pt x="178" y="17"/>
                </a:lnTo>
                <a:lnTo>
                  <a:pt x="178" y="16"/>
                </a:lnTo>
                <a:lnTo>
                  <a:pt x="180" y="14"/>
                </a:lnTo>
                <a:lnTo>
                  <a:pt x="175" y="16"/>
                </a:lnTo>
                <a:lnTo>
                  <a:pt x="172" y="17"/>
                </a:lnTo>
                <a:lnTo>
                  <a:pt x="172" y="19"/>
                </a:lnTo>
                <a:lnTo>
                  <a:pt x="173" y="19"/>
                </a:lnTo>
                <a:lnTo>
                  <a:pt x="173" y="21"/>
                </a:lnTo>
                <a:lnTo>
                  <a:pt x="171" y="22"/>
                </a:lnTo>
                <a:lnTo>
                  <a:pt x="169" y="22"/>
                </a:lnTo>
                <a:lnTo>
                  <a:pt x="168" y="22"/>
                </a:lnTo>
                <a:lnTo>
                  <a:pt x="168" y="25"/>
                </a:lnTo>
                <a:lnTo>
                  <a:pt x="167" y="27"/>
                </a:lnTo>
                <a:lnTo>
                  <a:pt x="171" y="27"/>
                </a:lnTo>
                <a:lnTo>
                  <a:pt x="176" y="25"/>
                </a:lnTo>
                <a:lnTo>
                  <a:pt x="178" y="24"/>
                </a:lnTo>
                <a:lnTo>
                  <a:pt x="177" y="24"/>
                </a:lnTo>
                <a:lnTo>
                  <a:pt x="176" y="24"/>
                </a:lnTo>
                <a:lnTo>
                  <a:pt x="177" y="22"/>
                </a:lnTo>
                <a:lnTo>
                  <a:pt x="177" y="21"/>
                </a:lnTo>
                <a:lnTo>
                  <a:pt x="180" y="22"/>
                </a:lnTo>
                <a:lnTo>
                  <a:pt x="181" y="24"/>
                </a:lnTo>
                <a:lnTo>
                  <a:pt x="181" y="25"/>
                </a:lnTo>
                <a:lnTo>
                  <a:pt x="181" y="28"/>
                </a:lnTo>
                <a:lnTo>
                  <a:pt x="184" y="28"/>
                </a:lnTo>
                <a:lnTo>
                  <a:pt x="182" y="30"/>
                </a:lnTo>
                <a:lnTo>
                  <a:pt x="175" y="32"/>
                </a:lnTo>
                <a:lnTo>
                  <a:pt x="173" y="33"/>
                </a:lnTo>
                <a:lnTo>
                  <a:pt x="173" y="35"/>
                </a:lnTo>
                <a:lnTo>
                  <a:pt x="169" y="36"/>
                </a:lnTo>
                <a:lnTo>
                  <a:pt x="168" y="36"/>
                </a:lnTo>
                <a:lnTo>
                  <a:pt x="167" y="38"/>
                </a:lnTo>
                <a:lnTo>
                  <a:pt x="165" y="38"/>
                </a:lnTo>
                <a:lnTo>
                  <a:pt x="161" y="38"/>
                </a:lnTo>
                <a:lnTo>
                  <a:pt x="159" y="38"/>
                </a:lnTo>
                <a:lnTo>
                  <a:pt x="157" y="38"/>
                </a:lnTo>
                <a:lnTo>
                  <a:pt x="156" y="38"/>
                </a:lnTo>
                <a:lnTo>
                  <a:pt x="155" y="38"/>
                </a:lnTo>
                <a:lnTo>
                  <a:pt x="153" y="38"/>
                </a:lnTo>
                <a:lnTo>
                  <a:pt x="153" y="39"/>
                </a:lnTo>
                <a:lnTo>
                  <a:pt x="155" y="39"/>
                </a:lnTo>
                <a:lnTo>
                  <a:pt x="152" y="43"/>
                </a:lnTo>
                <a:lnTo>
                  <a:pt x="152" y="44"/>
                </a:lnTo>
                <a:lnTo>
                  <a:pt x="156" y="46"/>
                </a:lnTo>
                <a:lnTo>
                  <a:pt x="157" y="47"/>
                </a:lnTo>
                <a:lnTo>
                  <a:pt x="157" y="49"/>
                </a:lnTo>
                <a:lnTo>
                  <a:pt x="159" y="50"/>
                </a:lnTo>
                <a:lnTo>
                  <a:pt x="157" y="54"/>
                </a:lnTo>
                <a:lnTo>
                  <a:pt x="155" y="52"/>
                </a:lnTo>
                <a:lnTo>
                  <a:pt x="153" y="52"/>
                </a:lnTo>
                <a:lnTo>
                  <a:pt x="155" y="50"/>
                </a:lnTo>
                <a:lnTo>
                  <a:pt x="155" y="49"/>
                </a:lnTo>
                <a:lnTo>
                  <a:pt x="152" y="50"/>
                </a:lnTo>
                <a:lnTo>
                  <a:pt x="151" y="50"/>
                </a:lnTo>
                <a:lnTo>
                  <a:pt x="147" y="52"/>
                </a:lnTo>
                <a:lnTo>
                  <a:pt x="147" y="49"/>
                </a:lnTo>
                <a:lnTo>
                  <a:pt x="143" y="49"/>
                </a:lnTo>
                <a:lnTo>
                  <a:pt x="141" y="47"/>
                </a:lnTo>
                <a:lnTo>
                  <a:pt x="147" y="46"/>
                </a:lnTo>
                <a:lnTo>
                  <a:pt x="144" y="43"/>
                </a:lnTo>
                <a:lnTo>
                  <a:pt x="145" y="41"/>
                </a:lnTo>
                <a:lnTo>
                  <a:pt x="147" y="39"/>
                </a:lnTo>
                <a:lnTo>
                  <a:pt x="147" y="38"/>
                </a:lnTo>
                <a:lnTo>
                  <a:pt x="147" y="36"/>
                </a:lnTo>
                <a:lnTo>
                  <a:pt x="147" y="35"/>
                </a:lnTo>
                <a:lnTo>
                  <a:pt x="140" y="36"/>
                </a:lnTo>
                <a:lnTo>
                  <a:pt x="140" y="39"/>
                </a:lnTo>
                <a:lnTo>
                  <a:pt x="139" y="38"/>
                </a:lnTo>
                <a:lnTo>
                  <a:pt x="137" y="38"/>
                </a:lnTo>
                <a:lnTo>
                  <a:pt x="136" y="38"/>
                </a:lnTo>
                <a:lnTo>
                  <a:pt x="137" y="36"/>
                </a:lnTo>
                <a:lnTo>
                  <a:pt x="139" y="35"/>
                </a:lnTo>
                <a:lnTo>
                  <a:pt x="139" y="33"/>
                </a:lnTo>
                <a:lnTo>
                  <a:pt x="135" y="35"/>
                </a:lnTo>
                <a:lnTo>
                  <a:pt x="132" y="33"/>
                </a:lnTo>
                <a:lnTo>
                  <a:pt x="133" y="33"/>
                </a:lnTo>
                <a:lnTo>
                  <a:pt x="129" y="32"/>
                </a:lnTo>
                <a:lnTo>
                  <a:pt x="128" y="30"/>
                </a:lnTo>
                <a:lnTo>
                  <a:pt x="124" y="30"/>
                </a:lnTo>
                <a:lnTo>
                  <a:pt x="125" y="32"/>
                </a:lnTo>
                <a:lnTo>
                  <a:pt x="123" y="30"/>
                </a:lnTo>
                <a:lnTo>
                  <a:pt x="119" y="30"/>
                </a:lnTo>
                <a:lnTo>
                  <a:pt x="116" y="30"/>
                </a:lnTo>
                <a:lnTo>
                  <a:pt x="121" y="32"/>
                </a:lnTo>
                <a:lnTo>
                  <a:pt x="121" y="33"/>
                </a:lnTo>
                <a:lnTo>
                  <a:pt x="116" y="33"/>
                </a:lnTo>
                <a:lnTo>
                  <a:pt x="115" y="32"/>
                </a:lnTo>
                <a:lnTo>
                  <a:pt x="112" y="32"/>
                </a:lnTo>
                <a:lnTo>
                  <a:pt x="112" y="33"/>
                </a:lnTo>
                <a:lnTo>
                  <a:pt x="111" y="33"/>
                </a:lnTo>
                <a:lnTo>
                  <a:pt x="108" y="32"/>
                </a:lnTo>
                <a:lnTo>
                  <a:pt x="107" y="32"/>
                </a:lnTo>
                <a:lnTo>
                  <a:pt x="109" y="33"/>
                </a:lnTo>
                <a:lnTo>
                  <a:pt x="109" y="35"/>
                </a:lnTo>
                <a:lnTo>
                  <a:pt x="112" y="36"/>
                </a:lnTo>
                <a:lnTo>
                  <a:pt x="112" y="38"/>
                </a:lnTo>
                <a:lnTo>
                  <a:pt x="111" y="36"/>
                </a:lnTo>
                <a:lnTo>
                  <a:pt x="112" y="38"/>
                </a:lnTo>
                <a:lnTo>
                  <a:pt x="115" y="39"/>
                </a:lnTo>
                <a:lnTo>
                  <a:pt x="116" y="43"/>
                </a:lnTo>
                <a:lnTo>
                  <a:pt x="117" y="43"/>
                </a:lnTo>
                <a:lnTo>
                  <a:pt x="117" y="41"/>
                </a:lnTo>
                <a:lnTo>
                  <a:pt x="119" y="39"/>
                </a:lnTo>
                <a:lnTo>
                  <a:pt x="124" y="39"/>
                </a:lnTo>
                <a:lnTo>
                  <a:pt x="125" y="39"/>
                </a:lnTo>
                <a:lnTo>
                  <a:pt x="125" y="41"/>
                </a:lnTo>
                <a:lnTo>
                  <a:pt x="128" y="41"/>
                </a:lnTo>
                <a:lnTo>
                  <a:pt x="128" y="39"/>
                </a:lnTo>
                <a:lnTo>
                  <a:pt x="129" y="39"/>
                </a:lnTo>
                <a:lnTo>
                  <a:pt x="129" y="44"/>
                </a:lnTo>
                <a:lnTo>
                  <a:pt x="127" y="46"/>
                </a:lnTo>
                <a:lnTo>
                  <a:pt x="124" y="46"/>
                </a:lnTo>
                <a:lnTo>
                  <a:pt x="123" y="46"/>
                </a:lnTo>
                <a:lnTo>
                  <a:pt x="119" y="44"/>
                </a:lnTo>
                <a:lnTo>
                  <a:pt x="117" y="44"/>
                </a:lnTo>
                <a:lnTo>
                  <a:pt x="115" y="43"/>
                </a:lnTo>
                <a:lnTo>
                  <a:pt x="112" y="41"/>
                </a:lnTo>
                <a:lnTo>
                  <a:pt x="112" y="39"/>
                </a:lnTo>
                <a:lnTo>
                  <a:pt x="111" y="39"/>
                </a:lnTo>
                <a:lnTo>
                  <a:pt x="109" y="38"/>
                </a:lnTo>
                <a:lnTo>
                  <a:pt x="108" y="38"/>
                </a:lnTo>
                <a:lnTo>
                  <a:pt x="107" y="38"/>
                </a:lnTo>
                <a:lnTo>
                  <a:pt x="105" y="39"/>
                </a:lnTo>
                <a:lnTo>
                  <a:pt x="107" y="39"/>
                </a:lnTo>
                <a:lnTo>
                  <a:pt x="108" y="41"/>
                </a:lnTo>
                <a:lnTo>
                  <a:pt x="111" y="43"/>
                </a:lnTo>
                <a:lnTo>
                  <a:pt x="107" y="43"/>
                </a:lnTo>
                <a:lnTo>
                  <a:pt x="101" y="44"/>
                </a:lnTo>
                <a:lnTo>
                  <a:pt x="101" y="43"/>
                </a:lnTo>
                <a:lnTo>
                  <a:pt x="99" y="43"/>
                </a:lnTo>
                <a:lnTo>
                  <a:pt x="99" y="44"/>
                </a:lnTo>
                <a:lnTo>
                  <a:pt x="95" y="43"/>
                </a:lnTo>
                <a:lnTo>
                  <a:pt x="92" y="43"/>
                </a:lnTo>
                <a:lnTo>
                  <a:pt x="81" y="41"/>
                </a:lnTo>
                <a:lnTo>
                  <a:pt x="79" y="43"/>
                </a:lnTo>
                <a:lnTo>
                  <a:pt x="75" y="44"/>
                </a:lnTo>
                <a:lnTo>
                  <a:pt x="68" y="43"/>
                </a:lnTo>
                <a:lnTo>
                  <a:pt x="64" y="44"/>
                </a:lnTo>
                <a:lnTo>
                  <a:pt x="60" y="44"/>
                </a:lnTo>
                <a:lnTo>
                  <a:pt x="59" y="44"/>
                </a:lnTo>
                <a:lnTo>
                  <a:pt x="58" y="43"/>
                </a:lnTo>
                <a:lnTo>
                  <a:pt x="56" y="44"/>
                </a:lnTo>
                <a:lnTo>
                  <a:pt x="54" y="43"/>
                </a:lnTo>
                <a:lnTo>
                  <a:pt x="54" y="44"/>
                </a:lnTo>
                <a:lnTo>
                  <a:pt x="52" y="44"/>
                </a:lnTo>
                <a:lnTo>
                  <a:pt x="48" y="43"/>
                </a:lnTo>
                <a:lnTo>
                  <a:pt x="46" y="43"/>
                </a:lnTo>
                <a:lnTo>
                  <a:pt x="43" y="41"/>
                </a:lnTo>
                <a:lnTo>
                  <a:pt x="42" y="41"/>
                </a:lnTo>
                <a:lnTo>
                  <a:pt x="38" y="39"/>
                </a:lnTo>
                <a:lnTo>
                  <a:pt x="38" y="36"/>
                </a:lnTo>
                <a:lnTo>
                  <a:pt x="32" y="36"/>
                </a:lnTo>
                <a:lnTo>
                  <a:pt x="31" y="38"/>
                </a:lnTo>
                <a:lnTo>
                  <a:pt x="30" y="38"/>
                </a:lnTo>
                <a:lnTo>
                  <a:pt x="27" y="38"/>
                </a:lnTo>
                <a:lnTo>
                  <a:pt x="24" y="39"/>
                </a:lnTo>
                <a:lnTo>
                  <a:pt x="20" y="38"/>
                </a:lnTo>
                <a:lnTo>
                  <a:pt x="18" y="38"/>
                </a:lnTo>
                <a:lnTo>
                  <a:pt x="16" y="38"/>
                </a:lnTo>
                <a:lnTo>
                  <a:pt x="16" y="36"/>
                </a:lnTo>
                <a:lnTo>
                  <a:pt x="15" y="35"/>
                </a:lnTo>
                <a:lnTo>
                  <a:pt x="16" y="35"/>
                </a:lnTo>
                <a:lnTo>
                  <a:pt x="11" y="35"/>
                </a:lnTo>
                <a:lnTo>
                  <a:pt x="8" y="33"/>
                </a:lnTo>
                <a:lnTo>
                  <a:pt x="6" y="32"/>
                </a:lnTo>
                <a:lnTo>
                  <a:pt x="3" y="30"/>
                </a:lnTo>
                <a:lnTo>
                  <a:pt x="2" y="32"/>
                </a:lnTo>
                <a:lnTo>
                  <a:pt x="2" y="30"/>
                </a:lnTo>
                <a:lnTo>
                  <a:pt x="3" y="30"/>
                </a:lnTo>
                <a:lnTo>
                  <a:pt x="6" y="30"/>
                </a:lnTo>
                <a:lnTo>
                  <a:pt x="3" y="28"/>
                </a:lnTo>
                <a:lnTo>
                  <a:pt x="3" y="27"/>
                </a:lnTo>
                <a:lnTo>
                  <a:pt x="0" y="27"/>
                </a:lnTo>
                <a:lnTo>
                  <a:pt x="3" y="25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69" name="Freeform 769"/>
          <p:cNvSpPr>
            <a:spLocks/>
          </p:cNvSpPr>
          <p:nvPr/>
        </p:nvSpPr>
        <p:spPr bwMode="auto">
          <a:xfrm>
            <a:off x="2312720" y="1908873"/>
            <a:ext cx="325453" cy="79461"/>
          </a:xfrm>
          <a:custGeom>
            <a:avLst/>
            <a:gdLst/>
            <a:ahLst/>
            <a:cxnLst>
              <a:cxn ang="0">
                <a:pos x="164" y="0"/>
              </a:cxn>
              <a:cxn ang="0">
                <a:pos x="155" y="0"/>
              </a:cxn>
              <a:cxn ang="0">
                <a:pos x="144" y="3"/>
              </a:cxn>
              <a:cxn ang="0">
                <a:pos x="124" y="8"/>
              </a:cxn>
              <a:cxn ang="0">
                <a:pos x="126" y="13"/>
              </a:cxn>
              <a:cxn ang="0">
                <a:pos x="130" y="14"/>
              </a:cxn>
              <a:cxn ang="0">
                <a:pos x="136" y="14"/>
              </a:cxn>
              <a:cxn ang="0">
                <a:pos x="135" y="11"/>
              </a:cxn>
              <a:cxn ang="0">
                <a:pos x="144" y="11"/>
              </a:cxn>
              <a:cxn ang="0">
                <a:pos x="152" y="10"/>
              </a:cxn>
              <a:cxn ang="0">
                <a:pos x="154" y="11"/>
              </a:cxn>
              <a:cxn ang="0">
                <a:pos x="152" y="8"/>
              </a:cxn>
              <a:cxn ang="0">
                <a:pos x="164" y="5"/>
              </a:cxn>
              <a:cxn ang="0">
                <a:pos x="166" y="8"/>
              </a:cxn>
              <a:cxn ang="0">
                <a:pos x="159" y="13"/>
              </a:cxn>
              <a:cxn ang="0">
                <a:pos x="155" y="13"/>
              </a:cxn>
              <a:cxn ang="0">
                <a:pos x="143" y="16"/>
              </a:cxn>
              <a:cxn ang="0">
                <a:pos x="138" y="19"/>
              </a:cxn>
              <a:cxn ang="0">
                <a:pos x="134" y="22"/>
              </a:cxn>
              <a:cxn ang="0">
                <a:pos x="138" y="27"/>
              </a:cxn>
              <a:cxn ang="0">
                <a:pos x="144" y="32"/>
              </a:cxn>
              <a:cxn ang="0">
                <a:pos x="143" y="36"/>
              </a:cxn>
              <a:cxn ang="0">
                <a:pos x="136" y="39"/>
              </a:cxn>
              <a:cxn ang="0">
                <a:pos x="128" y="33"/>
              </a:cxn>
              <a:cxn ang="0">
                <a:pos x="136" y="32"/>
              </a:cxn>
              <a:cxn ang="0">
                <a:pos x="128" y="27"/>
              </a:cxn>
              <a:cxn ang="0">
                <a:pos x="124" y="25"/>
              </a:cxn>
              <a:cxn ang="0">
                <a:pos x="122" y="27"/>
              </a:cxn>
              <a:cxn ang="0">
                <a:pos x="119" y="22"/>
              </a:cxn>
              <a:cxn ang="0">
                <a:pos x="107" y="21"/>
              </a:cxn>
              <a:cxn ang="0">
                <a:pos x="105" y="19"/>
              </a:cxn>
              <a:cxn ang="0">
                <a:pos x="98" y="17"/>
              </a:cxn>
              <a:cxn ang="0">
                <a:pos x="87" y="21"/>
              </a:cxn>
              <a:cxn ang="0">
                <a:pos x="81" y="21"/>
              </a:cxn>
              <a:cxn ang="0">
                <a:pos x="75" y="22"/>
              </a:cxn>
              <a:cxn ang="0">
                <a:pos x="70" y="21"/>
              </a:cxn>
              <a:cxn ang="0">
                <a:pos x="59" y="22"/>
              </a:cxn>
              <a:cxn ang="0">
                <a:pos x="41" y="21"/>
              </a:cxn>
              <a:cxn ang="0">
                <a:pos x="33" y="21"/>
              </a:cxn>
              <a:cxn ang="0">
                <a:pos x="23" y="19"/>
              </a:cxn>
              <a:cxn ang="0">
                <a:pos x="25" y="14"/>
              </a:cxn>
              <a:cxn ang="0">
                <a:pos x="31" y="13"/>
              </a:cxn>
              <a:cxn ang="0">
                <a:pos x="38" y="13"/>
              </a:cxn>
              <a:cxn ang="0">
                <a:pos x="42" y="11"/>
              </a:cxn>
              <a:cxn ang="0">
                <a:pos x="41" y="8"/>
              </a:cxn>
              <a:cxn ang="0">
                <a:pos x="31" y="2"/>
              </a:cxn>
              <a:cxn ang="0">
                <a:pos x="26" y="0"/>
              </a:cxn>
              <a:cxn ang="0">
                <a:pos x="10" y="0"/>
              </a:cxn>
              <a:cxn ang="0">
                <a:pos x="7" y="2"/>
              </a:cxn>
            </a:cxnLst>
            <a:rect l="0" t="0" r="r" b="b"/>
            <a:pathLst>
              <a:path w="171" h="39">
                <a:moveTo>
                  <a:pt x="171" y="3"/>
                </a:moveTo>
                <a:lnTo>
                  <a:pt x="167" y="3"/>
                </a:lnTo>
                <a:lnTo>
                  <a:pt x="167" y="2"/>
                </a:lnTo>
                <a:lnTo>
                  <a:pt x="164" y="0"/>
                </a:lnTo>
                <a:lnTo>
                  <a:pt x="163" y="0"/>
                </a:lnTo>
                <a:lnTo>
                  <a:pt x="160" y="0"/>
                </a:lnTo>
                <a:lnTo>
                  <a:pt x="159" y="0"/>
                </a:lnTo>
                <a:lnTo>
                  <a:pt x="155" y="0"/>
                </a:lnTo>
                <a:lnTo>
                  <a:pt x="154" y="2"/>
                </a:lnTo>
                <a:lnTo>
                  <a:pt x="150" y="2"/>
                </a:lnTo>
                <a:lnTo>
                  <a:pt x="148" y="3"/>
                </a:lnTo>
                <a:lnTo>
                  <a:pt x="144" y="3"/>
                </a:lnTo>
                <a:lnTo>
                  <a:pt x="138" y="5"/>
                </a:lnTo>
                <a:lnTo>
                  <a:pt x="128" y="5"/>
                </a:lnTo>
                <a:lnTo>
                  <a:pt x="127" y="6"/>
                </a:lnTo>
                <a:lnTo>
                  <a:pt x="124" y="8"/>
                </a:lnTo>
                <a:lnTo>
                  <a:pt x="122" y="11"/>
                </a:lnTo>
                <a:lnTo>
                  <a:pt x="122" y="13"/>
                </a:lnTo>
                <a:lnTo>
                  <a:pt x="126" y="11"/>
                </a:lnTo>
                <a:lnTo>
                  <a:pt x="126" y="13"/>
                </a:lnTo>
                <a:lnTo>
                  <a:pt x="128" y="13"/>
                </a:lnTo>
                <a:lnTo>
                  <a:pt x="127" y="14"/>
                </a:lnTo>
                <a:lnTo>
                  <a:pt x="130" y="13"/>
                </a:lnTo>
                <a:lnTo>
                  <a:pt x="130" y="14"/>
                </a:lnTo>
                <a:lnTo>
                  <a:pt x="135" y="14"/>
                </a:lnTo>
                <a:lnTo>
                  <a:pt x="132" y="14"/>
                </a:lnTo>
                <a:lnTo>
                  <a:pt x="134" y="14"/>
                </a:lnTo>
                <a:lnTo>
                  <a:pt x="136" y="14"/>
                </a:lnTo>
                <a:lnTo>
                  <a:pt x="139" y="14"/>
                </a:lnTo>
                <a:lnTo>
                  <a:pt x="138" y="13"/>
                </a:lnTo>
                <a:lnTo>
                  <a:pt x="136" y="13"/>
                </a:lnTo>
                <a:lnTo>
                  <a:pt x="135" y="11"/>
                </a:lnTo>
                <a:lnTo>
                  <a:pt x="136" y="11"/>
                </a:lnTo>
                <a:lnTo>
                  <a:pt x="140" y="10"/>
                </a:lnTo>
                <a:lnTo>
                  <a:pt x="142" y="11"/>
                </a:lnTo>
                <a:lnTo>
                  <a:pt x="144" y="11"/>
                </a:lnTo>
                <a:lnTo>
                  <a:pt x="146" y="11"/>
                </a:lnTo>
                <a:lnTo>
                  <a:pt x="147" y="11"/>
                </a:lnTo>
                <a:lnTo>
                  <a:pt x="148" y="10"/>
                </a:lnTo>
                <a:lnTo>
                  <a:pt x="152" y="10"/>
                </a:lnTo>
                <a:lnTo>
                  <a:pt x="152" y="11"/>
                </a:lnTo>
                <a:lnTo>
                  <a:pt x="154" y="11"/>
                </a:lnTo>
                <a:lnTo>
                  <a:pt x="152" y="11"/>
                </a:lnTo>
                <a:lnTo>
                  <a:pt x="154" y="11"/>
                </a:lnTo>
                <a:lnTo>
                  <a:pt x="155" y="11"/>
                </a:lnTo>
                <a:lnTo>
                  <a:pt x="155" y="10"/>
                </a:lnTo>
                <a:lnTo>
                  <a:pt x="154" y="10"/>
                </a:lnTo>
                <a:lnTo>
                  <a:pt x="152" y="8"/>
                </a:lnTo>
                <a:lnTo>
                  <a:pt x="156" y="8"/>
                </a:lnTo>
                <a:lnTo>
                  <a:pt x="155" y="6"/>
                </a:lnTo>
                <a:lnTo>
                  <a:pt x="163" y="5"/>
                </a:lnTo>
                <a:lnTo>
                  <a:pt x="164" y="5"/>
                </a:lnTo>
                <a:lnTo>
                  <a:pt x="166" y="5"/>
                </a:lnTo>
                <a:lnTo>
                  <a:pt x="166" y="6"/>
                </a:lnTo>
                <a:lnTo>
                  <a:pt x="164" y="6"/>
                </a:lnTo>
                <a:lnTo>
                  <a:pt x="166" y="8"/>
                </a:lnTo>
                <a:lnTo>
                  <a:pt x="162" y="8"/>
                </a:lnTo>
                <a:lnTo>
                  <a:pt x="162" y="10"/>
                </a:lnTo>
                <a:lnTo>
                  <a:pt x="160" y="10"/>
                </a:lnTo>
                <a:lnTo>
                  <a:pt x="159" y="13"/>
                </a:lnTo>
                <a:lnTo>
                  <a:pt x="159" y="11"/>
                </a:lnTo>
                <a:lnTo>
                  <a:pt x="158" y="11"/>
                </a:lnTo>
                <a:lnTo>
                  <a:pt x="158" y="13"/>
                </a:lnTo>
                <a:lnTo>
                  <a:pt x="155" y="13"/>
                </a:lnTo>
                <a:lnTo>
                  <a:pt x="152" y="13"/>
                </a:lnTo>
                <a:lnTo>
                  <a:pt x="152" y="14"/>
                </a:lnTo>
                <a:lnTo>
                  <a:pt x="146" y="14"/>
                </a:lnTo>
                <a:lnTo>
                  <a:pt x="143" y="16"/>
                </a:lnTo>
                <a:lnTo>
                  <a:pt x="139" y="16"/>
                </a:lnTo>
                <a:lnTo>
                  <a:pt x="136" y="17"/>
                </a:lnTo>
                <a:lnTo>
                  <a:pt x="139" y="17"/>
                </a:lnTo>
                <a:lnTo>
                  <a:pt x="138" y="19"/>
                </a:lnTo>
                <a:lnTo>
                  <a:pt x="136" y="19"/>
                </a:lnTo>
                <a:lnTo>
                  <a:pt x="135" y="19"/>
                </a:lnTo>
                <a:lnTo>
                  <a:pt x="132" y="21"/>
                </a:lnTo>
                <a:lnTo>
                  <a:pt x="134" y="22"/>
                </a:lnTo>
                <a:lnTo>
                  <a:pt x="138" y="24"/>
                </a:lnTo>
                <a:lnTo>
                  <a:pt x="139" y="25"/>
                </a:lnTo>
                <a:lnTo>
                  <a:pt x="139" y="27"/>
                </a:lnTo>
                <a:lnTo>
                  <a:pt x="138" y="27"/>
                </a:lnTo>
                <a:lnTo>
                  <a:pt x="140" y="28"/>
                </a:lnTo>
                <a:lnTo>
                  <a:pt x="142" y="30"/>
                </a:lnTo>
                <a:lnTo>
                  <a:pt x="143" y="32"/>
                </a:lnTo>
                <a:lnTo>
                  <a:pt x="144" y="32"/>
                </a:lnTo>
                <a:lnTo>
                  <a:pt x="146" y="33"/>
                </a:lnTo>
                <a:lnTo>
                  <a:pt x="143" y="33"/>
                </a:lnTo>
                <a:lnTo>
                  <a:pt x="146" y="36"/>
                </a:lnTo>
                <a:lnTo>
                  <a:pt x="143" y="36"/>
                </a:lnTo>
                <a:lnTo>
                  <a:pt x="142" y="36"/>
                </a:lnTo>
                <a:lnTo>
                  <a:pt x="139" y="36"/>
                </a:lnTo>
                <a:lnTo>
                  <a:pt x="138" y="36"/>
                </a:lnTo>
                <a:lnTo>
                  <a:pt x="136" y="39"/>
                </a:lnTo>
                <a:lnTo>
                  <a:pt x="135" y="38"/>
                </a:lnTo>
                <a:lnTo>
                  <a:pt x="132" y="36"/>
                </a:lnTo>
                <a:lnTo>
                  <a:pt x="128" y="35"/>
                </a:lnTo>
                <a:lnTo>
                  <a:pt x="128" y="33"/>
                </a:lnTo>
                <a:lnTo>
                  <a:pt x="130" y="33"/>
                </a:lnTo>
                <a:lnTo>
                  <a:pt x="132" y="33"/>
                </a:lnTo>
                <a:lnTo>
                  <a:pt x="134" y="33"/>
                </a:lnTo>
                <a:lnTo>
                  <a:pt x="136" y="32"/>
                </a:lnTo>
                <a:lnTo>
                  <a:pt x="135" y="30"/>
                </a:lnTo>
                <a:lnTo>
                  <a:pt x="134" y="28"/>
                </a:lnTo>
                <a:lnTo>
                  <a:pt x="131" y="28"/>
                </a:lnTo>
                <a:lnTo>
                  <a:pt x="128" y="27"/>
                </a:lnTo>
                <a:lnTo>
                  <a:pt x="127" y="27"/>
                </a:lnTo>
                <a:lnTo>
                  <a:pt x="126" y="27"/>
                </a:lnTo>
                <a:lnTo>
                  <a:pt x="126" y="25"/>
                </a:lnTo>
                <a:lnTo>
                  <a:pt x="124" y="25"/>
                </a:lnTo>
                <a:lnTo>
                  <a:pt x="124" y="24"/>
                </a:lnTo>
                <a:lnTo>
                  <a:pt x="123" y="24"/>
                </a:lnTo>
                <a:lnTo>
                  <a:pt x="123" y="25"/>
                </a:lnTo>
                <a:lnTo>
                  <a:pt x="122" y="27"/>
                </a:lnTo>
                <a:lnTo>
                  <a:pt x="119" y="27"/>
                </a:lnTo>
                <a:lnTo>
                  <a:pt x="120" y="25"/>
                </a:lnTo>
                <a:lnTo>
                  <a:pt x="119" y="24"/>
                </a:lnTo>
                <a:lnTo>
                  <a:pt x="119" y="22"/>
                </a:lnTo>
                <a:lnTo>
                  <a:pt x="119" y="21"/>
                </a:lnTo>
                <a:lnTo>
                  <a:pt x="113" y="21"/>
                </a:lnTo>
                <a:lnTo>
                  <a:pt x="113" y="22"/>
                </a:lnTo>
                <a:lnTo>
                  <a:pt x="107" y="21"/>
                </a:lnTo>
                <a:lnTo>
                  <a:pt x="109" y="21"/>
                </a:lnTo>
                <a:lnTo>
                  <a:pt x="107" y="19"/>
                </a:lnTo>
                <a:lnTo>
                  <a:pt x="106" y="19"/>
                </a:lnTo>
                <a:lnTo>
                  <a:pt x="105" y="19"/>
                </a:lnTo>
                <a:lnTo>
                  <a:pt x="105" y="17"/>
                </a:lnTo>
                <a:lnTo>
                  <a:pt x="103" y="16"/>
                </a:lnTo>
                <a:lnTo>
                  <a:pt x="102" y="17"/>
                </a:lnTo>
                <a:lnTo>
                  <a:pt x="98" y="17"/>
                </a:lnTo>
                <a:lnTo>
                  <a:pt x="95" y="19"/>
                </a:lnTo>
                <a:lnTo>
                  <a:pt x="93" y="21"/>
                </a:lnTo>
                <a:lnTo>
                  <a:pt x="90" y="21"/>
                </a:lnTo>
                <a:lnTo>
                  <a:pt x="87" y="21"/>
                </a:lnTo>
                <a:lnTo>
                  <a:pt x="87" y="19"/>
                </a:lnTo>
                <a:lnTo>
                  <a:pt x="85" y="19"/>
                </a:lnTo>
                <a:lnTo>
                  <a:pt x="83" y="21"/>
                </a:lnTo>
                <a:lnTo>
                  <a:pt x="81" y="21"/>
                </a:lnTo>
                <a:lnTo>
                  <a:pt x="81" y="22"/>
                </a:lnTo>
                <a:lnTo>
                  <a:pt x="78" y="22"/>
                </a:lnTo>
                <a:lnTo>
                  <a:pt x="77" y="21"/>
                </a:lnTo>
                <a:lnTo>
                  <a:pt x="75" y="22"/>
                </a:lnTo>
                <a:lnTo>
                  <a:pt x="77" y="22"/>
                </a:lnTo>
                <a:lnTo>
                  <a:pt x="74" y="22"/>
                </a:lnTo>
                <a:lnTo>
                  <a:pt x="74" y="21"/>
                </a:lnTo>
                <a:lnTo>
                  <a:pt x="70" y="21"/>
                </a:lnTo>
                <a:lnTo>
                  <a:pt x="69" y="22"/>
                </a:lnTo>
                <a:lnTo>
                  <a:pt x="62" y="22"/>
                </a:lnTo>
                <a:lnTo>
                  <a:pt x="58" y="22"/>
                </a:lnTo>
                <a:lnTo>
                  <a:pt x="59" y="22"/>
                </a:lnTo>
                <a:lnTo>
                  <a:pt x="54" y="22"/>
                </a:lnTo>
                <a:lnTo>
                  <a:pt x="50" y="22"/>
                </a:lnTo>
                <a:lnTo>
                  <a:pt x="45" y="22"/>
                </a:lnTo>
                <a:lnTo>
                  <a:pt x="41" y="21"/>
                </a:lnTo>
                <a:lnTo>
                  <a:pt x="38" y="21"/>
                </a:lnTo>
                <a:lnTo>
                  <a:pt x="37" y="21"/>
                </a:lnTo>
                <a:lnTo>
                  <a:pt x="34" y="21"/>
                </a:lnTo>
                <a:lnTo>
                  <a:pt x="33" y="21"/>
                </a:lnTo>
                <a:lnTo>
                  <a:pt x="27" y="19"/>
                </a:lnTo>
                <a:lnTo>
                  <a:pt x="23" y="19"/>
                </a:lnTo>
                <a:lnTo>
                  <a:pt x="25" y="19"/>
                </a:lnTo>
                <a:lnTo>
                  <a:pt x="23" y="19"/>
                </a:lnTo>
                <a:lnTo>
                  <a:pt x="22" y="19"/>
                </a:lnTo>
                <a:lnTo>
                  <a:pt x="21" y="17"/>
                </a:lnTo>
                <a:lnTo>
                  <a:pt x="25" y="17"/>
                </a:lnTo>
                <a:lnTo>
                  <a:pt x="25" y="14"/>
                </a:lnTo>
                <a:lnTo>
                  <a:pt x="26" y="14"/>
                </a:lnTo>
                <a:lnTo>
                  <a:pt x="25" y="14"/>
                </a:lnTo>
                <a:lnTo>
                  <a:pt x="30" y="14"/>
                </a:lnTo>
                <a:lnTo>
                  <a:pt x="31" y="13"/>
                </a:lnTo>
                <a:lnTo>
                  <a:pt x="29" y="13"/>
                </a:lnTo>
                <a:lnTo>
                  <a:pt x="34" y="13"/>
                </a:lnTo>
                <a:lnTo>
                  <a:pt x="37" y="11"/>
                </a:lnTo>
                <a:lnTo>
                  <a:pt x="38" y="13"/>
                </a:lnTo>
                <a:lnTo>
                  <a:pt x="41" y="13"/>
                </a:lnTo>
                <a:lnTo>
                  <a:pt x="41" y="11"/>
                </a:lnTo>
                <a:lnTo>
                  <a:pt x="43" y="13"/>
                </a:lnTo>
                <a:lnTo>
                  <a:pt x="42" y="11"/>
                </a:lnTo>
                <a:lnTo>
                  <a:pt x="43" y="10"/>
                </a:lnTo>
                <a:lnTo>
                  <a:pt x="43" y="8"/>
                </a:lnTo>
                <a:lnTo>
                  <a:pt x="41" y="10"/>
                </a:lnTo>
                <a:lnTo>
                  <a:pt x="41" y="8"/>
                </a:lnTo>
                <a:lnTo>
                  <a:pt x="39" y="6"/>
                </a:lnTo>
                <a:lnTo>
                  <a:pt x="37" y="5"/>
                </a:lnTo>
                <a:lnTo>
                  <a:pt x="31" y="3"/>
                </a:lnTo>
                <a:lnTo>
                  <a:pt x="31" y="2"/>
                </a:lnTo>
                <a:lnTo>
                  <a:pt x="29" y="3"/>
                </a:lnTo>
                <a:lnTo>
                  <a:pt x="29" y="2"/>
                </a:lnTo>
                <a:lnTo>
                  <a:pt x="23" y="0"/>
                </a:lnTo>
                <a:lnTo>
                  <a:pt x="26" y="0"/>
                </a:lnTo>
                <a:lnTo>
                  <a:pt x="18" y="0"/>
                </a:lnTo>
                <a:lnTo>
                  <a:pt x="15" y="0"/>
                </a:lnTo>
                <a:lnTo>
                  <a:pt x="13" y="0"/>
                </a:lnTo>
                <a:lnTo>
                  <a:pt x="10" y="0"/>
                </a:lnTo>
                <a:lnTo>
                  <a:pt x="14" y="2"/>
                </a:lnTo>
                <a:lnTo>
                  <a:pt x="14" y="3"/>
                </a:lnTo>
                <a:lnTo>
                  <a:pt x="11" y="2"/>
                </a:lnTo>
                <a:lnTo>
                  <a:pt x="7" y="2"/>
                </a:lnTo>
                <a:lnTo>
                  <a:pt x="0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70" name="Freeform 770"/>
          <p:cNvSpPr>
            <a:spLocks/>
          </p:cNvSpPr>
          <p:nvPr/>
        </p:nvSpPr>
        <p:spPr bwMode="auto">
          <a:xfrm>
            <a:off x="1804079" y="1855183"/>
            <a:ext cx="508640" cy="70872"/>
          </a:xfrm>
          <a:custGeom>
            <a:avLst/>
            <a:gdLst/>
            <a:ahLst/>
            <a:cxnLst>
              <a:cxn ang="0">
                <a:pos x="260" y="28"/>
              </a:cxn>
              <a:cxn ang="0">
                <a:pos x="242" y="25"/>
              </a:cxn>
              <a:cxn ang="0">
                <a:pos x="230" y="22"/>
              </a:cxn>
              <a:cxn ang="0">
                <a:pos x="212" y="20"/>
              </a:cxn>
              <a:cxn ang="0">
                <a:pos x="187" y="14"/>
              </a:cxn>
              <a:cxn ang="0">
                <a:pos x="179" y="12"/>
              </a:cxn>
              <a:cxn ang="0">
                <a:pos x="171" y="17"/>
              </a:cxn>
              <a:cxn ang="0">
                <a:pos x="166" y="22"/>
              </a:cxn>
              <a:cxn ang="0">
                <a:pos x="151" y="22"/>
              </a:cxn>
              <a:cxn ang="0">
                <a:pos x="154" y="19"/>
              </a:cxn>
              <a:cxn ang="0">
                <a:pos x="153" y="14"/>
              </a:cxn>
              <a:cxn ang="0">
                <a:pos x="153" y="8"/>
              </a:cxn>
              <a:cxn ang="0">
                <a:pos x="150" y="9"/>
              </a:cxn>
              <a:cxn ang="0">
                <a:pos x="145" y="9"/>
              </a:cxn>
              <a:cxn ang="0">
                <a:pos x="143" y="11"/>
              </a:cxn>
              <a:cxn ang="0">
                <a:pos x="146" y="11"/>
              </a:cxn>
              <a:cxn ang="0">
                <a:pos x="143" y="14"/>
              </a:cxn>
              <a:cxn ang="0">
                <a:pos x="141" y="19"/>
              </a:cxn>
              <a:cxn ang="0">
                <a:pos x="134" y="20"/>
              </a:cxn>
              <a:cxn ang="0">
                <a:pos x="138" y="20"/>
              </a:cxn>
              <a:cxn ang="0">
                <a:pos x="125" y="19"/>
              </a:cxn>
              <a:cxn ang="0">
                <a:pos x="114" y="11"/>
              </a:cxn>
              <a:cxn ang="0">
                <a:pos x="102" y="1"/>
              </a:cxn>
              <a:cxn ang="0">
                <a:pos x="95" y="3"/>
              </a:cxn>
              <a:cxn ang="0">
                <a:pos x="98" y="5"/>
              </a:cxn>
              <a:cxn ang="0">
                <a:pos x="95" y="8"/>
              </a:cxn>
              <a:cxn ang="0">
                <a:pos x="90" y="12"/>
              </a:cxn>
              <a:cxn ang="0">
                <a:pos x="83" y="12"/>
              </a:cxn>
              <a:cxn ang="0">
                <a:pos x="73" y="14"/>
              </a:cxn>
              <a:cxn ang="0">
                <a:pos x="63" y="17"/>
              </a:cxn>
              <a:cxn ang="0">
                <a:pos x="54" y="20"/>
              </a:cxn>
              <a:cxn ang="0">
                <a:pos x="47" y="20"/>
              </a:cxn>
              <a:cxn ang="0">
                <a:pos x="42" y="20"/>
              </a:cxn>
              <a:cxn ang="0">
                <a:pos x="29" y="25"/>
              </a:cxn>
              <a:cxn ang="0">
                <a:pos x="28" y="23"/>
              </a:cxn>
              <a:cxn ang="0">
                <a:pos x="32" y="22"/>
              </a:cxn>
              <a:cxn ang="0">
                <a:pos x="37" y="20"/>
              </a:cxn>
              <a:cxn ang="0">
                <a:pos x="54" y="17"/>
              </a:cxn>
              <a:cxn ang="0">
                <a:pos x="74" y="9"/>
              </a:cxn>
              <a:cxn ang="0">
                <a:pos x="71" y="6"/>
              </a:cxn>
              <a:cxn ang="0">
                <a:pos x="65" y="8"/>
              </a:cxn>
              <a:cxn ang="0">
                <a:pos x="54" y="9"/>
              </a:cxn>
              <a:cxn ang="0">
                <a:pos x="46" y="12"/>
              </a:cxn>
              <a:cxn ang="0">
                <a:pos x="33" y="16"/>
              </a:cxn>
              <a:cxn ang="0">
                <a:pos x="28" y="16"/>
              </a:cxn>
              <a:cxn ang="0">
                <a:pos x="22" y="20"/>
              </a:cxn>
              <a:cxn ang="0">
                <a:pos x="10" y="22"/>
              </a:cxn>
              <a:cxn ang="0">
                <a:pos x="0" y="27"/>
              </a:cxn>
              <a:cxn ang="0">
                <a:pos x="8" y="34"/>
              </a:cxn>
            </a:cxnLst>
            <a:rect l="0" t="0" r="r" b="b"/>
            <a:pathLst>
              <a:path w="266" h="36">
                <a:moveTo>
                  <a:pt x="266" y="28"/>
                </a:moveTo>
                <a:lnTo>
                  <a:pt x="266" y="30"/>
                </a:lnTo>
                <a:lnTo>
                  <a:pt x="263" y="28"/>
                </a:lnTo>
                <a:lnTo>
                  <a:pt x="260" y="28"/>
                </a:lnTo>
                <a:lnTo>
                  <a:pt x="255" y="28"/>
                </a:lnTo>
                <a:lnTo>
                  <a:pt x="248" y="27"/>
                </a:lnTo>
                <a:lnTo>
                  <a:pt x="244" y="27"/>
                </a:lnTo>
                <a:lnTo>
                  <a:pt x="242" y="25"/>
                </a:lnTo>
                <a:lnTo>
                  <a:pt x="239" y="23"/>
                </a:lnTo>
                <a:lnTo>
                  <a:pt x="238" y="23"/>
                </a:lnTo>
                <a:lnTo>
                  <a:pt x="235" y="23"/>
                </a:lnTo>
                <a:lnTo>
                  <a:pt x="230" y="22"/>
                </a:lnTo>
                <a:lnTo>
                  <a:pt x="226" y="22"/>
                </a:lnTo>
                <a:lnTo>
                  <a:pt x="223" y="22"/>
                </a:lnTo>
                <a:lnTo>
                  <a:pt x="218" y="20"/>
                </a:lnTo>
                <a:lnTo>
                  <a:pt x="212" y="20"/>
                </a:lnTo>
                <a:lnTo>
                  <a:pt x="207" y="17"/>
                </a:lnTo>
                <a:lnTo>
                  <a:pt x="199" y="14"/>
                </a:lnTo>
                <a:lnTo>
                  <a:pt x="192" y="14"/>
                </a:lnTo>
                <a:lnTo>
                  <a:pt x="187" y="14"/>
                </a:lnTo>
                <a:lnTo>
                  <a:pt x="187" y="12"/>
                </a:lnTo>
                <a:lnTo>
                  <a:pt x="184" y="12"/>
                </a:lnTo>
                <a:lnTo>
                  <a:pt x="183" y="12"/>
                </a:lnTo>
                <a:lnTo>
                  <a:pt x="179" y="12"/>
                </a:lnTo>
                <a:lnTo>
                  <a:pt x="175" y="14"/>
                </a:lnTo>
                <a:lnTo>
                  <a:pt x="174" y="14"/>
                </a:lnTo>
                <a:lnTo>
                  <a:pt x="172" y="16"/>
                </a:lnTo>
                <a:lnTo>
                  <a:pt x="171" y="17"/>
                </a:lnTo>
                <a:lnTo>
                  <a:pt x="171" y="19"/>
                </a:lnTo>
                <a:lnTo>
                  <a:pt x="168" y="19"/>
                </a:lnTo>
                <a:lnTo>
                  <a:pt x="167" y="20"/>
                </a:lnTo>
                <a:lnTo>
                  <a:pt x="166" y="22"/>
                </a:lnTo>
                <a:lnTo>
                  <a:pt x="160" y="20"/>
                </a:lnTo>
                <a:lnTo>
                  <a:pt x="159" y="20"/>
                </a:lnTo>
                <a:lnTo>
                  <a:pt x="158" y="22"/>
                </a:lnTo>
                <a:lnTo>
                  <a:pt x="151" y="22"/>
                </a:lnTo>
                <a:lnTo>
                  <a:pt x="151" y="20"/>
                </a:lnTo>
                <a:lnTo>
                  <a:pt x="153" y="19"/>
                </a:lnTo>
                <a:lnTo>
                  <a:pt x="153" y="20"/>
                </a:lnTo>
                <a:lnTo>
                  <a:pt x="154" y="19"/>
                </a:lnTo>
                <a:lnTo>
                  <a:pt x="159" y="16"/>
                </a:lnTo>
                <a:lnTo>
                  <a:pt x="157" y="14"/>
                </a:lnTo>
                <a:lnTo>
                  <a:pt x="154" y="16"/>
                </a:lnTo>
                <a:lnTo>
                  <a:pt x="153" y="14"/>
                </a:lnTo>
                <a:lnTo>
                  <a:pt x="153" y="12"/>
                </a:lnTo>
                <a:lnTo>
                  <a:pt x="154" y="11"/>
                </a:lnTo>
                <a:lnTo>
                  <a:pt x="154" y="9"/>
                </a:lnTo>
                <a:lnTo>
                  <a:pt x="153" y="8"/>
                </a:lnTo>
                <a:lnTo>
                  <a:pt x="149" y="8"/>
                </a:lnTo>
                <a:lnTo>
                  <a:pt x="150" y="8"/>
                </a:lnTo>
                <a:lnTo>
                  <a:pt x="153" y="9"/>
                </a:lnTo>
                <a:lnTo>
                  <a:pt x="150" y="9"/>
                </a:lnTo>
                <a:lnTo>
                  <a:pt x="150" y="11"/>
                </a:lnTo>
                <a:lnTo>
                  <a:pt x="149" y="9"/>
                </a:lnTo>
                <a:lnTo>
                  <a:pt x="147" y="9"/>
                </a:lnTo>
                <a:lnTo>
                  <a:pt x="145" y="9"/>
                </a:lnTo>
                <a:lnTo>
                  <a:pt x="143" y="9"/>
                </a:lnTo>
                <a:lnTo>
                  <a:pt x="142" y="9"/>
                </a:lnTo>
                <a:lnTo>
                  <a:pt x="142" y="11"/>
                </a:lnTo>
                <a:lnTo>
                  <a:pt x="143" y="11"/>
                </a:lnTo>
                <a:lnTo>
                  <a:pt x="145" y="11"/>
                </a:lnTo>
                <a:lnTo>
                  <a:pt x="146" y="9"/>
                </a:lnTo>
                <a:lnTo>
                  <a:pt x="147" y="9"/>
                </a:lnTo>
                <a:lnTo>
                  <a:pt x="146" y="11"/>
                </a:lnTo>
                <a:lnTo>
                  <a:pt x="142" y="14"/>
                </a:lnTo>
                <a:lnTo>
                  <a:pt x="141" y="12"/>
                </a:lnTo>
                <a:lnTo>
                  <a:pt x="141" y="14"/>
                </a:lnTo>
                <a:lnTo>
                  <a:pt x="143" y="14"/>
                </a:lnTo>
                <a:lnTo>
                  <a:pt x="143" y="16"/>
                </a:lnTo>
                <a:lnTo>
                  <a:pt x="139" y="16"/>
                </a:lnTo>
                <a:lnTo>
                  <a:pt x="138" y="16"/>
                </a:lnTo>
                <a:lnTo>
                  <a:pt x="141" y="19"/>
                </a:lnTo>
                <a:lnTo>
                  <a:pt x="142" y="19"/>
                </a:lnTo>
                <a:lnTo>
                  <a:pt x="139" y="19"/>
                </a:lnTo>
                <a:lnTo>
                  <a:pt x="135" y="19"/>
                </a:lnTo>
                <a:lnTo>
                  <a:pt x="134" y="20"/>
                </a:lnTo>
                <a:lnTo>
                  <a:pt x="139" y="19"/>
                </a:lnTo>
                <a:lnTo>
                  <a:pt x="142" y="20"/>
                </a:lnTo>
                <a:lnTo>
                  <a:pt x="139" y="20"/>
                </a:lnTo>
                <a:lnTo>
                  <a:pt x="138" y="20"/>
                </a:lnTo>
                <a:lnTo>
                  <a:pt x="138" y="22"/>
                </a:lnTo>
                <a:lnTo>
                  <a:pt x="131" y="20"/>
                </a:lnTo>
                <a:lnTo>
                  <a:pt x="129" y="20"/>
                </a:lnTo>
                <a:lnTo>
                  <a:pt x="125" y="19"/>
                </a:lnTo>
                <a:lnTo>
                  <a:pt x="122" y="17"/>
                </a:lnTo>
                <a:lnTo>
                  <a:pt x="119" y="17"/>
                </a:lnTo>
                <a:lnTo>
                  <a:pt x="118" y="16"/>
                </a:lnTo>
                <a:lnTo>
                  <a:pt x="114" y="11"/>
                </a:lnTo>
                <a:lnTo>
                  <a:pt x="113" y="9"/>
                </a:lnTo>
                <a:lnTo>
                  <a:pt x="111" y="6"/>
                </a:lnTo>
                <a:lnTo>
                  <a:pt x="110" y="5"/>
                </a:lnTo>
                <a:lnTo>
                  <a:pt x="102" y="1"/>
                </a:lnTo>
                <a:lnTo>
                  <a:pt x="98" y="0"/>
                </a:lnTo>
                <a:lnTo>
                  <a:pt x="97" y="1"/>
                </a:lnTo>
                <a:lnTo>
                  <a:pt x="95" y="1"/>
                </a:lnTo>
                <a:lnTo>
                  <a:pt x="95" y="3"/>
                </a:lnTo>
                <a:lnTo>
                  <a:pt x="98" y="3"/>
                </a:lnTo>
                <a:lnTo>
                  <a:pt x="99" y="3"/>
                </a:lnTo>
                <a:lnTo>
                  <a:pt x="99" y="5"/>
                </a:lnTo>
                <a:lnTo>
                  <a:pt x="98" y="5"/>
                </a:lnTo>
                <a:lnTo>
                  <a:pt x="101" y="5"/>
                </a:lnTo>
                <a:lnTo>
                  <a:pt x="105" y="6"/>
                </a:lnTo>
                <a:lnTo>
                  <a:pt x="102" y="6"/>
                </a:lnTo>
                <a:lnTo>
                  <a:pt x="95" y="8"/>
                </a:lnTo>
                <a:lnTo>
                  <a:pt x="94" y="8"/>
                </a:lnTo>
                <a:lnTo>
                  <a:pt x="95" y="9"/>
                </a:lnTo>
                <a:lnTo>
                  <a:pt x="94" y="11"/>
                </a:lnTo>
                <a:lnTo>
                  <a:pt x="90" y="12"/>
                </a:lnTo>
                <a:lnTo>
                  <a:pt x="89" y="14"/>
                </a:lnTo>
                <a:lnTo>
                  <a:pt x="82" y="16"/>
                </a:lnTo>
                <a:lnTo>
                  <a:pt x="82" y="14"/>
                </a:lnTo>
                <a:lnTo>
                  <a:pt x="83" y="12"/>
                </a:lnTo>
                <a:lnTo>
                  <a:pt x="85" y="12"/>
                </a:lnTo>
                <a:lnTo>
                  <a:pt x="86" y="11"/>
                </a:lnTo>
                <a:lnTo>
                  <a:pt x="81" y="12"/>
                </a:lnTo>
                <a:lnTo>
                  <a:pt x="73" y="14"/>
                </a:lnTo>
                <a:lnTo>
                  <a:pt x="70" y="14"/>
                </a:lnTo>
                <a:lnTo>
                  <a:pt x="67" y="16"/>
                </a:lnTo>
                <a:lnTo>
                  <a:pt x="63" y="16"/>
                </a:lnTo>
                <a:lnTo>
                  <a:pt x="63" y="17"/>
                </a:lnTo>
                <a:lnTo>
                  <a:pt x="58" y="20"/>
                </a:lnTo>
                <a:lnTo>
                  <a:pt x="53" y="23"/>
                </a:lnTo>
                <a:lnTo>
                  <a:pt x="54" y="22"/>
                </a:lnTo>
                <a:lnTo>
                  <a:pt x="54" y="20"/>
                </a:lnTo>
                <a:lnTo>
                  <a:pt x="53" y="19"/>
                </a:lnTo>
                <a:lnTo>
                  <a:pt x="50" y="19"/>
                </a:lnTo>
                <a:lnTo>
                  <a:pt x="47" y="22"/>
                </a:lnTo>
                <a:lnTo>
                  <a:pt x="47" y="20"/>
                </a:lnTo>
                <a:lnTo>
                  <a:pt x="45" y="22"/>
                </a:lnTo>
                <a:lnTo>
                  <a:pt x="46" y="20"/>
                </a:lnTo>
                <a:lnTo>
                  <a:pt x="45" y="20"/>
                </a:lnTo>
                <a:lnTo>
                  <a:pt x="42" y="20"/>
                </a:lnTo>
                <a:lnTo>
                  <a:pt x="41" y="20"/>
                </a:lnTo>
                <a:lnTo>
                  <a:pt x="42" y="22"/>
                </a:lnTo>
                <a:lnTo>
                  <a:pt x="37" y="25"/>
                </a:lnTo>
                <a:lnTo>
                  <a:pt x="29" y="25"/>
                </a:lnTo>
                <a:lnTo>
                  <a:pt x="26" y="27"/>
                </a:lnTo>
                <a:lnTo>
                  <a:pt x="25" y="27"/>
                </a:lnTo>
                <a:lnTo>
                  <a:pt x="25" y="25"/>
                </a:lnTo>
                <a:lnTo>
                  <a:pt x="28" y="23"/>
                </a:lnTo>
                <a:lnTo>
                  <a:pt x="29" y="23"/>
                </a:lnTo>
                <a:lnTo>
                  <a:pt x="30" y="25"/>
                </a:lnTo>
                <a:lnTo>
                  <a:pt x="30" y="23"/>
                </a:lnTo>
                <a:lnTo>
                  <a:pt x="32" y="22"/>
                </a:lnTo>
                <a:lnTo>
                  <a:pt x="33" y="23"/>
                </a:lnTo>
                <a:lnTo>
                  <a:pt x="34" y="22"/>
                </a:lnTo>
                <a:lnTo>
                  <a:pt x="38" y="20"/>
                </a:lnTo>
                <a:lnTo>
                  <a:pt x="37" y="20"/>
                </a:lnTo>
                <a:lnTo>
                  <a:pt x="38" y="19"/>
                </a:lnTo>
                <a:lnTo>
                  <a:pt x="41" y="19"/>
                </a:lnTo>
                <a:lnTo>
                  <a:pt x="50" y="17"/>
                </a:lnTo>
                <a:lnTo>
                  <a:pt x="54" y="17"/>
                </a:lnTo>
                <a:lnTo>
                  <a:pt x="58" y="16"/>
                </a:lnTo>
                <a:lnTo>
                  <a:pt x="61" y="14"/>
                </a:lnTo>
                <a:lnTo>
                  <a:pt x="63" y="12"/>
                </a:lnTo>
                <a:lnTo>
                  <a:pt x="74" y="9"/>
                </a:lnTo>
                <a:lnTo>
                  <a:pt x="77" y="9"/>
                </a:lnTo>
                <a:lnTo>
                  <a:pt x="77" y="8"/>
                </a:lnTo>
                <a:lnTo>
                  <a:pt x="74" y="6"/>
                </a:lnTo>
                <a:lnTo>
                  <a:pt x="71" y="6"/>
                </a:lnTo>
                <a:lnTo>
                  <a:pt x="70" y="8"/>
                </a:lnTo>
                <a:lnTo>
                  <a:pt x="67" y="8"/>
                </a:lnTo>
                <a:lnTo>
                  <a:pt x="66" y="8"/>
                </a:lnTo>
                <a:lnTo>
                  <a:pt x="65" y="8"/>
                </a:lnTo>
                <a:lnTo>
                  <a:pt x="61" y="6"/>
                </a:lnTo>
                <a:lnTo>
                  <a:pt x="59" y="8"/>
                </a:lnTo>
                <a:lnTo>
                  <a:pt x="55" y="8"/>
                </a:lnTo>
                <a:lnTo>
                  <a:pt x="54" y="9"/>
                </a:lnTo>
                <a:lnTo>
                  <a:pt x="54" y="11"/>
                </a:lnTo>
                <a:lnTo>
                  <a:pt x="53" y="11"/>
                </a:lnTo>
                <a:lnTo>
                  <a:pt x="47" y="11"/>
                </a:lnTo>
                <a:lnTo>
                  <a:pt x="46" y="12"/>
                </a:lnTo>
                <a:lnTo>
                  <a:pt x="41" y="14"/>
                </a:lnTo>
                <a:lnTo>
                  <a:pt x="38" y="14"/>
                </a:lnTo>
                <a:lnTo>
                  <a:pt x="37" y="16"/>
                </a:lnTo>
                <a:lnTo>
                  <a:pt x="33" y="16"/>
                </a:lnTo>
                <a:lnTo>
                  <a:pt x="33" y="14"/>
                </a:lnTo>
                <a:lnTo>
                  <a:pt x="30" y="14"/>
                </a:lnTo>
                <a:lnTo>
                  <a:pt x="29" y="16"/>
                </a:lnTo>
                <a:lnTo>
                  <a:pt x="28" y="16"/>
                </a:lnTo>
                <a:lnTo>
                  <a:pt x="26" y="16"/>
                </a:lnTo>
                <a:lnTo>
                  <a:pt x="25" y="17"/>
                </a:lnTo>
                <a:lnTo>
                  <a:pt x="24" y="19"/>
                </a:lnTo>
                <a:lnTo>
                  <a:pt x="22" y="20"/>
                </a:lnTo>
                <a:lnTo>
                  <a:pt x="20" y="20"/>
                </a:lnTo>
                <a:lnTo>
                  <a:pt x="13" y="20"/>
                </a:lnTo>
                <a:lnTo>
                  <a:pt x="13" y="22"/>
                </a:lnTo>
                <a:lnTo>
                  <a:pt x="10" y="22"/>
                </a:lnTo>
                <a:lnTo>
                  <a:pt x="9" y="23"/>
                </a:lnTo>
                <a:lnTo>
                  <a:pt x="5" y="23"/>
                </a:lnTo>
                <a:lnTo>
                  <a:pt x="2" y="25"/>
                </a:lnTo>
                <a:lnTo>
                  <a:pt x="0" y="27"/>
                </a:lnTo>
                <a:lnTo>
                  <a:pt x="1" y="28"/>
                </a:lnTo>
                <a:lnTo>
                  <a:pt x="5" y="31"/>
                </a:lnTo>
                <a:lnTo>
                  <a:pt x="6" y="33"/>
                </a:lnTo>
                <a:lnTo>
                  <a:pt x="8" y="34"/>
                </a:lnTo>
                <a:lnTo>
                  <a:pt x="6" y="36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71" name="Freeform 771"/>
          <p:cNvSpPr>
            <a:spLocks/>
          </p:cNvSpPr>
          <p:nvPr/>
        </p:nvSpPr>
        <p:spPr bwMode="auto">
          <a:xfrm>
            <a:off x="3431339" y="2772211"/>
            <a:ext cx="62363" cy="32213"/>
          </a:xfrm>
          <a:custGeom>
            <a:avLst/>
            <a:gdLst/>
            <a:ahLst/>
            <a:cxnLst>
              <a:cxn ang="0">
                <a:pos x="0" y="17"/>
              </a:cxn>
              <a:cxn ang="0">
                <a:pos x="7" y="17"/>
              </a:cxn>
              <a:cxn ang="0">
                <a:pos x="12" y="15"/>
              </a:cxn>
              <a:cxn ang="0">
                <a:pos x="17" y="14"/>
              </a:cxn>
              <a:cxn ang="0">
                <a:pos x="19" y="11"/>
              </a:cxn>
              <a:cxn ang="0">
                <a:pos x="21" y="7"/>
              </a:cxn>
              <a:cxn ang="0">
                <a:pos x="27" y="6"/>
              </a:cxn>
              <a:cxn ang="0">
                <a:pos x="29" y="4"/>
              </a:cxn>
              <a:cxn ang="0">
                <a:pos x="32" y="3"/>
              </a:cxn>
              <a:cxn ang="0">
                <a:pos x="33" y="0"/>
              </a:cxn>
            </a:cxnLst>
            <a:rect l="0" t="0" r="r" b="b"/>
            <a:pathLst>
              <a:path w="33" h="17">
                <a:moveTo>
                  <a:pt x="0" y="17"/>
                </a:moveTo>
                <a:lnTo>
                  <a:pt x="7" y="17"/>
                </a:lnTo>
                <a:lnTo>
                  <a:pt x="12" y="15"/>
                </a:lnTo>
                <a:lnTo>
                  <a:pt x="17" y="14"/>
                </a:lnTo>
                <a:lnTo>
                  <a:pt x="19" y="11"/>
                </a:lnTo>
                <a:lnTo>
                  <a:pt x="21" y="7"/>
                </a:lnTo>
                <a:lnTo>
                  <a:pt x="27" y="6"/>
                </a:lnTo>
                <a:lnTo>
                  <a:pt x="29" y="4"/>
                </a:lnTo>
                <a:lnTo>
                  <a:pt x="32" y="3"/>
                </a:lnTo>
                <a:lnTo>
                  <a:pt x="33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72" name="Freeform 778"/>
          <p:cNvSpPr>
            <a:spLocks/>
          </p:cNvSpPr>
          <p:nvPr/>
        </p:nvSpPr>
        <p:spPr bwMode="auto">
          <a:xfrm>
            <a:off x="5058599" y="1447137"/>
            <a:ext cx="38977" cy="10739"/>
          </a:xfrm>
          <a:custGeom>
            <a:avLst/>
            <a:gdLst/>
            <a:ahLst/>
            <a:cxnLst>
              <a:cxn ang="0">
                <a:pos x="3" y="0"/>
              </a:cxn>
              <a:cxn ang="0">
                <a:pos x="6" y="0"/>
              </a:cxn>
              <a:cxn ang="0">
                <a:pos x="8" y="0"/>
              </a:cxn>
              <a:cxn ang="0">
                <a:pos x="12" y="2"/>
              </a:cxn>
              <a:cxn ang="0">
                <a:pos x="16" y="3"/>
              </a:cxn>
              <a:cxn ang="0">
                <a:pos x="18" y="3"/>
              </a:cxn>
              <a:cxn ang="0">
                <a:pos x="20" y="5"/>
              </a:cxn>
              <a:cxn ang="0">
                <a:pos x="12" y="5"/>
              </a:cxn>
              <a:cxn ang="0">
                <a:pos x="6" y="3"/>
              </a:cxn>
              <a:cxn ang="0">
                <a:pos x="2" y="2"/>
              </a:cxn>
              <a:cxn ang="0">
                <a:pos x="0" y="2"/>
              </a:cxn>
              <a:cxn ang="0">
                <a:pos x="0" y="0"/>
              </a:cxn>
              <a:cxn ang="0">
                <a:pos x="3" y="0"/>
              </a:cxn>
            </a:cxnLst>
            <a:rect l="0" t="0" r="r" b="b"/>
            <a:pathLst>
              <a:path w="20" h="5">
                <a:moveTo>
                  <a:pt x="3" y="0"/>
                </a:moveTo>
                <a:lnTo>
                  <a:pt x="6" y="0"/>
                </a:lnTo>
                <a:lnTo>
                  <a:pt x="8" y="0"/>
                </a:lnTo>
                <a:lnTo>
                  <a:pt x="12" y="2"/>
                </a:lnTo>
                <a:lnTo>
                  <a:pt x="16" y="3"/>
                </a:lnTo>
                <a:lnTo>
                  <a:pt x="18" y="3"/>
                </a:lnTo>
                <a:lnTo>
                  <a:pt x="20" y="5"/>
                </a:lnTo>
                <a:lnTo>
                  <a:pt x="12" y="5"/>
                </a:lnTo>
                <a:lnTo>
                  <a:pt x="6" y="3"/>
                </a:lnTo>
                <a:lnTo>
                  <a:pt x="2" y="2"/>
                </a:lnTo>
                <a:lnTo>
                  <a:pt x="0" y="2"/>
                </a:lnTo>
                <a:lnTo>
                  <a:pt x="0" y="0"/>
                </a:lnTo>
                <a:lnTo>
                  <a:pt x="3" y="0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73" name="Freeform 779"/>
          <p:cNvSpPr>
            <a:spLocks/>
          </p:cNvSpPr>
          <p:nvPr/>
        </p:nvSpPr>
        <p:spPr bwMode="auto">
          <a:xfrm>
            <a:off x="5058599" y="1447137"/>
            <a:ext cx="38977" cy="10739"/>
          </a:xfrm>
          <a:custGeom>
            <a:avLst/>
            <a:gdLst/>
            <a:ahLst/>
            <a:cxnLst>
              <a:cxn ang="0">
                <a:pos x="3" y="0"/>
              </a:cxn>
              <a:cxn ang="0">
                <a:pos x="6" y="0"/>
              </a:cxn>
              <a:cxn ang="0">
                <a:pos x="8" y="0"/>
              </a:cxn>
              <a:cxn ang="0">
                <a:pos x="12" y="2"/>
              </a:cxn>
              <a:cxn ang="0">
                <a:pos x="16" y="3"/>
              </a:cxn>
              <a:cxn ang="0">
                <a:pos x="18" y="3"/>
              </a:cxn>
              <a:cxn ang="0">
                <a:pos x="20" y="5"/>
              </a:cxn>
              <a:cxn ang="0">
                <a:pos x="12" y="5"/>
              </a:cxn>
              <a:cxn ang="0">
                <a:pos x="6" y="3"/>
              </a:cxn>
              <a:cxn ang="0">
                <a:pos x="2" y="2"/>
              </a:cxn>
              <a:cxn ang="0">
                <a:pos x="0" y="2"/>
              </a:cxn>
              <a:cxn ang="0">
                <a:pos x="0" y="0"/>
              </a:cxn>
              <a:cxn ang="0">
                <a:pos x="3" y="0"/>
              </a:cxn>
            </a:cxnLst>
            <a:rect l="0" t="0" r="r" b="b"/>
            <a:pathLst>
              <a:path w="20" h="5">
                <a:moveTo>
                  <a:pt x="3" y="0"/>
                </a:moveTo>
                <a:lnTo>
                  <a:pt x="6" y="0"/>
                </a:lnTo>
                <a:lnTo>
                  <a:pt x="8" y="0"/>
                </a:lnTo>
                <a:lnTo>
                  <a:pt x="12" y="2"/>
                </a:lnTo>
                <a:lnTo>
                  <a:pt x="16" y="3"/>
                </a:lnTo>
                <a:lnTo>
                  <a:pt x="18" y="3"/>
                </a:lnTo>
                <a:lnTo>
                  <a:pt x="20" y="5"/>
                </a:lnTo>
                <a:lnTo>
                  <a:pt x="12" y="5"/>
                </a:lnTo>
                <a:lnTo>
                  <a:pt x="6" y="3"/>
                </a:lnTo>
                <a:lnTo>
                  <a:pt x="2" y="2"/>
                </a:lnTo>
                <a:lnTo>
                  <a:pt x="0" y="2"/>
                </a:lnTo>
                <a:lnTo>
                  <a:pt x="0" y="0"/>
                </a:lnTo>
                <a:lnTo>
                  <a:pt x="3" y="0"/>
                </a:lnTo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74" name="Freeform 780"/>
          <p:cNvSpPr>
            <a:spLocks/>
          </p:cNvSpPr>
          <p:nvPr/>
        </p:nvSpPr>
        <p:spPr bwMode="auto">
          <a:xfrm>
            <a:off x="5113167" y="1460022"/>
            <a:ext cx="25333" cy="214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" y="0"/>
              </a:cxn>
              <a:cxn ang="0">
                <a:pos x="7" y="0"/>
              </a:cxn>
              <a:cxn ang="0">
                <a:pos x="12" y="2"/>
              </a:cxn>
              <a:cxn ang="0">
                <a:pos x="13" y="2"/>
              </a:cxn>
              <a:cxn ang="0">
                <a:pos x="11" y="2"/>
              </a:cxn>
              <a:cxn ang="0">
                <a:pos x="0" y="0"/>
              </a:cxn>
            </a:cxnLst>
            <a:rect l="0" t="0" r="r" b="b"/>
            <a:pathLst>
              <a:path w="13" h="2">
                <a:moveTo>
                  <a:pt x="0" y="0"/>
                </a:moveTo>
                <a:lnTo>
                  <a:pt x="3" y="0"/>
                </a:lnTo>
                <a:lnTo>
                  <a:pt x="7" y="0"/>
                </a:lnTo>
                <a:lnTo>
                  <a:pt x="12" y="2"/>
                </a:lnTo>
                <a:lnTo>
                  <a:pt x="13" y="2"/>
                </a:lnTo>
                <a:lnTo>
                  <a:pt x="11" y="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75" name="Freeform 781"/>
          <p:cNvSpPr>
            <a:spLocks/>
          </p:cNvSpPr>
          <p:nvPr/>
        </p:nvSpPr>
        <p:spPr bwMode="auto">
          <a:xfrm>
            <a:off x="5113167" y="1460022"/>
            <a:ext cx="25333" cy="214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" y="0"/>
              </a:cxn>
              <a:cxn ang="0">
                <a:pos x="7" y="0"/>
              </a:cxn>
              <a:cxn ang="0">
                <a:pos x="12" y="2"/>
              </a:cxn>
              <a:cxn ang="0">
                <a:pos x="13" y="2"/>
              </a:cxn>
              <a:cxn ang="0">
                <a:pos x="11" y="2"/>
              </a:cxn>
              <a:cxn ang="0">
                <a:pos x="0" y="0"/>
              </a:cxn>
            </a:cxnLst>
            <a:rect l="0" t="0" r="r" b="b"/>
            <a:pathLst>
              <a:path w="13" h="2">
                <a:moveTo>
                  <a:pt x="0" y="0"/>
                </a:moveTo>
                <a:lnTo>
                  <a:pt x="3" y="0"/>
                </a:lnTo>
                <a:lnTo>
                  <a:pt x="7" y="0"/>
                </a:lnTo>
                <a:lnTo>
                  <a:pt x="12" y="2"/>
                </a:lnTo>
                <a:lnTo>
                  <a:pt x="13" y="2"/>
                </a:lnTo>
                <a:lnTo>
                  <a:pt x="11" y="2"/>
                </a:lnTo>
                <a:lnTo>
                  <a:pt x="0" y="0"/>
                </a:lnTo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76" name="Freeform 783"/>
          <p:cNvSpPr>
            <a:spLocks/>
          </p:cNvSpPr>
          <p:nvPr/>
        </p:nvSpPr>
        <p:spPr bwMode="auto">
          <a:xfrm>
            <a:off x="5124860" y="1636127"/>
            <a:ext cx="9744" cy="27920"/>
          </a:xfrm>
          <a:custGeom>
            <a:avLst/>
            <a:gdLst/>
            <a:ahLst/>
            <a:cxnLst>
              <a:cxn ang="0">
                <a:pos x="5" y="5"/>
              </a:cxn>
              <a:cxn ang="0">
                <a:pos x="6" y="11"/>
              </a:cxn>
              <a:cxn ang="0">
                <a:pos x="6" y="13"/>
              </a:cxn>
              <a:cxn ang="0">
                <a:pos x="6" y="14"/>
              </a:cxn>
              <a:cxn ang="0">
                <a:pos x="5" y="13"/>
              </a:cxn>
              <a:cxn ang="0">
                <a:pos x="5" y="11"/>
              </a:cxn>
              <a:cxn ang="0">
                <a:pos x="3" y="9"/>
              </a:cxn>
              <a:cxn ang="0">
                <a:pos x="3" y="8"/>
              </a:cxn>
              <a:cxn ang="0">
                <a:pos x="1" y="6"/>
              </a:cxn>
              <a:cxn ang="0">
                <a:pos x="0" y="5"/>
              </a:cxn>
              <a:cxn ang="0">
                <a:pos x="0" y="3"/>
              </a:cxn>
              <a:cxn ang="0">
                <a:pos x="3" y="3"/>
              </a:cxn>
              <a:cxn ang="0">
                <a:pos x="1" y="3"/>
              </a:cxn>
              <a:cxn ang="0">
                <a:pos x="1" y="2"/>
              </a:cxn>
              <a:cxn ang="0">
                <a:pos x="1" y="0"/>
              </a:cxn>
              <a:cxn ang="0">
                <a:pos x="3" y="2"/>
              </a:cxn>
              <a:cxn ang="0">
                <a:pos x="5" y="3"/>
              </a:cxn>
              <a:cxn ang="0">
                <a:pos x="5" y="5"/>
              </a:cxn>
            </a:cxnLst>
            <a:rect l="0" t="0" r="r" b="b"/>
            <a:pathLst>
              <a:path w="6" h="14">
                <a:moveTo>
                  <a:pt x="5" y="5"/>
                </a:moveTo>
                <a:lnTo>
                  <a:pt x="6" y="11"/>
                </a:lnTo>
                <a:lnTo>
                  <a:pt x="6" y="13"/>
                </a:lnTo>
                <a:lnTo>
                  <a:pt x="6" y="14"/>
                </a:lnTo>
                <a:lnTo>
                  <a:pt x="5" y="13"/>
                </a:lnTo>
                <a:lnTo>
                  <a:pt x="5" y="11"/>
                </a:lnTo>
                <a:lnTo>
                  <a:pt x="3" y="9"/>
                </a:lnTo>
                <a:lnTo>
                  <a:pt x="3" y="8"/>
                </a:lnTo>
                <a:lnTo>
                  <a:pt x="1" y="6"/>
                </a:lnTo>
                <a:lnTo>
                  <a:pt x="0" y="5"/>
                </a:lnTo>
                <a:lnTo>
                  <a:pt x="0" y="3"/>
                </a:lnTo>
                <a:lnTo>
                  <a:pt x="3" y="3"/>
                </a:lnTo>
                <a:lnTo>
                  <a:pt x="1" y="3"/>
                </a:lnTo>
                <a:lnTo>
                  <a:pt x="1" y="2"/>
                </a:lnTo>
                <a:lnTo>
                  <a:pt x="1" y="0"/>
                </a:lnTo>
                <a:lnTo>
                  <a:pt x="3" y="2"/>
                </a:lnTo>
                <a:lnTo>
                  <a:pt x="5" y="3"/>
                </a:lnTo>
                <a:lnTo>
                  <a:pt x="5" y="5"/>
                </a:lnTo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77" name="Freeform 784"/>
          <p:cNvSpPr>
            <a:spLocks/>
          </p:cNvSpPr>
          <p:nvPr/>
        </p:nvSpPr>
        <p:spPr bwMode="auto">
          <a:xfrm>
            <a:off x="4935824" y="1756393"/>
            <a:ext cx="74054" cy="10739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4"/>
              </a:cxn>
              <a:cxn ang="0">
                <a:pos x="11" y="6"/>
              </a:cxn>
              <a:cxn ang="0">
                <a:pos x="20" y="6"/>
              </a:cxn>
              <a:cxn ang="0">
                <a:pos x="24" y="6"/>
              </a:cxn>
              <a:cxn ang="0">
                <a:pos x="27" y="6"/>
              </a:cxn>
              <a:cxn ang="0">
                <a:pos x="36" y="6"/>
              </a:cxn>
              <a:cxn ang="0">
                <a:pos x="40" y="4"/>
              </a:cxn>
              <a:cxn ang="0">
                <a:pos x="25" y="3"/>
              </a:cxn>
              <a:cxn ang="0">
                <a:pos x="12" y="1"/>
              </a:cxn>
              <a:cxn ang="0">
                <a:pos x="20" y="1"/>
              </a:cxn>
              <a:cxn ang="0">
                <a:pos x="27" y="3"/>
              </a:cxn>
              <a:cxn ang="0">
                <a:pos x="35" y="3"/>
              </a:cxn>
              <a:cxn ang="0">
                <a:pos x="25" y="0"/>
              </a:cxn>
              <a:cxn ang="0">
                <a:pos x="21" y="0"/>
              </a:cxn>
              <a:cxn ang="0">
                <a:pos x="9" y="0"/>
              </a:cxn>
              <a:cxn ang="0">
                <a:pos x="0" y="3"/>
              </a:cxn>
            </a:cxnLst>
            <a:rect l="0" t="0" r="r" b="b"/>
            <a:pathLst>
              <a:path w="40" h="6">
                <a:moveTo>
                  <a:pt x="0" y="3"/>
                </a:moveTo>
                <a:lnTo>
                  <a:pt x="0" y="4"/>
                </a:lnTo>
                <a:lnTo>
                  <a:pt x="11" y="6"/>
                </a:lnTo>
                <a:lnTo>
                  <a:pt x="20" y="6"/>
                </a:lnTo>
                <a:lnTo>
                  <a:pt x="24" y="6"/>
                </a:lnTo>
                <a:lnTo>
                  <a:pt x="27" y="6"/>
                </a:lnTo>
                <a:lnTo>
                  <a:pt x="36" y="6"/>
                </a:lnTo>
                <a:lnTo>
                  <a:pt x="40" y="4"/>
                </a:lnTo>
                <a:lnTo>
                  <a:pt x="25" y="3"/>
                </a:lnTo>
                <a:lnTo>
                  <a:pt x="12" y="1"/>
                </a:lnTo>
                <a:lnTo>
                  <a:pt x="20" y="1"/>
                </a:lnTo>
                <a:lnTo>
                  <a:pt x="27" y="3"/>
                </a:lnTo>
                <a:lnTo>
                  <a:pt x="35" y="3"/>
                </a:lnTo>
                <a:lnTo>
                  <a:pt x="25" y="0"/>
                </a:lnTo>
                <a:lnTo>
                  <a:pt x="21" y="0"/>
                </a:lnTo>
                <a:lnTo>
                  <a:pt x="9" y="0"/>
                </a:lnTo>
                <a:lnTo>
                  <a:pt x="0" y="3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78" name="Freeform 796"/>
          <p:cNvSpPr>
            <a:spLocks/>
          </p:cNvSpPr>
          <p:nvPr/>
        </p:nvSpPr>
        <p:spPr bwMode="auto">
          <a:xfrm>
            <a:off x="5101474" y="1511565"/>
            <a:ext cx="25333" cy="10739"/>
          </a:xfrm>
          <a:custGeom>
            <a:avLst/>
            <a:gdLst/>
            <a:ahLst/>
            <a:cxnLst>
              <a:cxn ang="0">
                <a:pos x="5" y="0"/>
              </a:cxn>
              <a:cxn ang="0">
                <a:pos x="6" y="2"/>
              </a:cxn>
              <a:cxn ang="0">
                <a:pos x="13" y="2"/>
              </a:cxn>
              <a:cxn ang="0">
                <a:pos x="12" y="3"/>
              </a:cxn>
              <a:cxn ang="0">
                <a:pos x="8" y="3"/>
              </a:cxn>
              <a:cxn ang="0">
                <a:pos x="0" y="5"/>
              </a:cxn>
              <a:cxn ang="0">
                <a:pos x="0" y="3"/>
              </a:cxn>
              <a:cxn ang="0">
                <a:pos x="0" y="2"/>
              </a:cxn>
              <a:cxn ang="0">
                <a:pos x="5" y="0"/>
              </a:cxn>
            </a:cxnLst>
            <a:rect l="0" t="0" r="r" b="b"/>
            <a:pathLst>
              <a:path w="13" h="5">
                <a:moveTo>
                  <a:pt x="5" y="0"/>
                </a:moveTo>
                <a:lnTo>
                  <a:pt x="6" y="2"/>
                </a:lnTo>
                <a:lnTo>
                  <a:pt x="13" y="2"/>
                </a:lnTo>
                <a:lnTo>
                  <a:pt x="12" y="3"/>
                </a:lnTo>
                <a:lnTo>
                  <a:pt x="8" y="3"/>
                </a:lnTo>
                <a:lnTo>
                  <a:pt x="0" y="5"/>
                </a:lnTo>
                <a:lnTo>
                  <a:pt x="0" y="3"/>
                </a:lnTo>
                <a:lnTo>
                  <a:pt x="0" y="2"/>
                </a:lnTo>
                <a:lnTo>
                  <a:pt x="5" y="0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79" name="Freeform 797"/>
          <p:cNvSpPr>
            <a:spLocks/>
          </p:cNvSpPr>
          <p:nvPr/>
        </p:nvSpPr>
        <p:spPr bwMode="auto">
          <a:xfrm>
            <a:off x="5101474" y="1511565"/>
            <a:ext cx="25333" cy="10739"/>
          </a:xfrm>
          <a:custGeom>
            <a:avLst/>
            <a:gdLst/>
            <a:ahLst/>
            <a:cxnLst>
              <a:cxn ang="0">
                <a:pos x="5" y="0"/>
              </a:cxn>
              <a:cxn ang="0">
                <a:pos x="6" y="2"/>
              </a:cxn>
              <a:cxn ang="0">
                <a:pos x="13" y="2"/>
              </a:cxn>
              <a:cxn ang="0">
                <a:pos x="12" y="3"/>
              </a:cxn>
              <a:cxn ang="0">
                <a:pos x="8" y="3"/>
              </a:cxn>
              <a:cxn ang="0">
                <a:pos x="0" y="5"/>
              </a:cxn>
              <a:cxn ang="0">
                <a:pos x="0" y="3"/>
              </a:cxn>
              <a:cxn ang="0">
                <a:pos x="0" y="2"/>
              </a:cxn>
              <a:cxn ang="0">
                <a:pos x="5" y="0"/>
              </a:cxn>
            </a:cxnLst>
            <a:rect l="0" t="0" r="r" b="b"/>
            <a:pathLst>
              <a:path w="13" h="5">
                <a:moveTo>
                  <a:pt x="5" y="0"/>
                </a:moveTo>
                <a:lnTo>
                  <a:pt x="6" y="2"/>
                </a:lnTo>
                <a:lnTo>
                  <a:pt x="13" y="2"/>
                </a:lnTo>
                <a:lnTo>
                  <a:pt x="12" y="3"/>
                </a:lnTo>
                <a:lnTo>
                  <a:pt x="8" y="3"/>
                </a:lnTo>
                <a:lnTo>
                  <a:pt x="0" y="5"/>
                </a:lnTo>
                <a:lnTo>
                  <a:pt x="0" y="3"/>
                </a:lnTo>
                <a:lnTo>
                  <a:pt x="0" y="2"/>
                </a:lnTo>
                <a:lnTo>
                  <a:pt x="5" y="0"/>
                </a:lnTo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80" name="Freeform 798"/>
          <p:cNvSpPr>
            <a:spLocks/>
          </p:cNvSpPr>
          <p:nvPr/>
        </p:nvSpPr>
        <p:spPr bwMode="auto">
          <a:xfrm>
            <a:off x="3692481" y="1612503"/>
            <a:ext cx="85747" cy="8591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4" y="2"/>
              </a:cxn>
              <a:cxn ang="0">
                <a:pos x="8" y="2"/>
              </a:cxn>
              <a:cxn ang="0">
                <a:pos x="25" y="0"/>
              </a:cxn>
              <a:cxn ang="0">
                <a:pos x="32" y="2"/>
              </a:cxn>
              <a:cxn ang="0">
                <a:pos x="36" y="2"/>
              </a:cxn>
              <a:cxn ang="0">
                <a:pos x="37" y="4"/>
              </a:cxn>
              <a:cxn ang="0">
                <a:pos x="45" y="4"/>
              </a:cxn>
              <a:cxn ang="0">
                <a:pos x="41" y="5"/>
              </a:cxn>
              <a:cxn ang="0">
                <a:pos x="33" y="5"/>
              </a:cxn>
              <a:cxn ang="0">
                <a:pos x="17" y="4"/>
              </a:cxn>
              <a:cxn ang="0">
                <a:pos x="12" y="5"/>
              </a:cxn>
              <a:cxn ang="0">
                <a:pos x="8" y="5"/>
              </a:cxn>
              <a:cxn ang="0">
                <a:pos x="0" y="4"/>
              </a:cxn>
            </a:cxnLst>
            <a:rect l="0" t="0" r="r" b="b"/>
            <a:pathLst>
              <a:path w="45" h="5">
                <a:moveTo>
                  <a:pt x="0" y="4"/>
                </a:moveTo>
                <a:lnTo>
                  <a:pt x="4" y="2"/>
                </a:lnTo>
                <a:lnTo>
                  <a:pt x="8" y="2"/>
                </a:lnTo>
                <a:lnTo>
                  <a:pt x="25" y="0"/>
                </a:lnTo>
                <a:lnTo>
                  <a:pt x="32" y="2"/>
                </a:lnTo>
                <a:lnTo>
                  <a:pt x="36" y="2"/>
                </a:lnTo>
                <a:lnTo>
                  <a:pt x="37" y="4"/>
                </a:lnTo>
                <a:lnTo>
                  <a:pt x="45" y="4"/>
                </a:lnTo>
                <a:lnTo>
                  <a:pt x="41" y="5"/>
                </a:lnTo>
                <a:lnTo>
                  <a:pt x="33" y="5"/>
                </a:lnTo>
                <a:lnTo>
                  <a:pt x="17" y="4"/>
                </a:lnTo>
                <a:lnTo>
                  <a:pt x="12" y="5"/>
                </a:lnTo>
                <a:lnTo>
                  <a:pt x="8" y="5"/>
                </a:lnTo>
                <a:lnTo>
                  <a:pt x="0" y="4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81" name="Freeform 799"/>
          <p:cNvSpPr>
            <a:spLocks/>
          </p:cNvSpPr>
          <p:nvPr/>
        </p:nvSpPr>
        <p:spPr bwMode="auto">
          <a:xfrm>
            <a:off x="3692481" y="1612503"/>
            <a:ext cx="85747" cy="8591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4" y="2"/>
              </a:cxn>
              <a:cxn ang="0">
                <a:pos x="8" y="2"/>
              </a:cxn>
              <a:cxn ang="0">
                <a:pos x="25" y="0"/>
              </a:cxn>
              <a:cxn ang="0">
                <a:pos x="32" y="2"/>
              </a:cxn>
              <a:cxn ang="0">
                <a:pos x="36" y="2"/>
              </a:cxn>
              <a:cxn ang="0">
                <a:pos x="37" y="4"/>
              </a:cxn>
              <a:cxn ang="0">
                <a:pos x="45" y="4"/>
              </a:cxn>
              <a:cxn ang="0">
                <a:pos x="41" y="5"/>
              </a:cxn>
              <a:cxn ang="0">
                <a:pos x="33" y="5"/>
              </a:cxn>
              <a:cxn ang="0">
                <a:pos x="17" y="4"/>
              </a:cxn>
              <a:cxn ang="0">
                <a:pos x="12" y="5"/>
              </a:cxn>
              <a:cxn ang="0">
                <a:pos x="8" y="5"/>
              </a:cxn>
              <a:cxn ang="0">
                <a:pos x="0" y="4"/>
              </a:cxn>
            </a:cxnLst>
            <a:rect l="0" t="0" r="r" b="b"/>
            <a:pathLst>
              <a:path w="45" h="5">
                <a:moveTo>
                  <a:pt x="0" y="4"/>
                </a:moveTo>
                <a:lnTo>
                  <a:pt x="4" y="2"/>
                </a:lnTo>
                <a:lnTo>
                  <a:pt x="8" y="2"/>
                </a:lnTo>
                <a:lnTo>
                  <a:pt x="25" y="0"/>
                </a:lnTo>
                <a:lnTo>
                  <a:pt x="32" y="2"/>
                </a:lnTo>
                <a:lnTo>
                  <a:pt x="36" y="2"/>
                </a:lnTo>
                <a:lnTo>
                  <a:pt x="37" y="4"/>
                </a:lnTo>
                <a:lnTo>
                  <a:pt x="45" y="4"/>
                </a:lnTo>
                <a:lnTo>
                  <a:pt x="41" y="5"/>
                </a:lnTo>
                <a:lnTo>
                  <a:pt x="33" y="5"/>
                </a:lnTo>
                <a:lnTo>
                  <a:pt x="17" y="4"/>
                </a:lnTo>
                <a:lnTo>
                  <a:pt x="12" y="5"/>
                </a:lnTo>
                <a:lnTo>
                  <a:pt x="8" y="5"/>
                </a:lnTo>
                <a:lnTo>
                  <a:pt x="0" y="4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82" name="Freeform 800"/>
          <p:cNvSpPr>
            <a:spLocks/>
          </p:cNvSpPr>
          <p:nvPr/>
        </p:nvSpPr>
        <p:spPr bwMode="auto">
          <a:xfrm>
            <a:off x="4409644" y="2228866"/>
            <a:ext cx="7795" cy="6444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1" y="3"/>
              </a:cxn>
              <a:cxn ang="0">
                <a:pos x="1" y="0"/>
              </a:cxn>
              <a:cxn ang="0">
                <a:pos x="0" y="2"/>
              </a:cxn>
              <a:cxn ang="0">
                <a:pos x="0" y="3"/>
              </a:cxn>
              <a:cxn ang="0">
                <a:pos x="4" y="2"/>
              </a:cxn>
              <a:cxn ang="0">
                <a:pos x="5" y="2"/>
              </a:cxn>
              <a:cxn ang="0">
                <a:pos x="2" y="0"/>
              </a:cxn>
              <a:cxn ang="0">
                <a:pos x="1" y="0"/>
              </a:cxn>
            </a:cxnLst>
            <a:rect l="0" t="0" r="r" b="b"/>
            <a:pathLst>
              <a:path w="5" h="3">
                <a:moveTo>
                  <a:pt x="1" y="0"/>
                </a:moveTo>
                <a:lnTo>
                  <a:pt x="1" y="3"/>
                </a:lnTo>
                <a:lnTo>
                  <a:pt x="1" y="0"/>
                </a:lnTo>
                <a:lnTo>
                  <a:pt x="0" y="2"/>
                </a:lnTo>
                <a:lnTo>
                  <a:pt x="0" y="3"/>
                </a:lnTo>
                <a:lnTo>
                  <a:pt x="4" y="2"/>
                </a:lnTo>
                <a:lnTo>
                  <a:pt x="5" y="2"/>
                </a:lnTo>
                <a:lnTo>
                  <a:pt x="2" y="0"/>
                </a:lnTo>
                <a:lnTo>
                  <a:pt x="1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83" name="Freeform 804"/>
          <p:cNvSpPr>
            <a:spLocks/>
          </p:cNvSpPr>
          <p:nvPr/>
        </p:nvSpPr>
        <p:spPr bwMode="auto">
          <a:xfrm>
            <a:off x="2359491" y="3345623"/>
            <a:ext cx="5847" cy="12885"/>
          </a:xfrm>
          <a:custGeom>
            <a:avLst/>
            <a:gdLst/>
            <a:ahLst/>
            <a:cxnLst>
              <a:cxn ang="0">
                <a:pos x="3" y="6"/>
              </a:cxn>
              <a:cxn ang="0">
                <a:pos x="1" y="6"/>
              </a:cxn>
              <a:cxn ang="0">
                <a:pos x="0" y="4"/>
              </a:cxn>
              <a:cxn ang="0">
                <a:pos x="1" y="3"/>
              </a:cxn>
              <a:cxn ang="0">
                <a:pos x="1" y="1"/>
              </a:cxn>
              <a:cxn ang="0">
                <a:pos x="3" y="0"/>
              </a:cxn>
              <a:cxn ang="0">
                <a:pos x="3" y="4"/>
              </a:cxn>
              <a:cxn ang="0">
                <a:pos x="3" y="6"/>
              </a:cxn>
            </a:cxnLst>
            <a:rect l="0" t="0" r="r" b="b"/>
            <a:pathLst>
              <a:path w="3" h="6">
                <a:moveTo>
                  <a:pt x="3" y="6"/>
                </a:moveTo>
                <a:lnTo>
                  <a:pt x="1" y="6"/>
                </a:lnTo>
                <a:lnTo>
                  <a:pt x="0" y="4"/>
                </a:lnTo>
                <a:lnTo>
                  <a:pt x="1" y="3"/>
                </a:lnTo>
                <a:lnTo>
                  <a:pt x="1" y="1"/>
                </a:lnTo>
                <a:lnTo>
                  <a:pt x="3" y="0"/>
                </a:lnTo>
                <a:lnTo>
                  <a:pt x="3" y="4"/>
                </a:lnTo>
                <a:lnTo>
                  <a:pt x="3" y="6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84" name="Freeform 805"/>
          <p:cNvSpPr>
            <a:spLocks/>
          </p:cNvSpPr>
          <p:nvPr/>
        </p:nvSpPr>
        <p:spPr bwMode="auto">
          <a:xfrm>
            <a:off x="2359491" y="3345623"/>
            <a:ext cx="5847" cy="12885"/>
          </a:xfrm>
          <a:custGeom>
            <a:avLst/>
            <a:gdLst/>
            <a:ahLst/>
            <a:cxnLst>
              <a:cxn ang="0">
                <a:pos x="3" y="6"/>
              </a:cxn>
              <a:cxn ang="0">
                <a:pos x="1" y="6"/>
              </a:cxn>
              <a:cxn ang="0">
                <a:pos x="0" y="4"/>
              </a:cxn>
              <a:cxn ang="0">
                <a:pos x="1" y="3"/>
              </a:cxn>
              <a:cxn ang="0">
                <a:pos x="1" y="1"/>
              </a:cxn>
              <a:cxn ang="0">
                <a:pos x="3" y="0"/>
              </a:cxn>
              <a:cxn ang="0">
                <a:pos x="3" y="4"/>
              </a:cxn>
              <a:cxn ang="0">
                <a:pos x="3" y="6"/>
              </a:cxn>
            </a:cxnLst>
            <a:rect l="0" t="0" r="r" b="b"/>
            <a:pathLst>
              <a:path w="3" h="6">
                <a:moveTo>
                  <a:pt x="3" y="6"/>
                </a:moveTo>
                <a:lnTo>
                  <a:pt x="1" y="6"/>
                </a:lnTo>
                <a:lnTo>
                  <a:pt x="0" y="4"/>
                </a:lnTo>
                <a:lnTo>
                  <a:pt x="1" y="3"/>
                </a:lnTo>
                <a:lnTo>
                  <a:pt x="1" y="1"/>
                </a:lnTo>
                <a:lnTo>
                  <a:pt x="3" y="0"/>
                </a:lnTo>
                <a:lnTo>
                  <a:pt x="3" y="4"/>
                </a:lnTo>
                <a:lnTo>
                  <a:pt x="3" y="6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85" name="Freeform 806"/>
          <p:cNvSpPr>
            <a:spLocks/>
          </p:cNvSpPr>
          <p:nvPr/>
        </p:nvSpPr>
        <p:spPr bwMode="auto">
          <a:xfrm>
            <a:off x="2410161" y="3304819"/>
            <a:ext cx="13642" cy="19328"/>
          </a:xfrm>
          <a:custGeom>
            <a:avLst/>
            <a:gdLst/>
            <a:ahLst/>
            <a:cxnLst>
              <a:cxn ang="0">
                <a:pos x="6" y="10"/>
              </a:cxn>
              <a:cxn ang="0">
                <a:pos x="5" y="10"/>
              </a:cxn>
              <a:cxn ang="0">
                <a:pos x="4" y="8"/>
              </a:cxn>
              <a:cxn ang="0">
                <a:pos x="1" y="5"/>
              </a:cxn>
              <a:cxn ang="0">
                <a:pos x="0" y="2"/>
              </a:cxn>
              <a:cxn ang="0">
                <a:pos x="0" y="0"/>
              </a:cxn>
              <a:cxn ang="0">
                <a:pos x="1" y="2"/>
              </a:cxn>
              <a:cxn ang="0">
                <a:pos x="2" y="2"/>
              </a:cxn>
              <a:cxn ang="0">
                <a:pos x="4" y="5"/>
              </a:cxn>
              <a:cxn ang="0">
                <a:pos x="5" y="6"/>
              </a:cxn>
              <a:cxn ang="0">
                <a:pos x="5" y="8"/>
              </a:cxn>
              <a:cxn ang="0">
                <a:pos x="6" y="10"/>
              </a:cxn>
            </a:cxnLst>
            <a:rect l="0" t="0" r="r" b="b"/>
            <a:pathLst>
              <a:path w="6" h="10">
                <a:moveTo>
                  <a:pt x="6" y="10"/>
                </a:moveTo>
                <a:lnTo>
                  <a:pt x="5" y="10"/>
                </a:lnTo>
                <a:lnTo>
                  <a:pt x="4" y="8"/>
                </a:lnTo>
                <a:lnTo>
                  <a:pt x="1" y="5"/>
                </a:lnTo>
                <a:lnTo>
                  <a:pt x="0" y="2"/>
                </a:lnTo>
                <a:lnTo>
                  <a:pt x="0" y="0"/>
                </a:lnTo>
                <a:lnTo>
                  <a:pt x="1" y="2"/>
                </a:lnTo>
                <a:lnTo>
                  <a:pt x="2" y="2"/>
                </a:lnTo>
                <a:lnTo>
                  <a:pt x="4" y="5"/>
                </a:lnTo>
                <a:lnTo>
                  <a:pt x="5" y="6"/>
                </a:lnTo>
                <a:lnTo>
                  <a:pt x="5" y="8"/>
                </a:lnTo>
                <a:lnTo>
                  <a:pt x="6" y="1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86" name="Freeform 807"/>
          <p:cNvSpPr>
            <a:spLocks/>
          </p:cNvSpPr>
          <p:nvPr/>
        </p:nvSpPr>
        <p:spPr bwMode="auto">
          <a:xfrm>
            <a:off x="2410161" y="3304819"/>
            <a:ext cx="13642" cy="19328"/>
          </a:xfrm>
          <a:custGeom>
            <a:avLst/>
            <a:gdLst/>
            <a:ahLst/>
            <a:cxnLst>
              <a:cxn ang="0">
                <a:pos x="6" y="10"/>
              </a:cxn>
              <a:cxn ang="0">
                <a:pos x="5" y="10"/>
              </a:cxn>
              <a:cxn ang="0">
                <a:pos x="4" y="8"/>
              </a:cxn>
              <a:cxn ang="0">
                <a:pos x="1" y="5"/>
              </a:cxn>
              <a:cxn ang="0">
                <a:pos x="0" y="2"/>
              </a:cxn>
              <a:cxn ang="0">
                <a:pos x="0" y="0"/>
              </a:cxn>
              <a:cxn ang="0">
                <a:pos x="1" y="2"/>
              </a:cxn>
              <a:cxn ang="0">
                <a:pos x="2" y="2"/>
              </a:cxn>
              <a:cxn ang="0">
                <a:pos x="4" y="5"/>
              </a:cxn>
              <a:cxn ang="0">
                <a:pos x="5" y="6"/>
              </a:cxn>
              <a:cxn ang="0">
                <a:pos x="5" y="8"/>
              </a:cxn>
              <a:cxn ang="0">
                <a:pos x="6" y="10"/>
              </a:cxn>
            </a:cxnLst>
            <a:rect l="0" t="0" r="r" b="b"/>
            <a:pathLst>
              <a:path w="6" h="10">
                <a:moveTo>
                  <a:pt x="6" y="10"/>
                </a:moveTo>
                <a:lnTo>
                  <a:pt x="5" y="10"/>
                </a:lnTo>
                <a:lnTo>
                  <a:pt x="4" y="8"/>
                </a:lnTo>
                <a:lnTo>
                  <a:pt x="1" y="5"/>
                </a:lnTo>
                <a:lnTo>
                  <a:pt x="0" y="2"/>
                </a:lnTo>
                <a:lnTo>
                  <a:pt x="0" y="0"/>
                </a:lnTo>
                <a:lnTo>
                  <a:pt x="1" y="2"/>
                </a:lnTo>
                <a:lnTo>
                  <a:pt x="2" y="2"/>
                </a:lnTo>
                <a:lnTo>
                  <a:pt x="4" y="5"/>
                </a:lnTo>
                <a:lnTo>
                  <a:pt x="5" y="6"/>
                </a:lnTo>
                <a:lnTo>
                  <a:pt x="5" y="8"/>
                </a:lnTo>
                <a:lnTo>
                  <a:pt x="6" y="1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87" name="Freeform 808"/>
          <p:cNvSpPr>
            <a:spLocks/>
          </p:cNvSpPr>
          <p:nvPr/>
        </p:nvSpPr>
        <p:spPr bwMode="auto">
          <a:xfrm>
            <a:off x="2441342" y="3315556"/>
            <a:ext cx="7795" cy="15033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1" y="0"/>
              </a:cxn>
              <a:cxn ang="0">
                <a:pos x="2" y="0"/>
              </a:cxn>
              <a:cxn ang="0">
                <a:pos x="4" y="4"/>
              </a:cxn>
              <a:cxn ang="0">
                <a:pos x="4" y="8"/>
              </a:cxn>
              <a:cxn ang="0">
                <a:pos x="1" y="8"/>
              </a:cxn>
              <a:cxn ang="0">
                <a:pos x="0" y="7"/>
              </a:cxn>
              <a:cxn ang="0">
                <a:pos x="0" y="5"/>
              </a:cxn>
              <a:cxn ang="0">
                <a:pos x="0" y="4"/>
              </a:cxn>
            </a:cxnLst>
            <a:rect l="0" t="0" r="r" b="b"/>
            <a:pathLst>
              <a:path w="4" h="8">
                <a:moveTo>
                  <a:pt x="0" y="4"/>
                </a:moveTo>
                <a:lnTo>
                  <a:pt x="1" y="0"/>
                </a:lnTo>
                <a:lnTo>
                  <a:pt x="2" y="0"/>
                </a:lnTo>
                <a:lnTo>
                  <a:pt x="4" y="4"/>
                </a:lnTo>
                <a:lnTo>
                  <a:pt x="4" y="8"/>
                </a:lnTo>
                <a:lnTo>
                  <a:pt x="1" y="8"/>
                </a:lnTo>
                <a:lnTo>
                  <a:pt x="0" y="7"/>
                </a:lnTo>
                <a:lnTo>
                  <a:pt x="0" y="5"/>
                </a:lnTo>
                <a:lnTo>
                  <a:pt x="0" y="4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88" name="Freeform 809"/>
          <p:cNvSpPr>
            <a:spLocks/>
          </p:cNvSpPr>
          <p:nvPr/>
        </p:nvSpPr>
        <p:spPr bwMode="auto">
          <a:xfrm>
            <a:off x="2441342" y="3315556"/>
            <a:ext cx="7795" cy="15033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1" y="0"/>
              </a:cxn>
              <a:cxn ang="0">
                <a:pos x="2" y="0"/>
              </a:cxn>
              <a:cxn ang="0">
                <a:pos x="4" y="4"/>
              </a:cxn>
              <a:cxn ang="0">
                <a:pos x="4" y="8"/>
              </a:cxn>
              <a:cxn ang="0">
                <a:pos x="1" y="8"/>
              </a:cxn>
              <a:cxn ang="0">
                <a:pos x="0" y="7"/>
              </a:cxn>
              <a:cxn ang="0">
                <a:pos x="0" y="5"/>
              </a:cxn>
              <a:cxn ang="0">
                <a:pos x="0" y="4"/>
              </a:cxn>
            </a:cxnLst>
            <a:rect l="0" t="0" r="r" b="b"/>
            <a:pathLst>
              <a:path w="4" h="8">
                <a:moveTo>
                  <a:pt x="0" y="4"/>
                </a:moveTo>
                <a:lnTo>
                  <a:pt x="1" y="0"/>
                </a:lnTo>
                <a:lnTo>
                  <a:pt x="2" y="0"/>
                </a:lnTo>
                <a:lnTo>
                  <a:pt x="4" y="4"/>
                </a:lnTo>
                <a:lnTo>
                  <a:pt x="4" y="8"/>
                </a:lnTo>
                <a:lnTo>
                  <a:pt x="1" y="8"/>
                </a:lnTo>
                <a:lnTo>
                  <a:pt x="0" y="7"/>
                </a:lnTo>
                <a:lnTo>
                  <a:pt x="0" y="5"/>
                </a:lnTo>
                <a:lnTo>
                  <a:pt x="0" y="4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89" name="Freeform 810"/>
          <p:cNvSpPr>
            <a:spLocks/>
          </p:cNvSpPr>
          <p:nvPr/>
        </p:nvSpPr>
        <p:spPr bwMode="auto">
          <a:xfrm>
            <a:off x="2873979" y="3450856"/>
            <a:ext cx="1949" cy="10737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1" y="4"/>
              </a:cxn>
              <a:cxn ang="0">
                <a:pos x="0" y="5"/>
              </a:cxn>
              <a:cxn ang="0">
                <a:pos x="0" y="4"/>
              </a:cxn>
              <a:cxn ang="0">
                <a:pos x="0" y="2"/>
              </a:cxn>
              <a:cxn ang="0">
                <a:pos x="1" y="0"/>
              </a:cxn>
            </a:cxnLst>
            <a:rect l="0" t="0" r="r" b="b"/>
            <a:pathLst>
              <a:path w="1" h="5">
                <a:moveTo>
                  <a:pt x="1" y="0"/>
                </a:moveTo>
                <a:lnTo>
                  <a:pt x="1" y="4"/>
                </a:lnTo>
                <a:lnTo>
                  <a:pt x="0" y="5"/>
                </a:lnTo>
                <a:lnTo>
                  <a:pt x="0" y="4"/>
                </a:lnTo>
                <a:lnTo>
                  <a:pt x="0" y="2"/>
                </a:lnTo>
                <a:lnTo>
                  <a:pt x="1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90" name="Freeform 811"/>
          <p:cNvSpPr>
            <a:spLocks/>
          </p:cNvSpPr>
          <p:nvPr/>
        </p:nvSpPr>
        <p:spPr bwMode="auto">
          <a:xfrm>
            <a:off x="2873979" y="3450856"/>
            <a:ext cx="1949" cy="10737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1" y="4"/>
              </a:cxn>
              <a:cxn ang="0">
                <a:pos x="0" y="5"/>
              </a:cxn>
              <a:cxn ang="0">
                <a:pos x="0" y="4"/>
              </a:cxn>
              <a:cxn ang="0">
                <a:pos x="0" y="2"/>
              </a:cxn>
              <a:cxn ang="0">
                <a:pos x="1" y="0"/>
              </a:cxn>
            </a:cxnLst>
            <a:rect l="0" t="0" r="r" b="b"/>
            <a:pathLst>
              <a:path w="1" h="5">
                <a:moveTo>
                  <a:pt x="1" y="0"/>
                </a:moveTo>
                <a:lnTo>
                  <a:pt x="1" y="4"/>
                </a:lnTo>
                <a:lnTo>
                  <a:pt x="0" y="5"/>
                </a:lnTo>
                <a:lnTo>
                  <a:pt x="0" y="4"/>
                </a:lnTo>
                <a:lnTo>
                  <a:pt x="0" y="2"/>
                </a:lnTo>
                <a:lnTo>
                  <a:pt x="1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91" name="Freeform 812"/>
          <p:cNvSpPr>
            <a:spLocks/>
          </p:cNvSpPr>
          <p:nvPr/>
        </p:nvSpPr>
        <p:spPr bwMode="auto">
          <a:xfrm>
            <a:off x="3170197" y="3620516"/>
            <a:ext cx="7795" cy="6444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2" y="0"/>
              </a:cxn>
              <a:cxn ang="0">
                <a:pos x="0" y="3"/>
              </a:cxn>
              <a:cxn ang="0">
                <a:pos x="0" y="4"/>
              </a:cxn>
              <a:cxn ang="0">
                <a:pos x="3" y="3"/>
              </a:cxn>
              <a:cxn ang="0">
                <a:pos x="4" y="0"/>
              </a:cxn>
            </a:cxnLst>
            <a:rect l="0" t="0" r="r" b="b"/>
            <a:pathLst>
              <a:path w="4" h="4">
                <a:moveTo>
                  <a:pt x="4" y="0"/>
                </a:moveTo>
                <a:lnTo>
                  <a:pt x="2" y="0"/>
                </a:lnTo>
                <a:lnTo>
                  <a:pt x="0" y="3"/>
                </a:lnTo>
                <a:lnTo>
                  <a:pt x="0" y="4"/>
                </a:lnTo>
                <a:lnTo>
                  <a:pt x="3" y="3"/>
                </a:lnTo>
                <a:lnTo>
                  <a:pt x="4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92" name="Freeform 813"/>
          <p:cNvSpPr>
            <a:spLocks/>
          </p:cNvSpPr>
          <p:nvPr/>
        </p:nvSpPr>
        <p:spPr bwMode="auto">
          <a:xfrm>
            <a:off x="3170197" y="3620516"/>
            <a:ext cx="7795" cy="6444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2" y="0"/>
              </a:cxn>
              <a:cxn ang="0">
                <a:pos x="0" y="3"/>
              </a:cxn>
              <a:cxn ang="0">
                <a:pos x="0" y="4"/>
              </a:cxn>
              <a:cxn ang="0">
                <a:pos x="3" y="3"/>
              </a:cxn>
              <a:cxn ang="0">
                <a:pos x="4" y="0"/>
              </a:cxn>
            </a:cxnLst>
            <a:rect l="0" t="0" r="r" b="b"/>
            <a:pathLst>
              <a:path w="4" h="4">
                <a:moveTo>
                  <a:pt x="4" y="0"/>
                </a:moveTo>
                <a:lnTo>
                  <a:pt x="2" y="0"/>
                </a:lnTo>
                <a:lnTo>
                  <a:pt x="0" y="3"/>
                </a:lnTo>
                <a:lnTo>
                  <a:pt x="0" y="4"/>
                </a:lnTo>
                <a:lnTo>
                  <a:pt x="3" y="3"/>
                </a:lnTo>
                <a:lnTo>
                  <a:pt x="4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93" name="Freeform 814"/>
          <p:cNvSpPr>
            <a:spLocks/>
          </p:cNvSpPr>
          <p:nvPr/>
        </p:nvSpPr>
        <p:spPr bwMode="auto">
          <a:xfrm>
            <a:off x="3400158" y="3397164"/>
            <a:ext cx="31181" cy="8591"/>
          </a:xfrm>
          <a:custGeom>
            <a:avLst/>
            <a:gdLst/>
            <a:ahLst/>
            <a:cxnLst>
              <a:cxn ang="0">
                <a:pos x="15" y="0"/>
              </a:cxn>
              <a:cxn ang="0">
                <a:pos x="13" y="0"/>
              </a:cxn>
              <a:cxn ang="0">
                <a:pos x="13" y="2"/>
              </a:cxn>
              <a:cxn ang="0">
                <a:pos x="15" y="2"/>
              </a:cxn>
              <a:cxn ang="0">
                <a:pos x="16" y="3"/>
              </a:cxn>
              <a:cxn ang="0">
                <a:pos x="16" y="5"/>
              </a:cxn>
              <a:cxn ang="0">
                <a:pos x="15" y="3"/>
              </a:cxn>
              <a:cxn ang="0">
                <a:pos x="13" y="3"/>
              </a:cxn>
              <a:cxn ang="0">
                <a:pos x="11" y="3"/>
              </a:cxn>
              <a:cxn ang="0">
                <a:pos x="5" y="5"/>
              </a:cxn>
              <a:cxn ang="0">
                <a:pos x="1" y="5"/>
              </a:cxn>
              <a:cxn ang="0">
                <a:pos x="0" y="3"/>
              </a:cxn>
              <a:cxn ang="0">
                <a:pos x="4" y="2"/>
              </a:cxn>
              <a:cxn ang="0">
                <a:pos x="11" y="0"/>
              </a:cxn>
              <a:cxn ang="0">
                <a:pos x="12" y="0"/>
              </a:cxn>
              <a:cxn ang="0">
                <a:pos x="15" y="0"/>
              </a:cxn>
            </a:cxnLst>
            <a:rect l="0" t="0" r="r" b="b"/>
            <a:pathLst>
              <a:path w="16" h="5">
                <a:moveTo>
                  <a:pt x="15" y="0"/>
                </a:moveTo>
                <a:lnTo>
                  <a:pt x="13" y="0"/>
                </a:lnTo>
                <a:lnTo>
                  <a:pt x="13" y="2"/>
                </a:lnTo>
                <a:lnTo>
                  <a:pt x="15" y="2"/>
                </a:lnTo>
                <a:lnTo>
                  <a:pt x="16" y="3"/>
                </a:lnTo>
                <a:lnTo>
                  <a:pt x="16" y="5"/>
                </a:lnTo>
                <a:lnTo>
                  <a:pt x="15" y="3"/>
                </a:lnTo>
                <a:lnTo>
                  <a:pt x="13" y="3"/>
                </a:lnTo>
                <a:lnTo>
                  <a:pt x="11" y="3"/>
                </a:lnTo>
                <a:lnTo>
                  <a:pt x="5" y="5"/>
                </a:lnTo>
                <a:lnTo>
                  <a:pt x="1" y="5"/>
                </a:lnTo>
                <a:lnTo>
                  <a:pt x="0" y="3"/>
                </a:lnTo>
                <a:lnTo>
                  <a:pt x="4" y="2"/>
                </a:lnTo>
                <a:lnTo>
                  <a:pt x="11" y="0"/>
                </a:lnTo>
                <a:lnTo>
                  <a:pt x="12" y="0"/>
                </a:lnTo>
                <a:lnTo>
                  <a:pt x="15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94" name="Freeform 815"/>
          <p:cNvSpPr>
            <a:spLocks/>
          </p:cNvSpPr>
          <p:nvPr/>
        </p:nvSpPr>
        <p:spPr bwMode="auto">
          <a:xfrm>
            <a:off x="3400158" y="3397164"/>
            <a:ext cx="31181" cy="8591"/>
          </a:xfrm>
          <a:custGeom>
            <a:avLst/>
            <a:gdLst/>
            <a:ahLst/>
            <a:cxnLst>
              <a:cxn ang="0">
                <a:pos x="15" y="0"/>
              </a:cxn>
              <a:cxn ang="0">
                <a:pos x="13" y="0"/>
              </a:cxn>
              <a:cxn ang="0">
                <a:pos x="13" y="2"/>
              </a:cxn>
              <a:cxn ang="0">
                <a:pos x="15" y="2"/>
              </a:cxn>
              <a:cxn ang="0">
                <a:pos x="16" y="3"/>
              </a:cxn>
              <a:cxn ang="0">
                <a:pos x="16" y="5"/>
              </a:cxn>
              <a:cxn ang="0">
                <a:pos x="15" y="3"/>
              </a:cxn>
              <a:cxn ang="0">
                <a:pos x="13" y="3"/>
              </a:cxn>
              <a:cxn ang="0">
                <a:pos x="11" y="3"/>
              </a:cxn>
              <a:cxn ang="0">
                <a:pos x="5" y="5"/>
              </a:cxn>
              <a:cxn ang="0">
                <a:pos x="1" y="5"/>
              </a:cxn>
              <a:cxn ang="0">
                <a:pos x="0" y="3"/>
              </a:cxn>
              <a:cxn ang="0">
                <a:pos x="4" y="2"/>
              </a:cxn>
              <a:cxn ang="0">
                <a:pos x="11" y="0"/>
              </a:cxn>
              <a:cxn ang="0">
                <a:pos x="12" y="0"/>
              </a:cxn>
              <a:cxn ang="0">
                <a:pos x="15" y="0"/>
              </a:cxn>
            </a:cxnLst>
            <a:rect l="0" t="0" r="r" b="b"/>
            <a:pathLst>
              <a:path w="16" h="5">
                <a:moveTo>
                  <a:pt x="15" y="0"/>
                </a:moveTo>
                <a:lnTo>
                  <a:pt x="13" y="0"/>
                </a:lnTo>
                <a:lnTo>
                  <a:pt x="13" y="2"/>
                </a:lnTo>
                <a:lnTo>
                  <a:pt x="15" y="2"/>
                </a:lnTo>
                <a:lnTo>
                  <a:pt x="16" y="3"/>
                </a:lnTo>
                <a:lnTo>
                  <a:pt x="16" y="5"/>
                </a:lnTo>
                <a:lnTo>
                  <a:pt x="15" y="3"/>
                </a:lnTo>
                <a:lnTo>
                  <a:pt x="13" y="3"/>
                </a:lnTo>
                <a:lnTo>
                  <a:pt x="11" y="3"/>
                </a:lnTo>
                <a:lnTo>
                  <a:pt x="5" y="5"/>
                </a:lnTo>
                <a:lnTo>
                  <a:pt x="1" y="5"/>
                </a:lnTo>
                <a:lnTo>
                  <a:pt x="0" y="3"/>
                </a:lnTo>
                <a:lnTo>
                  <a:pt x="4" y="2"/>
                </a:lnTo>
                <a:lnTo>
                  <a:pt x="11" y="0"/>
                </a:lnTo>
                <a:lnTo>
                  <a:pt x="12" y="0"/>
                </a:lnTo>
                <a:lnTo>
                  <a:pt x="15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95" name="Freeform 816"/>
          <p:cNvSpPr>
            <a:spLocks/>
          </p:cNvSpPr>
          <p:nvPr/>
        </p:nvSpPr>
        <p:spPr bwMode="auto">
          <a:xfrm>
            <a:off x="3448879" y="3405756"/>
            <a:ext cx="7795" cy="23624"/>
          </a:xfrm>
          <a:custGeom>
            <a:avLst/>
            <a:gdLst/>
            <a:ahLst/>
            <a:cxnLst>
              <a:cxn ang="0">
                <a:pos x="3" y="5"/>
              </a:cxn>
              <a:cxn ang="0">
                <a:pos x="4" y="0"/>
              </a:cxn>
              <a:cxn ang="0">
                <a:pos x="4" y="3"/>
              </a:cxn>
              <a:cxn ang="0">
                <a:pos x="2" y="8"/>
              </a:cxn>
              <a:cxn ang="0">
                <a:pos x="2" y="12"/>
              </a:cxn>
              <a:cxn ang="0">
                <a:pos x="0" y="9"/>
              </a:cxn>
              <a:cxn ang="0">
                <a:pos x="0" y="8"/>
              </a:cxn>
              <a:cxn ang="0">
                <a:pos x="0" y="6"/>
              </a:cxn>
              <a:cxn ang="0">
                <a:pos x="0" y="5"/>
              </a:cxn>
              <a:cxn ang="0">
                <a:pos x="2" y="0"/>
              </a:cxn>
              <a:cxn ang="0">
                <a:pos x="3" y="1"/>
              </a:cxn>
              <a:cxn ang="0">
                <a:pos x="3" y="5"/>
              </a:cxn>
            </a:cxnLst>
            <a:rect l="0" t="0" r="r" b="b"/>
            <a:pathLst>
              <a:path w="4" h="12">
                <a:moveTo>
                  <a:pt x="3" y="5"/>
                </a:moveTo>
                <a:lnTo>
                  <a:pt x="4" y="0"/>
                </a:lnTo>
                <a:lnTo>
                  <a:pt x="4" y="3"/>
                </a:lnTo>
                <a:lnTo>
                  <a:pt x="2" y="8"/>
                </a:lnTo>
                <a:lnTo>
                  <a:pt x="2" y="12"/>
                </a:lnTo>
                <a:lnTo>
                  <a:pt x="0" y="9"/>
                </a:lnTo>
                <a:lnTo>
                  <a:pt x="0" y="8"/>
                </a:lnTo>
                <a:lnTo>
                  <a:pt x="0" y="6"/>
                </a:lnTo>
                <a:lnTo>
                  <a:pt x="0" y="5"/>
                </a:lnTo>
                <a:lnTo>
                  <a:pt x="2" y="0"/>
                </a:lnTo>
                <a:lnTo>
                  <a:pt x="3" y="1"/>
                </a:lnTo>
                <a:lnTo>
                  <a:pt x="3" y="5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96" name="Freeform 817"/>
          <p:cNvSpPr>
            <a:spLocks/>
          </p:cNvSpPr>
          <p:nvPr/>
        </p:nvSpPr>
        <p:spPr bwMode="auto">
          <a:xfrm>
            <a:off x="3448879" y="3405756"/>
            <a:ext cx="7795" cy="23624"/>
          </a:xfrm>
          <a:custGeom>
            <a:avLst/>
            <a:gdLst/>
            <a:ahLst/>
            <a:cxnLst>
              <a:cxn ang="0">
                <a:pos x="3" y="5"/>
              </a:cxn>
              <a:cxn ang="0">
                <a:pos x="4" y="0"/>
              </a:cxn>
              <a:cxn ang="0">
                <a:pos x="4" y="3"/>
              </a:cxn>
              <a:cxn ang="0">
                <a:pos x="2" y="8"/>
              </a:cxn>
              <a:cxn ang="0">
                <a:pos x="2" y="12"/>
              </a:cxn>
              <a:cxn ang="0">
                <a:pos x="0" y="9"/>
              </a:cxn>
              <a:cxn ang="0">
                <a:pos x="0" y="8"/>
              </a:cxn>
              <a:cxn ang="0">
                <a:pos x="0" y="6"/>
              </a:cxn>
              <a:cxn ang="0">
                <a:pos x="0" y="5"/>
              </a:cxn>
              <a:cxn ang="0">
                <a:pos x="2" y="0"/>
              </a:cxn>
              <a:cxn ang="0">
                <a:pos x="3" y="1"/>
              </a:cxn>
              <a:cxn ang="0">
                <a:pos x="3" y="5"/>
              </a:cxn>
            </a:cxnLst>
            <a:rect l="0" t="0" r="r" b="b"/>
            <a:pathLst>
              <a:path w="4" h="12">
                <a:moveTo>
                  <a:pt x="3" y="5"/>
                </a:moveTo>
                <a:lnTo>
                  <a:pt x="4" y="0"/>
                </a:lnTo>
                <a:lnTo>
                  <a:pt x="4" y="3"/>
                </a:lnTo>
                <a:lnTo>
                  <a:pt x="2" y="8"/>
                </a:lnTo>
                <a:lnTo>
                  <a:pt x="2" y="12"/>
                </a:lnTo>
                <a:lnTo>
                  <a:pt x="0" y="9"/>
                </a:lnTo>
                <a:lnTo>
                  <a:pt x="0" y="8"/>
                </a:lnTo>
                <a:lnTo>
                  <a:pt x="0" y="6"/>
                </a:lnTo>
                <a:lnTo>
                  <a:pt x="0" y="5"/>
                </a:lnTo>
                <a:lnTo>
                  <a:pt x="2" y="0"/>
                </a:lnTo>
                <a:lnTo>
                  <a:pt x="3" y="1"/>
                </a:lnTo>
                <a:lnTo>
                  <a:pt x="3" y="5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97" name="Freeform 818"/>
          <p:cNvSpPr>
            <a:spLocks/>
          </p:cNvSpPr>
          <p:nvPr/>
        </p:nvSpPr>
        <p:spPr bwMode="auto">
          <a:xfrm>
            <a:off x="3441084" y="3461593"/>
            <a:ext cx="7795" cy="0"/>
          </a:xfrm>
          <a:custGeom>
            <a:avLst/>
            <a:gdLst/>
            <a:ahLst/>
            <a:cxnLst>
              <a:cxn ang="0">
                <a:pos x="3" y="1"/>
              </a:cxn>
              <a:cxn ang="0">
                <a:pos x="4" y="0"/>
              </a:cxn>
              <a:cxn ang="0">
                <a:pos x="3" y="0"/>
              </a:cxn>
              <a:cxn ang="0">
                <a:pos x="2" y="0"/>
              </a:cxn>
              <a:cxn ang="0">
                <a:pos x="0" y="1"/>
              </a:cxn>
              <a:cxn ang="0">
                <a:pos x="3" y="1"/>
              </a:cxn>
            </a:cxnLst>
            <a:rect l="0" t="0" r="r" b="b"/>
            <a:pathLst>
              <a:path w="4" h="1">
                <a:moveTo>
                  <a:pt x="3" y="1"/>
                </a:moveTo>
                <a:lnTo>
                  <a:pt x="4" y="0"/>
                </a:lnTo>
                <a:lnTo>
                  <a:pt x="3" y="0"/>
                </a:lnTo>
                <a:lnTo>
                  <a:pt x="2" y="0"/>
                </a:lnTo>
                <a:lnTo>
                  <a:pt x="0" y="1"/>
                </a:lnTo>
                <a:lnTo>
                  <a:pt x="3" y="1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98" name="Freeform 819"/>
          <p:cNvSpPr>
            <a:spLocks/>
          </p:cNvSpPr>
          <p:nvPr/>
        </p:nvSpPr>
        <p:spPr bwMode="auto">
          <a:xfrm>
            <a:off x="3441084" y="3461593"/>
            <a:ext cx="7795" cy="0"/>
          </a:xfrm>
          <a:custGeom>
            <a:avLst/>
            <a:gdLst/>
            <a:ahLst/>
            <a:cxnLst>
              <a:cxn ang="0">
                <a:pos x="3" y="1"/>
              </a:cxn>
              <a:cxn ang="0">
                <a:pos x="4" y="0"/>
              </a:cxn>
              <a:cxn ang="0">
                <a:pos x="3" y="0"/>
              </a:cxn>
              <a:cxn ang="0">
                <a:pos x="2" y="0"/>
              </a:cxn>
              <a:cxn ang="0">
                <a:pos x="0" y="1"/>
              </a:cxn>
              <a:cxn ang="0">
                <a:pos x="3" y="1"/>
              </a:cxn>
            </a:cxnLst>
            <a:rect l="0" t="0" r="r" b="b"/>
            <a:pathLst>
              <a:path w="4" h="1">
                <a:moveTo>
                  <a:pt x="3" y="1"/>
                </a:moveTo>
                <a:lnTo>
                  <a:pt x="4" y="0"/>
                </a:lnTo>
                <a:lnTo>
                  <a:pt x="3" y="0"/>
                </a:lnTo>
                <a:lnTo>
                  <a:pt x="2" y="0"/>
                </a:lnTo>
                <a:lnTo>
                  <a:pt x="0" y="1"/>
                </a:lnTo>
                <a:lnTo>
                  <a:pt x="3" y="1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899" name="Freeform 820"/>
          <p:cNvSpPr>
            <a:spLocks/>
          </p:cNvSpPr>
          <p:nvPr/>
        </p:nvSpPr>
        <p:spPr bwMode="auto">
          <a:xfrm>
            <a:off x="3435237" y="3489511"/>
            <a:ext cx="5847" cy="17181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3" y="0"/>
              </a:cxn>
              <a:cxn ang="0">
                <a:pos x="4" y="7"/>
              </a:cxn>
              <a:cxn ang="0">
                <a:pos x="3" y="8"/>
              </a:cxn>
              <a:cxn ang="0">
                <a:pos x="2" y="7"/>
              </a:cxn>
              <a:cxn ang="0">
                <a:pos x="0" y="3"/>
              </a:cxn>
            </a:cxnLst>
            <a:rect l="0" t="0" r="r" b="b"/>
            <a:pathLst>
              <a:path w="4" h="8">
                <a:moveTo>
                  <a:pt x="0" y="3"/>
                </a:moveTo>
                <a:lnTo>
                  <a:pt x="3" y="0"/>
                </a:lnTo>
                <a:lnTo>
                  <a:pt x="4" y="7"/>
                </a:lnTo>
                <a:lnTo>
                  <a:pt x="3" y="8"/>
                </a:lnTo>
                <a:lnTo>
                  <a:pt x="2" y="7"/>
                </a:lnTo>
                <a:lnTo>
                  <a:pt x="0" y="3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00" name="Freeform 821"/>
          <p:cNvSpPr>
            <a:spLocks/>
          </p:cNvSpPr>
          <p:nvPr/>
        </p:nvSpPr>
        <p:spPr bwMode="auto">
          <a:xfrm>
            <a:off x="3435237" y="3489511"/>
            <a:ext cx="5847" cy="17181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3" y="0"/>
              </a:cxn>
              <a:cxn ang="0">
                <a:pos x="4" y="7"/>
              </a:cxn>
              <a:cxn ang="0">
                <a:pos x="3" y="8"/>
              </a:cxn>
              <a:cxn ang="0">
                <a:pos x="2" y="7"/>
              </a:cxn>
              <a:cxn ang="0">
                <a:pos x="0" y="3"/>
              </a:cxn>
            </a:cxnLst>
            <a:rect l="0" t="0" r="r" b="b"/>
            <a:pathLst>
              <a:path w="4" h="8">
                <a:moveTo>
                  <a:pt x="0" y="3"/>
                </a:moveTo>
                <a:lnTo>
                  <a:pt x="3" y="0"/>
                </a:lnTo>
                <a:lnTo>
                  <a:pt x="4" y="7"/>
                </a:lnTo>
                <a:lnTo>
                  <a:pt x="3" y="8"/>
                </a:lnTo>
                <a:lnTo>
                  <a:pt x="2" y="7"/>
                </a:lnTo>
                <a:lnTo>
                  <a:pt x="0" y="3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01" name="Freeform 822"/>
          <p:cNvSpPr>
            <a:spLocks/>
          </p:cNvSpPr>
          <p:nvPr/>
        </p:nvSpPr>
        <p:spPr bwMode="auto">
          <a:xfrm>
            <a:off x="3478110" y="3450856"/>
            <a:ext cx="3898" cy="21476"/>
          </a:xfrm>
          <a:custGeom>
            <a:avLst/>
            <a:gdLst/>
            <a:ahLst/>
            <a:cxnLst>
              <a:cxn ang="0">
                <a:pos x="1" y="2"/>
              </a:cxn>
              <a:cxn ang="0">
                <a:pos x="1" y="0"/>
              </a:cxn>
              <a:cxn ang="0">
                <a:pos x="3" y="2"/>
              </a:cxn>
              <a:cxn ang="0">
                <a:pos x="3" y="10"/>
              </a:cxn>
              <a:cxn ang="0">
                <a:pos x="0" y="8"/>
              </a:cxn>
              <a:cxn ang="0">
                <a:pos x="0" y="7"/>
              </a:cxn>
              <a:cxn ang="0">
                <a:pos x="1" y="5"/>
              </a:cxn>
              <a:cxn ang="0">
                <a:pos x="1" y="2"/>
              </a:cxn>
            </a:cxnLst>
            <a:rect l="0" t="0" r="r" b="b"/>
            <a:pathLst>
              <a:path w="3" h="10">
                <a:moveTo>
                  <a:pt x="1" y="2"/>
                </a:moveTo>
                <a:lnTo>
                  <a:pt x="1" y="0"/>
                </a:lnTo>
                <a:lnTo>
                  <a:pt x="3" y="2"/>
                </a:lnTo>
                <a:lnTo>
                  <a:pt x="3" y="10"/>
                </a:lnTo>
                <a:lnTo>
                  <a:pt x="0" y="8"/>
                </a:lnTo>
                <a:lnTo>
                  <a:pt x="0" y="7"/>
                </a:lnTo>
                <a:lnTo>
                  <a:pt x="1" y="5"/>
                </a:lnTo>
                <a:lnTo>
                  <a:pt x="1" y="2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02" name="Freeform 823"/>
          <p:cNvSpPr>
            <a:spLocks/>
          </p:cNvSpPr>
          <p:nvPr/>
        </p:nvSpPr>
        <p:spPr bwMode="auto">
          <a:xfrm>
            <a:off x="3478110" y="3450856"/>
            <a:ext cx="3898" cy="21476"/>
          </a:xfrm>
          <a:custGeom>
            <a:avLst/>
            <a:gdLst/>
            <a:ahLst/>
            <a:cxnLst>
              <a:cxn ang="0">
                <a:pos x="1" y="2"/>
              </a:cxn>
              <a:cxn ang="0">
                <a:pos x="1" y="0"/>
              </a:cxn>
              <a:cxn ang="0">
                <a:pos x="3" y="2"/>
              </a:cxn>
              <a:cxn ang="0">
                <a:pos x="3" y="10"/>
              </a:cxn>
              <a:cxn ang="0">
                <a:pos x="0" y="8"/>
              </a:cxn>
              <a:cxn ang="0">
                <a:pos x="0" y="7"/>
              </a:cxn>
              <a:cxn ang="0">
                <a:pos x="1" y="5"/>
              </a:cxn>
              <a:cxn ang="0">
                <a:pos x="1" y="2"/>
              </a:cxn>
            </a:cxnLst>
            <a:rect l="0" t="0" r="r" b="b"/>
            <a:pathLst>
              <a:path w="3" h="10">
                <a:moveTo>
                  <a:pt x="1" y="2"/>
                </a:moveTo>
                <a:lnTo>
                  <a:pt x="1" y="0"/>
                </a:lnTo>
                <a:lnTo>
                  <a:pt x="3" y="2"/>
                </a:lnTo>
                <a:lnTo>
                  <a:pt x="3" y="10"/>
                </a:lnTo>
                <a:lnTo>
                  <a:pt x="0" y="8"/>
                </a:lnTo>
                <a:lnTo>
                  <a:pt x="0" y="7"/>
                </a:lnTo>
                <a:lnTo>
                  <a:pt x="1" y="5"/>
                </a:lnTo>
                <a:lnTo>
                  <a:pt x="1" y="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03" name="Freeform 824"/>
          <p:cNvSpPr>
            <a:spLocks/>
          </p:cNvSpPr>
          <p:nvPr/>
        </p:nvSpPr>
        <p:spPr bwMode="auto">
          <a:xfrm>
            <a:off x="3493701" y="3472332"/>
            <a:ext cx="15591" cy="21476"/>
          </a:xfrm>
          <a:custGeom>
            <a:avLst/>
            <a:gdLst/>
            <a:ahLst/>
            <a:cxnLst>
              <a:cxn ang="0">
                <a:pos x="5" y="6"/>
              </a:cxn>
              <a:cxn ang="0">
                <a:pos x="7" y="6"/>
              </a:cxn>
              <a:cxn ang="0">
                <a:pos x="8" y="9"/>
              </a:cxn>
              <a:cxn ang="0">
                <a:pos x="7" y="11"/>
              </a:cxn>
              <a:cxn ang="0">
                <a:pos x="4" y="9"/>
              </a:cxn>
              <a:cxn ang="0">
                <a:pos x="5" y="8"/>
              </a:cxn>
              <a:cxn ang="0">
                <a:pos x="3" y="3"/>
              </a:cxn>
              <a:cxn ang="0">
                <a:pos x="0" y="0"/>
              </a:cxn>
              <a:cxn ang="0">
                <a:pos x="1" y="0"/>
              </a:cxn>
              <a:cxn ang="0">
                <a:pos x="3" y="1"/>
              </a:cxn>
              <a:cxn ang="0">
                <a:pos x="5" y="6"/>
              </a:cxn>
            </a:cxnLst>
            <a:rect l="0" t="0" r="r" b="b"/>
            <a:pathLst>
              <a:path w="8" h="11">
                <a:moveTo>
                  <a:pt x="5" y="6"/>
                </a:moveTo>
                <a:lnTo>
                  <a:pt x="7" y="6"/>
                </a:lnTo>
                <a:lnTo>
                  <a:pt x="8" y="9"/>
                </a:lnTo>
                <a:lnTo>
                  <a:pt x="7" y="11"/>
                </a:lnTo>
                <a:lnTo>
                  <a:pt x="4" y="9"/>
                </a:lnTo>
                <a:lnTo>
                  <a:pt x="5" y="8"/>
                </a:lnTo>
                <a:lnTo>
                  <a:pt x="3" y="3"/>
                </a:lnTo>
                <a:lnTo>
                  <a:pt x="0" y="0"/>
                </a:lnTo>
                <a:lnTo>
                  <a:pt x="1" y="0"/>
                </a:lnTo>
                <a:lnTo>
                  <a:pt x="3" y="1"/>
                </a:lnTo>
                <a:lnTo>
                  <a:pt x="5" y="6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04" name="Freeform 825"/>
          <p:cNvSpPr>
            <a:spLocks/>
          </p:cNvSpPr>
          <p:nvPr/>
        </p:nvSpPr>
        <p:spPr bwMode="auto">
          <a:xfrm>
            <a:off x="3493701" y="3472332"/>
            <a:ext cx="15591" cy="21476"/>
          </a:xfrm>
          <a:custGeom>
            <a:avLst/>
            <a:gdLst/>
            <a:ahLst/>
            <a:cxnLst>
              <a:cxn ang="0">
                <a:pos x="5" y="6"/>
              </a:cxn>
              <a:cxn ang="0">
                <a:pos x="7" y="6"/>
              </a:cxn>
              <a:cxn ang="0">
                <a:pos x="8" y="9"/>
              </a:cxn>
              <a:cxn ang="0">
                <a:pos x="7" y="11"/>
              </a:cxn>
              <a:cxn ang="0">
                <a:pos x="4" y="9"/>
              </a:cxn>
              <a:cxn ang="0">
                <a:pos x="5" y="8"/>
              </a:cxn>
              <a:cxn ang="0">
                <a:pos x="3" y="3"/>
              </a:cxn>
              <a:cxn ang="0">
                <a:pos x="0" y="0"/>
              </a:cxn>
              <a:cxn ang="0">
                <a:pos x="1" y="0"/>
              </a:cxn>
              <a:cxn ang="0">
                <a:pos x="3" y="1"/>
              </a:cxn>
              <a:cxn ang="0">
                <a:pos x="5" y="6"/>
              </a:cxn>
            </a:cxnLst>
            <a:rect l="0" t="0" r="r" b="b"/>
            <a:pathLst>
              <a:path w="8" h="11">
                <a:moveTo>
                  <a:pt x="5" y="6"/>
                </a:moveTo>
                <a:lnTo>
                  <a:pt x="7" y="6"/>
                </a:lnTo>
                <a:lnTo>
                  <a:pt x="8" y="9"/>
                </a:lnTo>
                <a:lnTo>
                  <a:pt x="7" y="11"/>
                </a:lnTo>
                <a:lnTo>
                  <a:pt x="4" y="9"/>
                </a:lnTo>
                <a:lnTo>
                  <a:pt x="5" y="8"/>
                </a:lnTo>
                <a:lnTo>
                  <a:pt x="3" y="3"/>
                </a:lnTo>
                <a:lnTo>
                  <a:pt x="0" y="0"/>
                </a:lnTo>
                <a:lnTo>
                  <a:pt x="1" y="0"/>
                </a:lnTo>
                <a:lnTo>
                  <a:pt x="3" y="1"/>
                </a:lnTo>
                <a:lnTo>
                  <a:pt x="5" y="6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05" name="Freeform 826"/>
          <p:cNvSpPr>
            <a:spLocks/>
          </p:cNvSpPr>
          <p:nvPr/>
        </p:nvSpPr>
        <p:spPr bwMode="auto">
          <a:xfrm>
            <a:off x="3528780" y="3489511"/>
            <a:ext cx="3898" cy="6443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0" y="2"/>
              </a:cxn>
              <a:cxn ang="0">
                <a:pos x="0" y="3"/>
              </a:cxn>
              <a:cxn ang="0">
                <a:pos x="1" y="3"/>
              </a:cxn>
              <a:cxn ang="0">
                <a:pos x="2" y="0"/>
              </a:cxn>
              <a:cxn ang="0">
                <a:pos x="1" y="0"/>
              </a:cxn>
            </a:cxnLst>
            <a:rect l="0" t="0" r="r" b="b"/>
            <a:pathLst>
              <a:path w="2" h="3">
                <a:moveTo>
                  <a:pt x="1" y="0"/>
                </a:moveTo>
                <a:lnTo>
                  <a:pt x="0" y="2"/>
                </a:lnTo>
                <a:lnTo>
                  <a:pt x="0" y="3"/>
                </a:lnTo>
                <a:lnTo>
                  <a:pt x="1" y="3"/>
                </a:lnTo>
                <a:lnTo>
                  <a:pt x="2" y="0"/>
                </a:lnTo>
                <a:lnTo>
                  <a:pt x="1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06" name="Freeform 827"/>
          <p:cNvSpPr>
            <a:spLocks/>
          </p:cNvSpPr>
          <p:nvPr/>
        </p:nvSpPr>
        <p:spPr bwMode="auto">
          <a:xfrm>
            <a:off x="3528780" y="3489511"/>
            <a:ext cx="3898" cy="6443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0" y="2"/>
              </a:cxn>
              <a:cxn ang="0">
                <a:pos x="0" y="3"/>
              </a:cxn>
              <a:cxn ang="0">
                <a:pos x="1" y="3"/>
              </a:cxn>
              <a:cxn ang="0">
                <a:pos x="2" y="0"/>
              </a:cxn>
              <a:cxn ang="0">
                <a:pos x="1" y="0"/>
              </a:cxn>
            </a:cxnLst>
            <a:rect l="0" t="0" r="r" b="b"/>
            <a:pathLst>
              <a:path w="2" h="3">
                <a:moveTo>
                  <a:pt x="1" y="0"/>
                </a:moveTo>
                <a:lnTo>
                  <a:pt x="0" y="2"/>
                </a:lnTo>
                <a:lnTo>
                  <a:pt x="0" y="3"/>
                </a:lnTo>
                <a:lnTo>
                  <a:pt x="1" y="3"/>
                </a:lnTo>
                <a:lnTo>
                  <a:pt x="2" y="0"/>
                </a:lnTo>
                <a:lnTo>
                  <a:pt x="1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07" name="Freeform 828"/>
          <p:cNvSpPr>
            <a:spLocks/>
          </p:cNvSpPr>
          <p:nvPr/>
        </p:nvSpPr>
        <p:spPr bwMode="auto">
          <a:xfrm>
            <a:off x="3509291" y="3513137"/>
            <a:ext cx="9745" cy="2362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5"/>
              </a:cxn>
              <a:cxn ang="0">
                <a:pos x="3" y="7"/>
              </a:cxn>
              <a:cxn ang="0">
                <a:pos x="4" y="8"/>
              </a:cxn>
              <a:cxn ang="0">
                <a:pos x="5" y="11"/>
              </a:cxn>
              <a:cxn ang="0">
                <a:pos x="5" y="13"/>
              </a:cxn>
              <a:cxn ang="0">
                <a:pos x="5" y="10"/>
              </a:cxn>
              <a:cxn ang="0">
                <a:pos x="3" y="8"/>
              </a:cxn>
              <a:cxn ang="0">
                <a:pos x="1" y="7"/>
              </a:cxn>
              <a:cxn ang="0">
                <a:pos x="1" y="2"/>
              </a:cxn>
              <a:cxn ang="0">
                <a:pos x="0" y="0"/>
              </a:cxn>
            </a:cxnLst>
            <a:rect l="0" t="0" r="r" b="b"/>
            <a:pathLst>
              <a:path w="5" h="13">
                <a:moveTo>
                  <a:pt x="0" y="0"/>
                </a:moveTo>
                <a:lnTo>
                  <a:pt x="1" y="5"/>
                </a:lnTo>
                <a:lnTo>
                  <a:pt x="3" y="7"/>
                </a:lnTo>
                <a:lnTo>
                  <a:pt x="4" y="8"/>
                </a:lnTo>
                <a:lnTo>
                  <a:pt x="5" y="11"/>
                </a:lnTo>
                <a:lnTo>
                  <a:pt x="5" y="13"/>
                </a:lnTo>
                <a:lnTo>
                  <a:pt x="5" y="10"/>
                </a:lnTo>
                <a:lnTo>
                  <a:pt x="3" y="8"/>
                </a:lnTo>
                <a:lnTo>
                  <a:pt x="1" y="7"/>
                </a:lnTo>
                <a:lnTo>
                  <a:pt x="1" y="2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08" name="Freeform 829"/>
          <p:cNvSpPr>
            <a:spLocks/>
          </p:cNvSpPr>
          <p:nvPr/>
        </p:nvSpPr>
        <p:spPr bwMode="auto">
          <a:xfrm>
            <a:off x="3509291" y="3513137"/>
            <a:ext cx="9745" cy="2362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5"/>
              </a:cxn>
              <a:cxn ang="0">
                <a:pos x="3" y="7"/>
              </a:cxn>
              <a:cxn ang="0">
                <a:pos x="4" y="8"/>
              </a:cxn>
              <a:cxn ang="0">
                <a:pos x="5" y="11"/>
              </a:cxn>
              <a:cxn ang="0">
                <a:pos x="5" y="13"/>
              </a:cxn>
              <a:cxn ang="0">
                <a:pos x="5" y="10"/>
              </a:cxn>
              <a:cxn ang="0">
                <a:pos x="3" y="8"/>
              </a:cxn>
              <a:cxn ang="0">
                <a:pos x="1" y="7"/>
              </a:cxn>
              <a:cxn ang="0">
                <a:pos x="1" y="2"/>
              </a:cxn>
              <a:cxn ang="0">
                <a:pos x="0" y="0"/>
              </a:cxn>
            </a:cxnLst>
            <a:rect l="0" t="0" r="r" b="b"/>
            <a:pathLst>
              <a:path w="5" h="13">
                <a:moveTo>
                  <a:pt x="0" y="0"/>
                </a:moveTo>
                <a:lnTo>
                  <a:pt x="1" y="5"/>
                </a:lnTo>
                <a:lnTo>
                  <a:pt x="3" y="7"/>
                </a:lnTo>
                <a:lnTo>
                  <a:pt x="4" y="8"/>
                </a:lnTo>
                <a:lnTo>
                  <a:pt x="5" y="11"/>
                </a:lnTo>
                <a:lnTo>
                  <a:pt x="5" y="13"/>
                </a:lnTo>
                <a:lnTo>
                  <a:pt x="5" y="10"/>
                </a:lnTo>
                <a:lnTo>
                  <a:pt x="3" y="8"/>
                </a:lnTo>
                <a:lnTo>
                  <a:pt x="1" y="7"/>
                </a:lnTo>
                <a:lnTo>
                  <a:pt x="1" y="2"/>
                </a:lnTo>
                <a:lnTo>
                  <a:pt x="0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09" name="Freeform 830"/>
          <p:cNvSpPr>
            <a:spLocks/>
          </p:cNvSpPr>
          <p:nvPr/>
        </p:nvSpPr>
        <p:spPr bwMode="auto">
          <a:xfrm>
            <a:off x="3532678" y="3536761"/>
            <a:ext cx="13642" cy="21476"/>
          </a:xfrm>
          <a:custGeom>
            <a:avLst/>
            <a:gdLst/>
            <a:ahLst/>
            <a:cxnLst>
              <a:cxn ang="0">
                <a:pos x="6" y="3"/>
              </a:cxn>
              <a:cxn ang="0">
                <a:pos x="4" y="3"/>
              </a:cxn>
              <a:cxn ang="0">
                <a:pos x="2" y="3"/>
              </a:cxn>
              <a:cxn ang="0">
                <a:pos x="0" y="1"/>
              </a:cxn>
              <a:cxn ang="0">
                <a:pos x="0" y="0"/>
              </a:cxn>
              <a:cxn ang="0">
                <a:pos x="3" y="1"/>
              </a:cxn>
              <a:cxn ang="0">
                <a:pos x="4" y="1"/>
              </a:cxn>
              <a:cxn ang="0">
                <a:pos x="7" y="1"/>
              </a:cxn>
              <a:cxn ang="0">
                <a:pos x="7" y="3"/>
              </a:cxn>
              <a:cxn ang="0">
                <a:pos x="7" y="6"/>
              </a:cxn>
              <a:cxn ang="0">
                <a:pos x="6" y="9"/>
              </a:cxn>
              <a:cxn ang="0">
                <a:pos x="3" y="11"/>
              </a:cxn>
              <a:cxn ang="0">
                <a:pos x="2" y="9"/>
              </a:cxn>
              <a:cxn ang="0">
                <a:pos x="6" y="5"/>
              </a:cxn>
              <a:cxn ang="0">
                <a:pos x="6" y="3"/>
              </a:cxn>
            </a:cxnLst>
            <a:rect l="0" t="0" r="r" b="b"/>
            <a:pathLst>
              <a:path w="7" h="11">
                <a:moveTo>
                  <a:pt x="6" y="3"/>
                </a:moveTo>
                <a:lnTo>
                  <a:pt x="4" y="3"/>
                </a:lnTo>
                <a:lnTo>
                  <a:pt x="2" y="3"/>
                </a:lnTo>
                <a:lnTo>
                  <a:pt x="0" y="1"/>
                </a:lnTo>
                <a:lnTo>
                  <a:pt x="0" y="0"/>
                </a:lnTo>
                <a:lnTo>
                  <a:pt x="3" y="1"/>
                </a:lnTo>
                <a:lnTo>
                  <a:pt x="4" y="1"/>
                </a:lnTo>
                <a:lnTo>
                  <a:pt x="7" y="1"/>
                </a:lnTo>
                <a:lnTo>
                  <a:pt x="7" y="3"/>
                </a:lnTo>
                <a:lnTo>
                  <a:pt x="7" y="6"/>
                </a:lnTo>
                <a:lnTo>
                  <a:pt x="6" y="9"/>
                </a:lnTo>
                <a:lnTo>
                  <a:pt x="3" y="11"/>
                </a:lnTo>
                <a:lnTo>
                  <a:pt x="2" y="9"/>
                </a:lnTo>
                <a:lnTo>
                  <a:pt x="6" y="5"/>
                </a:lnTo>
                <a:lnTo>
                  <a:pt x="6" y="3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10" name="Freeform 831"/>
          <p:cNvSpPr>
            <a:spLocks/>
          </p:cNvSpPr>
          <p:nvPr/>
        </p:nvSpPr>
        <p:spPr bwMode="auto">
          <a:xfrm>
            <a:off x="3532678" y="3536761"/>
            <a:ext cx="13642" cy="21476"/>
          </a:xfrm>
          <a:custGeom>
            <a:avLst/>
            <a:gdLst/>
            <a:ahLst/>
            <a:cxnLst>
              <a:cxn ang="0">
                <a:pos x="6" y="3"/>
              </a:cxn>
              <a:cxn ang="0">
                <a:pos x="4" y="3"/>
              </a:cxn>
              <a:cxn ang="0">
                <a:pos x="2" y="3"/>
              </a:cxn>
              <a:cxn ang="0">
                <a:pos x="0" y="1"/>
              </a:cxn>
              <a:cxn ang="0">
                <a:pos x="0" y="0"/>
              </a:cxn>
              <a:cxn ang="0">
                <a:pos x="3" y="1"/>
              </a:cxn>
              <a:cxn ang="0">
                <a:pos x="4" y="1"/>
              </a:cxn>
              <a:cxn ang="0">
                <a:pos x="7" y="1"/>
              </a:cxn>
              <a:cxn ang="0">
                <a:pos x="7" y="3"/>
              </a:cxn>
              <a:cxn ang="0">
                <a:pos x="7" y="6"/>
              </a:cxn>
              <a:cxn ang="0">
                <a:pos x="6" y="9"/>
              </a:cxn>
              <a:cxn ang="0">
                <a:pos x="3" y="11"/>
              </a:cxn>
              <a:cxn ang="0">
                <a:pos x="2" y="9"/>
              </a:cxn>
              <a:cxn ang="0">
                <a:pos x="6" y="5"/>
              </a:cxn>
              <a:cxn ang="0">
                <a:pos x="6" y="3"/>
              </a:cxn>
            </a:cxnLst>
            <a:rect l="0" t="0" r="r" b="b"/>
            <a:pathLst>
              <a:path w="7" h="11">
                <a:moveTo>
                  <a:pt x="6" y="3"/>
                </a:moveTo>
                <a:lnTo>
                  <a:pt x="4" y="3"/>
                </a:lnTo>
                <a:lnTo>
                  <a:pt x="2" y="3"/>
                </a:lnTo>
                <a:lnTo>
                  <a:pt x="0" y="1"/>
                </a:lnTo>
                <a:lnTo>
                  <a:pt x="0" y="0"/>
                </a:lnTo>
                <a:lnTo>
                  <a:pt x="3" y="1"/>
                </a:lnTo>
                <a:lnTo>
                  <a:pt x="4" y="1"/>
                </a:lnTo>
                <a:lnTo>
                  <a:pt x="7" y="1"/>
                </a:lnTo>
                <a:lnTo>
                  <a:pt x="7" y="3"/>
                </a:lnTo>
                <a:lnTo>
                  <a:pt x="7" y="6"/>
                </a:lnTo>
                <a:lnTo>
                  <a:pt x="6" y="9"/>
                </a:lnTo>
                <a:lnTo>
                  <a:pt x="3" y="11"/>
                </a:lnTo>
                <a:lnTo>
                  <a:pt x="2" y="9"/>
                </a:lnTo>
                <a:lnTo>
                  <a:pt x="6" y="5"/>
                </a:lnTo>
                <a:lnTo>
                  <a:pt x="6" y="3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11" name="Freeform 832"/>
          <p:cNvSpPr>
            <a:spLocks/>
          </p:cNvSpPr>
          <p:nvPr/>
        </p:nvSpPr>
        <p:spPr bwMode="auto">
          <a:xfrm>
            <a:off x="3569706" y="3553942"/>
            <a:ext cx="13640" cy="2146"/>
          </a:xfrm>
          <a:custGeom>
            <a:avLst/>
            <a:gdLst/>
            <a:ahLst/>
            <a:cxnLst>
              <a:cxn ang="0">
                <a:pos x="7" y="1"/>
              </a:cxn>
              <a:cxn ang="0">
                <a:pos x="5" y="0"/>
              </a:cxn>
              <a:cxn ang="0">
                <a:pos x="3" y="0"/>
              </a:cxn>
              <a:cxn ang="0">
                <a:pos x="0" y="1"/>
              </a:cxn>
              <a:cxn ang="0">
                <a:pos x="3" y="1"/>
              </a:cxn>
              <a:cxn ang="0">
                <a:pos x="5" y="1"/>
              </a:cxn>
              <a:cxn ang="0">
                <a:pos x="7" y="1"/>
              </a:cxn>
            </a:cxnLst>
            <a:rect l="0" t="0" r="r" b="b"/>
            <a:pathLst>
              <a:path w="7" h="1">
                <a:moveTo>
                  <a:pt x="7" y="1"/>
                </a:moveTo>
                <a:lnTo>
                  <a:pt x="5" y="0"/>
                </a:lnTo>
                <a:lnTo>
                  <a:pt x="3" y="0"/>
                </a:lnTo>
                <a:lnTo>
                  <a:pt x="0" y="1"/>
                </a:lnTo>
                <a:lnTo>
                  <a:pt x="3" y="1"/>
                </a:lnTo>
                <a:lnTo>
                  <a:pt x="5" y="1"/>
                </a:lnTo>
                <a:lnTo>
                  <a:pt x="7" y="1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12" name="Freeform 833"/>
          <p:cNvSpPr>
            <a:spLocks/>
          </p:cNvSpPr>
          <p:nvPr/>
        </p:nvSpPr>
        <p:spPr bwMode="auto">
          <a:xfrm>
            <a:off x="3569706" y="3553942"/>
            <a:ext cx="13640" cy="2146"/>
          </a:xfrm>
          <a:custGeom>
            <a:avLst/>
            <a:gdLst/>
            <a:ahLst/>
            <a:cxnLst>
              <a:cxn ang="0">
                <a:pos x="7" y="1"/>
              </a:cxn>
              <a:cxn ang="0">
                <a:pos x="5" y="0"/>
              </a:cxn>
              <a:cxn ang="0">
                <a:pos x="3" y="0"/>
              </a:cxn>
              <a:cxn ang="0">
                <a:pos x="0" y="1"/>
              </a:cxn>
              <a:cxn ang="0">
                <a:pos x="3" y="1"/>
              </a:cxn>
              <a:cxn ang="0">
                <a:pos x="5" y="1"/>
              </a:cxn>
              <a:cxn ang="0">
                <a:pos x="7" y="1"/>
              </a:cxn>
            </a:cxnLst>
            <a:rect l="0" t="0" r="r" b="b"/>
            <a:pathLst>
              <a:path w="7" h="1">
                <a:moveTo>
                  <a:pt x="7" y="1"/>
                </a:moveTo>
                <a:lnTo>
                  <a:pt x="5" y="0"/>
                </a:lnTo>
                <a:lnTo>
                  <a:pt x="3" y="0"/>
                </a:lnTo>
                <a:lnTo>
                  <a:pt x="0" y="1"/>
                </a:lnTo>
                <a:lnTo>
                  <a:pt x="3" y="1"/>
                </a:lnTo>
                <a:lnTo>
                  <a:pt x="5" y="1"/>
                </a:lnTo>
                <a:lnTo>
                  <a:pt x="7" y="1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13" name="Freeform 834"/>
          <p:cNvSpPr>
            <a:spLocks/>
          </p:cNvSpPr>
          <p:nvPr/>
        </p:nvSpPr>
        <p:spPr bwMode="auto">
          <a:xfrm>
            <a:off x="3591141" y="3568974"/>
            <a:ext cx="23386" cy="8591"/>
          </a:xfrm>
          <a:custGeom>
            <a:avLst/>
            <a:gdLst/>
            <a:ahLst/>
            <a:cxnLst>
              <a:cxn ang="0">
                <a:pos x="3" y="0"/>
              </a:cxn>
              <a:cxn ang="0">
                <a:pos x="4" y="0"/>
              </a:cxn>
              <a:cxn ang="0">
                <a:pos x="5" y="0"/>
              </a:cxn>
              <a:cxn ang="0">
                <a:pos x="9" y="3"/>
              </a:cxn>
              <a:cxn ang="0">
                <a:pos x="12" y="4"/>
              </a:cxn>
              <a:cxn ang="0">
                <a:pos x="11" y="4"/>
              </a:cxn>
              <a:cxn ang="0">
                <a:pos x="7" y="1"/>
              </a:cxn>
              <a:cxn ang="0">
                <a:pos x="5" y="1"/>
              </a:cxn>
              <a:cxn ang="0">
                <a:pos x="3" y="3"/>
              </a:cxn>
              <a:cxn ang="0">
                <a:pos x="0" y="3"/>
              </a:cxn>
              <a:cxn ang="0">
                <a:pos x="1" y="1"/>
              </a:cxn>
              <a:cxn ang="0">
                <a:pos x="3" y="0"/>
              </a:cxn>
            </a:cxnLst>
            <a:rect l="0" t="0" r="r" b="b"/>
            <a:pathLst>
              <a:path w="12" h="4">
                <a:moveTo>
                  <a:pt x="3" y="0"/>
                </a:moveTo>
                <a:lnTo>
                  <a:pt x="4" y="0"/>
                </a:lnTo>
                <a:lnTo>
                  <a:pt x="5" y="0"/>
                </a:lnTo>
                <a:lnTo>
                  <a:pt x="9" y="3"/>
                </a:lnTo>
                <a:lnTo>
                  <a:pt x="12" y="4"/>
                </a:lnTo>
                <a:lnTo>
                  <a:pt x="11" y="4"/>
                </a:lnTo>
                <a:lnTo>
                  <a:pt x="7" y="1"/>
                </a:lnTo>
                <a:lnTo>
                  <a:pt x="5" y="1"/>
                </a:lnTo>
                <a:lnTo>
                  <a:pt x="3" y="3"/>
                </a:lnTo>
                <a:lnTo>
                  <a:pt x="0" y="3"/>
                </a:lnTo>
                <a:lnTo>
                  <a:pt x="1" y="1"/>
                </a:lnTo>
                <a:lnTo>
                  <a:pt x="3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14" name="Freeform 835"/>
          <p:cNvSpPr>
            <a:spLocks/>
          </p:cNvSpPr>
          <p:nvPr/>
        </p:nvSpPr>
        <p:spPr bwMode="auto">
          <a:xfrm>
            <a:off x="3591141" y="3568974"/>
            <a:ext cx="23386" cy="8591"/>
          </a:xfrm>
          <a:custGeom>
            <a:avLst/>
            <a:gdLst/>
            <a:ahLst/>
            <a:cxnLst>
              <a:cxn ang="0">
                <a:pos x="3" y="0"/>
              </a:cxn>
              <a:cxn ang="0">
                <a:pos x="4" y="0"/>
              </a:cxn>
              <a:cxn ang="0">
                <a:pos x="5" y="0"/>
              </a:cxn>
              <a:cxn ang="0">
                <a:pos x="9" y="3"/>
              </a:cxn>
              <a:cxn ang="0">
                <a:pos x="12" y="4"/>
              </a:cxn>
              <a:cxn ang="0">
                <a:pos x="11" y="4"/>
              </a:cxn>
              <a:cxn ang="0">
                <a:pos x="7" y="1"/>
              </a:cxn>
              <a:cxn ang="0">
                <a:pos x="5" y="1"/>
              </a:cxn>
              <a:cxn ang="0">
                <a:pos x="3" y="3"/>
              </a:cxn>
              <a:cxn ang="0">
                <a:pos x="0" y="3"/>
              </a:cxn>
              <a:cxn ang="0">
                <a:pos x="1" y="1"/>
              </a:cxn>
              <a:cxn ang="0">
                <a:pos x="3" y="0"/>
              </a:cxn>
            </a:cxnLst>
            <a:rect l="0" t="0" r="r" b="b"/>
            <a:pathLst>
              <a:path w="12" h="4">
                <a:moveTo>
                  <a:pt x="3" y="0"/>
                </a:moveTo>
                <a:lnTo>
                  <a:pt x="4" y="0"/>
                </a:lnTo>
                <a:lnTo>
                  <a:pt x="5" y="0"/>
                </a:lnTo>
                <a:lnTo>
                  <a:pt x="9" y="3"/>
                </a:lnTo>
                <a:lnTo>
                  <a:pt x="12" y="4"/>
                </a:lnTo>
                <a:lnTo>
                  <a:pt x="11" y="4"/>
                </a:lnTo>
                <a:lnTo>
                  <a:pt x="7" y="1"/>
                </a:lnTo>
                <a:lnTo>
                  <a:pt x="5" y="1"/>
                </a:lnTo>
                <a:lnTo>
                  <a:pt x="3" y="3"/>
                </a:lnTo>
                <a:lnTo>
                  <a:pt x="0" y="3"/>
                </a:lnTo>
                <a:lnTo>
                  <a:pt x="1" y="1"/>
                </a:lnTo>
                <a:lnTo>
                  <a:pt x="3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15" name="Freeform 836"/>
          <p:cNvSpPr>
            <a:spLocks/>
          </p:cNvSpPr>
          <p:nvPr/>
        </p:nvSpPr>
        <p:spPr bwMode="auto">
          <a:xfrm>
            <a:off x="3556063" y="3592598"/>
            <a:ext cx="15591" cy="10737"/>
          </a:xfrm>
          <a:custGeom>
            <a:avLst/>
            <a:gdLst/>
            <a:ahLst/>
            <a:cxnLst>
              <a:cxn ang="0">
                <a:pos x="8" y="0"/>
              </a:cxn>
              <a:cxn ang="0">
                <a:pos x="8" y="3"/>
              </a:cxn>
              <a:cxn ang="0">
                <a:pos x="8" y="4"/>
              </a:cxn>
              <a:cxn ang="0">
                <a:pos x="6" y="6"/>
              </a:cxn>
              <a:cxn ang="0">
                <a:pos x="0" y="7"/>
              </a:cxn>
              <a:cxn ang="0">
                <a:pos x="0" y="3"/>
              </a:cxn>
              <a:cxn ang="0">
                <a:pos x="3" y="1"/>
              </a:cxn>
              <a:cxn ang="0">
                <a:pos x="6" y="3"/>
              </a:cxn>
              <a:cxn ang="0">
                <a:pos x="8" y="0"/>
              </a:cxn>
            </a:cxnLst>
            <a:rect l="0" t="0" r="r" b="b"/>
            <a:pathLst>
              <a:path w="8" h="7">
                <a:moveTo>
                  <a:pt x="8" y="0"/>
                </a:moveTo>
                <a:lnTo>
                  <a:pt x="8" y="3"/>
                </a:lnTo>
                <a:lnTo>
                  <a:pt x="8" y="4"/>
                </a:lnTo>
                <a:lnTo>
                  <a:pt x="6" y="6"/>
                </a:lnTo>
                <a:lnTo>
                  <a:pt x="0" y="7"/>
                </a:lnTo>
                <a:lnTo>
                  <a:pt x="0" y="3"/>
                </a:lnTo>
                <a:lnTo>
                  <a:pt x="3" y="1"/>
                </a:lnTo>
                <a:lnTo>
                  <a:pt x="6" y="3"/>
                </a:lnTo>
                <a:lnTo>
                  <a:pt x="8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16" name="Freeform 837"/>
          <p:cNvSpPr>
            <a:spLocks/>
          </p:cNvSpPr>
          <p:nvPr/>
        </p:nvSpPr>
        <p:spPr bwMode="auto">
          <a:xfrm>
            <a:off x="3556063" y="3592598"/>
            <a:ext cx="15591" cy="10737"/>
          </a:xfrm>
          <a:custGeom>
            <a:avLst/>
            <a:gdLst/>
            <a:ahLst/>
            <a:cxnLst>
              <a:cxn ang="0">
                <a:pos x="8" y="0"/>
              </a:cxn>
              <a:cxn ang="0">
                <a:pos x="8" y="3"/>
              </a:cxn>
              <a:cxn ang="0">
                <a:pos x="8" y="4"/>
              </a:cxn>
              <a:cxn ang="0">
                <a:pos x="6" y="6"/>
              </a:cxn>
              <a:cxn ang="0">
                <a:pos x="0" y="7"/>
              </a:cxn>
              <a:cxn ang="0">
                <a:pos x="0" y="3"/>
              </a:cxn>
              <a:cxn ang="0">
                <a:pos x="3" y="1"/>
              </a:cxn>
              <a:cxn ang="0">
                <a:pos x="6" y="3"/>
              </a:cxn>
              <a:cxn ang="0">
                <a:pos x="8" y="0"/>
              </a:cxn>
            </a:cxnLst>
            <a:rect l="0" t="0" r="r" b="b"/>
            <a:pathLst>
              <a:path w="8" h="7">
                <a:moveTo>
                  <a:pt x="8" y="0"/>
                </a:moveTo>
                <a:lnTo>
                  <a:pt x="8" y="3"/>
                </a:lnTo>
                <a:lnTo>
                  <a:pt x="8" y="4"/>
                </a:lnTo>
                <a:lnTo>
                  <a:pt x="6" y="6"/>
                </a:lnTo>
                <a:lnTo>
                  <a:pt x="0" y="7"/>
                </a:lnTo>
                <a:lnTo>
                  <a:pt x="0" y="3"/>
                </a:lnTo>
                <a:lnTo>
                  <a:pt x="3" y="1"/>
                </a:lnTo>
                <a:lnTo>
                  <a:pt x="6" y="3"/>
                </a:lnTo>
                <a:lnTo>
                  <a:pt x="8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17" name="Freeform 838"/>
          <p:cNvSpPr>
            <a:spLocks/>
          </p:cNvSpPr>
          <p:nvPr/>
        </p:nvSpPr>
        <p:spPr bwMode="auto">
          <a:xfrm>
            <a:off x="3431339" y="3489513"/>
            <a:ext cx="7795" cy="4295"/>
          </a:xfrm>
          <a:custGeom>
            <a:avLst/>
            <a:gdLst/>
            <a:ahLst/>
            <a:cxnLst>
              <a:cxn ang="0">
                <a:pos x="3" y="0"/>
              </a:cxn>
              <a:cxn ang="0">
                <a:pos x="0" y="3"/>
              </a:cxn>
              <a:cxn ang="0">
                <a:pos x="3" y="3"/>
              </a:cxn>
              <a:cxn ang="0">
                <a:pos x="4" y="0"/>
              </a:cxn>
              <a:cxn ang="0">
                <a:pos x="3" y="0"/>
              </a:cxn>
            </a:cxnLst>
            <a:rect l="0" t="0" r="r" b="b"/>
            <a:pathLst>
              <a:path w="4" h="3">
                <a:moveTo>
                  <a:pt x="3" y="0"/>
                </a:moveTo>
                <a:lnTo>
                  <a:pt x="0" y="3"/>
                </a:lnTo>
                <a:lnTo>
                  <a:pt x="3" y="3"/>
                </a:lnTo>
                <a:lnTo>
                  <a:pt x="4" y="0"/>
                </a:lnTo>
                <a:lnTo>
                  <a:pt x="3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18" name="Freeform 839"/>
          <p:cNvSpPr>
            <a:spLocks/>
          </p:cNvSpPr>
          <p:nvPr/>
        </p:nvSpPr>
        <p:spPr bwMode="auto">
          <a:xfrm>
            <a:off x="3431339" y="3489513"/>
            <a:ext cx="7795" cy="4295"/>
          </a:xfrm>
          <a:custGeom>
            <a:avLst/>
            <a:gdLst/>
            <a:ahLst/>
            <a:cxnLst>
              <a:cxn ang="0">
                <a:pos x="3" y="0"/>
              </a:cxn>
              <a:cxn ang="0">
                <a:pos x="0" y="3"/>
              </a:cxn>
              <a:cxn ang="0">
                <a:pos x="3" y="3"/>
              </a:cxn>
              <a:cxn ang="0">
                <a:pos x="4" y="0"/>
              </a:cxn>
              <a:cxn ang="0">
                <a:pos x="3" y="0"/>
              </a:cxn>
            </a:cxnLst>
            <a:rect l="0" t="0" r="r" b="b"/>
            <a:pathLst>
              <a:path w="4" h="3">
                <a:moveTo>
                  <a:pt x="3" y="0"/>
                </a:moveTo>
                <a:lnTo>
                  <a:pt x="0" y="3"/>
                </a:lnTo>
                <a:lnTo>
                  <a:pt x="3" y="3"/>
                </a:lnTo>
                <a:lnTo>
                  <a:pt x="4" y="0"/>
                </a:lnTo>
                <a:lnTo>
                  <a:pt x="3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19" name="Freeform 840"/>
          <p:cNvSpPr>
            <a:spLocks/>
          </p:cNvSpPr>
          <p:nvPr/>
        </p:nvSpPr>
        <p:spPr bwMode="auto">
          <a:xfrm>
            <a:off x="3914645" y="6167578"/>
            <a:ext cx="11693" cy="10739"/>
          </a:xfrm>
          <a:custGeom>
            <a:avLst/>
            <a:gdLst/>
            <a:ahLst/>
            <a:cxnLst>
              <a:cxn ang="0">
                <a:pos x="4" y="3"/>
              </a:cxn>
              <a:cxn ang="0">
                <a:pos x="5" y="3"/>
              </a:cxn>
              <a:cxn ang="0">
                <a:pos x="6" y="3"/>
              </a:cxn>
              <a:cxn ang="0">
                <a:pos x="5" y="5"/>
              </a:cxn>
              <a:cxn ang="0">
                <a:pos x="4" y="6"/>
              </a:cxn>
              <a:cxn ang="0">
                <a:pos x="2" y="6"/>
              </a:cxn>
              <a:cxn ang="0">
                <a:pos x="0" y="3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3"/>
              </a:cxn>
              <a:cxn ang="0">
                <a:pos x="1" y="5"/>
              </a:cxn>
              <a:cxn ang="0">
                <a:pos x="1" y="3"/>
              </a:cxn>
              <a:cxn ang="0">
                <a:pos x="4" y="3"/>
              </a:cxn>
            </a:cxnLst>
            <a:rect l="0" t="0" r="r" b="b"/>
            <a:pathLst>
              <a:path w="6" h="6">
                <a:moveTo>
                  <a:pt x="4" y="3"/>
                </a:moveTo>
                <a:lnTo>
                  <a:pt x="5" y="3"/>
                </a:lnTo>
                <a:lnTo>
                  <a:pt x="6" y="3"/>
                </a:lnTo>
                <a:lnTo>
                  <a:pt x="5" y="5"/>
                </a:lnTo>
                <a:lnTo>
                  <a:pt x="4" y="6"/>
                </a:lnTo>
                <a:lnTo>
                  <a:pt x="2" y="6"/>
                </a:lnTo>
                <a:lnTo>
                  <a:pt x="0" y="3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3"/>
                </a:lnTo>
                <a:lnTo>
                  <a:pt x="1" y="5"/>
                </a:lnTo>
                <a:lnTo>
                  <a:pt x="1" y="3"/>
                </a:lnTo>
                <a:lnTo>
                  <a:pt x="4" y="3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20" name="Freeform 841"/>
          <p:cNvSpPr>
            <a:spLocks/>
          </p:cNvSpPr>
          <p:nvPr/>
        </p:nvSpPr>
        <p:spPr bwMode="auto">
          <a:xfrm>
            <a:off x="3914645" y="6167578"/>
            <a:ext cx="11693" cy="10739"/>
          </a:xfrm>
          <a:custGeom>
            <a:avLst/>
            <a:gdLst/>
            <a:ahLst/>
            <a:cxnLst>
              <a:cxn ang="0">
                <a:pos x="4" y="3"/>
              </a:cxn>
              <a:cxn ang="0">
                <a:pos x="5" y="3"/>
              </a:cxn>
              <a:cxn ang="0">
                <a:pos x="6" y="3"/>
              </a:cxn>
              <a:cxn ang="0">
                <a:pos x="5" y="5"/>
              </a:cxn>
              <a:cxn ang="0">
                <a:pos x="4" y="6"/>
              </a:cxn>
              <a:cxn ang="0">
                <a:pos x="2" y="6"/>
              </a:cxn>
              <a:cxn ang="0">
                <a:pos x="0" y="3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3"/>
              </a:cxn>
              <a:cxn ang="0">
                <a:pos x="1" y="5"/>
              </a:cxn>
              <a:cxn ang="0">
                <a:pos x="1" y="3"/>
              </a:cxn>
              <a:cxn ang="0">
                <a:pos x="4" y="3"/>
              </a:cxn>
            </a:cxnLst>
            <a:rect l="0" t="0" r="r" b="b"/>
            <a:pathLst>
              <a:path w="6" h="6">
                <a:moveTo>
                  <a:pt x="4" y="3"/>
                </a:moveTo>
                <a:lnTo>
                  <a:pt x="5" y="3"/>
                </a:lnTo>
                <a:lnTo>
                  <a:pt x="6" y="3"/>
                </a:lnTo>
                <a:lnTo>
                  <a:pt x="5" y="5"/>
                </a:lnTo>
                <a:lnTo>
                  <a:pt x="4" y="6"/>
                </a:lnTo>
                <a:lnTo>
                  <a:pt x="2" y="6"/>
                </a:lnTo>
                <a:lnTo>
                  <a:pt x="0" y="3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3"/>
                </a:lnTo>
                <a:lnTo>
                  <a:pt x="1" y="5"/>
                </a:lnTo>
                <a:lnTo>
                  <a:pt x="1" y="3"/>
                </a:lnTo>
                <a:lnTo>
                  <a:pt x="4" y="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21" name="Freeform 842"/>
          <p:cNvSpPr>
            <a:spLocks/>
          </p:cNvSpPr>
          <p:nvPr/>
        </p:nvSpPr>
        <p:spPr bwMode="auto">
          <a:xfrm>
            <a:off x="3922440" y="6156841"/>
            <a:ext cx="50670" cy="32213"/>
          </a:xfrm>
          <a:custGeom>
            <a:avLst/>
            <a:gdLst/>
            <a:ahLst/>
            <a:cxnLst>
              <a:cxn ang="0">
                <a:pos x="24" y="0"/>
              </a:cxn>
              <a:cxn ang="0">
                <a:pos x="25" y="0"/>
              </a:cxn>
              <a:cxn ang="0">
                <a:pos x="26" y="2"/>
              </a:cxn>
              <a:cxn ang="0">
                <a:pos x="25" y="4"/>
              </a:cxn>
              <a:cxn ang="0">
                <a:pos x="25" y="5"/>
              </a:cxn>
              <a:cxn ang="0">
                <a:pos x="24" y="5"/>
              </a:cxn>
              <a:cxn ang="0">
                <a:pos x="20" y="8"/>
              </a:cxn>
              <a:cxn ang="0">
                <a:pos x="18" y="10"/>
              </a:cxn>
              <a:cxn ang="0">
                <a:pos x="17" y="11"/>
              </a:cxn>
              <a:cxn ang="0">
                <a:pos x="16" y="11"/>
              </a:cxn>
              <a:cxn ang="0">
                <a:pos x="14" y="11"/>
              </a:cxn>
              <a:cxn ang="0">
                <a:pos x="12" y="11"/>
              </a:cxn>
              <a:cxn ang="0">
                <a:pos x="10" y="11"/>
              </a:cxn>
              <a:cxn ang="0">
                <a:pos x="10" y="13"/>
              </a:cxn>
              <a:cxn ang="0">
                <a:pos x="9" y="15"/>
              </a:cxn>
              <a:cxn ang="0">
                <a:pos x="5" y="16"/>
              </a:cxn>
              <a:cxn ang="0">
                <a:pos x="5" y="15"/>
              </a:cxn>
              <a:cxn ang="0">
                <a:pos x="2" y="13"/>
              </a:cxn>
              <a:cxn ang="0">
                <a:pos x="2" y="15"/>
              </a:cxn>
              <a:cxn ang="0">
                <a:pos x="4" y="15"/>
              </a:cxn>
              <a:cxn ang="0">
                <a:pos x="0" y="13"/>
              </a:cxn>
              <a:cxn ang="0">
                <a:pos x="1" y="11"/>
              </a:cxn>
              <a:cxn ang="0">
                <a:pos x="2" y="11"/>
              </a:cxn>
              <a:cxn ang="0">
                <a:pos x="5" y="11"/>
              </a:cxn>
              <a:cxn ang="0">
                <a:pos x="6" y="11"/>
              </a:cxn>
              <a:cxn ang="0">
                <a:pos x="8" y="10"/>
              </a:cxn>
              <a:cxn ang="0">
                <a:pos x="6" y="10"/>
              </a:cxn>
              <a:cxn ang="0">
                <a:pos x="8" y="8"/>
              </a:cxn>
              <a:cxn ang="0">
                <a:pos x="10" y="8"/>
              </a:cxn>
              <a:cxn ang="0">
                <a:pos x="10" y="7"/>
              </a:cxn>
              <a:cxn ang="0">
                <a:pos x="14" y="7"/>
              </a:cxn>
              <a:cxn ang="0">
                <a:pos x="10" y="4"/>
              </a:cxn>
              <a:cxn ang="0">
                <a:pos x="8" y="4"/>
              </a:cxn>
              <a:cxn ang="0">
                <a:pos x="9" y="2"/>
              </a:cxn>
              <a:cxn ang="0">
                <a:pos x="8" y="2"/>
              </a:cxn>
              <a:cxn ang="0">
                <a:pos x="6" y="2"/>
              </a:cxn>
              <a:cxn ang="0">
                <a:pos x="6" y="0"/>
              </a:cxn>
              <a:cxn ang="0">
                <a:pos x="9" y="2"/>
              </a:cxn>
              <a:cxn ang="0">
                <a:pos x="13" y="2"/>
              </a:cxn>
              <a:cxn ang="0">
                <a:pos x="14" y="2"/>
              </a:cxn>
              <a:cxn ang="0">
                <a:pos x="20" y="2"/>
              </a:cxn>
              <a:cxn ang="0">
                <a:pos x="24" y="2"/>
              </a:cxn>
              <a:cxn ang="0">
                <a:pos x="24" y="0"/>
              </a:cxn>
            </a:cxnLst>
            <a:rect l="0" t="0" r="r" b="b"/>
            <a:pathLst>
              <a:path w="26" h="16">
                <a:moveTo>
                  <a:pt x="24" y="0"/>
                </a:moveTo>
                <a:lnTo>
                  <a:pt x="25" y="0"/>
                </a:lnTo>
                <a:lnTo>
                  <a:pt x="26" y="2"/>
                </a:lnTo>
                <a:lnTo>
                  <a:pt x="25" y="4"/>
                </a:lnTo>
                <a:lnTo>
                  <a:pt x="25" y="5"/>
                </a:lnTo>
                <a:lnTo>
                  <a:pt x="24" y="5"/>
                </a:lnTo>
                <a:lnTo>
                  <a:pt x="20" y="8"/>
                </a:lnTo>
                <a:lnTo>
                  <a:pt x="18" y="10"/>
                </a:lnTo>
                <a:lnTo>
                  <a:pt x="17" y="11"/>
                </a:lnTo>
                <a:lnTo>
                  <a:pt x="16" y="11"/>
                </a:lnTo>
                <a:lnTo>
                  <a:pt x="14" y="11"/>
                </a:lnTo>
                <a:lnTo>
                  <a:pt x="12" y="11"/>
                </a:lnTo>
                <a:lnTo>
                  <a:pt x="10" y="11"/>
                </a:lnTo>
                <a:lnTo>
                  <a:pt x="10" y="13"/>
                </a:lnTo>
                <a:lnTo>
                  <a:pt x="9" y="15"/>
                </a:lnTo>
                <a:lnTo>
                  <a:pt x="5" y="16"/>
                </a:lnTo>
                <a:lnTo>
                  <a:pt x="5" y="15"/>
                </a:lnTo>
                <a:lnTo>
                  <a:pt x="2" y="13"/>
                </a:lnTo>
                <a:lnTo>
                  <a:pt x="2" y="15"/>
                </a:lnTo>
                <a:lnTo>
                  <a:pt x="4" y="15"/>
                </a:lnTo>
                <a:lnTo>
                  <a:pt x="0" y="13"/>
                </a:lnTo>
                <a:lnTo>
                  <a:pt x="1" y="11"/>
                </a:lnTo>
                <a:lnTo>
                  <a:pt x="2" y="11"/>
                </a:lnTo>
                <a:lnTo>
                  <a:pt x="5" y="11"/>
                </a:lnTo>
                <a:lnTo>
                  <a:pt x="6" y="11"/>
                </a:lnTo>
                <a:lnTo>
                  <a:pt x="8" y="10"/>
                </a:lnTo>
                <a:lnTo>
                  <a:pt x="6" y="10"/>
                </a:lnTo>
                <a:lnTo>
                  <a:pt x="8" y="8"/>
                </a:lnTo>
                <a:lnTo>
                  <a:pt x="10" y="8"/>
                </a:lnTo>
                <a:lnTo>
                  <a:pt x="10" y="7"/>
                </a:lnTo>
                <a:lnTo>
                  <a:pt x="14" y="7"/>
                </a:lnTo>
                <a:lnTo>
                  <a:pt x="10" y="4"/>
                </a:lnTo>
                <a:lnTo>
                  <a:pt x="8" y="4"/>
                </a:lnTo>
                <a:lnTo>
                  <a:pt x="9" y="2"/>
                </a:lnTo>
                <a:lnTo>
                  <a:pt x="8" y="2"/>
                </a:lnTo>
                <a:lnTo>
                  <a:pt x="6" y="2"/>
                </a:lnTo>
                <a:lnTo>
                  <a:pt x="6" y="0"/>
                </a:lnTo>
                <a:lnTo>
                  <a:pt x="9" y="2"/>
                </a:lnTo>
                <a:lnTo>
                  <a:pt x="13" y="2"/>
                </a:lnTo>
                <a:lnTo>
                  <a:pt x="14" y="2"/>
                </a:lnTo>
                <a:lnTo>
                  <a:pt x="20" y="2"/>
                </a:lnTo>
                <a:lnTo>
                  <a:pt x="24" y="2"/>
                </a:lnTo>
                <a:lnTo>
                  <a:pt x="24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22" name="Freeform 843"/>
          <p:cNvSpPr>
            <a:spLocks/>
          </p:cNvSpPr>
          <p:nvPr/>
        </p:nvSpPr>
        <p:spPr bwMode="auto">
          <a:xfrm>
            <a:off x="3922440" y="6156841"/>
            <a:ext cx="50670" cy="32213"/>
          </a:xfrm>
          <a:custGeom>
            <a:avLst/>
            <a:gdLst/>
            <a:ahLst/>
            <a:cxnLst>
              <a:cxn ang="0">
                <a:pos x="24" y="0"/>
              </a:cxn>
              <a:cxn ang="0">
                <a:pos x="25" y="0"/>
              </a:cxn>
              <a:cxn ang="0">
                <a:pos x="26" y="2"/>
              </a:cxn>
              <a:cxn ang="0">
                <a:pos x="25" y="4"/>
              </a:cxn>
              <a:cxn ang="0">
                <a:pos x="25" y="5"/>
              </a:cxn>
              <a:cxn ang="0">
                <a:pos x="24" y="5"/>
              </a:cxn>
              <a:cxn ang="0">
                <a:pos x="20" y="8"/>
              </a:cxn>
              <a:cxn ang="0">
                <a:pos x="18" y="10"/>
              </a:cxn>
              <a:cxn ang="0">
                <a:pos x="17" y="11"/>
              </a:cxn>
              <a:cxn ang="0">
                <a:pos x="16" y="11"/>
              </a:cxn>
              <a:cxn ang="0">
                <a:pos x="14" y="11"/>
              </a:cxn>
              <a:cxn ang="0">
                <a:pos x="12" y="11"/>
              </a:cxn>
              <a:cxn ang="0">
                <a:pos x="10" y="11"/>
              </a:cxn>
              <a:cxn ang="0">
                <a:pos x="10" y="13"/>
              </a:cxn>
              <a:cxn ang="0">
                <a:pos x="9" y="15"/>
              </a:cxn>
              <a:cxn ang="0">
                <a:pos x="5" y="16"/>
              </a:cxn>
              <a:cxn ang="0">
                <a:pos x="5" y="15"/>
              </a:cxn>
              <a:cxn ang="0">
                <a:pos x="2" y="13"/>
              </a:cxn>
              <a:cxn ang="0">
                <a:pos x="2" y="15"/>
              </a:cxn>
              <a:cxn ang="0">
                <a:pos x="4" y="15"/>
              </a:cxn>
              <a:cxn ang="0">
                <a:pos x="0" y="13"/>
              </a:cxn>
              <a:cxn ang="0">
                <a:pos x="1" y="11"/>
              </a:cxn>
              <a:cxn ang="0">
                <a:pos x="2" y="11"/>
              </a:cxn>
              <a:cxn ang="0">
                <a:pos x="5" y="11"/>
              </a:cxn>
              <a:cxn ang="0">
                <a:pos x="6" y="11"/>
              </a:cxn>
              <a:cxn ang="0">
                <a:pos x="8" y="10"/>
              </a:cxn>
              <a:cxn ang="0">
                <a:pos x="6" y="10"/>
              </a:cxn>
              <a:cxn ang="0">
                <a:pos x="8" y="8"/>
              </a:cxn>
              <a:cxn ang="0">
                <a:pos x="10" y="8"/>
              </a:cxn>
              <a:cxn ang="0">
                <a:pos x="10" y="7"/>
              </a:cxn>
              <a:cxn ang="0">
                <a:pos x="14" y="7"/>
              </a:cxn>
              <a:cxn ang="0">
                <a:pos x="10" y="4"/>
              </a:cxn>
              <a:cxn ang="0">
                <a:pos x="8" y="4"/>
              </a:cxn>
              <a:cxn ang="0">
                <a:pos x="9" y="2"/>
              </a:cxn>
              <a:cxn ang="0">
                <a:pos x="8" y="2"/>
              </a:cxn>
              <a:cxn ang="0">
                <a:pos x="6" y="2"/>
              </a:cxn>
              <a:cxn ang="0">
                <a:pos x="6" y="0"/>
              </a:cxn>
              <a:cxn ang="0">
                <a:pos x="9" y="2"/>
              </a:cxn>
              <a:cxn ang="0">
                <a:pos x="13" y="2"/>
              </a:cxn>
              <a:cxn ang="0">
                <a:pos x="14" y="2"/>
              </a:cxn>
              <a:cxn ang="0">
                <a:pos x="20" y="2"/>
              </a:cxn>
              <a:cxn ang="0">
                <a:pos x="24" y="2"/>
              </a:cxn>
              <a:cxn ang="0">
                <a:pos x="24" y="0"/>
              </a:cxn>
            </a:cxnLst>
            <a:rect l="0" t="0" r="r" b="b"/>
            <a:pathLst>
              <a:path w="26" h="16">
                <a:moveTo>
                  <a:pt x="24" y="0"/>
                </a:moveTo>
                <a:lnTo>
                  <a:pt x="25" y="0"/>
                </a:lnTo>
                <a:lnTo>
                  <a:pt x="26" y="2"/>
                </a:lnTo>
                <a:lnTo>
                  <a:pt x="25" y="4"/>
                </a:lnTo>
                <a:lnTo>
                  <a:pt x="25" y="5"/>
                </a:lnTo>
                <a:lnTo>
                  <a:pt x="24" y="5"/>
                </a:lnTo>
                <a:lnTo>
                  <a:pt x="20" y="8"/>
                </a:lnTo>
                <a:lnTo>
                  <a:pt x="18" y="10"/>
                </a:lnTo>
                <a:lnTo>
                  <a:pt x="17" y="11"/>
                </a:lnTo>
                <a:lnTo>
                  <a:pt x="16" y="11"/>
                </a:lnTo>
                <a:lnTo>
                  <a:pt x="14" y="11"/>
                </a:lnTo>
                <a:lnTo>
                  <a:pt x="12" y="11"/>
                </a:lnTo>
                <a:lnTo>
                  <a:pt x="10" y="11"/>
                </a:lnTo>
                <a:lnTo>
                  <a:pt x="10" y="13"/>
                </a:lnTo>
                <a:lnTo>
                  <a:pt x="9" y="15"/>
                </a:lnTo>
                <a:lnTo>
                  <a:pt x="5" y="16"/>
                </a:lnTo>
                <a:lnTo>
                  <a:pt x="5" y="15"/>
                </a:lnTo>
                <a:lnTo>
                  <a:pt x="2" y="13"/>
                </a:lnTo>
                <a:lnTo>
                  <a:pt x="2" y="15"/>
                </a:lnTo>
                <a:lnTo>
                  <a:pt x="4" y="15"/>
                </a:lnTo>
                <a:lnTo>
                  <a:pt x="0" y="13"/>
                </a:lnTo>
                <a:lnTo>
                  <a:pt x="1" y="11"/>
                </a:lnTo>
                <a:lnTo>
                  <a:pt x="2" y="11"/>
                </a:lnTo>
                <a:lnTo>
                  <a:pt x="5" y="11"/>
                </a:lnTo>
                <a:lnTo>
                  <a:pt x="6" y="11"/>
                </a:lnTo>
                <a:lnTo>
                  <a:pt x="8" y="10"/>
                </a:lnTo>
                <a:lnTo>
                  <a:pt x="6" y="10"/>
                </a:lnTo>
                <a:lnTo>
                  <a:pt x="8" y="8"/>
                </a:lnTo>
                <a:lnTo>
                  <a:pt x="10" y="8"/>
                </a:lnTo>
                <a:lnTo>
                  <a:pt x="10" y="7"/>
                </a:lnTo>
                <a:lnTo>
                  <a:pt x="14" y="7"/>
                </a:lnTo>
                <a:lnTo>
                  <a:pt x="10" y="4"/>
                </a:lnTo>
                <a:lnTo>
                  <a:pt x="8" y="4"/>
                </a:lnTo>
                <a:lnTo>
                  <a:pt x="9" y="2"/>
                </a:lnTo>
                <a:lnTo>
                  <a:pt x="8" y="2"/>
                </a:lnTo>
                <a:lnTo>
                  <a:pt x="6" y="2"/>
                </a:lnTo>
                <a:lnTo>
                  <a:pt x="6" y="0"/>
                </a:lnTo>
                <a:lnTo>
                  <a:pt x="9" y="2"/>
                </a:lnTo>
                <a:lnTo>
                  <a:pt x="13" y="2"/>
                </a:lnTo>
                <a:lnTo>
                  <a:pt x="14" y="2"/>
                </a:lnTo>
                <a:lnTo>
                  <a:pt x="20" y="2"/>
                </a:lnTo>
                <a:lnTo>
                  <a:pt x="24" y="2"/>
                </a:lnTo>
                <a:lnTo>
                  <a:pt x="24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23" name="Freeform 844"/>
          <p:cNvSpPr>
            <a:spLocks/>
          </p:cNvSpPr>
          <p:nvPr/>
        </p:nvSpPr>
        <p:spPr bwMode="auto">
          <a:xfrm>
            <a:off x="3961417" y="6154693"/>
            <a:ext cx="52619" cy="38657"/>
          </a:xfrm>
          <a:custGeom>
            <a:avLst/>
            <a:gdLst/>
            <a:ahLst/>
            <a:cxnLst>
              <a:cxn ang="0">
                <a:pos x="26" y="8"/>
              </a:cxn>
              <a:cxn ang="0">
                <a:pos x="25" y="8"/>
              </a:cxn>
              <a:cxn ang="0">
                <a:pos x="22" y="9"/>
              </a:cxn>
              <a:cxn ang="0">
                <a:pos x="20" y="11"/>
              </a:cxn>
              <a:cxn ang="0">
                <a:pos x="16" y="11"/>
              </a:cxn>
              <a:cxn ang="0">
                <a:pos x="13" y="11"/>
              </a:cxn>
              <a:cxn ang="0">
                <a:pos x="12" y="11"/>
              </a:cxn>
              <a:cxn ang="0">
                <a:pos x="14" y="12"/>
              </a:cxn>
              <a:cxn ang="0">
                <a:pos x="14" y="14"/>
              </a:cxn>
              <a:cxn ang="0">
                <a:pos x="13" y="14"/>
              </a:cxn>
              <a:cxn ang="0">
                <a:pos x="10" y="14"/>
              </a:cxn>
              <a:cxn ang="0">
                <a:pos x="9" y="14"/>
              </a:cxn>
              <a:cxn ang="0">
                <a:pos x="8" y="16"/>
              </a:cxn>
              <a:cxn ang="0">
                <a:pos x="9" y="16"/>
              </a:cxn>
              <a:cxn ang="0">
                <a:pos x="10" y="17"/>
              </a:cxn>
              <a:cxn ang="0">
                <a:pos x="6" y="17"/>
              </a:cxn>
              <a:cxn ang="0">
                <a:pos x="5" y="16"/>
              </a:cxn>
              <a:cxn ang="0">
                <a:pos x="4" y="17"/>
              </a:cxn>
              <a:cxn ang="0">
                <a:pos x="4" y="19"/>
              </a:cxn>
              <a:cxn ang="0">
                <a:pos x="2" y="19"/>
              </a:cxn>
              <a:cxn ang="0">
                <a:pos x="0" y="16"/>
              </a:cxn>
              <a:cxn ang="0">
                <a:pos x="0" y="14"/>
              </a:cxn>
              <a:cxn ang="0">
                <a:pos x="1" y="9"/>
              </a:cxn>
              <a:cxn ang="0">
                <a:pos x="2" y="9"/>
              </a:cxn>
              <a:cxn ang="0">
                <a:pos x="4" y="9"/>
              </a:cxn>
              <a:cxn ang="0">
                <a:pos x="6" y="8"/>
              </a:cxn>
              <a:cxn ang="0">
                <a:pos x="8" y="8"/>
              </a:cxn>
              <a:cxn ang="0">
                <a:pos x="9" y="9"/>
              </a:cxn>
              <a:cxn ang="0">
                <a:pos x="9" y="8"/>
              </a:cxn>
              <a:cxn ang="0">
                <a:pos x="8" y="6"/>
              </a:cxn>
              <a:cxn ang="0">
                <a:pos x="8" y="3"/>
              </a:cxn>
              <a:cxn ang="0">
                <a:pos x="9" y="3"/>
              </a:cxn>
              <a:cxn ang="0">
                <a:pos x="10" y="3"/>
              </a:cxn>
              <a:cxn ang="0">
                <a:pos x="10" y="0"/>
              </a:cxn>
              <a:cxn ang="0">
                <a:pos x="12" y="0"/>
              </a:cxn>
              <a:cxn ang="0">
                <a:pos x="14" y="0"/>
              </a:cxn>
              <a:cxn ang="0">
                <a:pos x="17" y="0"/>
              </a:cxn>
              <a:cxn ang="0">
                <a:pos x="20" y="3"/>
              </a:cxn>
              <a:cxn ang="0">
                <a:pos x="24" y="3"/>
              </a:cxn>
              <a:cxn ang="0">
                <a:pos x="25" y="3"/>
              </a:cxn>
              <a:cxn ang="0">
                <a:pos x="28" y="5"/>
              </a:cxn>
              <a:cxn ang="0">
                <a:pos x="26" y="5"/>
              </a:cxn>
              <a:cxn ang="0">
                <a:pos x="26" y="6"/>
              </a:cxn>
              <a:cxn ang="0">
                <a:pos x="28" y="6"/>
              </a:cxn>
              <a:cxn ang="0">
                <a:pos x="28" y="8"/>
              </a:cxn>
              <a:cxn ang="0">
                <a:pos x="26" y="8"/>
              </a:cxn>
            </a:cxnLst>
            <a:rect l="0" t="0" r="r" b="b"/>
            <a:pathLst>
              <a:path w="28" h="19">
                <a:moveTo>
                  <a:pt x="26" y="8"/>
                </a:moveTo>
                <a:lnTo>
                  <a:pt x="25" y="8"/>
                </a:lnTo>
                <a:lnTo>
                  <a:pt x="22" y="9"/>
                </a:lnTo>
                <a:lnTo>
                  <a:pt x="20" y="11"/>
                </a:lnTo>
                <a:lnTo>
                  <a:pt x="16" y="11"/>
                </a:lnTo>
                <a:lnTo>
                  <a:pt x="13" y="11"/>
                </a:lnTo>
                <a:lnTo>
                  <a:pt x="12" y="11"/>
                </a:lnTo>
                <a:lnTo>
                  <a:pt x="14" y="12"/>
                </a:lnTo>
                <a:lnTo>
                  <a:pt x="14" y="14"/>
                </a:lnTo>
                <a:lnTo>
                  <a:pt x="13" y="14"/>
                </a:lnTo>
                <a:lnTo>
                  <a:pt x="10" y="14"/>
                </a:lnTo>
                <a:lnTo>
                  <a:pt x="9" y="14"/>
                </a:lnTo>
                <a:lnTo>
                  <a:pt x="8" y="16"/>
                </a:lnTo>
                <a:lnTo>
                  <a:pt x="9" y="16"/>
                </a:lnTo>
                <a:lnTo>
                  <a:pt x="10" y="17"/>
                </a:lnTo>
                <a:lnTo>
                  <a:pt x="6" y="17"/>
                </a:lnTo>
                <a:lnTo>
                  <a:pt x="5" y="16"/>
                </a:lnTo>
                <a:lnTo>
                  <a:pt x="4" y="17"/>
                </a:lnTo>
                <a:lnTo>
                  <a:pt x="4" y="19"/>
                </a:lnTo>
                <a:lnTo>
                  <a:pt x="2" y="19"/>
                </a:lnTo>
                <a:lnTo>
                  <a:pt x="0" y="16"/>
                </a:lnTo>
                <a:lnTo>
                  <a:pt x="0" y="14"/>
                </a:lnTo>
                <a:lnTo>
                  <a:pt x="1" y="9"/>
                </a:lnTo>
                <a:lnTo>
                  <a:pt x="2" y="9"/>
                </a:lnTo>
                <a:lnTo>
                  <a:pt x="4" y="9"/>
                </a:lnTo>
                <a:lnTo>
                  <a:pt x="6" y="8"/>
                </a:lnTo>
                <a:lnTo>
                  <a:pt x="8" y="8"/>
                </a:lnTo>
                <a:lnTo>
                  <a:pt x="9" y="9"/>
                </a:lnTo>
                <a:lnTo>
                  <a:pt x="9" y="8"/>
                </a:lnTo>
                <a:lnTo>
                  <a:pt x="8" y="6"/>
                </a:lnTo>
                <a:lnTo>
                  <a:pt x="8" y="3"/>
                </a:lnTo>
                <a:lnTo>
                  <a:pt x="9" y="3"/>
                </a:lnTo>
                <a:lnTo>
                  <a:pt x="10" y="3"/>
                </a:lnTo>
                <a:lnTo>
                  <a:pt x="10" y="0"/>
                </a:lnTo>
                <a:lnTo>
                  <a:pt x="12" y="0"/>
                </a:lnTo>
                <a:lnTo>
                  <a:pt x="14" y="0"/>
                </a:lnTo>
                <a:lnTo>
                  <a:pt x="17" y="0"/>
                </a:lnTo>
                <a:lnTo>
                  <a:pt x="20" y="3"/>
                </a:lnTo>
                <a:lnTo>
                  <a:pt x="24" y="3"/>
                </a:lnTo>
                <a:lnTo>
                  <a:pt x="25" y="3"/>
                </a:lnTo>
                <a:lnTo>
                  <a:pt x="28" y="5"/>
                </a:lnTo>
                <a:lnTo>
                  <a:pt x="26" y="5"/>
                </a:lnTo>
                <a:lnTo>
                  <a:pt x="26" y="6"/>
                </a:lnTo>
                <a:lnTo>
                  <a:pt x="28" y="6"/>
                </a:lnTo>
                <a:lnTo>
                  <a:pt x="28" y="8"/>
                </a:lnTo>
                <a:lnTo>
                  <a:pt x="26" y="8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24" name="Freeform 845"/>
          <p:cNvSpPr>
            <a:spLocks/>
          </p:cNvSpPr>
          <p:nvPr/>
        </p:nvSpPr>
        <p:spPr bwMode="auto">
          <a:xfrm>
            <a:off x="3961417" y="6154693"/>
            <a:ext cx="52619" cy="38657"/>
          </a:xfrm>
          <a:custGeom>
            <a:avLst/>
            <a:gdLst/>
            <a:ahLst/>
            <a:cxnLst>
              <a:cxn ang="0">
                <a:pos x="26" y="8"/>
              </a:cxn>
              <a:cxn ang="0">
                <a:pos x="25" y="8"/>
              </a:cxn>
              <a:cxn ang="0">
                <a:pos x="22" y="9"/>
              </a:cxn>
              <a:cxn ang="0">
                <a:pos x="20" y="11"/>
              </a:cxn>
              <a:cxn ang="0">
                <a:pos x="16" y="11"/>
              </a:cxn>
              <a:cxn ang="0">
                <a:pos x="13" y="11"/>
              </a:cxn>
              <a:cxn ang="0">
                <a:pos x="12" y="11"/>
              </a:cxn>
              <a:cxn ang="0">
                <a:pos x="14" y="12"/>
              </a:cxn>
              <a:cxn ang="0">
                <a:pos x="14" y="14"/>
              </a:cxn>
              <a:cxn ang="0">
                <a:pos x="13" y="14"/>
              </a:cxn>
              <a:cxn ang="0">
                <a:pos x="10" y="14"/>
              </a:cxn>
              <a:cxn ang="0">
                <a:pos x="9" y="14"/>
              </a:cxn>
              <a:cxn ang="0">
                <a:pos x="8" y="16"/>
              </a:cxn>
              <a:cxn ang="0">
                <a:pos x="9" y="16"/>
              </a:cxn>
              <a:cxn ang="0">
                <a:pos x="10" y="17"/>
              </a:cxn>
              <a:cxn ang="0">
                <a:pos x="6" y="17"/>
              </a:cxn>
              <a:cxn ang="0">
                <a:pos x="5" y="16"/>
              </a:cxn>
              <a:cxn ang="0">
                <a:pos x="4" y="17"/>
              </a:cxn>
              <a:cxn ang="0">
                <a:pos x="4" y="19"/>
              </a:cxn>
              <a:cxn ang="0">
                <a:pos x="2" y="19"/>
              </a:cxn>
              <a:cxn ang="0">
                <a:pos x="0" y="16"/>
              </a:cxn>
              <a:cxn ang="0">
                <a:pos x="0" y="14"/>
              </a:cxn>
              <a:cxn ang="0">
                <a:pos x="1" y="9"/>
              </a:cxn>
              <a:cxn ang="0">
                <a:pos x="2" y="9"/>
              </a:cxn>
              <a:cxn ang="0">
                <a:pos x="4" y="9"/>
              </a:cxn>
              <a:cxn ang="0">
                <a:pos x="6" y="8"/>
              </a:cxn>
              <a:cxn ang="0">
                <a:pos x="8" y="8"/>
              </a:cxn>
              <a:cxn ang="0">
                <a:pos x="9" y="9"/>
              </a:cxn>
              <a:cxn ang="0">
                <a:pos x="9" y="8"/>
              </a:cxn>
              <a:cxn ang="0">
                <a:pos x="8" y="6"/>
              </a:cxn>
              <a:cxn ang="0">
                <a:pos x="8" y="3"/>
              </a:cxn>
              <a:cxn ang="0">
                <a:pos x="9" y="3"/>
              </a:cxn>
              <a:cxn ang="0">
                <a:pos x="10" y="3"/>
              </a:cxn>
              <a:cxn ang="0">
                <a:pos x="10" y="0"/>
              </a:cxn>
              <a:cxn ang="0">
                <a:pos x="12" y="0"/>
              </a:cxn>
              <a:cxn ang="0">
                <a:pos x="14" y="0"/>
              </a:cxn>
              <a:cxn ang="0">
                <a:pos x="17" y="0"/>
              </a:cxn>
              <a:cxn ang="0">
                <a:pos x="20" y="3"/>
              </a:cxn>
              <a:cxn ang="0">
                <a:pos x="24" y="3"/>
              </a:cxn>
              <a:cxn ang="0">
                <a:pos x="25" y="3"/>
              </a:cxn>
              <a:cxn ang="0">
                <a:pos x="28" y="5"/>
              </a:cxn>
              <a:cxn ang="0">
                <a:pos x="26" y="5"/>
              </a:cxn>
              <a:cxn ang="0">
                <a:pos x="26" y="6"/>
              </a:cxn>
              <a:cxn ang="0">
                <a:pos x="28" y="6"/>
              </a:cxn>
              <a:cxn ang="0">
                <a:pos x="28" y="8"/>
              </a:cxn>
              <a:cxn ang="0">
                <a:pos x="26" y="8"/>
              </a:cxn>
            </a:cxnLst>
            <a:rect l="0" t="0" r="r" b="b"/>
            <a:pathLst>
              <a:path w="28" h="19">
                <a:moveTo>
                  <a:pt x="26" y="8"/>
                </a:moveTo>
                <a:lnTo>
                  <a:pt x="25" y="8"/>
                </a:lnTo>
                <a:lnTo>
                  <a:pt x="22" y="9"/>
                </a:lnTo>
                <a:lnTo>
                  <a:pt x="20" y="11"/>
                </a:lnTo>
                <a:lnTo>
                  <a:pt x="16" y="11"/>
                </a:lnTo>
                <a:lnTo>
                  <a:pt x="13" y="11"/>
                </a:lnTo>
                <a:lnTo>
                  <a:pt x="12" y="11"/>
                </a:lnTo>
                <a:lnTo>
                  <a:pt x="14" y="12"/>
                </a:lnTo>
                <a:lnTo>
                  <a:pt x="14" y="14"/>
                </a:lnTo>
                <a:lnTo>
                  <a:pt x="13" y="14"/>
                </a:lnTo>
                <a:lnTo>
                  <a:pt x="10" y="14"/>
                </a:lnTo>
                <a:lnTo>
                  <a:pt x="9" y="14"/>
                </a:lnTo>
                <a:lnTo>
                  <a:pt x="8" y="16"/>
                </a:lnTo>
                <a:lnTo>
                  <a:pt x="9" y="16"/>
                </a:lnTo>
                <a:lnTo>
                  <a:pt x="10" y="17"/>
                </a:lnTo>
                <a:lnTo>
                  <a:pt x="6" y="17"/>
                </a:lnTo>
                <a:lnTo>
                  <a:pt x="5" y="16"/>
                </a:lnTo>
                <a:lnTo>
                  <a:pt x="4" y="17"/>
                </a:lnTo>
                <a:lnTo>
                  <a:pt x="4" y="19"/>
                </a:lnTo>
                <a:lnTo>
                  <a:pt x="2" y="19"/>
                </a:lnTo>
                <a:lnTo>
                  <a:pt x="0" y="16"/>
                </a:lnTo>
                <a:lnTo>
                  <a:pt x="0" y="14"/>
                </a:lnTo>
                <a:lnTo>
                  <a:pt x="1" y="9"/>
                </a:lnTo>
                <a:lnTo>
                  <a:pt x="2" y="9"/>
                </a:lnTo>
                <a:lnTo>
                  <a:pt x="4" y="9"/>
                </a:lnTo>
                <a:lnTo>
                  <a:pt x="6" y="8"/>
                </a:lnTo>
                <a:lnTo>
                  <a:pt x="8" y="8"/>
                </a:lnTo>
                <a:lnTo>
                  <a:pt x="9" y="9"/>
                </a:lnTo>
                <a:lnTo>
                  <a:pt x="9" y="8"/>
                </a:lnTo>
                <a:lnTo>
                  <a:pt x="8" y="6"/>
                </a:lnTo>
                <a:lnTo>
                  <a:pt x="8" y="3"/>
                </a:lnTo>
                <a:lnTo>
                  <a:pt x="9" y="3"/>
                </a:lnTo>
                <a:lnTo>
                  <a:pt x="10" y="3"/>
                </a:lnTo>
                <a:lnTo>
                  <a:pt x="10" y="0"/>
                </a:lnTo>
                <a:lnTo>
                  <a:pt x="12" y="0"/>
                </a:lnTo>
                <a:lnTo>
                  <a:pt x="14" y="0"/>
                </a:lnTo>
                <a:lnTo>
                  <a:pt x="17" y="0"/>
                </a:lnTo>
                <a:lnTo>
                  <a:pt x="20" y="3"/>
                </a:lnTo>
                <a:lnTo>
                  <a:pt x="24" y="3"/>
                </a:lnTo>
                <a:lnTo>
                  <a:pt x="25" y="3"/>
                </a:lnTo>
                <a:lnTo>
                  <a:pt x="28" y="5"/>
                </a:lnTo>
                <a:lnTo>
                  <a:pt x="26" y="5"/>
                </a:lnTo>
                <a:lnTo>
                  <a:pt x="26" y="6"/>
                </a:lnTo>
                <a:lnTo>
                  <a:pt x="28" y="6"/>
                </a:lnTo>
                <a:lnTo>
                  <a:pt x="28" y="8"/>
                </a:lnTo>
                <a:lnTo>
                  <a:pt x="26" y="8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25" name="Freeform 848"/>
          <p:cNvSpPr>
            <a:spLocks/>
          </p:cNvSpPr>
          <p:nvPr/>
        </p:nvSpPr>
        <p:spPr bwMode="auto">
          <a:xfrm>
            <a:off x="6138243" y="2321214"/>
            <a:ext cx="21437" cy="38657"/>
          </a:xfrm>
          <a:custGeom>
            <a:avLst/>
            <a:gdLst/>
            <a:ahLst/>
            <a:cxnLst>
              <a:cxn ang="0">
                <a:pos x="0" y="20"/>
              </a:cxn>
              <a:cxn ang="0">
                <a:pos x="3" y="19"/>
              </a:cxn>
              <a:cxn ang="0">
                <a:pos x="4" y="16"/>
              </a:cxn>
              <a:cxn ang="0">
                <a:pos x="6" y="12"/>
              </a:cxn>
              <a:cxn ang="0">
                <a:pos x="8" y="8"/>
              </a:cxn>
              <a:cxn ang="0">
                <a:pos x="10" y="1"/>
              </a:cxn>
              <a:cxn ang="0">
                <a:pos x="11" y="1"/>
              </a:cxn>
              <a:cxn ang="0">
                <a:pos x="11" y="0"/>
              </a:cxn>
              <a:cxn ang="0">
                <a:pos x="10" y="1"/>
              </a:cxn>
              <a:cxn ang="0">
                <a:pos x="8" y="3"/>
              </a:cxn>
              <a:cxn ang="0">
                <a:pos x="6" y="8"/>
              </a:cxn>
              <a:cxn ang="0">
                <a:pos x="4" y="9"/>
              </a:cxn>
              <a:cxn ang="0">
                <a:pos x="3" y="12"/>
              </a:cxn>
              <a:cxn ang="0">
                <a:pos x="2" y="16"/>
              </a:cxn>
              <a:cxn ang="0">
                <a:pos x="0" y="20"/>
              </a:cxn>
            </a:cxnLst>
            <a:rect l="0" t="0" r="r" b="b"/>
            <a:pathLst>
              <a:path w="11" h="20">
                <a:moveTo>
                  <a:pt x="0" y="20"/>
                </a:moveTo>
                <a:lnTo>
                  <a:pt x="3" y="19"/>
                </a:lnTo>
                <a:lnTo>
                  <a:pt x="4" y="16"/>
                </a:lnTo>
                <a:lnTo>
                  <a:pt x="6" y="12"/>
                </a:lnTo>
                <a:lnTo>
                  <a:pt x="8" y="8"/>
                </a:lnTo>
                <a:lnTo>
                  <a:pt x="10" y="1"/>
                </a:lnTo>
                <a:lnTo>
                  <a:pt x="11" y="1"/>
                </a:lnTo>
                <a:lnTo>
                  <a:pt x="11" y="0"/>
                </a:lnTo>
                <a:lnTo>
                  <a:pt x="10" y="1"/>
                </a:lnTo>
                <a:lnTo>
                  <a:pt x="8" y="3"/>
                </a:lnTo>
                <a:lnTo>
                  <a:pt x="6" y="8"/>
                </a:lnTo>
                <a:lnTo>
                  <a:pt x="4" y="9"/>
                </a:lnTo>
                <a:lnTo>
                  <a:pt x="3" y="12"/>
                </a:lnTo>
                <a:lnTo>
                  <a:pt x="2" y="16"/>
                </a:lnTo>
                <a:lnTo>
                  <a:pt x="0" y="2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26" name="Freeform 849"/>
          <p:cNvSpPr>
            <a:spLocks/>
          </p:cNvSpPr>
          <p:nvPr/>
        </p:nvSpPr>
        <p:spPr bwMode="auto">
          <a:xfrm>
            <a:off x="6138243" y="2321214"/>
            <a:ext cx="21437" cy="38657"/>
          </a:xfrm>
          <a:custGeom>
            <a:avLst/>
            <a:gdLst/>
            <a:ahLst/>
            <a:cxnLst>
              <a:cxn ang="0">
                <a:pos x="0" y="20"/>
              </a:cxn>
              <a:cxn ang="0">
                <a:pos x="3" y="19"/>
              </a:cxn>
              <a:cxn ang="0">
                <a:pos x="4" y="16"/>
              </a:cxn>
              <a:cxn ang="0">
                <a:pos x="6" y="12"/>
              </a:cxn>
              <a:cxn ang="0">
                <a:pos x="8" y="8"/>
              </a:cxn>
              <a:cxn ang="0">
                <a:pos x="10" y="1"/>
              </a:cxn>
              <a:cxn ang="0">
                <a:pos x="11" y="1"/>
              </a:cxn>
              <a:cxn ang="0">
                <a:pos x="11" y="0"/>
              </a:cxn>
              <a:cxn ang="0">
                <a:pos x="10" y="1"/>
              </a:cxn>
              <a:cxn ang="0">
                <a:pos x="8" y="3"/>
              </a:cxn>
              <a:cxn ang="0">
                <a:pos x="6" y="8"/>
              </a:cxn>
              <a:cxn ang="0">
                <a:pos x="4" y="9"/>
              </a:cxn>
              <a:cxn ang="0">
                <a:pos x="3" y="12"/>
              </a:cxn>
              <a:cxn ang="0">
                <a:pos x="2" y="16"/>
              </a:cxn>
              <a:cxn ang="0">
                <a:pos x="0" y="20"/>
              </a:cxn>
            </a:cxnLst>
            <a:rect l="0" t="0" r="r" b="b"/>
            <a:pathLst>
              <a:path w="11" h="20">
                <a:moveTo>
                  <a:pt x="0" y="20"/>
                </a:moveTo>
                <a:lnTo>
                  <a:pt x="3" y="19"/>
                </a:lnTo>
                <a:lnTo>
                  <a:pt x="4" y="16"/>
                </a:lnTo>
                <a:lnTo>
                  <a:pt x="6" y="12"/>
                </a:lnTo>
                <a:lnTo>
                  <a:pt x="8" y="8"/>
                </a:lnTo>
                <a:lnTo>
                  <a:pt x="10" y="1"/>
                </a:lnTo>
                <a:lnTo>
                  <a:pt x="11" y="1"/>
                </a:lnTo>
                <a:lnTo>
                  <a:pt x="11" y="0"/>
                </a:lnTo>
                <a:lnTo>
                  <a:pt x="10" y="1"/>
                </a:lnTo>
                <a:lnTo>
                  <a:pt x="8" y="3"/>
                </a:lnTo>
                <a:lnTo>
                  <a:pt x="6" y="8"/>
                </a:lnTo>
                <a:lnTo>
                  <a:pt x="4" y="9"/>
                </a:lnTo>
                <a:lnTo>
                  <a:pt x="3" y="12"/>
                </a:lnTo>
                <a:lnTo>
                  <a:pt x="2" y="16"/>
                </a:lnTo>
                <a:lnTo>
                  <a:pt x="0" y="2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27" name="Freeform 850"/>
          <p:cNvSpPr>
            <a:spLocks/>
          </p:cNvSpPr>
          <p:nvPr/>
        </p:nvSpPr>
        <p:spPr bwMode="auto">
          <a:xfrm>
            <a:off x="6190860" y="2299738"/>
            <a:ext cx="25335" cy="36509"/>
          </a:xfrm>
          <a:custGeom>
            <a:avLst/>
            <a:gdLst/>
            <a:ahLst/>
            <a:cxnLst>
              <a:cxn ang="0">
                <a:pos x="1" y="18"/>
              </a:cxn>
              <a:cxn ang="0">
                <a:pos x="3" y="16"/>
              </a:cxn>
              <a:cxn ang="0">
                <a:pos x="5" y="15"/>
              </a:cxn>
              <a:cxn ang="0">
                <a:pos x="9" y="11"/>
              </a:cxn>
              <a:cxn ang="0">
                <a:pos x="12" y="10"/>
              </a:cxn>
              <a:cxn ang="0">
                <a:pos x="12" y="8"/>
              </a:cxn>
              <a:cxn ang="0">
                <a:pos x="10" y="4"/>
              </a:cxn>
              <a:cxn ang="0">
                <a:pos x="12" y="4"/>
              </a:cxn>
              <a:cxn ang="0">
                <a:pos x="13" y="2"/>
              </a:cxn>
              <a:cxn ang="0">
                <a:pos x="13" y="0"/>
              </a:cxn>
              <a:cxn ang="0">
                <a:pos x="12" y="0"/>
              </a:cxn>
              <a:cxn ang="0">
                <a:pos x="10" y="0"/>
              </a:cxn>
              <a:cxn ang="0">
                <a:pos x="8" y="0"/>
              </a:cxn>
              <a:cxn ang="0">
                <a:pos x="3" y="5"/>
              </a:cxn>
              <a:cxn ang="0">
                <a:pos x="1" y="7"/>
              </a:cxn>
              <a:cxn ang="0">
                <a:pos x="1" y="8"/>
              </a:cxn>
              <a:cxn ang="0">
                <a:pos x="1" y="10"/>
              </a:cxn>
              <a:cxn ang="0">
                <a:pos x="0" y="11"/>
              </a:cxn>
              <a:cxn ang="0">
                <a:pos x="0" y="13"/>
              </a:cxn>
              <a:cxn ang="0">
                <a:pos x="1" y="13"/>
              </a:cxn>
              <a:cxn ang="0">
                <a:pos x="1" y="15"/>
              </a:cxn>
              <a:cxn ang="0">
                <a:pos x="3" y="15"/>
              </a:cxn>
              <a:cxn ang="0">
                <a:pos x="3" y="16"/>
              </a:cxn>
              <a:cxn ang="0">
                <a:pos x="1" y="18"/>
              </a:cxn>
            </a:cxnLst>
            <a:rect l="0" t="0" r="r" b="b"/>
            <a:pathLst>
              <a:path w="13" h="18">
                <a:moveTo>
                  <a:pt x="1" y="18"/>
                </a:moveTo>
                <a:lnTo>
                  <a:pt x="3" y="16"/>
                </a:lnTo>
                <a:lnTo>
                  <a:pt x="5" y="15"/>
                </a:lnTo>
                <a:lnTo>
                  <a:pt x="9" y="11"/>
                </a:lnTo>
                <a:lnTo>
                  <a:pt x="12" y="10"/>
                </a:lnTo>
                <a:lnTo>
                  <a:pt x="12" y="8"/>
                </a:lnTo>
                <a:lnTo>
                  <a:pt x="10" y="4"/>
                </a:lnTo>
                <a:lnTo>
                  <a:pt x="12" y="4"/>
                </a:lnTo>
                <a:lnTo>
                  <a:pt x="13" y="2"/>
                </a:lnTo>
                <a:lnTo>
                  <a:pt x="13" y="0"/>
                </a:lnTo>
                <a:lnTo>
                  <a:pt x="12" y="0"/>
                </a:lnTo>
                <a:lnTo>
                  <a:pt x="10" y="0"/>
                </a:lnTo>
                <a:lnTo>
                  <a:pt x="8" y="0"/>
                </a:lnTo>
                <a:lnTo>
                  <a:pt x="3" y="5"/>
                </a:lnTo>
                <a:lnTo>
                  <a:pt x="1" y="7"/>
                </a:lnTo>
                <a:lnTo>
                  <a:pt x="1" y="8"/>
                </a:lnTo>
                <a:lnTo>
                  <a:pt x="1" y="10"/>
                </a:lnTo>
                <a:lnTo>
                  <a:pt x="0" y="11"/>
                </a:lnTo>
                <a:lnTo>
                  <a:pt x="0" y="13"/>
                </a:lnTo>
                <a:lnTo>
                  <a:pt x="1" y="13"/>
                </a:lnTo>
                <a:lnTo>
                  <a:pt x="1" y="15"/>
                </a:lnTo>
                <a:lnTo>
                  <a:pt x="3" y="15"/>
                </a:lnTo>
                <a:lnTo>
                  <a:pt x="3" y="16"/>
                </a:lnTo>
                <a:lnTo>
                  <a:pt x="1" y="18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28" name="Freeform 851"/>
          <p:cNvSpPr>
            <a:spLocks/>
          </p:cNvSpPr>
          <p:nvPr/>
        </p:nvSpPr>
        <p:spPr bwMode="auto">
          <a:xfrm>
            <a:off x="6190860" y="2299738"/>
            <a:ext cx="25335" cy="36509"/>
          </a:xfrm>
          <a:custGeom>
            <a:avLst/>
            <a:gdLst/>
            <a:ahLst/>
            <a:cxnLst>
              <a:cxn ang="0">
                <a:pos x="1" y="18"/>
              </a:cxn>
              <a:cxn ang="0">
                <a:pos x="3" y="16"/>
              </a:cxn>
              <a:cxn ang="0">
                <a:pos x="5" y="15"/>
              </a:cxn>
              <a:cxn ang="0">
                <a:pos x="9" y="11"/>
              </a:cxn>
              <a:cxn ang="0">
                <a:pos x="12" y="10"/>
              </a:cxn>
              <a:cxn ang="0">
                <a:pos x="12" y="8"/>
              </a:cxn>
              <a:cxn ang="0">
                <a:pos x="10" y="4"/>
              </a:cxn>
              <a:cxn ang="0">
                <a:pos x="12" y="4"/>
              </a:cxn>
              <a:cxn ang="0">
                <a:pos x="13" y="2"/>
              </a:cxn>
              <a:cxn ang="0">
                <a:pos x="13" y="0"/>
              </a:cxn>
              <a:cxn ang="0">
                <a:pos x="12" y="0"/>
              </a:cxn>
              <a:cxn ang="0">
                <a:pos x="10" y="0"/>
              </a:cxn>
              <a:cxn ang="0">
                <a:pos x="8" y="0"/>
              </a:cxn>
              <a:cxn ang="0">
                <a:pos x="3" y="5"/>
              </a:cxn>
              <a:cxn ang="0">
                <a:pos x="1" y="7"/>
              </a:cxn>
              <a:cxn ang="0">
                <a:pos x="1" y="8"/>
              </a:cxn>
              <a:cxn ang="0">
                <a:pos x="1" y="10"/>
              </a:cxn>
              <a:cxn ang="0">
                <a:pos x="0" y="11"/>
              </a:cxn>
              <a:cxn ang="0">
                <a:pos x="0" y="13"/>
              </a:cxn>
              <a:cxn ang="0">
                <a:pos x="1" y="13"/>
              </a:cxn>
              <a:cxn ang="0">
                <a:pos x="1" y="15"/>
              </a:cxn>
              <a:cxn ang="0">
                <a:pos x="3" y="15"/>
              </a:cxn>
              <a:cxn ang="0">
                <a:pos x="3" y="16"/>
              </a:cxn>
              <a:cxn ang="0">
                <a:pos x="1" y="18"/>
              </a:cxn>
            </a:cxnLst>
            <a:rect l="0" t="0" r="r" b="b"/>
            <a:pathLst>
              <a:path w="13" h="18">
                <a:moveTo>
                  <a:pt x="1" y="18"/>
                </a:moveTo>
                <a:lnTo>
                  <a:pt x="3" y="16"/>
                </a:lnTo>
                <a:lnTo>
                  <a:pt x="5" y="15"/>
                </a:lnTo>
                <a:lnTo>
                  <a:pt x="9" y="11"/>
                </a:lnTo>
                <a:lnTo>
                  <a:pt x="12" y="10"/>
                </a:lnTo>
                <a:lnTo>
                  <a:pt x="12" y="8"/>
                </a:lnTo>
                <a:lnTo>
                  <a:pt x="10" y="4"/>
                </a:lnTo>
                <a:lnTo>
                  <a:pt x="12" y="4"/>
                </a:lnTo>
                <a:lnTo>
                  <a:pt x="13" y="2"/>
                </a:lnTo>
                <a:lnTo>
                  <a:pt x="13" y="0"/>
                </a:lnTo>
                <a:lnTo>
                  <a:pt x="12" y="0"/>
                </a:lnTo>
                <a:lnTo>
                  <a:pt x="10" y="0"/>
                </a:lnTo>
                <a:lnTo>
                  <a:pt x="8" y="0"/>
                </a:lnTo>
                <a:lnTo>
                  <a:pt x="3" y="5"/>
                </a:lnTo>
                <a:lnTo>
                  <a:pt x="1" y="7"/>
                </a:lnTo>
                <a:lnTo>
                  <a:pt x="1" y="8"/>
                </a:lnTo>
                <a:lnTo>
                  <a:pt x="1" y="10"/>
                </a:lnTo>
                <a:lnTo>
                  <a:pt x="0" y="11"/>
                </a:lnTo>
                <a:lnTo>
                  <a:pt x="0" y="13"/>
                </a:lnTo>
                <a:lnTo>
                  <a:pt x="1" y="13"/>
                </a:lnTo>
                <a:lnTo>
                  <a:pt x="1" y="15"/>
                </a:lnTo>
                <a:lnTo>
                  <a:pt x="3" y="15"/>
                </a:lnTo>
                <a:lnTo>
                  <a:pt x="3" y="16"/>
                </a:lnTo>
                <a:lnTo>
                  <a:pt x="1" y="18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29" name="Freeform 852"/>
          <p:cNvSpPr>
            <a:spLocks/>
          </p:cNvSpPr>
          <p:nvPr/>
        </p:nvSpPr>
        <p:spPr bwMode="auto">
          <a:xfrm>
            <a:off x="5812791" y="2467252"/>
            <a:ext cx="5847" cy="10737"/>
          </a:xfrm>
          <a:custGeom>
            <a:avLst/>
            <a:gdLst/>
            <a:ahLst/>
            <a:cxnLst>
              <a:cxn ang="0">
                <a:pos x="4" y="1"/>
              </a:cxn>
              <a:cxn ang="0">
                <a:pos x="4" y="0"/>
              </a:cxn>
              <a:cxn ang="0">
                <a:pos x="2" y="1"/>
              </a:cxn>
              <a:cxn ang="0">
                <a:pos x="0" y="3"/>
              </a:cxn>
              <a:cxn ang="0">
                <a:pos x="0" y="6"/>
              </a:cxn>
              <a:cxn ang="0">
                <a:pos x="1" y="4"/>
              </a:cxn>
              <a:cxn ang="0">
                <a:pos x="2" y="3"/>
              </a:cxn>
              <a:cxn ang="0">
                <a:pos x="4" y="1"/>
              </a:cxn>
            </a:cxnLst>
            <a:rect l="0" t="0" r="r" b="b"/>
            <a:pathLst>
              <a:path w="4" h="6">
                <a:moveTo>
                  <a:pt x="4" y="1"/>
                </a:moveTo>
                <a:lnTo>
                  <a:pt x="4" y="0"/>
                </a:lnTo>
                <a:lnTo>
                  <a:pt x="2" y="1"/>
                </a:lnTo>
                <a:lnTo>
                  <a:pt x="0" y="3"/>
                </a:lnTo>
                <a:lnTo>
                  <a:pt x="0" y="6"/>
                </a:lnTo>
                <a:lnTo>
                  <a:pt x="1" y="4"/>
                </a:lnTo>
                <a:lnTo>
                  <a:pt x="2" y="3"/>
                </a:lnTo>
                <a:lnTo>
                  <a:pt x="4" y="1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30" name="Freeform 853"/>
          <p:cNvSpPr>
            <a:spLocks/>
          </p:cNvSpPr>
          <p:nvPr/>
        </p:nvSpPr>
        <p:spPr bwMode="auto">
          <a:xfrm>
            <a:off x="5812791" y="2467252"/>
            <a:ext cx="5847" cy="10737"/>
          </a:xfrm>
          <a:custGeom>
            <a:avLst/>
            <a:gdLst/>
            <a:ahLst/>
            <a:cxnLst>
              <a:cxn ang="0">
                <a:pos x="4" y="1"/>
              </a:cxn>
              <a:cxn ang="0">
                <a:pos x="4" y="0"/>
              </a:cxn>
              <a:cxn ang="0">
                <a:pos x="2" y="1"/>
              </a:cxn>
              <a:cxn ang="0">
                <a:pos x="0" y="3"/>
              </a:cxn>
              <a:cxn ang="0">
                <a:pos x="0" y="6"/>
              </a:cxn>
              <a:cxn ang="0">
                <a:pos x="1" y="4"/>
              </a:cxn>
              <a:cxn ang="0">
                <a:pos x="2" y="3"/>
              </a:cxn>
              <a:cxn ang="0">
                <a:pos x="4" y="1"/>
              </a:cxn>
            </a:cxnLst>
            <a:rect l="0" t="0" r="r" b="b"/>
            <a:pathLst>
              <a:path w="4" h="6">
                <a:moveTo>
                  <a:pt x="4" y="1"/>
                </a:moveTo>
                <a:lnTo>
                  <a:pt x="4" y="0"/>
                </a:lnTo>
                <a:lnTo>
                  <a:pt x="2" y="1"/>
                </a:lnTo>
                <a:lnTo>
                  <a:pt x="0" y="3"/>
                </a:lnTo>
                <a:lnTo>
                  <a:pt x="0" y="6"/>
                </a:lnTo>
                <a:lnTo>
                  <a:pt x="1" y="4"/>
                </a:lnTo>
                <a:lnTo>
                  <a:pt x="2" y="3"/>
                </a:lnTo>
                <a:lnTo>
                  <a:pt x="4" y="1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31" name="Freeform 854"/>
          <p:cNvSpPr>
            <a:spLocks/>
          </p:cNvSpPr>
          <p:nvPr/>
        </p:nvSpPr>
        <p:spPr bwMode="auto">
          <a:xfrm>
            <a:off x="5789405" y="2516646"/>
            <a:ext cx="7795" cy="4295"/>
          </a:xfrm>
          <a:custGeom>
            <a:avLst/>
            <a:gdLst/>
            <a:ahLst/>
            <a:cxnLst>
              <a:cxn ang="0">
                <a:pos x="1" y="1"/>
              </a:cxn>
              <a:cxn ang="0">
                <a:pos x="0" y="1"/>
              </a:cxn>
              <a:cxn ang="0">
                <a:pos x="2" y="0"/>
              </a:cxn>
              <a:cxn ang="0">
                <a:pos x="4" y="3"/>
              </a:cxn>
              <a:cxn ang="0">
                <a:pos x="5" y="3"/>
              </a:cxn>
              <a:cxn ang="0">
                <a:pos x="1" y="1"/>
              </a:cxn>
            </a:cxnLst>
            <a:rect l="0" t="0" r="r" b="b"/>
            <a:pathLst>
              <a:path w="5" h="3">
                <a:moveTo>
                  <a:pt x="1" y="1"/>
                </a:moveTo>
                <a:lnTo>
                  <a:pt x="0" y="1"/>
                </a:lnTo>
                <a:lnTo>
                  <a:pt x="2" y="0"/>
                </a:lnTo>
                <a:lnTo>
                  <a:pt x="4" y="3"/>
                </a:lnTo>
                <a:lnTo>
                  <a:pt x="5" y="3"/>
                </a:lnTo>
                <a:lnTo>
                  <a:pt x="1" y="1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32" name="Freeform 855"/>
          <p:cNvSpPr>
            <a:spLocks/>
          </p:cNvSpPr>
          <p:nvPr/>
        </p:nvSpPr>
        <p:spPr bwMode="auto">
          <a:xfrm>
            <a:off x="5789405" y="2516646"/>
            <a:ext cx="7795" cy="4295"/>
          </a:xfrm>
          <a:custGeom>
            <a:avLst/>
            <a:gdLst/>
            <a:ahLst/>
            <a:cxnLst>
              <a:cxn ang="0">
                <a:pos x="1" y="1"/>
              </a:cxn>
              <a:cxn ang="0">
                <a:pos x="0" y="1"/>
              </a:cxn>
              <a:cxn ang="0">
                <a:pos x="2" y="0"/>
              </a:cxn>
              <a:cxn ang="0">
                <a:pos x="4" y="3"/>
              </a:cxn>
              <a:cxn ang="0">
                <a:pos x="5" y="3"/>
              </a:cxn>
              <a:cxn ang="0">
                <a:pos x="1" y="1"/>
              </a:cxn>
            </a:cxnLst>
            <a:rect l="0" t="0" r="r" b="b"/>
            <a:pathLst>
              <a:path w="5" h="3">
                <a:moveTo>
                  <a:pt x="1" y="1"/>
                </a:moveTo>
                <a:lnTo>
                  <a:pt x="0" y="1"/>
                </a:lnTo>
                <a:lnTo>
                  <a:pt x="2" y="0"/>
                </a:lnTo>
                <a:lnTo>
                  <a:pt x="4" y="3"/>
                </a:lnTo>
                <a:lnTo>
                  <a:pt x="5" y="3"/>
                </a:lnTo>
                <a:lnTo>
                  <a:pt x="1" y="1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33" name="Freeform 856"/>
          <p:cNvSpPr>
            <a:spLocks/>
          </p:cNvSpPr>
          <p:nvPr/>
        </p:nvSpPr>
        <p:spPr bwMode="auto">
          <a:xfrm>
            <a:off x="5783560" y="2518794"/>
            <a:ext cx="7795" cy="2146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1" y="0"/>
              </a:cxn>
              <a:cxn ang="0">
                <a:pos x="4" y="2"/>
              </a:cxn>
              <a:cxn ang="0">
                <a:pos x="0" y="2"/>
              </a:cxn>
            </a:cxnLst>
            <a:rect l="0" t="0" r="r" b="b"/>
            <a:pathLst>
              <a:path w="4" h="2">
                <a:moveTo>
                  <a:pt x="0" y="2"/>
                </a:moveTo>
                <a:lnTo>
                  <a:pt x="1" y="0"/>
                </a:lnTo>
                <a:lnTo>
                  <a:pt x="4" y="2"/>
                </a:lnTo>
                <a:lnTo>
                  <a:pt x="0" y="2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34" name="Freeform 857"/>
          <p:cNvSpPr>
            <a:spLocks/>
          </p:cNvSpPr>
          <p:nvPr/>
        </p:nvSpPr>
        <p:spPr bwMode="auto">
          <a:xfrm>
            <a:off x="5783560" y="2518794"/>
            <a:ext cx="7795" cy="2146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1" y="0"/>
              </a:cxn>
              <a:cxn ang="0">
                <a:pos x="4" y="2"/>
              </a:cxn>
              <a:cxn ang="0">
                <a:pos x="0" y="2"/>
              </a:cxn>
            </a:cxnLst>
            <a:rect l="0" t="0" r="r" b="b"/>
            <a:pathLst>
              <a:path w="4" h="2">
                <a:moveTo>
                  <a:pt x="0" y="2"/>
                </a:moveTo>
                <a:lnTo>
                  <a:pt x="1" y="0"/>
                </a:lnTo>
                <a:lnTo>
                  <a:pt x="4" y="2"/>
                </a:lnTo>
                <a:lnTo>
                  <a:pt x="0" y="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35" name="Freeform 858"/>
          <p:cNvSpPr>
            <a:spLocks/>
          </p:cNvSpPr>
          <p:nvPr/>
        </p:nvSpPr>
        <p:spPr bwMode="auto">
          <a:xfrm>
            <a:off x="5775763" y="2525237"/>
            <a:ext cx="5846" cy="644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"/>
              </a:cxn>
              <a:cxn ang="0">
                <a:pos x="2" y="1"/>
              </a:cxn>
              <a:cxn ang="0">
                <a:pos x="0" y="0"/>
              </a:cxn>
            </a:cxnLst>
            <a:rect l="0" t="0" r="r" b="b"/>
            <a:pathLst>
              <a:path w="2" h="3">
                <a:moveTo>
                  <a:pt x="0" y="0"/>
                </a:moveTo>
                <a:lnTo>
                  <a:pt x="0" y="3"/>
                </a:lnTo>
                <a:lnTo>
                  <a:pt x="2" y="1"/>
                </a:lnTo>
                <a:lnTo>
                  <a:pt x="0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36" name="Freeform 859"/>
          <p:cNvSpPr>
            <a:spLocks/>
          </p:cNvSpPr>
          <p:nvPr/>
        </p:nvSpPr>
        <p:spPr bwMode="auto">
          <a:xfrm>
            <a:off x="5921924" y="2828050"/>
            <a:ext cx="29233" cy="55838"/>
          </a:xfrm>
          <a:custGeom>
            <a:avLst/>
            <a:gdLst/>
            <a:ahLst/>
            <a:cxnLst>
              <a:cxn ang="0">
                <a:pos x="11" y="0"/>
              </a:cxn>
              <a:cxn ang="0">
                <a:pos x="12" y="0"/>
              </a:cxn>
              <a:cxn ang="0">
                <a:pos x="13" y="8"/>
              </a:cxn>
              <a:cxn ang="0">
                <a:pos x="15" y="14"/>
              </a:cxn>
              <a:cxn ang="0">
                <a:pos x="13" y="16"/>
              </a:cxn>
              <a:cxn ang="0">
                <a:pos x="13" y="19"/>
              </a:cxn>
              <a:cxn ang="0">
                <a:pos x="12" y="20"/>
              </a:cxn>
              <a:cxn ang="0">
                <a:pos x="11" y="25"/>
              </a:cxn>
              <a:cxn ang="0">
                <a:pos x="9" y="27"/>
              </a:cxn>
              <a:cxn ang="0">
                <a:pos x="9" y="28"/>
              </a:cxn>
              <a:cxn ang="0">
                <a:pos x="8" y="27"/>
              </a:cxn>
              <a:cxn ang="0">
                <a:pos x="7" y="27"/>
              </a:cxn>
              <a:cxn ang="0">
                <a:pos x="4" y="25"/>
              </a:cxn>
              <a:cxn ang="0">
                <a:pos x="4" y="22"/>
              </a:cxn>
              <a:cxn ang="0">
                <a:pos x="1" y="22"/>
              </a:cxn>
              <a:cxn ang="0">
                <a:pos x="1" y="20"/>
              </a:cxn>
              <a:cxn ang="0">
                <a:pos x="1" y="16"/>
              </a:cxn>
              <a:cxn ang="0">
                <a:pos x="0" y="14"/>
              </a:cxn>
              <a:cxn ang="0">
                <a:pos x="0" y="9"/>
              </a:cxn>
              <a:cxn ang="0">
                <a:pos x="1" y="6"/>
              </a:cxn>
              <a:cxn ang="0">
                <a:pos x="3" y="8"/>
              </a:cxn>
              <a:cxn ang="0">
                <a:pos x="4" y="6"/>
              </a:cxn>
              <a:cxn ang="0">
                <a:pos x="8" y="5"/>
              </a:cxn>
              <a:cxn ang="0">
                <a:pos x="9" y="5"/>
              </a:cxn>
              <a:cxn ang="0">
                <a:pos x="11" y="3"/>
              </a:cxn>
              <a:cxn ang="0">
                <a:pos x="11" y="0"/>
              </a:cxn>
            </a:cxnLst>
            <a:rect l="0" t="0" r="r" b="b"/>
            <a:pathLst>
              <a:path w="15" h="28">
                <a:moveTo>
                  <a:pt x="11" y="0"/>
                </a:moveTo>
                <a:lnTo>
                  <a:pt x="12" y="0"/>
                </a:lnTo>
                <a:lnTo>
                  <a:pt x="13" y="8"/>
                </a:lnTo>
                <a:lnTo>
                  <a:pt x="15" y="14"/>
                </a:lnTo>
                <a:lnTo>
                  <a:pt x="13" y="16"/>
                </a:lnTo>
                <a:lnTo>
                  <a:pt x="13" y="19"/>
                </a:lnTo>
                <a:lnTo>
                  <a:pt x="12" y="20"/>
                </a:lnTo>
                <a:lnTo>
                  <a:pt x="11" y="25"/>
                </a:lnTo>
                <a:lnTo>
                  <a:pt x="9" y="27"/>
                </a:lnTo>
                <a:lnTo>
                  <a:pt x="9" y="28"/>
                </a:lnTo>
                <a:lnTo>
                  <a:pt x="8" y="27"/>
                </a:lnTo>
                <a:lnTo>
                  <a:pt x="7" y="27"/>
                </a:lnTo>
                <a:lnTo>
                  <a:pt x="4" y="25"/>
                </a:lnTo>
                <a:lnTo>
                  <a:pt x="4" y="22"/>
                </a:lnTo>
                <a:lnTo>
                  <a:pt x="1" y="22"/>
                </a:lnTo>
                <a:lnTo>
                  <a:pt x="1" y="20"/>
                </a:lnTo>
                <a:lnTo>
                  <a:pt x="1" y="16"/>
                </a:lnTo>
                <a:lnTo>
                  <a:pt x="0" y="14"/>
                </a:lnTo>
                <a:lnTo>
                  <a:pt x="0" y="9"/>
                </a:lnTo>
                <a:lnTo>
                  <a:pt x="1" y="6"/>
                </a:lnTo>
                <a:lnTo>
                  <a:pt x="3" y="8"/>
                </a:lnTo>
                <a:lnTo>
                  <a:pt x="4" y="6"/>
                </a:lnTo>
                <a:lnTo>
                  <a:pt x="8" y="5"/>
                </a:lnTo>
                <a:lnTo>
                  <a:pt x="9" y="5"/>
                </a:lnTo>
                <a:lnTo>
                  <a:pt x="11" y="3"/>
                </a:lnTo>
                <a:lnTo>
                  <a:pt x="11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37" name="Freeform 860"/>
          <p:cNvSpPr>
            <a:spLocks/>
          </p:cNvSpPr>
          <p:nvPr/>
        </p:nvSpPr>
        <p:spPr bwMode="auto">
          <a:xfrm>
            <a:off x="5921924" y="2828050"/>
            <a:ext cx="29233" cy="55838"/>
          </a:xfrm>
          <a:custGeom>
            <a:avLst/>
            <a:gdLst/>
            <a:ahLst/>
            <a:cxnLst>
              <a:cxn ang="0">
                <a:pos x="11" y="0"/>
              </a:cxn>
              <a:cxn ang="0">
                <a:pos x="12" y="0"/>
              </a:cxn>
              <a:cxn ang="0">
                <a:pos x="13" y="8"/>
              </a:cxn>
              <a:cxn ang="0">
                <a:pos x="15" y="14"/>
              </a:cxn>
              <a:cxn ang="0">
                <a:pos x="13" y="16"/>
              </a:cxn>
              <a:cxn ang="0">
                <a:pos x="13" y="19"/>
              </a:cxn>
              <a:cxn ang="0">
                <a:pos x="12" y="20"/>
              </a:cxn>
              <a:cxn ang="0">
                <a:pos x="11" y="25"/>
              </a:cxn>
              <a:cxn ang="0">
                <a:pos x="9" y="27"/>
              </a:cxn>
              <a:cxn ang="0">
                <a:pos x="9" y="28"/>
              </a:cxn>
              <a:cxn ang="0">
                <a:pos x="8" y="27"/>
              </a:cxn>
              <a:cxn ang="0">
                <a:pos x="7" y="27"/>
              </a:cxn>
              <a:cxn ang="0">
                <a:pos x="4" y="25"/>
              </a:cxn>
              <a:cxn ang="0">
                <a:pos x="4" y="22"/>
              </a:cxn>
              <a:cxn ang="0">
                <a:pos x="1" y="22"/>
              </a:cxn>
              <a:cxn ang="0">
                <a:pos x="1" y="20"/>
              </a:cxn>
              <a:cxn ang="0">
                <a:pos x="1" y="16"/>
              </a:cxn>
              <a:cxn ang="0">
                <a:pos x="0" y="14"/>
              </a:cxn>
              <a:cxn ang="0">
                <a:pos x="0" y="9"/>
              </a:cxn>
              <a:cxn ang="0">
                <a:pos x="1" y="6"/>
              </a:cxn>
              <a:cxn ang="0">
                <a:pos x="3" y="8"/>
              </a:cxn>
              <a:cxn ang="0">
                <a:pos x="4" y="6"/>
              </a:cxn>
              <a:cxn ang="0">
                <a:pos x="8" y="5"/>
              </a:cxn>
              <a:cxn ang="0">
                <a:pos x="9" y="5"/>
              </a:cxn>
              <a:cxn ang="0">
                <a:pos x="11" y="3"/>
              </a:cxn>
              <a:cxn ang="0">
                <a:pos x="11" y="0"/>
              </a:cxn>
            </a:cxnLst>
            <a:rect l="0" t="0" r="r" b="b"/>
            <a:pathLst>
              <a:path w="15" h="28">
                <a:moveTo>
                  <a:pt x="11" y="0"/>
                </a:moveTo>
                <a:lnTo>
                  <a:pt x="12" y="0"/>
                </a:lnTo>
                <a:lnTo>
                  <a:pt x="13" y="8"/>
                </a:lnTo>
                <a:lnTo>
                  <a:pt x="15" y="14"/>
                </a:lnTo>
                <a:lnTo>
                  <a:pt x="13" y="16"/>
                </a:lnTo>
                <a:lnTo>
                  <a:pt x="13" y="19"/>
                </a:lnTo>
                <a:lnTo>
                  <a:pt x="12" y="20"/>
                </a:lnTo>
                <a:lnTo>
                  <a:pt x="11" y="25"/>
                </a:lnTo>
                <a:lnTo>
                  <a:pt x="9" y="27"/>
                </a:lnTo>
                <a:lnTo>
                  <a:pt x="9" y="28"/>
                </a:lnTo>
                <a:lnTo>
                  <a:pt x="8" y="27"/>
                </a:lnTo>
                <a:lnTo>
                  <a:pt x="7" y="27"/>
                </a:lnTo>
                <a:lnTo>
                  <a:pt x="4" y="25"/>
                </a:lnTo>
                <a:lnTo>
                  <a:pt x="4" y="22"/>
                </a:lnTo>
                <a:lnTo>
                  <a:pt x="1" y="22"/>
                </a:lnTo>
                <a:lnTo>
                  <a:pt x="1" y="20"/>
                </a:lnTo>
                <a:lnTo>
                  <a:pt x="1" y="16"/>
                </a:lnTo>
                <a:lnTo>
                  <a:pt x="0" y="14"/>
                </a:lnTo>
                <a:lnTo>
                  <a:pt x="0" y="9"/>
                </a:lnTo>
                <a:lnTo>
                  <a:pt x="1" y="6"/>
                </a:lnTo>
                <a:lnTo>
                  <a:pt x="3" y="8"/>
                </a:lnTo>
                <a:lnTo>
                  <a:pt x="4" y="6"/>
                </a:lnTo>
                <a:lnTo>
                  <a:pt x="8" y="5"/>
                </a:lnTo>
                <a:lnTo>
                  <a:pt x="9" y="5"/>
                </a:lnTo>
                <a:lnTo>
                  <a:pt x="11" y="3"/>
                </a:lnTo>
                <a:lnTo>
                  <a:pt x="11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38" name="Freeform 861"/>
          <p:cNvSpPr>
            <a:spLocks/>
          </p:cNvSpPr>
          <p:nvPr/>
        </p:nvSpPr>
        <p:spPr bwMode="auto">
          <a:xfrm>
            <a:off x="7215937" y="3489513"/>
            <a:ext cx="7795" cy="4295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1" y="3"/>
              </a:cxn>
              <a:cxn ang="0">
                <a:pos x="3" y="1"/>
              </a:cxn>
              <a:cxn ang="0">
                <a:pos x="3" y="3"/>
              </a:cxn>
              <a:cxn ang="0">
                <a:pos x="4" y="1"/>
              </a:cxn>
              <a:cxn ang="0">
                <a:pos x="3" y="1"/>
              </a:cxn>
              <a:cxn ang="0">
                <a:pos x="3" y="0"/>
              </a:cxn>
              <a:cxn ang="0">
                <a:pos x="1" y="0"/>
              </a:cxn>
              <a:cxn ang="0">
                <a:pos x="0" y="0"/>
              </a:cxn>
              <a:cxn ang="0">
                <a:pos x="0" y="1"/>
              </a:cxn>
            </a:cxnLst>
            <a:rect l="0" t="0" r="r" b="b"/>
            <a:pathLst>
              <a:path w="4" h="3">
                <a:moveTo>
                  <a:pt x="0" y="1"/>
                </a:moveTo>
                <a:lnTo>
                  <a:pt x="1" y="3"/>
                </a:lnTo>
                <a:lnTo>
                  <a:pt x="3" y="1"/>
                </a:lnTo>
                <a:lnTo>
                  <a:pt x="3" y="3"/>
                </a:lnTo>
                <a:lnTo>
                  <a:pt x="4" y="1"/>
                </a:lnTo>
                <a:lnTo>
                  <a:pt x="3" y="1"/>
                </a:lnTo>
                <a:lnTo>
                  <a:pt x="3" y="0"/>
                </a:lnTo>
                <a:lnTo>
                  <a:pt x="1" y="0"/>
                </a:lnTo>
                <a:lnTo>
                  <a:pt x="0" y="0"/>
                </a:lnTo>
                <a:lnTo>
                  <a:pt x="0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39" name="Freeform 862"/>
          <p:cNvSpPr>
            <a:spLocks/>
          </p:cNvSpPr>
          <p:nvPr/>
        </p:nvSpPr>
        <p:spPr bwMode="auto">
          <a:xfrm>
            <a:off x="7215937" y="3489513"/>
            <a:ext cx="7795" cy="4295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1" y="3"/>
              </a:cxn>
              <a:cxn ang="0">
                <a:pos x="3" y="1"/>
              </a:cxn>
              <a:cxn ang="0">
                <a:pos x="3" y="3"/>
              </a:cxn>
              <a:cxn ang="0">
                <a:pos x="4" y="1"/>
              </a:cxn>
              <a:cxn ang="0">
                <a:pos x="3" y="1"/>
              </a:cxn>
              <a:cxn ang="0">
                <a:pos x="3" y="0"/>
              </a:cxn>
              <a:cxn ang="0">
                <a:pos x="1" y="0"/>
              </a:cxn>
              <a:cxn ang="0">
                <a:pos x="0" y="0"/>
              </a:cxn>
              <a:cxn ang="0">
                <a:pos x="0" y="1"/>
              </a:cxn>
            </a:cxnLst>
            <a:rect l="0" t="0" r="r" b="b"/>
            <a:pathLst>
              <a:path w="4" h="3">
                <a:moveTo>
                  <a:pt x="0" y="1"/>
                </a:moveTo>
                <a:lnTo>
                  <a:pt x="1" y="3"/>
                </a:lnTo>
                <a:lnTo>
                  <a:pt x="3" y="1"/>
                </a:lnTo>
                <a:lnTo>
                  <a:pt x="3" y="3"/>
                </a:lnTo>
                <a:lnTo>
                  <a:pt x="4" y="1"/>
                </a:lnTo>
                <a:lnTo>
                  <a:pt x="3" y="1"/>
                </a:lnTo>
                <a:lnTo>
                  <a:pt x="3" y="0"/>
                </a:lnTo>
                <a:lnTo>
                  <a:pt x="1" y="0"/>
                </a:lnTo>
                <a:lnTo>
                  <a:pt x="0" y="0"/>
                </a:lnTo>
                <a:lnTo>
                  <a:pt x="0" y="1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40" name="Rectangle 863"/>
          <p:cNvSpPr>
            <a:spLocks noChangeArrowheads="1"/>
          </p:cNvSpPr>
          <p:nvPr/>
        </p:nvSpPr>
        <p:spPr bwMode="auto">
          <a:xfrm>
            <a:off x="7169166" y="3096500"/>
            <a:ext cx="0" cy="214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3175">
            <a:solidFill>
              <a:sysClr val="window" lastClr="FFFFFF">
                <a:lumMod val="95000"/>
              </a:sysClr>
            </a:solidFill>
            <a:miter lim="800000"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41" name="Rectangle 864"/>
          <p:cNvSpPr>
            <a:spLocks noChangeArrowheads="1"/>
          </p:cNvSpPr>
          <p:nvPr/>
        </p:nvSpPr>
        <p:spPr bwMode="auto">
          <a:xfrm>
            <a:off x="6894384" y="3800915"/>
            <a:ext cx="0" cy="429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3175">
            <a:solidFill>
              <a:sysClr val="window" lastClr="FFFFFF">
                <a:lumMod val="95000"/>
              </a:sysClr>
            </a:solidFill>
            <a:miter lim="800000"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42" name="Freeform 865"/>
          <p:cNvSpPr>
            <a:spLocks/>
          </p:cNvSpPr>
          <p:nvPr/>
        </p:nvSpPr>
        <p:spPr bwMode="auto">
          <a:xfrm>
            <a:off x="8502156" y="3927624"/>
            <a:ext cx="7795" cy="8591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2" y="2"/>
              </a:cxn>
              <a:cxn ang="0">
                <a:pos x="2" y="0"/>
              </a:cxn>
              <a:cxn ang="0">
                <a:pos x="0" y="5"/>
              </a:cxn>
              <a:cxn ang="0">
                <a:pos x="2" y="5"/>
              </a:cxn>
              <a:cxn ang="0">
                <a:pos x="4" y="5"/>
              </a:cxn>
              <a:cxn ang="0">
                <a:pos x="4" y="2"/>
              </a:cxn>
              <a:cxn ang="0">
                <a:pos x="2" y="0"/>
              </a:cxn>
            </a:cxnLst>
            <a:rect l="0" t="0" r="r" b="b"/>
            <a:pathLst>
              <a:path w="4" h="5">
                <a:moveTo>
                  <a:pt x="2" y="0"/>
                </a:moveTo>
                <a:lnTo>
                  <a:pt x="2" y="2"/>
                </a:lnTo>
                <a:lnTo>
                  <a:pt x="2" y="0"/>
                </a:lnTo>
                <a:lnTo>
                  <a:pt x="0" y="5"/>
                </a:lnTo>
                <a:lnTo>
                  <a:pt x="2" y="5"/>
                </a:lnTo>
                <a:lnTo>
                  <a:pt x="4" y="5"/>
                </a:lnTo>
                <a:lnTo>
                  <a:pt x="4" y="2"/>
                </a:lnTo>
                <a:lnTo>
                  <a:pt x="2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43" name="Freeform 866"/>
          <p:cNvSpPr>
            <a:spLocks/>
          </p:cNvSpPr>
          <p:nvPr/>
        </p:nvSpPr>
        <p:spPr bwMode="auto">
          <a:xfrm>
            <a:off x="8502156" y="3927624"/>
            <a:ext cx="7795" cy="8591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2" y="2"/>
              </a:cxn>
              <a:cxn ang="0">
                <a:pos x="2" y="0"/>
              </a:cxn>
              <a:cxn ang="0">
                <a:pos x="0" y="5"/>
              </a:cxn>
              <a:cxn ang="0">
                <a:pos x="2" y="5"/>
              </a:cxn>
              <a:cxn ang="0">
                <a:pos x="4" y="5"/>
              </a:cxn>
              <a:cxn ang="0">
                <a:pos x="4" y="2"/>
              </a:cxn>
              <a:cxn ang="0">
                <a:pos x="2" y="0"/>
              </a:cxn>
            </a:cxnLst>
            <a:rect l="0" t="0" r="r" b="b"/>
            <a:pathLst>
              <a:path w="4" h="5">
                <a:moveTo>
                  <a:pt x="2" y="0"/>
                </a:moveTo>
                <a:lnTo>
                  <a:pt x="2" y="2"/>
                </a:lnTo>
                <a:lnTo>
                  <a:pt x="2" y="0"/>
                </a:lnTo>
                <a:lnTo>
                  <a:pt x="0" y="5"/>
                </a:lnTo>
                <a:lnTo>
                  <a:pt x="2" y="5"/>
                </a:lnTo>
                <a:lnTo>
                  <a:pt x="4" y="5"/>
                </a:lnTo>
                <a:lnTo>
                  <a:pt x="4" y="2"/>
                </a:lnTo>
                <a:lnTo>
                  <a:pt x="2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44" name="Freeform 867"/>
          <p:cNvSpPr>
            <a:spLocks/>
          </p:cNvSpPr>
          <p:nvPr/>
        </p:nvSpPr>
        <p:spPr bwMode="auto">
          <a:xfrm>
            <a:off x="8498257" y="3929772"/>
            <a:ext cx="3898" cy="8591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4"/>
              </a:cxn>
              <a:cxn ang="0">
                <a:pos x="2" y="3"/>
              </a:cxn>
              <a:cxn ang="0">
                <a:pos x="2" y="0"/>
              </a:cxn>
            </a:cxnLst>
            <a:rect l="0" t="0" r="r" b="b"/>
            <a:pathLst>
              <a:path w="2" h="4">
                <a:moveTo>
                  <a:pt x="2" y="0"/>
                </a:moveTo>
                <a:lnTo>
                  <a:pt x="0" y="4"/>
                </a:lnTo>
                <a:lnTo>
                  <a:pt x="2" y="3"/>
                </a:lnTo>
                <a:lnTo>
                  <a:pt x="2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45" name="Freeform 868"/>
          <p:cNvSpPr>
            <a:spLocks/>
          </p:cNvSpPr>
          <p:nvPr/>
        </p:nvSpPr>
        <p:spPr bwMode="auto">
          <a:xfrm>
            <a:off x="8502156" y="3899705"/>
            <a:ext cx="1949" cy="85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"/>
              </a:cxn>
              <a:cxn ang="0">
                <a:pos x="0" y="5"/>
              </a:cxn>
              <a:cxn ang="0">
                <a:pos x="1" y="3"/>
              </a:cxn>
              <a:cxn ang="0">
                <a:pos x="0" y="0"/>
              </a:cxn>
            </a:cxnLst>
            <a:rect l="0" t="0" r="r" b="b"/>
            <a:pathLst>
              <a:path w="1" h="5">
                <a:moveTo>
                  <a:pt x="0" y="0"/>
                </a:moveTo>
                <a:lnTo>
                  <a:pt x="0" y="3"/>
                </a:lnTo>
                <a:lnTo>
                  <a:pt x="0" y="5"/>
                </a:lnTo>
                <a:lnTo>
                  <a:pt x="1" y="3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46" name="Freeform 869"/>
          <p:cNvSpPr>
            <a:spLocks/>
          </p:cNvSpPr>
          <p:nvPr/>
        </p:nvSpPr>
        <p:spPr bwMode="auto">
          <a:xfrm>
            <a:off x="8502156" y="3899705"/>
            <a:ext cx="1949" cy="85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"/>
              </a:cxn>
              <a:cxn ang="0">
                <a:pos x="0" y="5"/>
              </a:cxn>
              <a:cxn ang="0">
                <a:pos x="1" y="3"/>
              </a:cxn>
              <a:cxn ang="0">
                <a:pos x="0" y="0"/>
              </a:cxn>
            </a:cxnLst>
            <a:rect l="0" t="0" r="r" b="b"/>
            <a:pathLst>
              <a:path w="1" h="5">
                <a:moveTo>
                  <a:pt x="0" y="0"/>
                </a:moveTo>
                <a:lnTo>
                  <a:pt x="0" y="3"/>
                </a:lnTo>
                <a:lnTo>
                  <a:pt x="0" y="5"/>
                </a:lnTo>
                <a:lnTo>
                  <a:pt x="1" y="3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47" name="Freeform 870"/>
          <p:cNvSpPr>
            <a:spLocks/>
          </p:cNvSpPr>
          <p:nvPr/>
        </p:nvSpPr>
        <p:spPr bwMode="auto">
          <a:xfrm>
            <a:off x="9043926" y="3942657"/>
            <a:ext cx="68209" cy="105233"/>
          </a:xfrm>
          <a:custGeom>
            <a:avLst/>
            <a:gdLst/>
            <a:ahLst/>
            <a:cxnLst>
              <a:cxn ang="0">
                <a:pos x="33" y="2"/>
              </a:cxn>
              <a:cxn ang="0">
                <a:pos x="33" y="0"/>
              </a:cxn>
              <a:cxn ang="0">
                <a:pos x="35" y="2"/>
              </a:cxn>
              <a:cxn ang="0">
                <a:pos x="35" y="5"/>
              </a:cxn>
              <a:cxn ang="0">
                <a:pos x="35" y="6"/>
              </a:cxn>
              <a:cxn ang="0">
                <a:pos x="35" y="8"/>
              </a:cxn>
              <a:cxn ang="0">
                <a:pos x="35" y="11"/>
              </a:cxn>
              <a:cxn ang="0">
                <a:pos x="36" y="16"/>
              </a:cxn>
              <a:cxn ang="0">
                <a:pos x="35" y="17"/>
              </a:cxn>
              <a:cxn ang="0">
                <a:pos x="32" y="19"/>
              </a:cxn>
              <a:cxn ang="0">
                <a:pos x="31" y="22"/>
              </a:cxn>
              <a:cxn ang="0">
                <a:pos x="28" y="25"/>
              </a:cxn>
              <a:cxn ang="0">
                <a:pos x="25" y="25"/>
              </a:cxn>
              <a:cxn ang="0">
                <a:pos x="24" y="27"/>
              </a:cxn>
              <a:cxn ang="0">
                <a:pos x="23" y="31"/>
              </a:cxn>
              <a:cxn ang="0">
                <a:pos x="20" y="36"/>
              </a:cxn>
              <a:cxn ang="0">
                <a:pos x="13" y="42"/>
              </a:cxn>
              <a:cxn ang="0">
                <a:pos x="11" y="46"/>
              </a:cxn>
              <a:cxn ang="0">
                <a:pos x="8" y="49"/>
              </a:cxn>
              <a:cxn ang="0">
                <a:pos x="5" y="49"/>
              </a:cxn>
              <a:cxn ang="0">
                <a:pos x="4" y="52"/>
              </a:cxn>
              <a:cxn ang="0">
                <a:pos x="1" y="53"/>
              </a:cxn>
              <a:cxn ang="0">
                <a:pos x="0" y="53"/>
              </a:cxn>
              <a:cxn ang="0">
                <a:pos x="1" y="49"/>
              </a:cxn>
              <a:cxn ang="0">
                <a:pos x="3" y="44"/>
              </a:cxn>
              <a:cxn ang="0">
                <a:pos x="5" y="42"/>
              </a:cxn>
              <a:cxn ang="0">
                <a:pos x="9" y="39"/>
              </a:cxn>
              <a:cxn ang="0">
                <a:pos x="11" y="38"/>
              </a:cxn>
              <a:cxn ang="0">
                <a:pos x="19" y="28"/>
              </a:cxn>
              <a:cxn ang="0">
                <a:pos x="21" y="24"/>
              </a:cxn>
              <a:cxn ang="0">
                <a:pos x="23" y="24"/>
              </a:cxn>
              <a:cxn ang="0">
                <a:pos x="24" y="20"/>
              </a:cxn>
              <a:cxn ang="0">
                <a:pos x="27" y="19"/>
              </a:cxn>
              <a:cxn ang="0">
                <a:pos x="29" y="17"/>
              </a:cxn>
              <a:cxn ang="0">
                <a:pos x="31" y="13"/>
              </a:cxn>
              <a:cxn ang="0">
                <a:pos x="31" y="9"/>
              </a:cxn>
              <a:cxn ang="0">
                <a:pos x="31" y="11"/>
              </a:cxn>
              <a:cxn ang="0">
                <a:pos x="32" y="11"/>
              </a:cxn>
              <a:cxn ang="0">
                <a:pos x="32" y="9"/>
              </a:cxn>
              <a:cxn ang="0">
                <a:pos x="31" y="8"/>
              </a:cxn>
              <a:cxn ang="0">
                <a:pos x="31" y="6"/>
              </a:cxn>
              <a:cxn ang="0">
                <a:pos x="32" y="5"/>
              </a:cxn>
              <a:cxn ang="0">
                <a:pos x="32" y="2"/>
              </a:cxn>
              <a:cxn ang="0">
                <a:pos x="33" y="2"/>
              </a:cxn>
            </a:cxnLst>
            <a:rect l="0" t="0" r="r" b="b"/>
            <a:pathLst>
              <a:path w="36" h="53">
                <a:moveTo>
                  <a:pt x="33" y="2"/>
                </a:moveTo>
                <a:lnTo>
                  <a:pt x="33" y="0"/>
                </a:lnTo>
                <a:lnTo>
                  <a:pt x="35" y="2"/>
                </a:lnTo>
                <a:lnTo>
                  <a:pt x="35" y="5"/>
                </a:lnTo>
                <a:lnTo>
                  <a:pt x="35" y="6"/>
                </a:lnTo>
                <a:lnTo>
                  <a:pt x="35" y="8"/>
                </a:lnTo>
                <a:lnTo>
                  <a:pt x="35" y="11"/>
                </a:lnTo>
                <a:lnTo>
                  <a:pt x="36" y="16"/>
                </a:lnTo>
                <a:lnTo>
                  <a:pt x="35" y="17"/>
                </a:lnTo>
                <a:lnTo>
                  <a:pt x="32" y="19"/>
                </a:lnTo>
                <a:lnTo>
                  <a:pt x="31" y="22"/>
                </a:lnTo>
                <a:lnTo>
                  <a:pt x="28" y="25"/>
                </a:lnTo>
                <a:lnTo>
                  <a:pt x="25" y="25"/>
                </a:lnTo>
                <a:lnTo>
                  <a:pt x="24" y="27"/>
                </a:lnTo>
                <a:lnTo>
                  <a:pt x="23" y="31"/>
                </a:lnTo>
                <a:lnTo>
                  <a:pt x="20" y="36"/>
                </a:lnTo>
                <a:lnTo>
                  <a:pt x="13" y="42"/>
                </a:lnTo>
                <a:lnTo>
                  <a:pt x="11" y="46"/>
                </a:lnTo>
                <a:lnTo>
                  <a:pt x="8" y="49"/>
                </a:lnTo>
                <a:lnTo>
                  <a:pt x="5" y="49"/>
                </a:lnTo>
                <a:lnTo>
                  <a:pt x="4" y="52"/>
                </a:lnTo>
                <a:lnTo>
                  <a:pt x="1" y="53"/>
                </a:lnTo>
                <a:lnTo>
                  <a:pt x="0" y="53"/>
                </a:lnTo>
                <a:lnTo>
                  <a:pt x="1" y="49"/>
                </a:lnTo>
                <a:lnTo>
                  <a:pt x="3" y="44"/>
                </a:lnTo>
                <a:lnTo>
                  <a:pt x="5" y="42"/>
                </a:lnTo>
                <a:lnTo>
                  <a:pt x="9" y="39"/>
                </a:lnTo>
                <a:lnTo>
                  <a:pt x="11" y="38"/>
                </a:lnTo>
                <a:lnTo>
                  <a:pt x="19" y="28"/>
                </a:lnTo>
                <a:lnTo>
                  <a:pt x="21" y="24"/>
                </a:lnTo>
                <a:lnTo>
                  <a:pt x="23" y="24"/>
                </a:lnTo>
                <a:lnTo>
                  <a:pt x="24" y="20"/>
                </a:lnTo>
                <a:lnTo>
                  <a:pt x="27" y="19"/>
                </a:lnTo>
                <a:lnTo>
                  <a:pt x="29" y="17"/>
                </a:lnTo>
                <a:lnTo>
                  <a:pt x="31" y="13"/>
                </a:lnTo>
                <a:lnTo>
                  <a:pt x="31" y="9"/>
                </a:lnTo>
                <a:lnTo>
                  <a:pt x="31" y="11"/>
                </a:lnTo>
                <a:lnTo>
                  <a:pt x="32" y="11"/>
                </a:lnTo>
                <a:lnTo>
                  <a:pt x="32" y="9"/>
                </a:lnTo>
                <a:lnTo>
                  <a:pt x="31" y="8"/>
                </a:lnTo>
                <a:lnTo>
                  <a:pt x="31" y="6"/>
                </a:lnTo>
                <a:lnTo>
                  <a:pt x="32" y="5"/>
                </a:lnTo>
                <a:lnTo>
                  <a:pt x="32" y="2"/>
                </a:lnTo>
                <a:lnTo>
                  <a:pt x="33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48" name="Freeform 871"/>
          <p:cNvSpPr>
            <a:spLocks/>
          </p:cNvSpPr>
          <p:nvPr/>
        </p:nvSpPr>
        <p:spPr bwMode="auto">
          <a:xfrm>
            <a:off x="9043926" y="3942657"/>
            <a:ext cx="68209" cy="105233"/>
          </a:xfrm>
          <a:custGeom>
            <a:avLst/>
            <a:gdLst/>
            <a:ahLst/>
            <a:cxnLst>
              <a:cxn ang="0">
                <a:pos x="33" y="2"/>
              </a:cxn>
              <a:cxn ang="0">
                <a:pos x="33" y="0"/>
              </a:cxn>
              <a:cxn ang="0">
                <a:pos x="35" y="2"/>
              </a:cxn>
              <a:cxn ang="0">
                <a:pos x="35" y="5"/>
              </a:cxn>
              <a:cxn ang="0">
                <a:pos x="35" y="6"/>
              </a:cxn>
              <a:cxn ang="0">
                <a:pos x="35" y="8"/>
              </a:cxn>
              <a:cxn ang="0">
                <a:pos x="35" y="11"/>
              </a:cxn>
              <a:cxn ang="0">
                <a:pos x="36" y="16"/>
              </a:cxn>
              <a:cxn ang="0">
                <a:pos x="35" y="17"/>
              </a:cxn>
              <a:cxn ang="0">
                <a:pos x="32" y="19"/>
              </a:cxn>
              <a:cxn ang="0">
                <a:pos x="31" y="22"/>
              </a:cxn>
              <a:cxn ang="0">
                <a:pos x="28" y="25"/>
              </a:cxn>
              <a:cxn ang="0">
                <a:pos x="25" y="25"/>
              </a:cxn>
              <a:cxn ang="0">
                <a:pos x="24" y="27"/>
              </a:cxn>
              <a:cxn ang="0">
                <a:pos x="23" y="31"/>
              </a:cxn>
              <a:cxn ang="0">
                <a:pos x="20" y="36"/>
              </a:cxn>
              <a:cxn ang="0">
                <a:pos x="13" y="42"/>
              </a:cxn>
              <a:cxn ang="0">
                <a:pos x="11" y="46"/>
              </a:cxn>
              <a:cxn ang="0">
                <a:pos x="8" y="49"/>
              </a:cxn>
              <a:cxn ang="0">
                <a:pos x="5" y="49"/>
              </a:cxn>
              <a:cxn ang="0">
                <a:pos x="4" y="52"/>
              </a:cxn>
              <a:cxn ang="0">
                <a:pos x="1" y="53"/>
              </a:cxn>
              <a:cxn ang="0">
                <a:pos x="0" y="53"/>
              </a:cxn>
              <a:cxn ang="0">
                <a:pos x="1" y="49"/>
              </a:cxn>
              <a:cxn ang="0">
                <a:pos x="3" y="44"/>
              </a:cxn>
              <a:cxn ang="0">
                <a:pos x="5" y="42"/>
              </a:cxn>
              <a:cxn ang="0">
                <a:pos x="9" y="39"/>
              </a:cxn>
              <a:cxn ang="0">
                <a:pos x="11" y="38"/>
              </a:cxn>
              <a:cxn ang="0">
                <a:pos x="19" y="28"/>
              </a:cxn>
              <a:cxn ang="0">
                <a:pos x="21" y="24"/>
              </a:cxn>
              <a:cxn ang="0">
                <a:pos x="23" y="24"/>
              </a:cxn>
              <a:cxn ang="0">
                <a:pos x="24" y="20"/>
              </a:cxn>
              <a:cxn ang="0">
                <a:pos x="27" y="19"/>
              </a:cxn>
              <a:cxn ang="0">
                <a:pos x="29" y="17"/>
              </a:cxn>
              <a:cxn ang="0">
                <a:pos x="31" y="13"/>
              </a:cxn>
              <a:cxn ang="0">
                <a:pos x="31" y="9"/>
              </a:cxn>
              <a:cxn ang="0">
                <a:pos x="31" y="11"/>
              </a:cxn>
              <a:cxn ang="0">
                <a:pos x="32" y="11"/>
              </a:cxn>
              <a:cxn ang="0">
                <a:pos x="32" y="9"/>
              </a:cxn>
              <a:cxn ang="0">
                <a:pos x="31" y="8"/>
              </a:cxn>
              <a:cxn ang="0">
                <a:pos x="31" y="6"/>
              </a:cxn>
              <a:cxn ang="0">
                <a:pos x="32" y="5"/>
              </a:cxn>
              <a:cxn ang="0">
                <a:pos x="32" y="2"/>
              </a:cxn>
              <a:cxn ang="0">
                <a:pos x="33" y="2"/>
              </a:cxn>
            </a:cxnLst>
            <a:rect l="0" t="0" r="r" b="b"/>
            <a:pathLst>
              <a:path w="36" h="53">
                <a:moveTo>
                  <a:pt x="33" y="2"/>
                </a:moveTo>
                <a:lnTo>
                  <a:pt x="33" y="0"/>
                </a:lnTo>
                <a:lnTo>
                  <a:pt x="35" y="2"/>
                </a:lnTo>
                <a:lnTo>
                  <a:pt x="35" y="5"/>
                </a:lnTo>
                <a:lnTo>
                  <a:pt x="35" y="6"/>
                </a:lnTo>
                <a:lnTo>
                  <a:pt x="35" y="8"/>
                </a:lnTo>
                <a:lnTo>
                  <a:pt x="35" y="11"/>
                </a:lnTo>
                <a:lnTo>
                  <a:pt x="36" y="16"/>
                </a:lnTo>
                <a:lnTo>
                  <a:pt x="35" y="17"/>
                </a:lnTo>
                <a:lnTo>
                  <a:pt x="32" y="19"/>
                </a:lnTo>
                <a:lnTo>
                  <a:pt x="31" y="22"/>
                </a:lnTo>
                <a:lnTo>
                  <a:pt x="28" y="25"/>
                </a:lnTo>
                <a:lnTo>
                  <a:pt x="25" y="25"/>
                </a:lnTo>
                <a:lnTo>
                  <a:pt x="24" y="27"/>
                </a:lnTo>
                <a:lnTo>
                  <a:pt x="23" y="31"/>
                </a:lnTo>
                <a:lnTo>
                  <a:pt x="20" y="36"/>
                </a:lnTo>
                <a:lnTo>
                  <a:pt x="13" y="42"/>
                </a:lnTo>
                <a:lnTo>
                  <a:pt x="11" y="46"/>
                </a:lnTo>
                <a:lnTo>
                  <a:pt x="8" y="49"/>
                </a:lnTo>
                <a:lnTo>
                  <a:pt x="5" y="49"/>
                </a:lnTo>
                <a:lnTo>
                  <a:pt x="4" y="52"/>
                </a:lnTo>
                <a:lnTo>
                  <a:pt x="1" y="53"/>
                </a:lnTo>
                <a:lnTo>
                  <a:pt x="0" y="53"/>
                </a:lnTo>
                <a:lnTo>
                  <a:pt x="1" y="49"/>
                </a:lnTo>
                <a:lnTo>
                  <a:pt x="3" y="44"/>
                </a:lnTo>
                <a:lnTo>
                  <a:pt x="5" y="42"/>
                </a:lnTo>
                <a:lnTo>
                  <a:pt x="9" y="39"/>
                </a:lnTo>
                <a:lnTo>
                  <a:pt x="11" y="38"/>
                </a:lnTo>
                <a:lnTo>
                  <a:pt x="19" y="28"/>
                </a:lnTo>
                <a:lnTo>
                  <a:pt x="21" y="24"/>
                </a:lnTo>
                <a:lnTo>
                  <a:pt x="23" y="24"/>
                </a:lnTo>
                <a:lnTo>
                  <a:pt x="24" y="20"/>
                </a:lnTo>
                <a:lnTo>
                  <a:pt x="27" y="19"/>
                </a:lnTo>
                <a:lnTo>
                  <a:pt x="29" y="17"/>
                </a:lnTo>
                <a:lnTo>
                  <a:pt x="31" y="13"/>
                </a:lnTo>
                <a:lnTo>
                  <a:pt x="31" y="9"/>
                </a:lnTo>
                <a:lnTo>
                  <a:pt x="31" y="11"/>
                </a:lnTo>
                <a:lnTo>
                  <a:pt x="32" y="11"/>
                </a:lnTo>
                <a:lnTo>
                  <a:pt x="32" y="9"/>
                </a:lnTo>
                <a:lnTo>
                  <a:pt x="31" y="8"/>
                </a:lnTo>
                <a:lnTo>
                  <a:pt x="31" y="6"/>
                </a:lnTo>
                <a:lnTo>
                  <a:pt x="32" y="5"/>
                </a:lnTo>
                <a:lnTo>
                  <a:pt x="32" y="2"/>
                </a:lnTo>
                <a:lnTo>
                  <a:pt x="33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GB" kern="0" dirty="0">
              <a:solidFill>
                <a:prstClr val="white"/>
              </a:solidFill>
            </a:endParaRPr>
          </a:p>
        </p:txBody>
      </p:sp>
      <p:sp>
        <p:nvSpPr>
          <p:cNvPr id="949" name="Freeform 872"/>
          <p:cNvSpPr>
            <a:spLocks/>
          </p:cNvSpPr>
          <p:nvPr/>
        </p:nvSpPr>
        <p:spPr bwMode="auto">
          <a:xfrm>
            <a:off x="9133571" y="3865344"/>
            <a:ext cx="35079" cy="49396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1" y="0"/>
              </a:cxn>
              <a:cxn ang="0">
                <a:pos x="9" y="0"/>
              </a:cxn>
              <a:cxn ang="0">
                <a:pos x="10" y="2"/>
              </a:cxn>
              <a:cxn ang="0">
                <a:pos x="13" y="2"/>
              </a:cxn>
              <a:cxn ang="0">
                <a:pos x="14" y="5"/>
              </a:cxn>
              <a:cxn ang="0">
                <a:pos x="16" y="7"/>
              </a:cxn>
              <a:cxn ang="0">
                <a:pos x="17" y="7"/>
              </a:cxn>
              <a:cxn ang="0">
                <a:pos x="17" y="10"/>
              </a:cxn>
              <a:cxn ang="0">
                <a:pos x="17" y="13"/>
              </a:cxn>
              <a:cxn ang="0">
                <a:pos x="18" y="18"/>
              </a:cxn>
              <a:cxn ang="0">
                <a:pos x="17" y="18"/>
              </a:cxn>
              <a:cxn ang="0">
                <a:pos x="17" y="21"/>
              </a:cxn>
              <a:cxn ang="0">
                <a:pos x="13" y="24"/>
              </a:cxn>
              <a:cxn ang="0">
                <a:pos x="12" y="21"/>
              </a:cxn>
              <a:cxn ang="0">
                <a:pos x="9" y="19"/>
              </a:cxn>
              <a:cxn ang="0">
                <a:pos x="6" y="13"/>
              </a:cxn>
              <a:cxn ang="0">
                <a:pos x="6" y="8"/>
              </a:cxn>
              <a:cxn ang="0">
                <a:pos x="5" y="7"/>
              </a:cxn>
              <a:cxn ang="0">
                <a:pos x="4" y="5"/>
              </a:cxn>
              <a:cxn ang="0">
                <a:pos x="2" y="2"/>
              </a:cxn>
              <a:cxn ang="0">
                <a:pos x="1" y="2"/>
              </a:cxn>
              <a:cxn ang="0">
                <a:pos x="0" y="2"/>
              </a:cxn>
            </a:cxnLst>
            <a:rect l="0" t="0" r="r" b="b"/>
            <a:pathLst>
              <a:path w="18" h="24">
                <a:moveTo>
                  <a:pt x="0" y="2"/>
                </a:moveTo>
                <a:lnTo>
                  <a:pt x="1" y="0"/>
                </a:lnTo>
                <a:lnTo>
                  <a:pt x="9" y="0"/>
                </a:lnTo>
                <a:lnTo>
                  <a:pt x="10" y="2"/>
                </a:lnTo>
                <a:lnTo>
                  <a:pt x="13" y="2"/>
                </a:lnTo>
                <a:lnTo>
                  <a:pt x="14" y="5"/>
                </a:lnTo>
                <a:lnTo>
                  <a:pt x="16" y="7"/>
                </a:lnTo>
                <a:lnTo>
                  <a:pt x="17" y="7"/>
                </a:lnTo>
                <a:lnTo>
                  <a:pt x="17" y="10"/>
                </a:lnTo>
                <a:lnTo>
                  <a:pt x="17" y="13"/>
                </a:lnTo>
                <a:lnTo>
                  <a:pt x="18" y="18"/>
                </a:lnTo>
                <a:lnTo>
                  <a:pt x="17" y="18"/>
                </a:lnTo>
                <a:lnTo>
                  <a:pt x="17" y="21"/>
                </a:lnTo>
                <a:lnTo>
                  <a:pt x="13" y="24"/>
                </a:lnTo>
                <a:lnTo>
                  <a:pt x="12" y="21"/>
                </a:lnTo>
                <a:lnTo>
                  <a:pt x="9" y="19"/>
                </a:lnTo>
                <a:lnTo>
                  <a:pt x="6" y="13"/>
                </a:lnTo>
                <a:lnTo>
                  <a:pt x="6" y="8"/>
                </a:lnTo>
                <a:lnTo>
                  <a:pt x="5" y="7"/>
                </a:lnTo>
                <a:lnTo>
                  <a:pt x="4" y="5"/>
                </a:lnTo>
                <a:lnTo>
                  <a:pt x="2" y="2"/>
                </a:lnTo>
                <a:lnTo>
                  <a:pt x="1" y="2"/>
                </a:lnTo>
                <a:lnTo>
                  <a:pt x="0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50" name="Freeform 873"/>
          <p:cNvSpPr>
            <a:spLocks/>
          </p:cNvSpPr>
          <p:nvPr/>
        </p:nvSpPr>
        <p:spPr bwMode="auto">
          <a:xfrm>
            <a:off x="9133571" y="3865344"/>
            <a:ext cx="35079" cy="49396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1" y="0"/>
              </a:cxn>
              <a:cxn ang="0">
                <a:pos x="9" y="0"/>
              </a:cxn>
              <a:cxn ang="0">
                <a:pos x="10" y="2"/>
              </a:cxn>
              <a:cxn ang="0">
                <a:pos x="13" y="2"/>
              </a:cxn>
              <a:cxn ang="0">
                <a:pos x="14" y="5"/>
              </a:cxn>
              <a:cxn ang="0">
                <a:pos x="16" y="7"/>
              </a:cxn>
              <a:cxn ang="0">
                <a:pos x="17" y="7"/>
              </a:cxn>
              <a:cxn ang="0">
                <a:pos x="17" y="10"/>
              </a:cxn>
              <a:cxn ang="0">
                <a:pos x="17" y="13"/>
              </a:cxn>
              <a:cxn ang="0">
                <a:pos x="18" y="18"/>
              </a:cxn>
              <a:cxn ang="0">
                <a:pos x="17" y="18"/>
              </a:cxn>
              <a:cxn ang="0">
                <a:pos x="17" y="21"/>
              </a:cxn>
              <a:cxn ang="0">
                <a:pos x="13" y="24"/>
              </a:cxn>
              <a:cxn ang="0">
                <a:pos x="12" y="21"/>
              </a:cxn>
              <a:cxn ang="0">
                <a:pos x="9" y="19"/>
              </a:cxn>
              <a:cxn ang="0">
                <a:pos x="6" y="13"/>
              </a:cxn>
              <a:cxn ang="0">
                <a:pos x="6" y="8"/>
              </a:cxn>
              <a:cxn ang="0">
                <a:pos x="5" y="7"/>
              </a:cxn>
              <a:cxn ang="0">
                <a:pos x="4" y="5"/>
              </a:cxn>
              <a:cxn ang="0">
                <a:pos x="2" y="2"/>
              </a:cxn>
              <a:cxn ang="0">
                <a:pos x="1" y="2"/>
              </a:cxn>
              <a:cxn ang="0">
                <a:pos x="0" y="2"/>
              </a:cxn>
            </a:cxnLst>
            <a:rect l="0" t="0" r="r" b="b"/>
            <a:pathLst>
              <a:path w="18" h="24">
                <a:moveTo>
                  <a:pt x="0" y="2"/>
                </a:moveTo>
                <a:lnTo>
                  <a:pt x="1" y="0"/>
                </a:lnTo>
                <a:lnTo>
                  <a:pt x="9" y="0"/>
                </a:lnTo>
                <a:lnTo>
                  <a:pt x="10" y="2"/>
                </a:lnTo>
                <a:lnTo>
                  <a:pt x="13" y="2"/>
                </a:lnTo>
                <a:lnTo>
                  <a:pt x="14" y="5"/>
                </a:lnTo>
                <a:lnTo>
                  <a:pt x="16" y="7"/>
                </a:lnTo>
                <a:lnTo>
                  <a:pt x="17" y="7"/>
                </a:lnTo>
                <a:lnTo>
                  <a:pt x="17" y="10"/>
                </a:lnTo>
                <a:lnTo>
                  <a:pt x="17" y="13"/>
                </a:lnTo>
                <a:lnTo>
                  <a:pt x="18" y="18"/>
                </a:lnTo>
                <a:lnTo>
                  <a:pt x="17" y="18"/>
                </a:lnTo>
                <a:lnTo>
                  <a:pt x="17" y="21"/>
                </a:lnTo>
                <a:lnTo>
                  <a:pt x="13" y="24"/>
                </a:lnTo>
                <a:lnTo>
                  <a:pt x="12" y="21"/>
                </a:lnTo>
                <a:lnTo>
                  <a:pt x="9" y="19"/>
                </a:lnTo>
                <a:lnTo>
                  <a:pt x="6" y="13"/>
                </a:lnTo>
                <a:lnTo>
                  <a:pt x="6" y="8"/>
                </a:lnTo>
                <a:lnTo>
                  <a:pt x="5" y="7"/>
                </a:lnTo>
                <a:lnTo>
                  <a:pt x="4" y="5"/>
                </a:lnTo>
                <a:lnTo>
                  <a:pt x="2" y="2"/>
                </a:lnTo>
                <a:lnTo>
                  <a:pt x="1" y="2"/>
                </a:lnTo>
                <a:lnTo>
                  <a:pt x="0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GB" kern="0" dirty="0">
              <a:solidFill>
                <a:prstClr val="white"/>
              </a:solidFill>
            </a:endParaRPr>
          </a:p>
        </p:txBody>
      </p:sp>
      <p:sp>
        <p:nvSpPr>
          <p:cNvPr id="951" name="Freeform 874"/>
          <p:cNvSpPr>
            <a:spLocks/>
          </p:cNvSpPr>
          <p:nvPr/>
        </p:nvSpPr>
        <p:spPr bwMode="auto">
          <a:xfrm>
            <a:off x="9117980" y="3687093"/>
            <a:ext cx="124724" cy="216908"/>
          </a:xfrm>
          <a:custGeom>
            <a:avLst/>
            <a:gdLst/>
            <a:ahLst/>
            <a:cxnLst>
              <a:cxn ang="0">
                <a:pos x="38" y="7"/>
              </a:cxn>
              <a:cxn ang="0">
                <a:pos x="34" y="14"/>
              </a:cxn>
              <a:cxn ang="0">
                <a:pos x="38" y="24"/>
              </a:cxn>
              <a:cxn ang="0">
                <a:pos x="40" y="32"/>
              </a:cxn>
              <a:cxn ang="0">
                <a:pos x="36" y="43"/>
              </a:cxn>
              <a:cxn ang="0">
                <a:pos x="33" y="46"/>
              </a:cxn>
              <a:cxn ang="0">
                <a:pos x="26" y="52"/>
              </a:cxn>
              <a:cxn ang="0">
                <a:pos x="24" y="60"/>
              </a:cxn>
              <a:cxn ang="0">
                <a:pos x="26" y="69"/>
              </a:cxn>
              <a:cxn ang="0">
                <a:pos x="28" y="76"/>
              </a:cxn>
              <a:cxn ang="0">
                <a:pos x="33" y="85"/>
              </a:cxn>
              <a:cxn ang="0">
                <a:pos x="36" y="82"/>
              </a:cxn>
              <a:cxn ang="0">
                <a:pos x="40" y="77"/>
              </a:cxn>
              <a:cxn ang="0">
                <a:pos x="45" y="77"/>
              </a:cxn>
              <a:cxn ang="0">
                <a:pos x="49" y="87"/>
              </a:cxn>
              <a:cxn ang="0">
                <a:pos x="52" y="82"/>
              </a:cxn>
              <a:cxn ang="0">
                <a:pos x="57" y="85"/>
              </a:cxn>
              <a:cxn ang="0">
                <a:pos x="58" y="88"/>
              </a:cxn>
              <a:cxn ang="0">
                <a:pos x="58" y="94"/>
              </a:cxn>
              <a:cxn ang="0">
                <a:pos x="59" y="99"/>
              </a:cxn>
              <a:cxn ang="0">
                <a:pos x="63" y="101"/>
              </a:cxn>
              <a:cxn ang="0">
                <a:pos x="63" y="109"/>
              </a:cxn>
              <a:cxn ang="0">
                <a:pos x="62" y="102"/>
              </a:cxn>
              <a:cxn ang="0">
                <a:pos x="56" y="101"/>
              </a:cxn>
              <a:cxn ang="0">
                <a:pos x="50" y="93"/>
              </a:cxn>
              <a:cxn ang="0">
                <a:pos x="45" y="88"/>
              </a:cxn>
              <a:cxn ang="0">
                <a:pos x="41" y="88"/>
              </a:cxn>
              <a:cxn ang="0">
                <a:pos x="41" y="96"/>
              </a:cxn>
              <a:cxn ang="0">
                <a:pos x="34" y="87"/>
              </a:cxn>
              <a:cxn ang="0">
                <a:pos x="26" y="85"/>
              </a:cxn>
              <a:cxn ang="0">
                <a:pos x="21" y="90"/>
              </a:cxn>
              <a:cxn ang="0">
                <a:pos x="16" y="85"/>
              </a:cxn>
              <a:cxn ang="0">
                <a:pos x="12" y="80"/>
              </a:cxn>
              <a:cxn ang="0">
                <a:pos x="17" y="72"/>
              </a:cxn>
              <a:cxn ang="0">
                <a:pos x="12" y="69"/>
              </a:cxn>
              <a:cxn ang="0">
                <a:pos x="9" y="72"/>
              </a:cxn>
              <a:cxn ang="0">
                <a:pos x="4" y="65"/>
              </a:cxn>
              <a:cxn ang="0">
                <a:pos x="0" y="44"/>
              </a:cxn>
              <a:cxn ang="0">
                <a:pos x="5" y="46"/>
              </a:cxn>
              <a:cxn ang="0">
                <a:pos x="8" y="32"/>
              </a:cxn>
              <a:cxn ang="0">
                <a:pos x="9" y="18"/>
              </a:cxn>
              <a:cxn ang="0">
                <a:pos x="12" y="3"/>
              </a:cxn>
              <a:cxn ang="0">
                <a:pos x="18" y="2"/>
              </a:cxn>
              <a:cxn ang="0">
                <a:pos x="30" y="7"/>
              </a:cxn>
              <a:cxn ang="0">
                <a:pos x="36" y="2"/>
              </a:cxn>
            </a:cxnLst>
            <a:rect l="0" t="0" r="r" b="b"/>
            <a:pathLst>
              <a:path w="65" h="109">
                <a:moveTo>
                  <a:pt x="37" y="3"/>
                </a:moveTo>
                <a:lnTo>
                  <a:pt x="37" y="5"/>
                </a:lnTo>
                <a:lnTo>
                  <a:pt x="38" y="7"/>
                </a:lnTo>
                <a:lnTo>
                  <a:pt x="37" y="8"/>
                </a:lnTo>
                <a:lnTo>
                  <a:pt x="36" y="11"/>
                </a:lnTo>
                <a:lnTo>
                  <a:pt x="34" y="14"/>
                </a:lnTo>
                <a:lnTo>
                  <a:pt x="36" y="22"/>
                </a:lnTo>
                <a:lnTo>
                  <a:pt x="37" y="24"/>
                </a:lnTo>
                <a:lnTo>
                  <a:pt x="38" y="24"/>
                </a:lnTo>
                <a:lnTo>
                  <a:pt x="38" y="25"/>
                </a:lnTo>
                <a:lnTo>
                  <a:pt x="40" y="29"/>
                </a:lnTo>
                <a:lnTo>
                  <a:pt x="40" y="32"/>
                </a:lnTo>
                <a:lnTo>
                  <a:pt x="38" y="35"/>
                </a:lnTo>
                <a:lnTo>
                  <a:pt x="37" y="38"/>
                </a:lnTo>
                <a:lnTo>
                  <a:pt x="36" y="43"/>
                </a:lnTo>
                <a:lnTo>
                  <a:pt x="34" y="46"/>
                </a:lnTo>
                <a:lnTo>
                  <a:pt x="33" y="47"/>
                </a:lnTo>
                <a:lnTo>
                  <a:pt x="33" y="46"/>
                </a:lnTo>
                <a:lnTo>
                  <a:pt x="30" y="47"/>
                </a:lnTo>
                <a:lnTo>
                  <a:pt x="29" y="49"/>
                </a:lnTo>
                <a:lnTo>
                  <a:pt x="26" y="52"/>
                </a:lnTo>
                <a:lnTo>
                  <a:pt x="26" y="55"/>
                </a:lnTo>
                <a:lnTo>
                  <a:pt x="25" y="58"/>
                </a:lnTo>
                <a:lnTo>
                  <a:pt x="24" y="60"/>
                </a:lnTo>
                <a:lnTo>
                  <a:pt x="24" y="63"/>
                </a:lnTo>
                <a:lnTo>
                  <a:pt x="25" y="66"/>
                </a:lnTo>
                <a:lnTo>
                  <a:pt x="26" y="69"/>
                </a:lnTo>
                <a:lnTo>
                  <a:pt x="28" y="71"/>
                </a:lnTo>
                <a:lnTo>
                  <a:pt x="26" y="72"/>
                </a:lnTo>
                <a:lnTo>
                  <a:pt x="28" y="76"/>
                </a:lnTo>
                <a:lnTo>
                  <a:pt x="29" y="79"/>
                </a:lnTo>
                <a:lnTo>
                  <a:pt x="29" y="80"/>
                </a:lnTo>
                <a:lnTo>
                  <a:pt x="33" y="85"/>
                </a:lnTo>
                <a:lnTo>
                  <a:pt x="34" y="85"/>
                </a:lnTo>
                <a:lnTo>
                  <a:pt x="37" y="83"/>
                </a:lnTo>
                <a:lnTo>
                  <a:pt x="36" y="82"/>
                </a:lnTo>
                <a:lnTo>
                  <a:pt x="36" y="79"/>
                </a:lnTo>
                <a:lnTo>
                  <a:pt x="37" y="80"/>
                </a:lnTo>
                <a:lnTo>
                  <a:pt x="40" y="77"/>
                </a:lnTo>
                <a:lnTo>
                  <a:pt x="42" y="79"/>
                </a:lnTo>
                <a:lnTo>
                  <a:pt x="44" y="77"/>
                </a:lnTo>
                <a:lnTo>
                  <a:pt x="45" y="77"/>
                </a:lnTo>
                <a:lnTo>
                  <a:pt x="48" y="80"/>
                </a:lnTo>
                <a:lnTo>
                  <a:pt x="49" y="83"/>
                </a:lnTo>
                <a:lnTo>
                  <a:pt x="49" y="87"/>
                </a:lnTo>
                <a:lnTo>
                  <a:pt x="50" y="88"/>
                </a:lnTo>
                <a:lnTo>
                  <a:pt x="52" y="85"/>
                </a:lnTo>
                <a:lnTo>
                  <a:pt x="52" y="82"/>
                </a:lnTo>
                <a:lnTo>
                  <a:pt x="53" y="83"/>
                </a:lnTo>
                <a:lnTo>
                  <a:pt x="54" y="83"/>
                </a:lnTo>
                <a:lnTo>
                  <a:pt x="57" y="85"/>
                </a:lnTo>
                <a:lnTo>
                  <a:pt x="61" y="87"/>
                </a:lnTo>
                <a:lnTo>
                  <a:pt x="61" y="88"/>
                </a:lnTo>
                <a:lnTo>
                  <a:pt x="58" y="88"/>
                </a:lnTo>
                <a:lnTo>
                  <a:pt x="57" y="90"/>
                </a:lnTo>
                <a:lnTo>
                  <a:pt x="57" y="93"/>
                </a:lnTo>
                <a:lnTo>
                  <a:pt x="58" y="94"/>
                </a:lnTo>
                <a:lnTo>
                  <a:pt x="61" y="94"/>
                </a:lnTo>
                <a:lnTo>
                  <a:pt x="59" y="98"/>
                </a:lnTo>
                <a:lnTo>
                  <a:pt x="59" y="99"/>
                </a:lnTo>
                <a:lnTo>
                  <a:pt x="61" y="99"/>
                </a:lnTo>
                <a:lnTo>
                  <a:pt x="62" y="99"/>
                </a:lnTo>
                <a:lnTo>
                  <a:pt x="63" y="101"/>
                </a:lnTo>
                <a:lnTo>
                  <a:pt x="65" y="102"/>
                </a:lnTo>
                <a:lnTo>
                  <a:pt x="65" y="107"/>
                </a:lnTo>
                <a:lnTo>
                  <a:pt x="63" y="109"/>
                </a:lnTo>
                <a:lnTo>
                  <a:pt x="61" y="107"/>
                </a:lnTo>
                <a:lnTo>
                  <a:pt x="61" y="104"/>
                </a:lnTo>
                <a:lnTo>
                  <a:pt x="62" y="102"/>
                </a:lnTo>
                <a:lnTo>
                  <a:pt x="61" y="102"/>
                </a:lnTo>
                <a:lnTo>
                  <a:pt x="58" y="102"/>
                </a:lnTo>
                <a:lnTo>
                  <a:pt x="56" y="101"/>
                </a:lnTo>
                <a:lnTo>
                  <a:pt x="53" y="99"/>
                </a:lnTo>
                <a:lnTo>
                  <a:pt x="52" y="96"/>
                </a:lnTo>
                <a:lnTo>
                  <a:pt x="50" y="93"/>
                </a:lnTo>
                <a:lnTo>
                  <a:pt x="48" y="91"/>
                </a:lnTo>
                <a:lnTo>
                  <a:pt x="46" y="90"/>
                </a:lnTo>
                <a:lnTo>
                  <a:pt x="45" y="88"/>
                </a:lnTo>
                <a:lnTo>
                  <a:pt x="42" y="85"/>
                </a:lnTo>
                <a:lnTo>
                  <a:pt x="40" y="85"/>
                </a:lnTo>
                <a:lnTo>
                  <a:pt x="41" y="88"/>
                </a:lnTo>
                <a:lnTo>
                  <a:pt x="44" y="96"/>
                </a:lnTo>
                <a:lnTo>
                  <a:pt x="44" y="98"/>
                </a:lnTo>
                <a:lnTo>
                  <a:pt x="41" y="96"/>
                </a:lnTo>
                <a:lnTo>
                  <a:pt x="40" y="93"/>
                </a:lnTo>
                <a:lnTo>
                  <a:pt x="37" y="91"/>
                </a:lnTo>
                <a:lnTo>
                  <a:pt x="34" y="87"/>
                </a:lnTo>
                <a:lnTo>
                  <a:pt x="32" y="85"/>
                </a:lnTo>
                <a:lnTo>
                  <a:pt x="30" y="85"/>
                </a:lnTo>
                <a:lnTo>
                  <a:pt x="26" y="85"/>
                </a:lnTo>
                <a:lnTo>
                  <a:pt x="25" y="88"/>
                </a:lnTo>
                <a:lnTo>
                  <a:pt x="22" y="90"/>
                </a:lnTo>
                <a:lnTo>
                  <a:pt x="21" y="90"/>
                </a:lnTo>
                <a:lnTo>
                  <a:pt x="18" y="88"/>
                </a:lnTo>
                <a:lnTo>
                  <a:pt x="17" y="87"/>
                </a:lnTo>
                <a:lnTo>
                  <a:pt x="16" y="85"/>
                </a:lnTo>
                <a:lnTo>
                  <a:pt x="13" y="87"/>
                </a:lnTo>
                <a:lnTo>
                  <a:pt x="13" y="83"/>
                </a:lnTo>
                <a:lnTo>
                  <a:pt x="12" y="80"/>
                </a:lnTo>
                <a:lnTo>
                  <a:pt x="13" y="79"/>
                </a:lnTo>
                <a:lnTo>
                  <a:pt x="16" y="76"/>
                </a:lnTo>
                <a:lnTo>
                  <a:pt x="17" y="72"/>
                </a:lnTo>
                <a:lnTo>
                  <a:pt x="17" y="71"/>
                </a:lnTo>
                <a:lnTo>
                  <a:pt x="14" y="69"/>
                </a:lnTo>
                <a:lnTo>
                  <a:pt x="12" y="69"/>
                </a:lnTo>
                <a:lnTo>
                  <a:pt x="12" y="74"/>
                </a:lnTo>
                <a:lnTo>
                  <a:pt x="10" y="76"/>
                </a:lnTo>
                <a:lnTo>
                  <a:pt x="9" y="72"/>
                </a:lnTo>
                <a:lnTo>
                  <a:pt x="8" y="69"/>
                </a:lnTo>
                <a:lnTo>
                  <a:pt x="5" y="69"/>
                </a:lnTo>
                <a:lnTo>
                  <a:pt x="4" y="65"/>
                </a:lnTo>
                <a:lnTo>
                  <a:pt x="4" y="60"/>
                </a:lnTo>
                <a:lnTo>
                  <a:pt x="0" y="49"/>
                </a:lnTo>
                <a:lnTo>
                  <a:pt x="0" y="44"/>
                </a:lnTo>
                <a:lnTo>
                  <a:pt x="0" y="43"/>
                </a:lnTo>
                <a:lnTo>
                  <a:pt x="2" y="43"/>
                </a:lnTo>
                <a:lnTo>
                  <a:pt x="5" y="46"/>
                </a:lnTo>
                <a:lnTo>
                  <a:pt x="8" y="46"/>
                </a:lnTo>
                <a:lnTo>
                  <a:pt x="8" y="36"/>
                </a:lnTo>
                <a:lnTo>
                  <a:pt x="8" y="32"/>
                </a:lnTo>
                <a:lnTo>
                  <a:pt x="9" y="27"/>
                </a:lnTo>
                <a:lnTo>
                  <a:pt x="9" y="21"/>
                </a:lnTo>
                <a:lnTo>
                  <a:pt x="9" y="18"/>
                </a:lnTo>
                <a:lnTo>
                  <a:pt x="9" y="13"/>
                </a:lnTo>
                <a:lnTo>
                  <a:pt x="10" y="7"/>
                </a:lnTo>
                <a:lnTo>
                  <a:pt x="12" y="3"/>
                </a:lnTo>
                <a:lnTo>
                  <a:pt x="13" y="0"/>
                </a:lnTo>
                <a:lnTo>
                  <a:pt x="16" y="2"/>
                </a:lnTo>
                <a:lnTo>
                  <a:pt x="18" y="2"/>
                </a:lnTo>
                <a:lnTo>
                  <a:pt x="22" y="2"/>
                </a:lnTo>
                <a:lnTo>
                  <a:pt x="28" y="7"/>
                </a:lnTo>
                <a:lnTo>
                  <a:pt x="30" y="7"/>
                </a:lnTo>
                <a:lnTo>
                  <a:pt x="33" y="5"/>
                </a:lnTo>
                <a:lnTo>
                  <a:pt x="33" y="2"/>
                </a:lnTo>
                <a:lnTo>
                  <a:pt x="36" y="2"/>
                </a:lnTo>
                <a:lnTo>
                  <a:pt x="37" y="3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52" name="Freeform 875"/>
          <p:cNvSpPr>
            <a:spLocks/>
          </p:cNvSpPr>
          <p:nvPr/>
        </p:nvSpPr>
        <p:spPr bwMode="auto">
          <a:xfrm>
            <a:off x="9117980" y="3687093"/>
            <a:ext cx="124724" cy="216908"/>
          </a:xfrm>
          <a:custGeom>
            <a:avLst/>
            <a:gdLst/>
            <a:ahLst/>
            <a:cxnLst>
              <a:cxn ang="0">
                <a:pos x="38" y="7"/>
              </a:cxn>
              <a:cxn ang="0">
                <a:pos x="34" y="14"/>
              </a:cxn>
              <a:cxn ang="0">
                <a:pos x="38" y="24"/>
              </a:cxn>
              <a:cxn ang="0">
                <a:pos x="40" y="32"/>
              </a:cxn>
              <a:cxn ang="0">
                <a:pos x="36" y="43"/>
              </a:cxn>
              <a:cxn ang="0">
                <a:pos x="33" y="46"/>
              </a:cxn>
              <a:cxn ang="0">
                <a:pos x="26" y="52"/>
              </a:cxn>
              <a:cxn ang="0">
                <a:pos x="24" y="60"/>
              </a:cxn>
              <a:cxn ang="0">
                <a:pos x="26" y="69"/>
              </a:cxn>
              <a:cxn ang="0">
                <a:pos x="28" y="76"/>
              </a:cxn>
              <a:cxn ang="0">
                <a:pos x="33" y="85"/>
              </a:cxn>
              <a:cxn ang="0">
                <a:pos x="36" y="82"/>
              </a:cxn>
              <a:cxn ang="0">
                <a:pos x="40" y="77"/>
              </a:cxn>
              <a:cxn ang="0">
                <a:pos x="45" y="77"/>
              </a:cxn>
              <a:cxn ang="0">
                <a:pos x="49" y="87"/>
              </a:cxn>
              <a:cxn ang="0">
                <a:pos x="52" y="82"/>
              </a:cxn>
              <a:cxn ang="0">
                <a:pos x="57" y="85"/>
              </a:cxn>
              <a:cxn ang="0">
                <a:pos x="58" y="88"/>
              </a:cxn>
              <a:cxn ang="0">
                <a:pos x="58" y="94"/>
              </a:cxn>
              <a:cxn ang="0">
                <a:pos x="59" y="99"/>
              </a:cxn>
              <a:cxn ang="0">
                <a:pos x="63" y="101"/>
              </a:cxn>
              <a:cxn ang="0">
                <a:pos x="63" y="109"/>
              </a:cxn>
              <a:cxn ang="0">
                <a:pos x="62" y="102"/>
              </a:cxn>
              <a:cxn ang="0">
                <a:pos x="56" y="101"/>
              </a:cxn>
              <a:cxn ang="0">
                <a:pos x="50" y="93"/>
              </a:cxn>
              <a:cxn ang="0">
                <a:pos x="45" y="88"/>
              </a:cxn>
              <a:cxn ang="0">
                <a:pos x="41" y="88"/>
              </a:cxn>
              <a:cxn ang="0">
                <a:pos x="41" y="96"/>
              </a:cxn>
              <a:cxn ang="0">
                <a:pos x="34" y="87"/>
              </a:cxn>
              <a:cxn ang="0">
                <a:pos x="26" y="85"/>
              </a:cxn>
              <a:cxn ang="0">
                <a:pos x="21" y="90"/>
              </a:cxn>
              <a:cxn ang="0">
                <a:pos x="16" y="85"/>
              </a:cxn>
              <a:cxn ang="0">
                <a:pos x="12" y="80"/>
              </a:cxn>
              <a:cxn ang="0">
                <a:pos x="17" y="72"/>
              </a:cxn>
              <a:cxn ang="0">
                <a:pos x="12" y="69"/>
              </a:cxn>
              <a:cxn ang="0">
                <a:pos x="9" y="72"/>
              </a:cxn>
              <a:cxn ang="0">
                <a:pos x="4" y="65"/>
              </a:cxn>
              <a:cxn ang="0">
                <a:pos x="0" y="44"/>
              </a:cxn>
              <a:cxn ang="0">
                <a:pos x="5" y="46"/>
              </a:cxn>
              <a:cxn ang="0">
                <a:pos x="8" y="32"/>
              </a:cxn>
              <a:cxn ang="0">
                <a:pos x="9" y="18"/>
              </a:cxn>
              <a:cxn ang="0">
                <a:pos x="12" y="3"/>
              </a:cxn>
              <a:cxn ang="0">
                <a:pos x="18" y="2"/>
              </a:cxn>
              <a:cxn ang="0">
                <a:pos x="30" y="7"/>
              </a:cxn>
              <a:cxn ang="0">
                <a:pos x="36" y="2"/>
              </a:cxn>
            </a:cxnLst>
            <a:rect l="0" t="0" r="r" b="b"/>
            <a:pathLst>
              <a:path w="65" h="109">
                <a:moveTo>
                  <a:pt x="37" y="3"/>
                </a:moveTo>
                <a:lnTo>
                  <a:pt x="37" y="5"/>
                </a:lnTo>
                <a:lnTo>
                  <a:pt x="38" y="7"/>
                </a:lnTo>
                <a:lnTo>
                  <a:pt x="37" y="8"/>
                </a:lnTo>
                <a:lnTo>
                  <a:pt x="36" y="11"/>
                </a:lnTo>
                <a:lnTo>
                  <a:pt x="34" y="14"/>
                </a:lnTo>
                <a:lnTo>
                  <a:pt x="36" y="22"/>
                </a:lnTo>
                <a:lnTo>
                  <a:pt x="37" y="24"/>
                </a:lnTo>
                <a:lnTo>
                  <a:pt x="38" y="24"/>
                </a:lnTo>
                <a:lnTo>
                  <a:pt x="38" y="25"/>
                </a:lnTo>
                <a:lnTo>
                  <a:pt x="40" y="29"/>
                </a:lnTo>
                <a:lnTo>
                  <a:pt x="40" y="32"/>
                </a:lnTo>
                <a:lnTo>
                  <a:pt x="38" y="35"/>
                </a:lnTo>
                <a:lnTo>
                  <a:pt x="37" y="38"/>
                </a:lnTo>
                <a:lnTo>
                  <a:pt x="36" y="43"/>
                </a:lnTo>
                <a:lnTo>
                  <a:pt x="34" y="46"/>
                </a:lnTo>
                <a:lnTo>
                  <a:pt x="33" y="47"/>
                </a:lnTo>
                <a:lnTo>
                  <a:pt x="33" y="46"/>
                </a:lnTo>
                <a:lnTo>
                  <a:pt x="30" y="47"/>
                </a:lnTo>
                <a:lnTo>
                  <a:pt x="29" y="49"/>
                </a:lnTo>
                <a:lnTo>
                  <a:pt x="26" y="52"/>
                </a:lnTo>
                <a:lnTo>
                  <a:pt x="26" y="55"/>
                </a:lnTo>
                <a:lnTo>
                  <a:pt x="25" y="58"/>
                </a:lnTo>
                <a:lnTo>
                  <a:pt x="24" y="60"/>
                </a:lnTo>
                <a:lnTo>
                  <a:pt x="24" y="63"/>
                </a:lnTo>
                <a:lnTo>
                  <a:pt x="25" y="66"/>
                </a:lnTo>
                <a:lnTo>
                  <a:pt x="26" y="69"/>
                </a:lnTo>
                <a:lnTo>
                  <a:pt x="28" y="71"/>
                </a:lnTo>
                <a:lnTo>
                  <a:pt x="26" y="72"/>
                </a:lnTo>
                <a:lnTo>
                  <a:pt x="28" y="76"/>
                </a:lnTo>
                <a:lnTo>
                  <a:pt x="29" y="79"/>
                </a:lnTo>
                <a:lnTo>
                  <a:pt x="29" y="80"/>
                </a:lnTo>
                <a:lnTo>
                  <a:pt x="33" y="85"/>
                </a:lnTo>
                <a:lnTo>
                  <a:pt x="34" y="85"/>
                </a:lnTo>
                <a:lnTo>
                  <a:pt x="37" y="83"/>
                </a:lnTo>
                <a:lnTo>
                  <a:pt x="36" y="82"/>
                </a:lnTo>
                <a:lnTo>
                  <a:pt x="36" y="79"/>
                </a:lnTo>
                <a:lnTo>
                  <a:pt x="37" y="80"/>
                </a:lnTo>
                <a:lnTo>
                  <a:pt x="40" y="77"/>
                </a:lnTo>
                <a:lnTo>
                  <a:pt x="42" y="79"/>
                </a:lnTo>
                <a:lnTo>
                  <a:pt x="44" y="77"/>
                </a:lnTo>
                <a:lnTo>
                  <a:pt x="45" y="77"/>
                </a:lnTo>
                <a:lnTo>
                  <a:pt x="48" y="80"/>
                </a:lnTo>
                <a:lnTo>
                  <a:pt x="49" y="83"/>
                </a:lnTo>
                <a:lnTo>
                  <a:pt x="49" y="87"/>
                </a:lnTo>
                <a:lnTo>
                  <a:pt x="50" y="88"/>
                </a:lnTo>
                <a:lnTo>
                  <a:pt x="52" y="85"/>
                </a:lnTo>
                <a:lnTo>
                  <a:pt x="52" y="82"/>
                </a:lnTo>
                <a:lnTo>
                  <a:pt x="53" y="83"/>
                </a:lnTo>
                <a:lnTo>
                  <a:pt x="54" y="83"/>
                </a:lnTo>
                <a:lnTo>
                  <a:pt x="57" y="85"/>
                </a:lnTo>
                <a:lnTo>
                  <a:pt x="61" y="87"/>
                </a:lnTo>
                <a:lnTo>
                  <a:pt x="61" y="88"/>
                </a:lnTo>
                <a:lnTo>
                  <a:pt x="58" y="88"/>
                </a:lnTo>
                <a:lnTo>
                  <a:pt x="57" y="90"/>
                </a:lnTo>
                <a:lnTo>
                  <a:pt x="57" y="93"/>
                </a:lnTo>
                <a:lnTo>
                  <a:pt x="58" y="94"/>
                </a:lnTo>
                <a:lnTo>
                  <a:pt x="61" y="94"/>
                </a:lnTo>
                <a:lnTo>
                  <a:pt x="59" y="98"/>
                </a:lnTo>
                <a:lnTo>
                  <a:pt x="59" y="99"/>
                </a:lnTo>
                <a:lnTo>
                  <a:pt x="61" y="99"/>
                </a:lnTo>
                <a:lnTo>
                  <a:pt x="62" y="99"/>
                </a:lnTo>
                <a:lnTo>
                  <a:pt x="63" y="101"/>
                </a:lnTo>
                <a:lnTo>
                  <a:pt x="65" y="102"/>
                </a:lnTo>
                <a:lnTo>
                  <a:pt x="65" y="107"/>
                </a:lnTo>
                <a:lnTo>
                  <a:pt x="63" y="109"/>
                </a:lnTo>
                <a:lnTo>
                  <a:pt x="61" y="107"/>
                </a:lnTo>
                <a:lnTo>
                  <a:pt x="61" y="104"/>
                </a:lnTo>
                <a:lnTo>
                  <a:pt x="62" y="102"/>
                </a:lnTo>
                <a:lnTo>
                  <a:pt x="61" y="102"/>
                </a:lnTo>
                <a:lnTo>
                  <a:pt x="58" y="102"/>
                </a:lnTo>
                <a:lnTo>
                  <a:pt x="56" y="101"/>
                </a:lnTo>
                <a:lnTo>
                  <a:pt x="53" y="99"/>
                </a:lnTo>
                <a:lnTo>
                  <a:pt x="52" y="96"/>
                </a:lnTo>
                <a:lnTo>
                  <a:pt x="50" y="93"/>
                </a:lnTo>
                <a:lnTo>
                  <a:pt x="48" y="91"/>
                </a:lnTo>
                <a:lnTo>
                  <a:pt x="46" y="90"/>
                </a:lnTo>
                <a:lnTo>
                  <a:pt x="45" y="88"/>
                </a:lnTo>
                <a:lnTo>
                  <a:pt x="42" y="85"/>
                </a:lnTo>
                <a:lnTo>
                  <a:pt x="40" y="85"/>
                </a:lnTo>
                <a:lnTo>
                  <a:pt x="41" y="88"/>
                </a:lnTo>
                <a:lnTo>
                  <a:pt x="44" y="96"/>
                </a:lnTo>
                <a:lnTo>
                  <a:pt x="44" y="98"/>
                </a:lnTo>
                <a:lnTo>
                  <a:pt x="41" y="96"/>
                </a:lnTo>
                <a:lnTo>
                  <a:pt x="40" y="93"/>
                </a:lnTo>
                <a:lnTo>
                  <a:pt x="37" y="91"/>
                </a:lnTo>
                <a:lnTo>
                  <a:pt x="34" y="87"/>
                </a:lnTo>
                <a:lnTo>
                  <a:pt x="32" y="85"/>
                </a:lnTo>
                <a:lnTo>
                  <a:pt x="30" y="85"/>
                </a:lnTo>
                <a:lnTo>
                  <a:pt x="26" y="85"/>
                </a:lnTo>
                <a:lnTo>
                  <a:pt x="25" y="88"/>
                </a:lnTo>
                <a:lnTo>
                  <a:pt x="22" y="90"/>
                </a:lnTo>
                <a:lnTo>
                  <a:pt x="21" y="90"/>
                </a:lnTo>
                <a:lnTo>
                  <a:pt x="18" y="88"/>
                </a:lnTo>
                <a:lnTo>
                  <a:pt x="17" y="87"/>
                </a:lnTo>
                <a:lnTo>
                  <a:pt x="16" y="85"/>
                </a:lnTo>
                <a:lnTo>
                  <a:pt x="13" y="87"/>
                </a:lnTo>
                <a:lnTo>
                  <a:pt x="13" y="83"/>
                </a:lnTo>
                <a:lnTo>
                  <a:pt x="12" y="80"/>
                </a:lnTo>
                <a:lnTo>
                  <a:pt x="13" y="79"/>
                </a:lnTo>
                <a:lnTo>
                  <a:pt x="16" y="76"/>
                </a:lnTo>
                <a:lnTo>
                  <a:pt x="17" y="72"/>
                </a:lnTo>
                <a:lnTo>
                  <a:pt x="17" y="71"/>
                </a:lnTo>
                <a:lnTo>
                  <a:pt x="14" y="69"/>
                </a:lnTo>
                <a:lnTo>
                  <a:pt x="12" y="69"/>
                </a:lnTo>
                <a:lnTo>
                  <a:pt x="12" y="74"/>
                </a:lnTo>
                <a:lnTo>
                  <a:pt x="10" y="76"/>
                </a:lnTo>
                <a:lnTo>
                  <a:pt x="9" y="72"/>
                </a:lnTo>
                <a:lnTo>
                  <a:pt x="8" y="69"/>
                </a:lnTo>
                <a:lnTo>
                  <a:pt x="5" y="69"/>
                </a:lnTo>
                <a:lnTo>
                  <a:pt x="4" y="65"/>
                </a:lnTo>
                <a:lnTo>
                  <a:pt x="4" y="60"/>
                </a:lnTo>
                <a:lnTo>
                  <a:pt x="0" y="49"/>
                </a:lnTo>
                <a:lnTo>
                  <a:pt x="0" y="44"/>
                </a:lnTo>
                <a:lnTo>
                  <a:pt x="0" y="43"/>
                </a:lnTo>
                <a:lnTo>
                  <a:pt x="2" y="43"/>
                </a:lnTo>
                <a:lnTo>
                  <a:pt x="5" y="46"/>
                </a:lnTo>
                <a:lnTo>
                  <a:pt x="8" y="46"/>
                </a:lnTo>
                <a:lnTo>
                  <a:pt x="8" y="36"/>
                </a:lnTo>
                <a:lnTo>
                  <a:pt x="8" y="32"/>
                </a:lnTo>
                <a:lnTo>
                  <a:pt x="9" y="27"/>
                </a:lnTo>
                <a:lnTo>
                  <a:pt x="9" y="21"/>
                </a:lnTo>
                <a:lnTo>
                  <a:pt x="9" y="18"/>
                </a:lnTo>
                <a:lnTo>
                  <a:pt x="9" y="13"/>
                </a:lnTo>
                <a:lnTo>
                  <a:pt x="10" y="7"/>
                </a:lnTo>
                <a:lnTo>
                  <a:pt x="12" y="3"/>
                </a:lnTo>
                <a:lnTo>
                  <a:pt x="13" y="0"/>
                </a:lnTo>
                <a:lnTo>
                  <a:pt x="16" y="2"/>
                </a:lnTo>
                <a:lnTo>
                  <a:pt x="18" y="2"/>
                </a:lnTo>
                <a:lnTo>
                  <a:pt x="22" y="2"/>
                </a:lnTo>
                <a:lnTo>
                  <a:pt x="28" y="7"/>
                </a:lnTo>
                <a:lnTo>
                  <a:pt x="30" y="7"/>
                </a:lnTo>
                <a:lnTo>
                  <a:pt x="33" y="5"/>
                </a:lnTo>
                <a:lnTo>
                  <a:pt x="33" y="2"/>
                </a:lnTo>
                <a:lnTo>
                  <a:pt x="36" y="2"/>
                </a:lnTo>
                <a:lnTo>
                  <a:pt x="37" y="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GB" kern="0" dirty="0">
              <a:solidFill>
                <a:prstClr val="white"/>
              </a:solidFill>
            </a:endParaRPr>
          </a:p>
        </p:txBody>
      </p:sp>
      <p:sp>
        <p:nvSpPr>
          <p:cNvPr id="953" name="Freeform 876"/>
          <p:cNvSpPr>
            <a:spLocks/>
          </p:cNvSpPr>
          <p:nvPr/>
        </p:nvSpPr>
        <p:spPr bwMode="auto">
          <a:xfrm>
            <a:off x="9180343" y="3811654"/>
            <a:ext cx="1949" cy="15033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1" y="2"/>
              </a:cxn>
              <a:cxn ang="0">
                <a:pos x="1" y="8"/>
              </a:cxn>
              <a:cxn ang="0">
                <a:pos x="0" y="8"/>
              </a:cxn>
              <a:cxn ang="0">
                <a:pos x="0" y="2"/>
              </a:cxn>
            </a:cxnLst>
            <a:rect l="0" t="0" r="r" b="b"/>
            <a:pathLst>
              <a:path w="1" h="8">
                <a:moveTo>
                  <a:pt x="0" y="2"/>
                </a:moveTo>
                <a:lnTo>
                  <a:pt x="0" y="0"/>
                </a:lnTo>
                <a:lnTo>
                  <a:pt x="1" y="2"/>
                </a:lnTo>
                <a:lnTo>
                  <a:pt x="1" y="8"/>
                </a:lnTo>
                <a:lnTo>
                  <a:pt x="0" y="8"/>
                </a:lnTo>
                <a:lnTo>
                  <a:pt x="0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54" name="Freeform 877"/>
          <p:cNvSpPr>
            <a:spLocks/>
          </p:cNvSpPr>
          <p:nvPr/>
        </p:nvSpPr>
        <p:spPr bwMode="auto">
          <a:xfrm>
            <a:off x="9182293" y="3899704"/>
            <a:ext cx="1948" cy="17181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0"/>
              </a:cxn>
              <a:cxn ang="0">
                <a:pos x="1" y="0"/>
              </a:cxn>
              <a:cxn ang="0">
                <a:pos x="1" y="8"/>
              </a:cxn>
              <a:cxn ang="0">
                <a:pos x="0" y="9"/>
              </a:cxn>
              <a:cxn ang="0">
                <a:pos x="0" y="6"/>
              </a:cxn>
              <a:cxn ang="0">
                <a:pos x="0" y="3"/>
              </a:cxn>
            </a:cxnLst>
            <a:rect l="0" t="0" r="r" b="b"/>
            <a:pathLst>
              <a:path w="1" h="9">
                <a:moveTo>
                  <a:pt x="0" y="3"/>
                </a:moveTo>
                <a:lnTo>
                  <a:pt x="0" y="0"/>
                </a:lnTo>
                <a:lnTo>
                  <a:pt x="1" y="0"/>
                </a:lnTo>
                <a:lnTo>
                  <a:pt x="1" y="8"/>
                </a:lnTo>
                <a:lnTo>
                  <a:pt x="0" y="9"/>
                </a:lnTo>
                <a:lnTo>
                  <a:pt x="0" y="6"/>
                </a:lnTo>
                <a:lnTo>
                  <a:pt x="0" y="3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55" name="Freeform 878"/>
          <p:cNvSpPr>
            <a:spLocks/>
          </p:cNvSpPr>
          <p:nvPr/>
        </p:nvSpPr>
        <p:spPr bwMode="auto">
          <a:xfrm>
            <a:off x="9211523" y="3882524"/>
            <a:ext cx="7795" cy="10739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1" y="0"/>
              </a:cxn>
              <a:cxn ang="0">
                <a:pos x="1" y="1"/>
              </a:cxn>
              <a:cxn ang="0">
                <a:pos x="2" y="4"/>
              </a:cxn>
              <a:cxn ang="0">
                <a:pos x="4" y="4"/>
              </a:cxn>
              <a:cxn ang="0">
                <a:pos x="5" y="6"/>
              </a:cxn>
              <a:cxn ang="0">
                <a:pos x="5" y="7"/>
              </a:cxn>
              <a:cxn ang="0">
                <a:pos x="4" y="6"/>
              </a:cxn>
              <a:cxn ang="0">
                <a:pos x="0" y="1"/>
              </a:cxn>
            </a:cxnLst>
            <a:rect l="0" t="0" r="r" b="b"/>
            <a:pathLst>
              <a:path w="5" h="7">
                <a:moveTo>
                  <a:pt x="0" y="1"/>
                </a:moveTo>
                <a:lnTo>
                  <a:pt x="1" y="0"/>
                </a:lnTo>
                <a:lnTo>
                  <a:pt x="1" y="1"/>
                </a:lnTo>
                <a:lnTo>
                  <a:pt x="2" y="4"/>
                </a:lnTo>
                <a:lnTo>
                  <a:pt x="4" y="4"/>
                </a:lnTo>
                <a:lnTo>
                  <a:pt x="5" y="6"/>
                </a:lnTo>
                <a:lnTo>
                  <a:pt x="5" y="7"/>
                </a:lnTo>
                <a:lnTo>
                  <a:pt x="4" y="6"/>
                </a:lnTo>
                <a:lnTo>
                  <a:pt x="0" y="1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56" name="Freeform 879"/>
          <p:cNvSpPr>
            <a:spLocks/>
          </p:cNvSpPr>
          <p:nvPr/>
        </p:nvSpPr>
        <p:spPr bwMode="auto">
          <a:xfrm>
            <a:off x="9211523" y="3882524"/>
            <a:ext cx="7795" cy="10739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1" y="0"/>
              </a:cxn>
              <a:cxn ang="0">
                <a:pos x="1" y="1"/>
              </a:cxn>
              <a:cxn ang="0">
                <a:pos x="2" y="4"/>
              </a:cxn>
              <a:cxn ang="0">
                <a:pos x="4" y="4"/>
              </a:cxn>
              <a:cxn ang="0">
                <a:pos x="5" y="6"/>
              </a:cxn>
              <a:cxn ang="0">
                <a:pos x="5" y="7"/>
              </a:cxn>
              <a:cxn ang="0">
                <a:pos x="4" y="6"/>
              </a:cxn>
              <a:cxn ang="0">
                <a:pos x="0" y="1"/>
              </a:cxn>
            </a:cxnLst>
            <a:rect l="0" t="0" r="r" b="b"/>
            <a:pathLst>
              <a:path w="5" h="7">
                <a:moveTo>
                  <a:pt x="0" y="1"/>
                </a:moveTo>
                <a:lnTo>
                  <a:pt x="1" y="0"/>
                </a:lnTo>
                <a:lnTo>
                  <a:pt x="1" y="1"/>
                </a:lnTo>
                <a:lnTo>
                  <a:pt x="2" y="4"/>
                </a:lnTo>
                <a:lnTo>
                  <a:pt x="4" y="4"/>
                </a:lnTo>
                <a:lnTo>
                  <a:pt x="5" y="6"/>
                </a:lnTo>
                <a:lnTo>
                  <a:pt x="5" y="7"/>
                </a:lnTo>
                <a:lnTo>
                  <a:pt x="4" y="6"/>
                </a:lnTo>
                <a:lnTo>
                  <a:pt x="0" y="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57" name="Freeform 880"/>
          <p:cNvSpPr>
            <a:spLocks/>
          </p:cNvSpPr>
          <p:nvPr/>
        </p:nvSpPr>
        <p:spPr bwMode="auto">
          <a:xfrm>
            <a:off x="9231011" y="3899705"/>
            <a:ext cx="1949" cy="85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0" y="3"/>
              </a:cxn>
              <a:cxn ang="0">
                <a:pos x="0" y="5"/>
              </a:cxn>
              <a:cxn ang="0">
                <a:pos x="0" y="0"/>
              </a:cxn>
            </a:cxnLst>
            <a:rect l="0" t="0" r="r" b="b"/>
            <a:pathLst>
              <a:path h="5">
                <a:moveTo>
                  <a:pt x="0" y="0"/>
                </a:moveTo>
                <a:lnTo>
                  <a:pt x="0" y="2"/>
                </a:lnTo>
                <a:lnTo>
                  <a:pt x="0" y="3"/>
                </a:lnTo>
                <a:lnTo>
                  <a:pt x="0" y="5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58" name="Freeform 881"/>
          <p:cNvSpPr>
            <a:spLocks/>
          </p:cNvSpPr>
          <p:nvPr/>
        </p:nvSpPr>
        <p:spPr bwMode="auto">
          <a:xfrm>
            <a:off x="9231011" y="3899705"/>
            <a:ext cx="1949" cy="85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0" y="3"/>
              </a:cxn>
              <a:cxn ang="0">
                <a:pos x="0" y="5"/>
              </a:cxn>
              <a:cxn ang="0">
                <a:pos x="0" y="0"/>
              </a:cxn>
            </a:cxnLst>
            <a:rect l="0" t="0" r="r" b="b"/>
            <a:pathLst>
              <a:path h="5">
                <a:moveTo>
                  <a:pt x="0" y="0"/>
                </a:moveTo>
                <a:lnTo>
                  <a:pt x="0" y="2"/>
                </a:lnTo>
                <a:lnTo>
                  <a:pt x="0" y="3"/>
                </a:lnTo>
                <a:lnTo>
                  <a:pt x="0" y="5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59" name="Freeform 882"/>
          <p:cNvSpPr>
            <a:spLocks/>
          </p:cNvSpPr>
          <p:nvPr/>
        </p:nvSpPr>
        <p:spPr bwMode="auto">
          <a:xfrm>
            <a:off x="9215421" y="3904000"/>
            <a:ext cx="25335" cy="25772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3" y="0"/>
              </a:cxn>
              <a:cxn ang="0">
                <a:pos x="3" y="1"/>
              </a:cxn>
              <a:cxn ang="0">
                <a:pos x="4" y="1"/>
              </a:cxn>
              <a:cxn ang="0">
                <a:pos x="6" y="1"/>
              </a:cxn>
              <a:cxn ang="0">
                <a:pos x="12" y="9"/>
              </a:cxn>
              <a:cxn ang="0">
                <a:pos x="13" y="11"/>
              </a:cxn>
              <a:cxn ang="0">
                <a:pos x="13" y="14"/>
              </a:cxn>
              <a:cxn ang="0">
                <a:pos x="11" y="12"/>
              </a:cxn>
              <a:cxn ang="0">
                <a:pos x="8" y="11"/>
              </a:cxn>
              <a:cxn ang="0">
                <a:pos x="7" y="7"/>
              </a:cxn>
              <a:cxn ang="0">
                <a:pos x="6" y="6"/>
              </a:cxn>
              <a:cxn ang="0">
                <a:pos x="4" y="7"/>
              </a:cxn>
              <a:cxn ang="0">
                <a:pos x="2" y="11"/>
              </a:cxn>
              <a:cxn ang="0">
                <a:pos x="0" y="9"/>
              </a:cxn>
              <a:cxn ang="0">
                <a:pos x="2" y="4"/>
              </a:cxn>
              <a:cxn ang="0">
                <a:pos x="2" y="0"/>
              </a:cxn>
            </a:cxnLst>
            <a:rect l="0" t="0" r="r" b="b"/>
            <a:pathLst>
              <a:path w="13" h="14">
                <a:moveTo>
                  <a:pt x="2" y="0"/>
                </a:moveTo>
                <a:lnTo>
                  <a:pt x="3" y="0"/>
                </a:lnTo>
                <a:lnTo>
                  <a:pt x="3" y="1"/>
                </a:lnTo>
                <a:lnTo>
                  <a:pt x="4" y="1"/>
                </a:lnTo>
                <a:lnTo>
                  <a:pt x="6" y="1"/>
                </a:lnTo>
                <a:lnTo>
                  <a:pt x="12" y="9"/>
                </a:lnTo>
                <a:lnTo>
                  <a:pt x="13" y="11"/>
                </a:lnTo>
                <a:lnTo>
                  <a:pt x="13" y="14"/>
                </a:lnTo>
                <a:lnTo>
                  <a:pt x="11" y="12"/>
                </a:lnTo>
                <a:lnTo>
                  <a:pt x="8" y="11"/>
                </a:lnTo>
                <a:lnTo>
                  <a:pt x="7" y="7"/>
                </a:lnTo>
                <a:lnTo>
                  <a:pt x="6" y="6"/>
                </a:lnTo>
                <a:lnTo>
                  <a:pt x="4" y="7"/>
                </a:lnTo>
                <a:lnTo>
                  <a:pt x="2" y="11"/>
                </a:lnTo>
                <a:lnTo>
                  <a:pt x="0" y="9"/>
                </a:lnTo>
                <a:lnTo>
                  <a:pt x="2" y="4"/>
                </a:lnTo>
                <a:lnTo>
                  <a:pt x="2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60" name="Freeform 883"/>
          <p:cNvSpPr>
            <a:spLocks/>
          </p:cNvSpPr>
          <p:nvPr/>
        </p:nvSpPr>
        <p:spPr bwMode="auto">
          <a:xfrm>
            <a:off x="9215421" y="3904000"/>
            <a:ext cx="25335" cy="25772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3" y="0"/>
              </a:cxn>
              <a:cxn ang="0">
                <a:pos x="3" y="1"/>
              </a:cxn>
              <a:cxn ang="0">
                <a:pos x="4" y="1"/>
              </a:cxn>
              <a:cxn ang="0">
                <a:pos x="6" y="1"/>
              </a:cxn>
              <a:cxn ang="0">
                <a:pos x="12" y="9"/>
              </a:cxn>
              <a:cxn ang="0">
                <a:pos x="13" y="11"/>
              </a:cxn>
              <a:cxn ang="0">
                <a:pos x="13" y="14"/>
              </a:cxn>
              <a:cxn ang="0">
                <a:pos x="11" y="12"/>
              </a:cxn>
              <a:cxn ang="0">
                <a:pos x="8" y="11"/>
              </a:cxn>
              <a:cxn ang="0">
                <a:pos x="7" y="7"/>
              </a:cxn>
              <a:cxn ang="0">
                <a:pos x="6" y="6"/>
              </a:cxn>
              <a:cxn ang="0">
                <a:pos x="4" y="7"/>
              </a:cxn>
              <a:cxn ang="0">
                <a:pos x="2" y="11"/>
              </a:cxn>
              <a:cxn ang="0">
                <a:pos x="0" y="9"/>
              </a:cxn>
              <a:cxn ang="0">
                <a:pos x="2" y="4"/>
              </a:cxn>
              <a:cxn ang="0">
                <a:pos x="2" y="0"/>
              </a:cxn>
            </a:cxnLst>
            <a:rect l="0" t="0" r="r" b="b"/>
            <a:pathLst>
              <a:path w="13" h="14">
                <a:moveTo>
                  <a:pt x="2" y="0"/>
                </a:moveTo>
                <a:lnTo>
                  <a:pt x="3" y="0"/>
                </a:lnTo>
                <a:lnTo>
                  <a:pt x="3" y="1"/>
                </a:lnTo>
                <a:lnTo>
                  <a:pt x="4" y="1"/>
                </a:lnTo>
                <a:lnTo>
                  <a:pt x="6" y="1"/>
                </a:lnTo>
                <a:lnTo>
                  <a:pt x="12" y="9"/>
                </a:lnTo>
                <a:lnTo>
                  <a:pt x="13" y="11"/>
                </a:lnTo>
                <a:lnTo>
                  <a:pt x="13" y="14"/>
                </a:lnTo>
                <a:lnTo>
                  <a:pt x="11" y="12"/>
                </a:lnTo>
                <a:lnTo>
                  <a:pt x="8" y="11"/>
                </a:lnTo>
                <a:lnTo>
                  <a:pt x="7" y="7"/>
                </a:lnTo>
                <a:lnTo>
                  <a:pt x="6" y="6"/>
                </a:lnTo>
                <a:lnTo>
                  <a:pt x="4" y="7"/>
                </a:lnTo>
                <a:lnTo>
                  <a:pt x="2" y="11"/>
                </a:lnTo>
                <a:lnTo>
                  <a:pt x="0" y="9"/>
                </a:lnTo>
                <a:lnTo>
                  <a:pt x="2" y="4"/>
                </a:lnTo>
                <a:lnTo>
                  <a:pt x="2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GB" kern="0" dirty="0">
              <a:solidFill>
                <a:prstClr val="white"/>
              </a:solidFill>
            </a:endParaRPr>
          </a:p>
        </p:txBody>
      </p:sp>
      <p:sp>
        <p:nvSpPr>
          <p:cNvPr id="961" name="Freeform 884"/>
          <p:cNvSpPr>
            <a:spLocks/>
          </p:cNvSpPr>
          <p:nvPr/>
        </p:nvSpPr>
        <p:spPr bwMode="auto">
          <a:xfrm>
            <a:off x="9246602" y="3904000"/>
            <a:ext cx="40926" cy="49396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7" y="1"/>
              </a:cxn>
              <a:cxn ang="0">
                <a:pos x="11" y="0"/>
              </a:cxn>
              <a:cxn ang="0">
                <a:pos x="12" y="0"/>
              </a:cxn>
              <a:cxn ang="0">
                <a:pos x="15" y="1"/>
              </a:cxn>
              <a:cxn ang="0">
                <a:pos x="15" y="3"/>
              </a:cxn>
              <a:cxn ang="0">
                <a:pos x="18" y="6"/>
              </a:cxn>
              <a:cxn ang="0">
                <a:pos x="18" y="9"/>
              </a:cxn>
              <a:cxn ang="0">
                <a:pos x="18" y="14"/>
              </a:cxn>
              <a:cxn ang="0">
                <a:pos x="18" y="17"/>
              </a:cxn>
              <a:cxn ang="0">
                <a:pos x="20" y="23"/>
              </a:cxn>
              <a:cxn ang="0">
                <a:pos x="22" y="26"/>
              </a:cxn>
              <a:cxn ang="0">
                <a:pos x="18" y="26"/>
              </a:cxn>
              <a:cxn ang="0">
                <a:pos x="15" y="25"/>
              </a:cxn>
              <a:cxn ang="0">
                <a:pos x="14" y="22"/>
              </a:cxn>
              <a:cxn ang="0">
                <a:pos x="12" y="22"/>
              </a:cxn>
              <a:cxn ang="0">
                <a:pos x="10" y="18"/>
              </a:cxn>
              <a:cxn ang="0">
                <a:pos x="10" y="17"/>
              </a:cxn>
              <a:cxn ang="0">
                <a:pos x="11" y="15"/>
              </a:cxn>
              <a:cxn ang="0">
                <a:pos x="10" y="14"/>
              </a:cxn>
              <a:cxn ang="0">
                <a:pos x="6" y="9"/>
              </a:cxn>
              <a:cxn ang="0">
                <a:pos x="4" y="7"/>
              </a:cxn>
              <a:cxn ang="0">
                <a:pos x="2" y="6"/>
              </a:cxn>
              <a:cxn ang="0">
                <a:pos x="0" y="1"/>
              </a:cxn>
              <a:cxn ang="0">
                <a:pos x="0" y="0"/>
              </a:cxn>
            </a:cxnLst>
            <a:rect l="0" t="0" r="r" b="b"/>
            <a:pathLst>
              <a:path w="22" h="26">
                <a:moveTo>
                  <a:pt x="0" y="0"/>
                </a:moveTo>
                <a:lnTo>
                  <a:pt x="2" y="0"/>
                </a:lnTo>
                <a:lnTo>
                  <a:pt x="7" y="1"/>
                </a:lnTo>
                <a:lnTo>
                  <a:pt x="11" y="0"/>
                </a:lnTo>
                <a:lnTo>
                  <a:pt x="12" y="0"/>
                </a:lnTo>
                <a:lnTo>
                  <a:pt x="15" y="1"/>
                </a:lnTo>
                <a:lnTo>
                  <a:pt x="15" y="3"/>
                </a:lnTo>
                <a:lnTo>
                  <a:pt x="18" y="6"/>
                </a:lnTo>
                <a:lnTo>
                  <a:pt x="18" y="9"/>
                </a:lnTo>
                <a:lnTo>
                  <a:pt x="18" y="14"/>
                </a:lnTo>
                <a:lnTo>
                  <a:pt x="18" y="17"/>
                </a:lnTo>
                <a:lnTo>
                  <a:pt x="20" y="23"/>
                </a:lnTo>
                <a:lnTo>
                  <a:pt x="22" y="26"/>
                </a:lnTo>
                <a:lnTo>
                  <a:pt x="18" y="26"/>
                </a:lnTo>
                <a:lnTo>
                  <a:pt x="15" y="25"/>
                </a:lnTo>
                <a:lnTo>
                  <a:pt x="14" y="22"/>
                </a:lnTo>
                <a:lnTo>
                  <a:pt x="12" y="22"/>
                </a:lnTo>
                <a:lnTo>
                  <a:pt x="10" y="18"/>
                </a:lnTo>
                <a:lnTo>
                  <a:pt x="10" y="17"/>
                </a:lnTo>
                <a:lnTo>
                  <a:pt x="11" y="15"/>
                </a:lnTo>
                <a:lnTo>
                  <a:pt x="10" y="14"/>
                </a:lnTo>
                <a:lnTo>
                  <a:pt x="6" y="9"/>
                </a:lnTo>
                <a:lnTo>
                  <a:pt x="4" y="7"/>
                </a:lnTo>
                <a:lnTo>
                  <a:pt x="2" y="6"/>
                </a:ln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62" name="Freeform 885"/>
          <p:cNvSpPr>
            <a:spLocks/>
          </p:cNvSpPr>
          <p:nvPr/>
        </p:nvSpPr>
        <p:spPr bwMode="auto">
          <a:xfrm>
            <a:off x="9246602" y="3904000"/>
            <a:ext cx="40926" cy="49396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7" y="1"/>
              </a:cxn>
              <a:cxn ang="0">
                <a:pos x="11" y="0"/>
              </a:cxn>
              <a:cxn ang="0">
                <a:pos x="12" y="0"/>
              </a:cxn>
              <a:cxn ang="0">
                <a:pos x="15" y="1"/>
              </a:cxn>
              <a:cxn ang="0">
                <a:pos x="15" y="3"/>
              </a:cxn>
              <a:cxn ang="0">
                <a:pos x="18" y="6"/>
              </a:cxn>
              <a:cxn ang="0">
                <a:pos x="18" y="9"/>
              </a:cxn>
              <a:cxn ang="0">
                <a:pos x="18" y="14"/>
              </a:cxn>
              <a:cxn ang="0">
                <a:pos x="18" y="17"/>
              </a:cxn>
              <a:cxn ang="0">
                <a:pos x="20" y="23"/>
              </a:cxn>
              <a:cxn ang="0">
                <a:pos x="22" y="26"/>
              </a:cxn>
              <a:cxn ang="0">
                <a:pos x="18" y="26"/>
              </a:cxn>
              <a:cxn ang="0">
                <a:pos x="15" y="25"/>
              </a:cxn>
              <a:cxn ang="0">
                <a:pos x="14" y="22"/>
              </a:cxn>
              <a:cxn ang="0">
                <a:pos x="12" y="22"/>
              </a:cxn>
              <a:cxn ang="0">
                <a:pos x="10" y="18"/>
              </a:cxn>
              <a:cxn ang="0">
                <a:pos x="10" y="17"/>
              </a:cxn>
              <a:cxn ang="0">
                <a:pos x="11" y="15"/>
              </a:cxn>
              <a:cxn ang="0">
                <a:pos x="10" y="14"/>
              </a:cxn>
              <a:cxn ang="0">
                <a:pos x="6" y="9"/>
              </a:cxn>
              <a:cxn ang="0">
                <a:pos x="4" y="7"/>
              </a:cxn>
              <a:cxn ang="0">
                <a:pos x="2" y="6"/>
              </a:cxn>
              <a:cxn ang="0">
                <a:pos x="0" y="1"/>
              </a:cxn>
              <a:cxn ang="0">
                <a:pos x="0" y="0"/>
              </a:cxn>
            </a:cxnLst>
            <a:rect l="0" t="0" r="r" b="b"/>
            <a:pathLst>
              <a:path w="22" h="26">
                <a:moveTo>
                  <a:pt x="0" y="0"/>
                </a:moveTo>
                <a:lnTo>
                  <a:pt x="2" y="0"/>
                </a:lnTo>
                <a:lnTo>
                  <a:pt x="7" y="1"/>
                </a:lnTo>
                <a:lnTo>
                  <a:pt x="11" y="0"/>
                </a:lnTo>
                <a:lnTo>
                  <a:pt x="12" y="0"/>
                </a:lnTo>
                <a:lnTo>
                  <a:pt x="15" y="1"/>
                </a:lnTo>
                <a:lnTo>
                  <a:pt x="15" y="3"/>
                </a:lnTo>
                <a:lnTo>
                  <a:pt x="18" y="6"/>
                </a:lnTo>
                <a:lnTo>
                  <a:pt x="18" y="9"/>
                </a:lnTo>
                <a:lnTo>
                  <a:pt x="18" y="14"/>
                </a:lnTo>
                <a:lnTo>
                  <a:pt x="18" y="17"/>
                </a:lnTo>
                <a:lnTo>
                  <a:pt x="20" y="23"/>
                </a:lnTo>
                <a:lnTo>
                  <a:pt x="22" y="26"/>
                </a:lnTo>
                <a:lnTo>
                  <a:pt x="18" y="26"/>
                </a:lnTo>
                <a:lnTo>
                  <a:pt x="15" y="25"/>
                </a:lnTo>
                <a:lnTo>
                  <a:pt x="14" y="22"/>
                </a:lnTo>
                <a:lnTo>
                  <a:pt x="12" y="22"/>
                </a:lnTo>
                <a:lnTo>
                  <a:pt x="10" y="18"/>
                </a:lnTo>
                <a:lnTo>
                  <a:pt x="10" y="17"/>
                </a:lnTo>
                <a:lnTo>
                  <a:pt x="11" y="15"/>
                </a:lnTo>
                <a:lnTo>
                  <a:pt x="10" y="14"/>
                </a:lnTo>
                <a:lnTo>
                  <a:pt x="6" y="9"/>
                </a:lnTo>
                <a:lnTo>
                  <a:pt x="4" y="7"/>
                </a:lnTo>
                <a:lnTo>
                  <a:pt x="2" y="6"/>
                </a:lnTo>
                <a:lnTo>
                  <a:pt x="0" y="1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GB" kern="0" dirty="0">
              <a:solidFill>
                <a:prstClr val="white"/>
              </a:solidFill>
            </a:endParaRPr>
          </a:p>
        </p:txBody>
      </p:sp>
      <p:sp>
        <p:nvSpPr>
          <p:cNvPr id="963" name="Freeform 886"/>
          <p:cNvSpPr>
            <a:spLocks/>
          </p:cNvSpPr>
          <p:nvPr/>
        </p:nvSpPr>
        <p:spPr bwMode="auto">
          <a:xfrm>
            <a:off x="9180343" y="3925477"/>
            <a:ext cx="33130" cy="49396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1" y="0"/>
              </a:cxn>
              <a:cxn ang="0">
                <a:pos x="2" y="1"/>
              </a:cxn>
              <a:cxn ang="0">
                <a:pos x="6" y="4"/>
              </a:cxn>
              <a:cxn ang="0">
                <a:pos x="8" y="6"/>
              </a:cxn>
              <a:cxn ang="0">
                <a:pos x="9" y="6"/>
              </a:cxn>
              <a:cxn ang="0">
                <a:pos x="13" y="6"/>
              </a:cxn>
              <a:cxn ang="0">
                <a:pos x="14" y="7"/>
              </a:cxn>
              <a:cxn ang="0">
                <a:pos x="16" y="7"/>
              </a:cxn>
              <a:cxn ang="0">
                <a:pos x="17" y="7"/>
              </a:cxn>
              <a:cxn ang="0">
                <a:pos x="17" y="11"/>
              </a:cxn>
              <a:cxn ang="0">
                <a:pos x="17" y="14"/>
              </a:cxn>
              <a:cxn ang="0">
                <a:pos x="14" y="15"/>
              </a:cxn>
              <a:cxn ang="0">
                <a:pos x="12" y="20"/>
              </a:cxn>
              <a:cxn ang="0">
                <a:pos x="10" y="22"/>
              </a:cxn>
              <a:cxn ang="0">
                <a:pos x="9" y="22"/>
              </a:cxn>
              <a:cxn ang="0">
                <a:pos x="6" y="23"/>
              </a:cxn>
              <a:cxn ang="0">
                <a:pos x="2" y="25"/>
              </a:cxn>
              <a:cxn ang="0">
                <a:pos x="1" y="26"/>
              </a:cxn>
              <a:cxn ang="0">
                <a:pos x="0" y="23"/>
              </a:cxn>
              <a:cxn ang="0">
                <a:pos x="0" y="18"/>
              </a:cxn>
              <a:cxn ang="0">
                <a:pos x="1" y="15"/>
              </a:cxn>
              <a:cxn ang="0">
                <a:pos x="1" y="6"/>
              </a:cxn>
              <a:cxn ang="0">
                <a:pos x="1" y="4"/>
              </a:cxn>
              <a:cxn ang="0">
                <a:pos x="0" y="3"/>
              </a:cxn>
              <a:cxn ang="0">
                <a:pos x="0" y="1"/>
              </a:cxn>
            </a:cxnLst>
            <a:rect l="0" t="0" r="r" b="b"/>
            <a:pathLst>
              <a:path w="17" h="26">
                <a:moveTo>
                  <a:pt x="0" y="1"/>
                </a:moveTo>
                <a:lnTo>
                  <a:pt x="1" y="0"/>
                </a:lnTo>
                <a:lnTo>
                  <a:pt x="2" y="1"/>
                </a:lnTo>
                <a:lnTo>
                  <a:pt x="6" y="4"/>
                </a:lnTo>
                <a:lnTo>
                  <a:pt x="8" y="6"/>
                </a:lnTo>
                <a:lnTo>
                  <a:pt x="9" y="6"/>
                </a:lnTo>
                <a:lnTo>
                  <a:pt x="13" y="6"/>
                </a:lnTo>
                <a:lnTo>
                  <a:pt x="14" y="7"/>
                </a:lnTo>
                <a:lnTo>
                  <a:pt x="16" y="7"/>
                </a:lnTo>
                <a:lnTo>
                  <a:pt x="17" y="7"/>
                </a:lnTo>
                <a:lnTo>
                  <a:pt x="17" y="11"/>
                </a:lnTo>
                <a:lnTo>
                  <a:pt x="17" y="14"/>
                </a:lnTo>
                <a:lnTo>
                  <a:pt x="14" y="15"/>
                </a:lnTo>
                <a:lnTo>
                  <a:pt x="12" y="20"/>
                </a:lnTo>
                <a:lnTo>
                  <a:pt x="10" y="22"/>
                </a:lnTo>
                <a:lnTo>
                  <a:pt x="9" y="22"/>
                </a:lnTo>
                <a:lnTo>
                  <a:pt x="6" y="23"/>
                </a:lnTo>
                <a:lnTo>
                  <a:pt x="2" y="25"/>
                </a:lnTo>
                <a:lnTo>
                  <a:pt x="1" y="26"/>
                </a:lnTo>
                <a:lnTo>
                  <a:pt x="0" y="23"/>
                </a:lnTo>
                <a:lnTo>
                  <a:pt x="0" y="18"/>
                </a:lnTo>
                <a:lnTo>
                  <a:pt x="1" y="15"/>
                </a:lnTo>
                <a:lnTo>
                  <a:pt x="1" y="6"/>
                </a:lnTo>
                <a:lnTo>
                  <a:pt x="1" y="4"/>
                </a:lnTo>
                <a:lnTo>
                  <a:pt x="0" y="3"/>
                </a:lnTo>
                <a:lnTo>
                  <a:pt x="0" y="1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64" name="Freeform 887"/>
          <p:cNvSpPr>
            <a:spLocks/>
          </p:cNvSpPr>
          <p:nvPr/>
        </p:nvSpPr>
        <p:spPr bwMode="auto">
          <a:xfrm>
            <a:off x="9180343" y="3925477"/>
            <a:ext cx="33130" cy="49396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1" y="0"/>
              </a:cxn>
              <a:cxn ang="0">
                <a:pos x="2" y="1"/>
              </a:cxn>
              <a:cxn ang="0">
                <a:pos x="6" y="4"/>
              </a:cxn>
              <a:cxn ang="0">
                <a:pos x="8" y="6"/>
              </a:cxn>
              <a:cxn ang="0">
                <a:pos x="9" y="6"/>
              </a:cxn>
              <a:cxn ang="0">
                <a:pos x="13" y="6"/>
              </a:cxn>
              <a:cxn ang="0">
                <a:pos x="14" y="7"/>
              </a:cxn>
              <a:cxn ang="0">
                <a:pos x="16" y="7"/>
              </a:cxn>
              <a:cxn ang="0">
                <a:pos x="17" y="7"/>
              </a:cxn>
              <a:cxn ang="0">
                <a:pos x="17" y="11"/>
              </a:cxn>
              <a:cxn ang="0">
                <a:pos x="17" y="14"/>
              </a:cxn>
              <a:cxn ang="0">
                <a:pos x="14" y="15"/>
              </a:cxn>
              <a:cxn ang="0">
                <a:pos x="12" y="20"/>
              </a:cxn>
              <a:cxn ang="0">
                <a:pos x="10" y="22"/>
              </a:cxn>
              <a:cxn ang="0">
                <a:pos x="9" y="22"/>
              </a:cxn>
              <a:cxn ang="0">
                <a:pos x="6" y="23"/>
              </a:cxn>
              <a:cxn ang="0">
                <a:pos x="2" y="25"/>
              </a:cxn>
              <a:cxn ang="0">
                <a:pos x="1" y="26"/>
              </a:cxn>
              <a:cxn ang="0">
                <a:pos x="0" y="23"/>
              </a:cxn>
              <a:cxn ang="0">
                <a:pos x="0" y="18"/>
              </a:cxn>
              <a:cxn ang="0">
                <a:pos x="1" y="15"/>
              </a:cxn>
              <a:cxn ang="0">
                <a:pos x="1" y="6"/>
              </a:cxn>
              <a:cxn ang="0">
                <a:pos x="1" y="4"/>
              </a:cxn>
              <a:cxn ang="0">
                <a:pos x="0" y="3"/>
              </a:cxn>
              <a:cxn ang="0">
                <a:pos x="0" y="1"/>
              </a:cxn>
            </a:cxnLst>
            <a:rect l="0" t="0" r="r" b="b"/>
            <a:pathLst>
              <a:path w="17" h="26">
                <a:moveTo>
                  <a:pt x="0" y="1"/>
                </a:moveTo>
                <a:lnTo>
                  <a:pt x="1" y="0"/>
                </a:lnTo>
                <a:lnTo>
                  <a:pt x="2" y="1"/>
                </a:lnTo>
                <a:lnTo>
                  <a:pt x="6" y="4"/>
                </a:lnTo>
                <a:lnTo>
                  <a:pt x="8" y="6"/>
                </a:lnTo>
                <a:lnTo>
                  <a:pt x="9" y="6"/>
                </a:lnTo>
                <a:lnTo>
                  <a:pt x="13" y="6"/>
                </a:lnTo>
                <a:lnTo>
                  <a:pt x="14" y="7"/>
                </a:lnTo>
                <a:lnTo>
                  <a:pt x="16" y="7"/>
                </a:lnTo>
                <a:lnTo>
                  <a:pt x="17" y="7"/>
                </a:lnTo>
                <a:lnTo>
                  <a:pt x="17" y="11"/>
                </a:lnTo>
                <a:lnTo>
                  <a:pt x="17" y="14"/>
                </a:lnTo>
                <a:lnTo>
                  <a:pt x="14" y="15"/>
                </a:lnTo>
                <a:lnTo>
                  <a:pt x="12" y="20"/>
                </a:lnTo>
                <a:lnTo>
                  <a:pt x="10" y="22"/>
                </a:lnTo>
                <a:lnTo>
                  <a:pt x="9" y="22"/>
                </a:lnTo>
                <a:lnTo>
                  <a:pt x="6" y="23"/>
                </a:lnTo>
                <a:lnTo>
                  <a:pt x="2" y="25"/>
                </a:lnTo>
                <a:lnTo>
                  <a:pt x="1" y="26"/>
                </a:lnTo>
                <a:lnTo>
                  <a:pt x="0" y="23"/>
                </a:lnTo>
                <a:lnTo>
                  <a:pt x="0" y="18"/>
                </a:lnTo>
                <a:lnTo>
                  <a:pt x="1" y="15"/>
                </a:lnTo>
                <a:lnTo>
                  <a:pt x="1" y="6"/>
                </a:lnTo>
                <a:lnTo>
                  <a:pt x="1" y="4"/>
                </a:lnTo>
                <a:lnTo>
                  <a:pt x="0" y="3"/>
                </a:lnTo>
                <a:lnTo>
                  <a:pt x="0" y="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GB" kern="0" dirty="0">
              <a:solidFill>
                <a:prstClr val="white"/>
              </a:solidFill>
            </a:endParaRPr>
          </a:p>
        </p:txBody>
      </p:sp>
      <p:sp>
        <p:nvSpPr>
          <p:cNvPr id="965" name="Freeform 888"/>
          <p:cNvSpPr>
            <a:spLocks/>
          </p:cNvSpPr>
          <p:nvPr/>
        </p:nvSpPr>
        <p:spPr bwMode="auto">
          <a:xfrm>
            <a:off x="9197883" y="3968429"/>
            <a:ext cx="5846" cy="6444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3" y="1"/>
              </a:cxn>
              <a:cxn ang="0">
                <a:pos x="1" y="3"/>
              </a:cxn>
              <a:cxn ang="0">
                <a:pos x="1" y="4"/>
              </a:cxn>
              <a:cxn ang="0">
                <a:pos x="0" y="4"/>
              </a:cxn>
              <a:cxn ang="0">
                <a:pos x="0" y="3"/>
              </a:cxn>
              <a:cxn ang="0">
                <a:pos x="0" y="1"/>
              </a:cxn>
              <a:cxn ang="0">
                <a:pos x="1" y="0"/>
              </a:cxn>
            </a:cxnLst>
            <a:rect l="0" t="0" r="r" b="b"/>
            <a:pathLst>
              <a:path w="3" h="4">
                <a:moveTo>
                  <a:pt x="1" y="0"/>
                </a:moveTo>
                <a:lnTo>
                  <a:pt x="3" y="1"/>
                </a:lnTo>
                <a:lnTo>
                  <a:pt x="1" y="3"/>
                </a:lnTo>
                <a:lnTo>
                  <a:pt x="1" y="4"/>
                </a:lnTo>
                <a:lnTo>
                  <a:pt x="0" y="4"/>
                </a:lnTo>
                <a:lnTo>
                  <a:pt x="0" y="3"/>
                </a:lnTo>
                <a:lnTo>
                  <a:pt x="0" y="1"/>
                </a:lnTo>
                <a:lnTo>
                  <a:pt x="1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66" name="Freeform 889"/>
          <p:cNvSpPr>
            <a:spLocks/>
          </p:cNvSpPr>
          <p:nvPr/>
        </p:nvSpPr>
        <p:spPr bwMode="auto">
          <a:xfrm>
            <a:off x="9197883" y="3968429"/>
            <a:ext cx="5846" cy="6444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3" y="1"/>
              </a:cxn>
              <a:cxn ang="0">
                <a:pos x="1" y="3"/>
              </a:cxn>
              <a:cxn ang="0">
                <a:pos x="1" y="4"/>
              </a:cxn>
              <a:cxn ang="0">
                <a:pos x="0" y="4"/>
              </a:cxn>
              <a:cxn ang="0">
                <a:pos x="0" y="3"/>
              </a:cxn>
              <a:cxn ang="0">
                <a:pos x="0" y="1"/>
              </a:cxn>
              <a:cxn ang="0">
                <a:pos x="1" y="0"/>
              </a:cxn>
            </a:cxnLst>
            <a:rect l="0" t="0" r="r" b="b"/>
            <a:pathLst>
              <a:path w="3" h="4">
                <a:moveTo>
                  <a:pt x="1" y="0"/>
                </a:moveTo>
                <a:lnTo>
                  <a:pt x="3" y="1"/>
                </a:lnTo>
                <a:lnTo>
                  <a:pt x="1" y="3"/>
                </a:lnTo>
                <a:lnTo>
                  <a:pt x="1" y="4"/>
                </a:lnTo>
                <a:lnTo>
                  <a:pt x="0" y="4"/>
                </a:lnTo>
                <a:lnTo>
                  <a:pt x="0" y="3"/>
                </a:lnTo>
                <a:lnTo>
                  <a:pt x="0" y="1"/>
                </a:lnTo>
                <a:lnTo>
                  <a:pt x="1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67" name="Freeform 890"/>
          <p:cNvSpPr>
            <a:spLocks/>
          </p:cNvSpPr>
          <p:nvPr/>
        </p:nvSpPr>
        <p:spPr bwMode="auto">
          <a:xfrm>
            <a:off x="9195934" y="3957690"/>
            <a:ext cx="29233" cy="66576"/>
          </a:xfrm>
          <a:custGeom>
            <a:avLst/>
            <a:gdLst/>
            <a:ahLst/>
            <a:cxnLst>
              <a:cxn ang="0">
                <a:pos x="8" y="1"/>
              </a:cxn>
              <a:cxn ang="0">
                <a:pos x="10" y="0"/>
              </a:cxn>
              <a:cxn ang="0">
                <a:pos x="16" y="1"/>
              </a:cxn>
              <a:cxn ang="0">
                <a:pos x="16" y="5"/>
              </a:cxn>
              <a:cxn ang="0">
                <a:pos x="16" y="8"/>
              </a:cxn>
              <a:cxn ang="0">
                <a:pos x="14" y="9"/>
              </a:cxn>
              <a:cxn ang="0">
                <a:pos x="13" y="12"/>
              </a:cxn>
              <a:cxn ang="0">
                <a:pos x="10" y="20"/>
              </a:cxn>
              <a:cxn ang="0">
                <a:pos x="10" y="23"/>
              </a:cxn>
              <a:cxn ang="0">
                <a:pos x="10" y="27"/>
              </a:cxn>
              <a:cxn ang="0">
                <a:pos x="12" y="28"/>
              </a:cxn>
              <a:cxn ang="0">
                <a:pos x="12" y="33"/>
              </a:cxn>
              <a:cxn ang="0">
                <a:pos x="9" y="34"/>
              </a:cxn>
              <a:cxn ang="0">
                <a:pos x="6" y="31"/>
              </a:cxn>
              <a:cxn ang="0">
                <a:pos x="5" y="28"/>
              </a:cxn>
              <a:cxn ang="0">
                <a:pos x="2" y="28"/>
              </a:cxn>
              <a:cxn ang="0">
                <a:pos x="1" y="25"/>
              </a:cxn>
              <a:cxn ang="0">
                <a:pos x="0" y="22"/>
              </a:cxn>
              <a:cxn ang="0">
                <a:pos x="0" y="17"/>
              </a:cxn>
              <a:cxn ang="0">
                <a:pos x="4" y="16"/>
              </a:cxn>
              <a:cxn ang="0">
                <a:pos x="5" y="14"/>
              </a:cxn>
              <a:cxn ang="0">
                <a:pos x="5" y="8"/>
              </a:cxn>
              <a:cxn ang="0">
                <a:pos x="6" y="3"/>
              </a:cxn>
              <a:cxn ang="0">
                <a:pos x="8" y="1"/>
              </a:cxn>
            </a:cxnLst>
            <a:rect l="0" t="0" r="r" b="b"/>
            <a:pathLst>
              <a:path w="16" h="34">
                <a:moveTo>
                  <a:pt x="8" y="1"/>
                </a:moveTo>
                <a:lnTo>
                  <a:pt x="10" y="0"/>
                </a:lnTo>
                <a:lnTo>
                  <a:pt x="16" y="1"/>
                </a:lnTo>
                <a:lnTo>
                  <a:pt x="16" y="5"/>
                </a:lnTo>
                <a:lnTo>
                  <a:pt x="16" y="8"/>
                </a:lnTo>
                <a:lnTo>
                  <a:pt x="14" y="9"/>
                </a:lnTo>
                <a:lnTo>
                  <a:pt x="13" y="12"/>
                </a:lnTo>
                <a:lnTo>
                  <a:pt x="10" y="20"/>
                </a:lnTo>
                <a:lnTo>
                  <a:pt x="10" y="23"/>
                </a:lnTo>
                <a:lnTo>
                  <a:pt x="10" y="27"/>
                </a:lnTo>
                <a:lnTo>
                  <a:pt x="12" y="28"/>
                </a:lnTo>
                <a:lnTo>
                  <a:pt x="12" y="33"/>
                </a:lnTo>
                <a:lnTo>
                  <a:pt x="9" y="34"/>
                </a:lnTo>
                <a:lnTo>
                  <a:pt x="6" y="31"/>
                </a:lnTo>
                <a:lnTo>
                  <a:pt x="5" y="28"/>
                </a:lnTo>
                <a:lnTo>
                  <a:pt x="2" y="28"/>
                </a:lnTo>
                <a:lnTo>
                  <a:pt x="1" y="25"/>
                </a:lnTo>
                <a:lnTo>
                  <a:pt x="0" y="22"/>
                </a:lnTo>
                <a:lnTo>
                  <a:pt x="0" y="17"/>
                </a:lnTo>
                <a:lnTo>
                  <a:pt x="4" y="16"/>
                </a:lnTo>
                <a:lnTo>
                  <a:pt x="5" y="14"/>
                </a:lnTo>
                <a:lnTo>
                  <a:pt x="5" y="8"/>
                </a:lnTo>
                <a:lnTo>
                  <a:pt x="6" y="3"/>
                </a:lnTo>
                <a:lnTo>
                  <a:pt x="8" y="1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68" name="Freeform 891"/>
          <p:cNvSpPr>
            <a:spLocks/>
          </p:cNvSpPr>
          <p:nvPr/>
        </p:nvSpPr>
        <p:spPr bwMode="auto">
          <a:xfrm>
            <a:off x="9195934" y="3957690"/>
            <a:ext cx="29233" cy="66576"/>
          </a:xfrm>
          <a:custGeom>
            <a:avLst/>
            <a:gdLst/>
            <a:ahLst/>
            <a:cxnLst>
              <a:cxn ang="0">
                <a:pos x="8" y="1"/>
              </a:cxn>
              <a:cxn ang="0">
                <a:pos x="10" y="0"/>
              </a:cxn>
              <a:cxn ang="0">
                <a:pos x="16" y="1"/>
              </a:cxn>
              <a:cxn ang="0">
                <a:pos x="16" y="5"/>
              </a:cxn>
              <a:cxn ang="0">
                <a:pos x="16" y="8"/>
              </a:cxn>
              <a:cxn ang="0">
                <a:pos x="14" y="9"/>
              </a:cxn>
              <a:cxn ang="0">
                <a:pos x="13" y="12"/>
              </a:cxn>
              <a:cxn ang="0">
                <a:pos x="10" y="20"/>
              </a:cxn>
              <a:cxn ang="0">
                <a:pos x="10" y="23"/>
              </a:cxn>
              <a:cxn ang="0">
                <a:pos x="10" y="27"/>
              </a:cxn>
              <a:cxn ang="0">
                <a:pos x="12" y="28"/>
              </a:cxn>
              <a:cxn ang="0">
                <a:pos x="12" y="33"/>
              </a:cxn>
              <a:cxn ang="0">
                <a:pos x="9" y="34"/>
              </a:cxn>
              <a:cxn ang="0">
                <a:pos x="6" y="31"/>
              </a:cxn>
              <a:cxn ang="0">
                <a:pos x="5" y="28"/>
              </a:cxn>
              <a:cxn ang="0">
                <a:pos x="2" y="28"/>
              </a:cxn>
              <a:cxn ang="0">
                <a:pos x="1" y="25"/>
              </a:cxn>
              <a:cxn ang="0">
                <a:pos x="0" y="22"/>
              </a:cxn>
              <a:cxn ang="0">
                <a:pos x="0" y="17"/>
              </a:cxn>
              <a:cxn ang="0">
                <a:pos x="4" y="16"/>
              </a:cxn>
              <a:cxn ang="0">
                <a:pos x="5" y="14"/>
              </a:cxn>
              <a:cxn ang="0">
                <a:pos x="5" y="8"/>
              </a:cxn>
              <a:cxn ang="0">
                <a:pos x="6" y="3"/>
              </a:cxn>
              <a:cxn ang="0">
                <a:pos x="8" y="1"/>
              </a:cxn>
            </a:cxnLst>
            <a:rect l="0" t="0" r="r" b="b"/>
            <a:pathLst>
              <a:path w="16" h="34">
                <a:moveTo>
                  <a:pt x="8" y="1"/>
                </a:moveTo>
                <a:lnTo>
                  <a:pt x="10" y="0"/>
                </a:lnTo>
                <a:lnTo>
                  <a:pt x="16" y="1"/>
                </a:lnTo>
                <a:lnTo>
                  <a:pt x="16" y="5"/>
                </a:lnTo>
                <a:lnTo>
                  <a:pt x="16" y="8"/>
                </a:lnTo>
                <a:lnTo>
                  <a:pt x="14" y="9"/>
                </a:lnTo>
                <a:lnTo>
                  <a:pt x="13" y="12"/>
                </a:lnTo>
                <a:lnTo>
                  <a:pt x="10" y="20"/>
                </a:lnTo>
                <a:lnTo>
                  <a:pt x="10" y="23"/>
                </a:lnTo>
                <a:lnTo>
                  <a:pt x="10" y="27"/>
                </a:lnTo>
                <a:lnTo>
                  <a:pt x="12" y="28"/>
                </a:lnTo>
                <a:lnTo>
                  <a:pt x="12" y="33"/>
                </a:lnTo>
                <a:lnTo>
                  <a:pt x="9" y="34"/>
                </a:lnTo>
                <a:lnTo>
                  <a:pt x="6" y="31"/>
                </a:lnTo>
                <a:lnTo>
                  <a:pt x="5" y="28"/>
                </a:lnTo>
                <a:lnTo>
                  <a:pt x="2" y="28"/>
                </a:lnTo>
                <a:lnTo>
                  <a:pt x="1" y="25"/>
                </a:lnTo>
                <a:lnTo>
                  <a:pt x="0" y="22"/>
                </a:lnTo>
                <a:lnTo>
                  <a:pt x="0" y="17"/>
                </a:lnTo>
                <a:lnTo>
                  <a:pt x="4" y="16"/>
                </a:lnTo>
                <a:lnTo>
                  <a:pt x="5" y="14"/>
                </a:lnTo>
                <a:lnTo>
                  <a:pt x="5" y="8"/>
                </a:lnTo>
                <a:lnTo>
                  <a:pt x="6" y="3"/>
                </a:lnTo>
                <a:lnTo>
                  <a:pt x="8" y="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GB" kern="0" dirty="0">
              <a:solidFill>
                <a:prstClr val="white"/>
              </a:solidFill>
            </a:endParaRPr>
          </a:p>
        </p:txBody>
      </p:sp>
      <p:sp>
        <p:nvSpPr>
          <p:cNvPr id="969" name="Freeform 892"/>
          <p:cNvSpPr>
            <a:spLocks/>
          </p:cNvSpPr>
          <p:nvPr/>
        </p:nvSpPr>
        <p:spPr bwMode="auto">
          <a:xfrm>
            <a:off x="9250500" y="3929772"/>
            <a:ext cx="5847" cy="8591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0" y="0"/>
              </a:cxn>
              <a:cxn ang="0">
                <a:pos x="1" y="1"/>
              </a:cxn>
              <a:cxn ang="0">
                <a:pos x="2" y="3"/>
              </a:cxn>
              <a:cxn ang="0">
                <a:pos x="1" y="4"/>
              </a:cxn>
              <a:cxn ang="0">
                <a:pos x="0" y="1"/>
              </a:cxn>
            </a:cxnLst>
            <a:rect l="0" t="0" r="r" b="b"/>
            <a:pathLst>
              <a:path w="2" h="4">
                <a:moveTo>
                  <a:pt x="0" y="1"/>
                </a:moveTo>
                <a:lnTo>
                  <a:pt x="0" y="0"/>
                </a:lnTo>
                <a:lnTo>
                  <a:pt x="1" y="1"/>
                </a:lnTo>
                <a:lnTo>
                  <a:pt x="2" y="3"/>
                </a:lnTo>
                <a:lnTo>
                  <a:pt x="1" y="4"/>
                </a:lnTo>
                <a:lnTo>
                  <a:pt x="0" y="1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70" name="Freeform 893"/>
          <p:cNvSpPr>
            <a:spLocks/>
          </p:cNvSpPr>
          <p:nvPr/>
        </p:nvSpPr>
        <p:spPr bwMode="auto">
          <a:xfrm>
            <a:off x="9250500" y="3929772"/>
            <a:ext cx="5847" cy="8591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0" y="0"/>
              </a:cxn>
              <a:cxn ang="0">
                <a:pos x="1" y="1"/>
              </a:cxn>
              <a:cxn ang="0">
                <a:pos x="2" y="3"/>
              </a:cxn>
              <a:cxn ang="0">
                <a:pos x="1" y="4"/>
              </a:cxn>
              <a:cxn ang="0">
                <a:pos x="0" y="1"/>
              </a:cxn>
            </a:cxnLst>
            <a:rect l="0" t="0" r="r" b="b"/>
            <a:pathLst>
              <a:path w="2" h="4">
                <a:moveTo>
                  <a:pt x="0" y="1"/>
                </a:moveTo>
                <a:lnTo>
                  <a:pt x="0" y="0"/>
                </a:lnTo>
                <a:lnTo>
                  <a:pt x="1" y="1"/>
                </a:lnTo>
                <a:lnTo>
                  <a:pt x="2" y="3"/>
                </a:lnTo>
                <a:lnTo>
                  <a:pt x="1" y="4"/>
                </a:lnTo>
                <a:lnTo>
                  <a:pt x="0" y="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71" name="Freeform 894"/>
          <p:cNvSpPr>
            <a:spLocks/>
          </p:cNvSpPr>
          <p:nvPr/>
        </p:nvSpPr>
        <p:spPr bwMode="auto">
          <a:xfrm>
            <a:off x="9246602" y="3938362"/>
            <a:ext cx="31181" cy="5369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2" y="4"/>
              </a:cxn>
              <a:cxn ang="0">
                <a:pos x="3" y="2"/>
              </a:cxn>
              <a:cxn ang="0">
                <a:pos x="4" y="4"/>
              </a:cxn>
              <a:cxn ang="0">
                <a:pos x="8" y="4"/>
              </a:cxn>
              <a:cxn ang="0">
                <a:pos x="11" y="7"/>
              </a:cxn>
              <a:cxn ang="0">
                <a:pos x="11" y="15"/>
              </a:cxn>
              <a:cxn ang="0">
                <a:pos x="12" y="18"/>
              </a:cxn>
              <a:cxn ang="0">
                <a:pos x="14" y="21"/>
              </a:cxn>
              <a:cxn ang="0">
                <a:pos x="15" y="22"/>
              </a:cxn>
              <a:cxn ang="0">
                <a:pos x="12" y="24"/>
              </a:cxn>
              <a:cxn ang="0">
                <a:pos x="11" y="22"/>
              </a:cxn>
              <a:cxn ang="0">
                <a:pos x="11" y="26"/>
              </a:cxn>
              <a:cxn ang="0">
                <a:pos x="8" y="26"/>
              </a:cxn>
              <a:cxn ang="0">
                <a:pos x="7" y="22"/>
              </a:cxn>
              <a:cxn ang="0">
                <a:pos x="7" y="15"/>
              </a:cxn>
              <a:cxn ang="0">
                <a:pos x="6" y="10"/>
              </a:cxn>
              <a:cxn ang="0">
                <a:pos x="3" y="11"/>
              </a:cxn>
              <a:cxn ang="0">
                <a:pos x="2" y="8"/>
              </a:cxn>
              <a:cxn ang="0">
                <a:pos x="2" y="4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15" h="26">
                <a:moveTo>
                  <a:pt x="0" y="0"/>
                </a:moveTo>
                <a:lnTo>
                  <a:pt x="0" y="2"/>
                </a:lnTo>
                <a:lnTo>
                  <a:pt x="2" y="4"/>
                </a:lnTo>
                <a:lnTo>
                  <a:pt x="3" y="2"/>
                </a:lnTo>
                <a:lnTo>
                  <a:pt x="4" y="4"/>
                </a:lnTo>
                <a:lnTo>
                  <a:pt x="8" y="4"/>
                </a:lnTo>
                <a:lnTo>
                  <a:pt x="11" y="7"/>
                </a:lnTo>
                <a:lnTo>
                  <a:pt x="11" y="15"/>
                </a:lnTo>
                <a:lnTo>
                  <a:pt x="12" y="18"/>
                </a:lnTo>
                <a:lnTo>
                  <a:pt x="14" y="21"/>
                </a:lnTo>
                <a:lnTo>
                  <a:pt x="15" y="22"/>
                </a:lnTo>
                <a:lnTo>
                  <a:pt x="12" y="24"/>
                </a:lnTo>
                <a:lnTo>
                  <a:pt x="11" y="22"/>
                </a:lnTo>
                <a:lnTo>
                  <a:pt x="11" y="26"/>
                </a:lnTo>
                <a:lnTo>
                  <a:pt x="8" y="26"/>
                </a:lnTo>
                <a:lnTo>
                  <a:pt x="7" y="22"/>
                </a:lnTo>
                <a:lnTo>
                  <a:pt x="7" y="15"/>
                </a:lnTo>
                <a:lnTo>
                  <a:pt x="6" y="10"/>
                </a:lnTo>
                <a:lnTo>
                  <a:pt x="3" y="11"/>
                </a:lnTo>
                <a:lnTo>
                  <a:pt x="2" y="8"/>
                </a:lnTo>
                <a:lnTo>
                  <a:pt x="2" y="4"/>
                </a:ln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72" name="Freeform 895"/>
          <p:cNvSpPr>
            <a:spLocks/>
          </p:cNvSpPr>
          <p:nvPr/>
        </p:nvSpPr>
        <p:spPr bwMode="auto">
          <a:xfrm>
            <a:off x="9246602" y="3938362"/>
            <a:ext cx="31181" cy="5369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2" y="4"/>
              </a:cxn>
              <a:cxn ang="0">
                <a:pos x="3" y="2"/>
              </a:cxn>
              <a:cxn ang="0">
                <a:pos x="4" y="4"/>
              </a:cxn>
              <a:cxn ang="0">
                <a:pos x="8" y="4"/>
              </a:cxn>
              <a:cxn ang="0">
                <a:pos x="11" y="7"/>
              </a:cxn>
              <a:cxn ang="0">
                <a:pos x="11" y="15"/>
              </a:cxn>
              <a:cxn ang="0">
                <a:pos x="12" y="18"/>
              </a:cxn>
              <a:cxn ang="0">
                <a:pos x="14" y="21"/>
              </a:cxn>
              <a:cxn ang="0">
                <a:pos x="15" y="22"/>
              </a:cxn>
              <a:cxn ang="0">
                <a:pos x="12" y="24"/>
              </a:cxn>
              <a:cxn ang="0">
                <a:pos x="11" y="22"/>
              </a:cxn>
              <a:cxn ang="0">
                <a:pos x="11" y="26"/>
              </a:cxn>
              <a:cxn ang="0">
                <a:pos x="8" y="26"/>
              </a:cxn>
              <a:cxn ang="0">
                <a:pos x="7" y="22"/>
              </a:cxn>
              <a:cxn ang="0">
                <a:pos x="7" y="15"/>
              </a:cxn>
              <a:cxn ang="0">
                <a:pos x="6" y="10"/>
              </a:cxn>
              <a:cxn ang="0">
                <a:pos x="3" y="11"/>
              </a:cxn>
              <a:cxn ang="0">
                <a:pos x="2" y="8"/>
              </a:cxn>
              <a:cxn ang="0">
                <a:pos x="2" y="4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15" h="26">
                <a:moveTo>
                  <a:pt x="0" y="0"/>
                </a:moveTo>
                <a:lnTo>
                  <a:pt x="0" y="2"/>
                </a:lnTo>
                <a:lnTo>
                  <a:pt x="2" y="4"/>
                </a:lnTo>
                <a:lnTo>
                  <a:pt x="3" y="2"/>
                </a:lnTo>
                <a:lnTo>
                  <a:pt x="4" y="4"/>
                </a:lnTo>
                <a:lnTo>
                  <a:pt x="8" y="4"/>
                </a:lnTo>
                <a:lnTo>
                  <a:pt x="11" y="7"/>
                </a:lnTo>
                <a:lnTo>
                  <a:pt x="11" y="15"/>
                </a:lnTo>
                <a:lnTo>
                  <a:pt x="12" y="18"/>
                </a:lnTo>
                <a:lnTo>
                  <a:pt x="14" y="21"/>
                </a:lnTo>
                <a:lnTo>
                  <a:pt x="15" y="22"/>
                </a:lnTo>
                <a:lnTo>
                  <a:pt x="12" y="24"/>
                </a:lnTo>
                <a:lnTo>
                  <a:pt x="11" y="22"/>
                </a:lnTo>
                <a:lnTo>
                  <a:pt x="11" y="26"/>
                </a:lnTo>
                <a:lnTo>
                  <a:pt x="8" y="26"/>
                </a:lnTo>
                <a:lnTo>
                  <a:pt x="7" y="22"/>
                </a:lnTo>
                <a:lnTo>
                  <a:pt x="7" y="15"/>
                </a:lnTo>
                <a:lnTo>
                  <a:pt x="6" y="10"/>
                </a:lnTo>
                <a:lnTo>
                  <a:pt x="3" y="11"/>
                </a:lnTo>
                <a:lnTo>
                  <a:pt x="2" y="8"/>
                </a:lnTo>
                <a:lnTo>
                  <a:pt x="2" y="4"/>
                </a:lnTo>
                <a:lnTo>
                  <a:pt x="0" y="2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GB" kern="0" dirty="0">
              <a:solidFill>
                <a:prstClr val="white"/>
              </a:solidFill>
            </a:endParaRPr>
          </a:p>
        </p:txBody>
      </p:sp>
      <p:sp>
        <p:nvSpPr>
          <p:cNvPr id="973" name="Freeform 896"/>
          <p:cNvSpPr>
            <a:spLocks/>
          </p:cNvSpPr>
          <p:nvPr/>
        </p:nvSpPr>
        <p:spPr bwMode="auto">
          <a:xfrm>
            <a:off x="9283630" y="3974873"/>
            <a:ext cx="3898" cy="21476"/>
          </a:xfrm>
          <a:custGeom>
            <a:avLst/>
            <a:gdLst/>
            <a:ahLst/>
            <a:cxnLst>
              <a:cxn ang="0">
                <a:pos x="0" y="5"/>
              </a:cxn>
              <a:cxn ang="0">
                <a:pos x="0" y="2"/>
              </a:cxn>
              <a:cxn ang="0">
                <a:pos x="1" y="0"/>
              </a:cxn>
              <a:cxn ang="0">
                <a:pos x="1" y="2"/>
              </a:cxn>
              <a:cxn ang="0">
                <a:pos x="3" y="10"/>
              </a:cxn>
              <a:cxn ang="0">
                <a:pos x="3" y="11"/>
              </a:cxn>
              <a:cxn ang="0">
                <a:pos x="1" y="8"/>
              </a:cxn>
              <a:cxn ang="0">
                <a:pos x="0" y="7"/>
              </a:cxn>
              <a:cxn ang="0">
                <a:pos x="0" y="5"/>
              </a:cxn>
            </a:cxnLst>
            <a:rect l="0" t="0" r="r" b="b"/>
            <a:pathLst>
              <a:path w="3" h="11">
                <a:moveTo>
                  <a:pt x="0" y="5"/>
                </a:moveTo>
                <a:lnTo>
                  <a:pt x="0" y="2"/>
                </a:lnTo>
                <a:lnTo>
                  <a:pt x="1" y="0"/>
                </a:lnTo>
                <a:lnTo>
                  <a:pt x="1" y="2"/>
                </a:lnTo>
                <a:lnTo>
                  <a:pt x="3" y="10"/>
                </a:lnTo>
                <a:lnTo>
                  <a:pt x="3" y="11"/>
                </a:lnTo>
                <a:lnTo>
                  <a:pt x="1" y="8"/>
                </a:lnTo>
                <a:lnTo>
                  <a:pt x="0" y="7"/>
                </a:lnTo>
                <a:lnTo>
                  <a:pt x="0" y="5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74" name="Freeform 897"/>
          <p:cNvSpPr>
            <a:spLocks/>
          </p:cNvSpPr>
          <p:nvPr/>
        </p:nvSpPr>
        <p:spPr bwMode="auto">
          <a:xfrm>
            <a:off x="9283630" y="3974873"/>
            <a:ext cx="3898" cy="21476"/>
          </a:xfrm>
          <a:custGeom>
            <a:avLst/>
            <a:gdLst/>
            <a:ahLst/>
            <a:cxnLst>
              <a:cxn ang="0">
                <a:pos x="0" y="5"/>
              </a:cxn>
              <a:cxn ang="0">
                <a:pos x="0" y="2"/>
              </a:cxn>
              <a:cxn ang="0">
                <a:pos x="1" y="0"/>
              </a:cxn>
              <a:cxn ang="0">
                <a:pos x="1" y="2"/>
              </a:cxn>
              <a:cxn ang="0">
                <a:pos x="3" y="10"/>
              </a:cxn>
              <a:cxn ang="0">
                <a:pos x="3" y="11"/>
              </a:cxn>
              <a:cxn ang="0">
                <a:pos x="1" y="8"/>
              </a:cxn>
              <a:cxn ang="0">
                <a:pos x="0" y="7"/>
              </a:cxn>
              <a:cxn ang="0">
                <a:pos x="0" y="5"/>
              </a:cxn>
            </a:cxnLst>
            <a:rect l="0" t="0" r="r" b="b"/>
            <a:pathLst>
              <a:path w="3" h="11">
                <a:moveTo>
                  <a:pt x="0" y="5"/>
                </a:moveTo>
                <a:lnTo>
                  <a:pt x="0" y="2"/>
                </a:lnTo>
                <a:lnTo>
                  <a:pt x="1" y="0"/>
                </a:lnTo>
                <a:lnTo>
                  <a:pt x="1" y="2"/>
                </a:lnTo>
                <a:lnTo>
                  <a:pt x="3" y="10"/>
                </a:lnTo>
                <a:lnTo>
                  <a:pt x="3" y="11"/>
                </a:lnTo>
                <a:lnTo>
                  <a:pt x="1" y="8"/>
                </a:lnTo>
                <a:lnTo>
                  <a:pt x="0" y="7"/>
                </a:lnTo>
                <a:lnTo>
                  <a:pt x="0" y="5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75" name="Freeform 898"/>
          <p:cNvSpPr>
            <a:spLocks/>
          </p:cNvSpPr>
          <p:nvPr/>
        </p:nvSpPr>
        <p:spPr bwMode="auto">
          <a:xfrm>
            <a:off x="9297272" y="3992053"/>
            <a:ext cx="1949" cy="429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2"/>
              </a:cxn>
              <a:cxn ang="0">
                <a:pos x="1" y="3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1" h="3">
                <a:moveTo>
                  <a:pt x="0" y="0"/>
                </a:moveTo>
                <a:lnTo>
                  <a:pt x="1" y="2"/>
                </a:lnTo>
                <a:lnTo>
                  <a:pt x="1" y="3"/>
                </a:ln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76" name="Freeform 899"/>
          <p:cNvSpPr>
            <a:spLocks/>
          </p:cNvSpPr>
          <p:nvPr/>
        </p:nvSpPr>
        <p:spPr bwMode="auto">
          <a:xfrm>
            <a:off x="9297272" y="3992053"/>
            <a:ext cx="1949" cy="429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2"/>
              </a:cxn>
              <a:cxn ang="0">
                <a:pos x="1" y="3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1" h="3">
                <a:moveTo>
                  <a:pt x="0" y="0"/>
                </a:moveTo>
                <a:lnTo>
                  <a:pt x="1" y="2"/>
                </a:lnTo>
                <a:lnTo>
                  <a:pt x="1" y="3"/>
                </a:lnTo>
                <a:lnTo>
                  <a:pt x="0" y="2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77" name="Freeform 900"/>
          <p:cNvSpPr>
            <a:spLocks/>
          </p:cNvSpPr>
          <p:nvPr/>
        </p:nvSpPr>
        <p:spPr bwMode="auto">
          <a:xfrm>
            <a:off x="9219318" y="3949101"/>
            <a:ext cx="21438" cy="64428"/>
          </a:xfrm>
          <a:custGeom>
            <a:avLst/>
            <a:gdLst/>
            <a:ahLst/>
            <a:cxnLst>
              <a:cxn ang="0">
                <a:pos x="9" y="0"/>
              </a:cxn>
              <a:cxn ang="0">
                <a:pos x="10" y="0"/>
              </a:cxn>
              <a:cxn ang="0">
                <a:pos x="10" y="2"/>
              </a:cxn>
              <a:cxn ang="0">
                <a:pos x="10" y="3"/>
              </a:cxn>
              <a:cxn ang="0">
                <a:pos x="10" y="11"/>
              </a:cxn>
              <a:cxn ang="0">
                <a:pos x="10" y="14"/>
              </a:cxn>
              <a:cxn ang="0">
                <a:pos x="6" y="17"/>
              </a:cxn>
              <a:cxn ang="0">
                <a:pos x="4" y="24"/>
              </a:cxn>
              <a:cxn ang="0">
                <a:pos x="3" y="27"/>
              </a:cxn>
              <a:cxn ang="0">
                <a:pos x="3" y="30"/>
              </a:cxn>
              <a:cxn ang="0">
                <a:pos x="1" y="32"/>
              </a:cxn>
              <a:cxn ang="0">
                <a:pos x="0" y="28"/>
              </a:cxn>
              <a:cxn ang="0">
                <a:pos x="0" y="24"/>
              </a:cxn>
              <a:cxn ang="0">
                <a:pos x="3" y="17"/>
              </a:cxn>
              <a:cxn ang="0">
                <a:pos x="5" y="13"/>
              </a:cxn>
              <a:cxn ang="0">
                <a:pos x="8" y="6"/>
              </a:cxn>
              <a:cxn ang="0">
                <a:pos x="9" y="2"/>
              </a:cxn>
              <a:cxn ang="0">
                <a:pos x="9" y="0"/>
              </a:cxn>
            </a:cxnLst>
            <a:rect l="0" t="0" r="r" b="b"/>
            <a:pathLst>
              <a:path w="10" h="32">
                <a:moveTo>
                  <a:pt x="9" y="0"/>
                </a:moveTo>
                <a:lnTo>
                  <a:pt x="10" y="0"/>
                </a:lnTo>
                <a:lnTo>
                  <a:pt x="10" y="2"/>
                </a:lnTo>
                <a:lnTo>
                  <a:pt x="10" y="3"/>
                </a:lnTo>
                <a:lnTo>
                  <a:pt x="10" y="11"/>
                </a:lnTo>
                <a:lnTo>
                  <a:pt x="10" y="14"/>
                </a:lnTo>
                <a:lnTo>
                  <a:pt x="6" y="17"/>
                </a:lnTo>
                <a:lnTo>
                  <a:pt x="4" y="24"/>
                </a:lnTo>
                <a:lnTo>
                  <a:pt x="3" y="27"/>
                </a:lnTo>
                <a:lnTo>
                  <a:pt x="3" y="30"/>
                </a:lnTo>
                <a:lnTo>
                  <a:pt x="1" y="32"/>
                </a:lnTo>
                <a:lnTo>
                  <a:pt x="0" y="28"/>
                </a:lnTo>
                <a:lnTo>
                  <a:pt x="0" y="24"/>
                </a:lnTo>
                <a:lnTo>
                  <a:pt x="3" y="17"/>
                </a:lnTo>
                <a:lnTo>
                  <a:pt x="5" y="13"/>
                </a:lnTo>
                <a:lnTo>
                  <a:pt x="8" y="6"/>
                </a:lnTo>
                <a:lnTo>
                  <a:pt x="9" y="2"/>
                </a:lnTo>
                <a:lnTo>
                  <a:pt x="9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78" name="Freeform 901"/>
          <p:cNvSpPr>
            <a:spLocks/>
          </p:cNvSpPr>
          <p:nvPr/>
        </p:nvSpPr>
        <p:spPr bwMode="auto">
          <a:xfrm>
            <a:off x="9219318" y="3949101"/>
            <a:ext cx="21438" cy="64428"/>
          </a:xfrm>
          <a:custGeom>
            <a:avLst/>
            <a:gdLst/>
            <a:ahLst/>
            <a:cxnLst>
              <a:cxn ang="0">
                <a:pos x="9" y="0"/>
              </a:cxn>
              <a:cxn ang="0">
                <a:pos x="10" y="0"/>
              </a:cxn>
              <a:cxn ang="0">
                <a:pos x="10" y="2"/>
              </a:cxn>
              <a:cxn ang="0">
                <a:pos x="10" y="3"/>
              </a:cxn>
              <a:cxn ang="0">
                <a:pos x="10" y="11"/>
              </a:cxn>
              <a:cxn ang="0">
                <a:pos x="10" y="14"/>
              </a:cxn>
              <a:cxn ang="0">
                <a:pos x="6" y="17"/>
              </a:cxn>
              <a:cxn ang="0">
                <a:pos x="4" y="24"/>
              </a:cxn>
              <a:cxn ang="0">
                <a:pos x="3" y="27"/>
              </a:cxn>
              <a:cxn ang="0">
                <a:pos x="3" y="30"/>
              </a:cxn>
              <a:cxn ang="0">
                <a:pos x="1" y="32"/>
              </a:cxn>
              <a:cxn ang="0">
                <a:pos x="0" y="28"/>
              </a:cxn>
              <a:cxn ang="0">
                <a:pos x="0" y="24"/>
              </a:cxn>
              <a:cxn ang="0">
                <a:pos x="3" y="17"/>
              </a:cxn>
              <a:cxn ang="0">
                <a:pos x="5" y="13"/>
              </a:cxn>
              <a:cxn ang="0">
                <a:pos x="8" y="6"/>
              </a:cxn>
              <a:cxn ang="0">
                <a:pos x="9" y="2"/>
              </a:cxn>
              <a:cxn ang="0">
                <a:pos x="9" y="0"/>
              </a:cxn>
            </a:cxnLst>
            <a:rect l="0" t="0" r="r" b="b"/>
            <a:pathLst>
              <a:path w="10" h="32">
                <a:moveTo>
                  <a:pt x="9" y="0"/>
                </a:moveTo>
                <a:lnTo>
                  <a:pt x="10" y="0"/>
                </a:lnTo>
                <a:lnTo>
                  <a:pt x="10" y="2"/>
                </a:lnTo>
                <a:lnTo>
                  <a:pt x="10" y="3"/>
                </a:lnTo>
                <a:lnTo>
                  <a:pt x="10" y="11"/>
                </a:lnTo>
                <a:lnTo>
                  <a:pt x="10" y="14"/>
                </a:lnTo>
                <a:lnTo>
                  <a:pt x="6" y="17"/>
                </a:lnTo>
                <a:lnTo>
                  <a:pt x="4" y="24"/>
                </a:lnTo>
                <a:lnTo>
                  <a:pt x="3" y="27"/>
                </a:lnTo>
                <a:lnTo>
                  <a:pt x="3" y="30"/>
                </a:lnTo>
                <a:lnTo>
                  <a:pt x="1" y="32"/>
                </a:lnTo>
                <a:lnTo>
                  <a:pt x="0" y="28"/>
                </a:lnTo>
                <a:lnTo>
                  <a:pt x="0" y="24"/>
                </a:lnTo>
                <a:lnTo>
                  <a:pt x="3" y="17"/>
                </a:lnTo>
                <a:lnTo>
                  <a:pt x="5" y="13"/>
                </a:lnTo>
                <a:lnTo>
                  <a:pt x="8" y="6"/>
                </a:lnTo>
                <a:lnTo>
                  <a:pt x="9" y="2"/>
                </a:lnTo>
                <a:lnTo>
                  <a:pt x="9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GB" kern="0" dirty="0">
              <a:solidFill>
                <a:prstClr val="white"/>
              </a:solidFill>
            </a:endParaRPr>
          </a:p>
        </p:txBody>
      </p:sp>
      <p:sp>
        <p:nvSpPr>
          <p:cNvPr id="979" name="Freeform 902"/>
          <p:cNvSpPr>
            <a:spLocks/>
          </p:cNvSpPr>
          <p:nvPr/>
        </p:nvSpPr>
        <p:spPr bwMode="auto">
          <a:xfrm>
            <a:off x="9234909" y="3985609"/>
            <a:ext cx="21438" cy="17181"/>
          </a:xfrm>
          <a:custGeom>
            <a:avLst/>
            <a:gdLst/>
            <a:ahLst/>
            <a:cxnLst>
              <a:cxn ang="0">
                <a:pos x="0" y="6"/>
              </a:cxn>
              <a:cxn ang="0">
                <a:pos x="0" y="5"/>
              </a:cxn>
              <a:cxn ang="0">
                <a:pos x="1" y="3"/>
              </a:cxn>
              <a:cxn ang="0">
                <a:pos x="2" y="2"/>
              </a:cxn>
              <a:cxn ang="0">
                <a:pos x="5" y="0"/>
              </a:cxn>
              <a:cxn ang="0">
                <a:pos x="8" y="2"/>
              </a:cxn>
              <a:cxn ang="0">
                <a:pos x="10" y="0"/>
              </a:cxn>
              <a:cxn ang="0">
                <a:pos x="10" y="5"/>
              </a:cxn>
              <a:cxn ang="0">
                <a:pos x="10" y="6"/>
              </a:cxn>
              <a:cxn ang="0">
                <a:pos x="10" y="8"/>
              </a:cxn>
              <a:cxn ang="0">
                <a:pos x="9" y="9"/>
              </a:cxn>
              <a:cxn ang="0">
                <a:pos x="5" y="9"/>
              </a:cxn>
              <a:cxn ang="0">
                <a:pos x="1" y="9"/>
              </a:cxn>
              <a:cxn ang="0">
                <a:pos x="0" y="8"/>
              </a:cxn>
              <a:cxn ang="0">
                <a:pos x="0" y="6"/>
              </a:cxn>
            </a:cxnLst>
            <a:rect l="0" t="0" r="r" b="b"/>
            <a:pathLst>
              <a:path w="10" h="9">
                <a:moveTo>
                  <a:pt x="0" y="6"/>
                </a:moveTo>
                <a:lnTo>
                  <a:pt x="0" y="5"/>
                </a:lnTo>
                <a:lnTo>
                  <a:pt x="1" y="3"/>
                </a:lnTo>
                <a:lnTo>
                  <a:pt x="2" y="2"/>
                </a:lnTo>
                <a:lnTo>
                  <a:pt x="5" y="0"/>
                </a:lnTo>
                <a:lnTo>
                  <a:pt x="8" y="2"/>
                </a:lnTo>
                <a:lnTo>
                  <a:pt x="10" y="0"/>
                </a:lnTo>
                <a:lnTo>
                  <a:pt x="10" y="5"/>
                </a:lnTo>
                <a:lnTo>
                  <a:pt x="10" y="6"/>
                </a:lnTo>
                <a:lnTo>
                  <a:pt x="10" y="8"/>
                </a:lnTo>
                <a:lnTo>
                  <a:pt x="9" y="9"/>
                </a:lnTo>
                <a:lnTo>
                  <a:pt x="5" y="9"/>
                </a:lnTo>
                <a:lnTo>
                  <a:pt x="1" y="9"/>
                </a:lnTo>
                <a:lnTo>
                  <a:pt x="0" y="8"/>
                </a:lnTo>
                <a:lnTo>
                  <a:pt x="0" y="6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80" name="Freeform 903"/>
          <p:cNvSpPr>
            <a:spLocks/>
          </p:cNvSpPr>
          <p:nvPr/>
        </p:nvSpPr>
        <p:spPr bwMode="auto">
          <a:xfrm>
            <a:off x="9234909" y="3985609"/>
            <a:ext cx="21438" cy="17181"/>
          </a:xfrm>
          <a:custGeom>
            <a:avLst/>
            <a:gdLst/>
            <a:ahLst/>
            <a:cxnLst>
              <a:cxn ang="0">
                <a:pos x="0" y="6"/>
              </a:cxn>
              <a:cxn ang="0">
                <a:pos x="0" y="5"/>
              </a:cxn>
              <a:cxn ang="0">
                <a:pos x="1" y="3"/>
              </a:cxn>
              <a:cxn ang="0">
                <a:pos x="2" y="2"/>
              </a:cxn>
              <a:cxn ang="0">
                <a:pos x="5" y="0"/>
              </a:cxn>
              <a:cxn ang="0">
                <a:pos x="8" y="2"/>
              </a:cxn>
              <a:cxn ang="0">
                <a:pos x="10" y="0"/>
              </a:cxn>
              <a:cxn ang="0">
                <a:pos x="10" y="5"/>
              </a:cxn>
              <a:cxn ang="0">
                <a:pos x="10" y="6"/>
              </a:cxn>
              <a:cxn ang="0">
                <a:pos x="10" y="8"/>
              </a:cxn>
              <a:cxn ang="0">
                <a:pos x="9" y="9"/>
              </a:cxn>
              <a:cxn ang="0">
                <a:pos x="5" y="9"/>
              </a:cxn>
              <a:cxn ang="0">
                <a:pos x="1" y="9"/>
              </a:cxn>
              <a:cxn ang="0">
                <a:pos x="0" y="8"/>
              </a:cxn>
              <a:cxn ang="0">
                <a:pos x="0" y="6"/>
              </a:cxn>
            </a:cxnLst>
            <a:rect l="0" t="0" r="r" b="b"/>
            <a:pathLst>
              <a:path w="10" h="9">
                <a:moveTo>
                  <a:pt x="0" y="6"/>
                </a:moveTo>
                <a:lnTo>
                  <a:pt x="0" y="5"/>
                </a:lnTo>
                <a:lnTo>
                  <a:pt x="1" y="3"/>
                </a:lnTo>
                <a:lnTo>
                  <a:pt x="2" y="2"/>
                </a:lnTo>
                <a:lnTo>
                  <a:pt x="5" y="0"/>
                </a:lnTo>
                <a:lnTo>
                  <a:pt x="8" y="2"/>
                </a:lnTo>
                <a:lnTo>
                  <a:pt x="10" y="0"/>
                </a:lnTo>
                <a:lnTo>
                  <a:pt x="10" y="5"/>
                </a:lnTo>
                <a:lnTo>
                  <a:pt x="10" y="6"/>
                </a:lnTo>
                <a:lnTo>
                  <a:pt x="10" y="8"/>
                </a:lnTo>
                <a:lnTo>
                  <a:pt x="9" y="9"/>
                </a:lnTo>
                <a:lnTo>
                  <a:pt x="5" y="9"/>
                </a:lnTo>
                <a:lnTo>
                  <a:pt x="1" y="9"/>
                </a:lnTo>
                <a:lnTo>
                  <a:pt x="0" y="8"/>
                </a:lnTo>
                <a:lnTo>
                  <a:pt x="0" y="6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GB" kern="0" dirty="0">
              <a:solidFill>
                <a:prstClr val="white"/>
              </a:solidFill>
            </a:endParaRPr>
          </a:p>
        </p:txBody>
      </p:sp>
      <p:sp>
        <p:nvSpPr>
          <p:cNvPr id="981" name="Freeform 904"/>
          <p:cNvSpPr>
            <a:spLocks/>
          </p:cNvSpPr>
          <p:nvPr/>
        </p:nvSpPr>
        <p:spPr bwMode="auto">
          <a:xfrm>
            <a:off x="9180343" y="4002790"/>
            <a:ext cx="134470" cy="146038"/>
          </a:xfrm>
          <a:custGeom>
            <a:avLst/>
            <a:gdLst/>
            <a:ahLst/>
            <a:cxnLst>
              <a:cxn ang="0">
                <a:pos x="55" y="0"/>
              </a:cxn>
              <a:cxn ang="0">
                <a:pos x="58" y="5"/>
              </a:cxn>
              <a:cxn ang="0">
                <a:pos x="63" y="8"/>
              </a:cxn>
              <a:cxn ang="0">
                <a:pos x="66" y="14"/>
              </a:cxn>
              <a:cxn ang="0">
                <a:pos x="63" y="20"/>
              </a:cxn>
              <a:cxn ang="0">
                <a:pos x="66" y="27"/>
              </a:cxn>
              <a:cxn ang="0">
                <a:pos x="67" y="33"/>
              </a:cxn>
              <a:cxn ang="0">
                <a:pos x="70" y="39"/>
              </a:cxn>
              <a:cxn ang="0">
                <a:pos x="67" y="49"/>
              </a:cxn>
              <a:cxn ang="0">
                <a:pos x="65" y="52"/>
              </a:cxn>
              <a:cxn ang="0">
                <a:pos x="63" y="58"/>
              </a:cxn>
              <a:cxn ang="0">
                <a:pos x="62" y="49"/>
              </a:cxn>
              <a:cxn ang="0">
                <a:pos x="59" y="42"/>
              </a:cxn>
              <a:cxn ang="0">
                <a:pos x="57" y="44"/>
              </a:cxn>
              <a:cxn ang="0">
                <a:pos x="51" y="55"/>
              </a:cxn>
              <a:cxn ang="0">
                <a:pos x="55" y="61"/>
              </a:cxn>
              <a:cxn ang="0">
                <a:pos x="57" y="66"/>
              </a:cxn>
              <a:cxn ang="0">
                <a:pos x="51" y="72"/>
              </a:cxn>
              <a:cxn ang="0">
                <a:pos x="50" y="66"/>
              </a:cxn>
              <a:cxn ang="0">
                <a:pos x="45" y="69"/>
              </a:cxn>
              <a:cxn ang="0">
                <a:pos x="37" y="64"/>
              </a:cxn>
              <a:cxn ang="0">
                <a:pos x="33" y="58"/>
              </a:cxn>
              <a:cxn ang="0">
                <a:pos x="31" y="52"/>
              </a:cxn>
              <a:cxn ang="0">
                <a:pos x="34" y="42"/>
              </a:cxn>
              <a:cxn ang="0">
                <a:pos x="31" y="38"/>
              </a:cxn>
              <a:cxn ang="0">
                <a:pos x="26" y="33"/>
              </a:cxn>
              <a:cxn ang="0">
                <a:pos x="22" y="38"/>
              </a:cxn>
              <a:cxn ang="0">
                <a:pos x="20" y="39"/>
              </a:cxn>
              <a:cxn ang="0">
                <a:pos x="18" y="36"/>
              </a:cxn>
              <a:cxn ang="0">
                <a:pos x="14" y="42"/>
              </a:cxn>
              <a:cxn ang="0">
                <a:pos x="13" y="36"/>
              </a:cxn>
              <a:cxn ang="0">
                <a:pos x="8" y="39"/>
              </a:cxn>
              <a:cxn ang="0">
                <a:pos x="2" y="50"/>
              </a:cxn>
              <a:cxn ang="0">
                <a:pos x="0" y="45"/>
              </a:cxn>
              <a:cxn ang="0">
                <a:pos x="2" y="33"/>
              </a:cxn>
              <a:cxn ang="0">
                <a:pos x="14" y="27"/>
              </a:cxn>
              <a:cxn ang="0">
                <a:pos x="17" y="22"/>
              </a:cxn>
              <a:cxn ang="0">
                <a:pos x="22" y="17"/>
              </a:cxn>
              <a:cxn ang="0">
                <a:pos x="29" y="25"/>
              </a:cxn>
              <a:cxn ang="0">
                <a:pos x="33" y="27"/>
              </a:cxn>
              <a:cxn ang="0">
                <a:pos x="38" y="20"/>
              </a:cxn>
              <a:cxn ang="0">
                <a:pos x="41" y="19"/>
              </a:cxn>
              <a:cxn ang="0">
                <a:pos x="43" y="14"/>
              </a:cxn>
              <a:cxn ang="0">
                <a:pos x="50" y="12"/>
              </a:cxn>
              <a:cxn ang="0">
                <a:pos x="53" y="12"/>
              </a:cxn>
              <a:cxn ang="0">
                <a:pos x="51" y="1"/>
              </a:cxn>
            </a:cxnLst>
            <a:rect l="0" t="0" r="r" b="b"/>
            <a:pathLst>
              <a:path w="70" h="74">
                <a:moveTo>
                  <a:pt x="51" y="0"/>
                </a:moveTo>
                <a:lnTo>
                  <a:pt x="55" y="0"/>
                </a:lnTo>
                <a:lnTo>
                  <a:pt x="57" y="3"/>
                </a:lnTo>
                <a:lnTo>
                  <a:pt x="58" y="5"/>
                </a:lnTo>
                <a:lnTo>
                  <a:pt x="61" y="8"/>
                </a:lnTo>
                <a:lnTo>
                  <a:pt x="63" y="8"/>
                </a:lnTo>
                <a:lnTo>
                  <a:pt x="63" y="11"/>
                </a:lnTo>
                <a:lnTo>
                  <a:pt x="66" y="14"/>
                </a:lnTo>
                <a:lnTo>
                  <a:pt x="66" y="16"/>
                </a:lnTo>
                <a:lnTo>
                  <a:pt x="63" y="20"/>
                </a:lnTo>
                <a:lnTo>
                  <a:pt x="66" y="22"/>
                </a:lnTo>
                <a:lnTo>
                  <a:pt x="66" y="27"/>
                </a:lnTo>
                <a:lnTo>
                  <a:pt x="67" y="27"/>
                </a:lnTo>
                <a:lnTo>
                  <a:pt x="67" y="33"/>
                </a:lnTo>
                <a:lnTo>
                  <a:pt x="69" y="36"/>
                </a:lnTo>
                <a:lnTo>
                  <a:pt x="70" y="39"/>
                </a:lnTo>
                <a:lnTo>
                  <a:pt x="69" y="45"/>
                </a:lnTo>
                <a:lnTo>
                  <a:pt x="67" y="49"/>
                </a:lnTo>
                <a:lnTo>
                  <a:pt x="66" y="49"/>
                </a:lnTo>
                <a:lnTo>
                  <a:pt x="65" y="52"/>
                </a:lnTo>
                <a:lnTo>
                  <a:pt x="65" y="60"/>
                </a:lnTo>
                <a:lnTo>
                  <a:pt x="63" y="58"/>
                </a:lnTo>
                <a:lnTo>
                  <a:pt x="62" y="53"/>
                </a:lnTo>
                <a:lnTo>
                  <a:pt x="62" y="49"/>
                </a:lnTo>
                <a:lnTo>
                  <a:pt x="61" y="45"/>
                </a:lnTo>
                <a:lnTo>
                  <a:pt x="59" y="42"/>
                </a:lnTo>
                <a:lnTo>
                  <a:pt x="58" y="42"/>
                </a:lnTo>
                <a:lnTo>
                  <a:pt x="57" y="44"/>
                </a:lnTo>
                <a:lnTo>
                  <a:pt x="53" y="50"/>
                </a:lnTo>
                <a:lnTo>
                  <a:pt x="51" y="55"/>
                </a:lnTo>
                <a:lnTo>
                  <a:pt x="54" y="58"/>
                </a:lnTo>
                <a:lnTo>
                  <a:pt x="55" y="61"/>
                </a:lnTo>
                <a:lnTo>
                  <a:pt x="57" y="64"/>
                </a:lnTo>
                <a:lnTo>
                  <a:pt x="57" y="66"/>
                </a:lnTo>
                <a:lnTo>
                  <a:pt x="53" y="74"/>
                </a:lnTo>
                <a:lnTo>
                  <a:pt x="51" y="72"/>
                </a:lnTo>
                <a:lnTo>
                  <a:pt x="50" y="67"/>
                </a:lnTo>
                <a:lnTo>
                  <a:pt x="50" y="66"/>
                </a:lnTo>
                <a:lnTo>
                  <a:pt x="47" y="67"/>
                </a:lnTo>
                <a:lnTo>
                  <a:pt x="45" y="69"/>
                </a:lnTo>
                <a:lnTo>
                  <a:pt x="42" y="67"/>
                </a:lnTo>
                <a:lnTo>
                  <a:pt x="37" y="64"/>
                </a:lnTo>
                <a:lnTo>
                  <a:pt x="34" y="61"/>
                </a:lnTo>
                <a:lnTo>
                  <a:pt x="33" y="58"/>
                </a:lnTo>
                <a:lnTo>
                  <a:pt x="33" y="55"/>
                </a:lnTo>
                <a:lnTo>
                  <a:pt x="31" y="52"/>
                </a:lnTo>
                <a:lnTo>
                  <a:pt x="31" y="49"/>
                </a:lnTo>
                <a:lnTo>
                  <a:pt x="34" y="42"/>
                </a:lnTo>
                <a:lnTo>
                  <a:pt x="34" y="41"/>
                </a:lnTo>
                <a:lnTo>
                  <a:pt x="31" y="38"/>
                </a:lnTo>
                <a:lnTo>
                  <a:pt x="29" y="34"/>
                </a:lnTo>
                <a:lnTo>
                  <a:pt x="26" y="33"/>
                </a:lnTo>
                <a:lnTo>
                  <a:pt x="25" y="33"/>
                </a:lnTo>
                <a:lnTo>
                  <a:pt x="22" y="38"/>
                </a:lnTo>
                <a:lnTo>
                  <a:pt x="22" y="39"/>
                </a:lnTo>
                <a:lnTo>
                  <a:pt x="20" y="39"/>
                </a:lnTo>
                <a:lnTo>
                  <a:pt x="18" y="39"/>
                </a:lnTo>
                <a:lnTo>
                  <a:pt x="18" y="36"/>
                </a:lnTo>
                <a:lnTo>
                  <a:pt x="16" y="41"/>
                </a:lnTo>
                <a:lnTo>
                  <a:pt x="14" y="42"/>
                </a:lnTo>
                <a:lnTo>
                  <a:pt x="13" y="39"/>
                </a:lnTo>
                <a:lnTo>
                  <a:pt x="13" y="36"/>
                </a:lnTo>
                <a:lnTo>
                  <a:pt x="10" y="36"/>
                </a:lnTo>
                <a:lnTo>
                  <a:pt x="8" y="39"/>
                </a:lnTo>
                <a:lnTo>
                  <a:pt x="4" y="49"/>
                </a:lnTo>
                <a:lnTo>
                  <a:pt x="2" y="50"/>
                </a:lnTo>
                <a:lnTo>
                  <a:pt x="1" y="50"/>
                </a:lnTo>
                <a:lnTo>
                  <a:pt x="0" y="45"/>
                </a:lnTo>
                <a:lnTo>
                  <a:pt x="2" y="39"/>
                </a:lnTo>
                <a:lnTo>
                  <a:pt x="2" y="33"/>
                </a:lnTo>
                <a:lnTo>
                  <a:pt x="6" y="30"/>
                </a:lnTo>
                <a:lnTo>
                  <a:pt x="14" y="27"/>
                </a:lnTo>
                <a:lnTo>
                  <a:pt x="16" y="23"/>
                </a:lnTo>
                <a:lnTo>
                  <a:pt x="17" y="22"/>
                </a:lnTo>
                <a:lnTo>
                  <a:pt x="20" y="20"/>
                </a:lnTo>
                <a:lnTo>
                  <a:pt x="22" y="17"/>
                </a:lnTo>
                <a:lnTo>
                  <a:pt x="26" y="20"/>
                </a:lnTo>
                <a:lnTo>
                  <a:pt x="29" y="25"/>
                </a:lnTo>
                <a:lnTo>
                  <a:pt x="26" y="30"/>
                </a:lnTo>
                <a:lnTo>
                  <a:pt x="33" y="27"/>
                </a:lnTo>
                <a:lnTo>
                  <a:pt x="34" y="22"/>
                </a:lnTo>
                <a:lnTo>
                  <a:pt x="38" y="20"/>
                </a:lnTo>
                <a:lnTo>
                  <a:pt x="39" y="20"/>
                </a:lnTo>
                <a:lnTo>
                  <a:pt x="41" y="19"/>
                </a:lnTo>
                <a:lnTo>
                  <a:pt x="42" y="16"/>
                </a:lnTo>
                <a:lnTo>
                  <a:pt x="43" y="14"/>
                </a:lnTo>
                <a:lnTo>
                  <a:pt x="46" y="14"/>
                </a:lnTo>
                <a:lnTo>
                  <a:pt x="50" y="12"/>
                </a:lnTo>
                <a:lnTo>
                  <a:pt x="51" y="14"/>
                </a:lnTo>
                <a:lnTo>
                  <a:pt x="53" y="12"/>
                </a:lnTo>
                <a:lnTo>
                  <a:pt x="53" y="8"/>
                </a:lnTo>
                <a:lnTo>
                  <a:pt x="51" y="1"/>
                </a:lnTo>
                <a:lnTo>
                  <a:pt x="51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82" name="Freeform 905"/>
          <p:cNvSpPr>
            <a:spLocks/>
          </p:cNvSpPr>
          <p:nvPr/>
        </p:nvSpPr>
        <p:spPr bwMode="auto">
          <a:xfrm>
            <a:off x="9180343" y="4002790"/>
            <a:ext cx="134470" cy="146038"/>
          </a:xfrm>
          <a:custGeom>
            <a:avLst/>
            <a:gdLst/>
            <a:ahLst/>
            <a:cxnLst>
              <a:cxn ang="0">
                <a:pos x="55" y="0"/>
              </a:cxn>
              <a:cxn ang="0">
                <a:pos x="58" y="5"/>
              </a:cxn>
              <a:cxn ang="0">
                <a:pos x="63" y="8"/>
              </a:cxn>
              <a:cxn ang="0">
                <a:pos x="66" y="14"/>
              </a:cxn>
              <a:cxn ang="0">
                <a:pos x="63" y="20"/>
              </a:cxn>
              <a:cxn ang="0">
                <a:pos x="66" y="27"/>
              </a:cxn>
              <a:cxn ang="0">
                <a:pos x="67" y="33"/>
              </a:cxn>
              <a:cxn ang="0">
                <a:pos x="70" y="39"/>
              </a:cxn>
              <a:cxn ang="0">
                <a:pos x="67" y="49"/>
              </a:cxn>
              <a:cxn ang="0">
                <a:pos x="65" y="52"/>
              </a:cxn>
              <a:cxn ang="0">
                <a:pos x="63" y="58"/>
              </a:cxn>
              <a:cxn ang="0">
                <a:pos x="62" y="49"/>
              </a:cxn>
              <a:cxn ang="0">
                <a:pos x="59" y="42"/>
              </a:cxn>
              <a:cxn ang="0">
                <a:pos x="57" y="44"/>
              </a:cxn>
              <a:cxn ang="0">
                <a:pos x="51" y="55"/>
              </a:cxn>
              <a:cxn ang="0">
                <a:pos x="55" y="61"/>
              </a:cxn>
              <a:cxn ang="0">
                <a:pos x="57" y="66"/>
              </a:cxn>
              <a:cxn ang="0">
                <a:pos x="51" y="72"/>
              </a:cxn>
              <a:cxn ang="0">
                <a:pos x="50" y="66"/>
              </a:cxn>
              <a:cxn ang="0">
                <a:pos x="45" y="69"/>
              </a:cxn>
              <a:cxn ang="0">
                <a:pos x="37" y="64"/>
              </a:cxn>
              <a:cxn ang="0">
                <a:pos x="33" y="58"/>
              </a:cxn>
              <a:cxn ang="0">
                <a:pos x="31" y="52"/>
              </a:cxn>
              <a:cxn ang="0">
                <a:pos x="34" y="42"/>
              </a:cxn>
              <a:cxn ang="0">
                <a:pos x="31" y="38"/>
              </a:cxn>
              <a:cxn ang="0">
                <a:pos x="26" y="33"/>
              </a:cxn>
              <a:cxn ang="0">
                <a:pos x="22" y="38"/>
              </a:cxn>
              <a:cxn ang="0">
                <a:pos x="20" y="39"/>
              </a:cxn>
              <a:cxn ang="0">
                <a:pos x="18" y="36"/>
              </a:cxn>
              <a:cxn ang="0">
                <a:pos x="14" y="42"/>
              </a:cxn>
              <a:cxn ang="0">
                <a:pos x="13" y="36"/>
              </a:cxn>
              <a:cxn ang="0">
                <a:pos x="8" y="39"/>
              </a:cxn>
              <a:cxn ang="0">
                <a:pos x="2" y="50"/>
              </a:cxn>
              <a:cxn ang="0">
                <a:pos x="0" y="45"/>
              </a:cxn>
              <a:cxn ang="0">
                <a:pos x="2" y="33"/>
              </a:cxn>
              <a:cxn ang="0">
                <a:pos x="14" y="27"/>
              </a:cxn>
              <a:cxn ang="0">
                <a:pos x="17" y="22"/>
              </a:cxn>
              <a:cxn ang="0">
                <a:pos x="22" y="17"/>
              </a:cxn>
              <a:cxn ang="0">
                <a:pos x="29" y="25"/>
              </a:cxn>
              <a:cxn ang="0">
                <a:pos x="33" y="27"/>
              </a:cxn>
              <a:cxn ang="0">
                <a:pos x="38" y="20"/>
              </a:cxn>
              <a:cxn ang="0">
                <a:pos x="41" y="19"/>
              </a:cxn>
              <a:cxn ang="0">
                <a:pos x="43" y="14"/>
              </a:cxn>
              <a:cxn ang="0">
                <a:pos x="50" y="12"/>
              </a:cxn>
              <a:cxn ang="0">
                <a:pos x="53" y="12"/>
              </a:cxn>
              <a:cxn ang="0">
                <a:pos x="51" y="1"/>
              </a:cxn>
            </a:cxnLst>
            <a:rect l="0" t="0" r="r" b="b"/>
            <a:pathLst>
              <a:path w="70" h="74">
                <a:moveTo>
                  <a:pt x="51" y="0"/>
                </a:moveTo>
                <a:lnTo>
                  <a:pt x="55" y="0"/>
                </a:lnTo>
                <a:lnTo>
                  <a:pt x="57" y="3"/>
                </a:lnTo>
                <a:lnTo>
                  <a:pt x="58" y="5"/>
                </a:lnTo>
                <a:lnTo>
                  <a:pt x="61" y="8"/>
                </a:lnTo>
                <a:lnTo>
                  <a:pt x="63" y="8"/>
                </a:lnTo>
                <a:lnTo>
                  <a:pt x="63" y="11"/>
                </a:lnTo>
                <a:lnTo>
                  <a:pt x="66" y="14"/>
                </a:lnTo>
                <a:lnTo>
                  <a:pt x="66" y="16"/>
                </a:lnTo>
                <a:lnTo>
                  <a:pt x="63" y="20"/>
                </a:lnTo>
                <a:lnTo>
                  <a:pt x="66" y="22"/>
                </a:lnTo>
                <a:lnTo>
                  <a:pt x="66" y="27"/>
                </a:lnTo>
                <a:lnTo>
                  <a:pt x="67" y="27"/>
                </a:lnTo>
                <a:lnTo>
                  <a:pt x="67" y="33"/>
                </a:lnTo>
                <a:lnTo>
                  <a:pt x="69" y="36"/>
                </a:lnTo>
                <a:lnTo>
                  <a:pt x="70" y="39"/>
                </a:lnTo>
                <a:lnTo>
                  <a:pt x="69" y="45"/>
                </a:lnTo>
                <a:lnTo>
                  <a:pt x="67" y="49"/>
                </a:lnTo>
                <a:lnTo>
                  <a:pt x="66" y="49"/>
                </a:lnTo>
                <a:lnTo>
                  <a:pt x="65" y="52"/>
                </a:lnTo>
                <a:lnTo>
                  <a:pt x="65" y="60"/>
                </a:lnTo>
                <a:lnTo>
                  <a:pt x="63" y="58"/>
                </a:lnTo>
                <a:lnTo>
                  <a:pt x="62" y="53"/>
                </a:lnTo>
                <a:lnTo>
                  <a:pt x="62" y="49"/>
                </a:lnTo>
                <a:lnTo>
                  <a:pt x="61" y="45"/>
                </a:lnTo>
                <a:lnTo>
                  <a:pt x="59" y="42"/>
                </a:lnTo>
                <a:lnTo>
                  <a:pt x="58" y="42"/>
                </a:lnTo>
                <a:lnTo>
                  <a:pt x="57" y="44"/>
                </a:lnTo>
                <a:lnTo>
                  <a:pt x="53" y="50"/>
                </a:lnTo>
                <a:lnTo>
                  <a:pt x="51" y="55"/>
                </a:lnTo>
                <a:lnTo>
                  <a:pt x="54" y="58"/>
                </a:lnTo>
                <a:lnTo>
                  <a:pt x="55" y="61"/>
                </a:lnTo>
                <a:lnTo>
                  <a:pt x="57" y="64"/>
                </a:lnTo>
                <a:lnTo>
                  <a:pt x="57" y="66"/>
                </a:lnTo>
                <a:lnTo>
                  <a:pt x="53" y="74"/>
                </a:lnTo>
                <a:lnTo>
                  <a:pt x="51" y="72"/>
                </a:lnTo>
                <a:lnTo>
                  <a:pt x="50" y="67"/>
                </a:lnTo>
                <a:lnTo>
                  <a:pt x="50" y="66"/>
                </a:lnTo>
                <a:lnTo>
                  <a:pt x="47" y="67"/>
                </a:lnTo>
                <a:lnTo>
                  <a:pt x="45" y="69"/>
                </a:lnTo>
                <a:lnTo>
                  <a:pt x="42" y="67"/>
                </a:lnTo>
                <a:lnTo>
                  <a:pt x="37" y="64"/>
                </a:lnTo>
                <a:lnTo>
                  <a:pt x="34" y="61"/>
                </a:lnTo>
                <a:lnTo>
                  <a:pt x="33" y="58"/>
                </a:lnTo>
                <a:lnTo>
                  <a:pt x="33" y="55"/>
                </a:lnTo>
                <a:lnTo>
                  <a:pt x="31" y="52"/>
                </a:lnTo>
                <a:lnTo>
                  <a:pt x="31" y="49"/>
                </a:lnTo>
                <a:lnTo>
                  <a:pt x="34" y="42"/>
                </a:lnTo>
                <a:lnTo>
                  <a:pt x="34" y="41"/>
                </a:lnTo>
                <a:lnTo>
                  <a:pt x="31" y="38"/>
                </a:lnTo>
                <a:lnTo>
                  <a:pt x="29" y="34"/>
                </a:lnTo>
                <a:lnTo>
                  <a:pt x="26" y="33"/>
                </a:lnTo>
                <a:lnTo>
                  <a:pt x="25" y="33"/>
                </a:lnTo>
                <a:lnTo>
                  <a:pt x="22" y="38"/>
                </a:lnTo>
                <a:lnTo>
                  <a:pt x="22" y="39"/>
                </a:lnTo>
                <a:lnTo>
                  <a:pt x="20" y="39"/>
                </a:lnTo>
                <a:lnTo>
                  <a:pt x="18" y="39"/>
                </a:lnTo>
                <a:lnTo>
                  <a:pt x="18" y="36"/>
                </a:lnTo>
                <a:lnTo>
                  <a:pt x="16" y="41"/>
                </a:lnTo>
                <a:lnTo>
                  <a:pt x="14" y="42"/>
                </a:lnTo>
                <a:lnTo>
                  <a:pt x="13" y="39"/>
                </a:lnTo>
                <a:lnTo>
                  <a:pt x="13" y="36"/>
                </a:lnTo>
                <a:lnTo>
                  <a:pt x="10" y="36"/>
                </a:lnTo>
                <a:lnTo>
                  <a:pt x="8" y="39"/>
                </a:lnTo>
                <a:lnTo>
                  <a:pt x="4" y="49"/>
                </a:lnTo>
                <a:lnTo>
                  <a:pt x="2" y="50"/>
                </a:lnTo>
                <a:lnTo>
                  <a:pt x="1" y="50"/>
                </a:lnTo>
                <a:lnTo>
                  <a:pt x="0" y="45"/>
                </a:lnTo>
                <a:lnTo>
                  <a:pt x="2" y="39"/>
                </a:lnTo>
                <a:lnTo>
                  <a:pt x="2" y="33"/>
                </a:lnTo>
                <a:lnTo>
                  <a:pt x="6" y="30"/>
                </a:lnTo>
                <a:lnTo>
                  <a:pt x="14" y="27"/>
                </a:lnTo>
                <a:lnTo>
                  <a:pt x="16" y="23"/>
                </a:lnTo>
                <a:lnTo>
                  <a:pt x="17" y="22"/>
                </a:lnTo>
                <a:lnTo>
                  <a:pt x="20" y="20"/>
                </a:lnTo>
                <a:lnTo>
                  <a:pt x="22" y="17"/>
                </a:lnTo>
                <a:lnTo>
                  <a:pt x="26" y="20"/>
                </a:lnTo>
                <a:lnTo>
                  <a:pt x="29" y="25"/>
                </a:lnTo>
                <a:lnTo>
                  <a:pt x="26" y="30"/>
                </a:lnTo>
                <a:lnTo>
                  <a:pt x="33" y="27"/>
                </a:lnTo>
                <a:lnTo>
                  <a:pt x="34" y="22"/>
                </a:lnTo>
                <a:lnTo>
                  <a:pt x="38" y="20"/>
                </a:lnTo>
                <a:lnTo>
                  <a:pt x="39" y="20"/>
                </a:lnTo>
                <a:lnTo>
                  <a:pt x="41" y="19"/>
                </a:lnTo>
                <a:lnTo>
                  <a:pt x="42" y="16"/>
                </a:lnTo>
                <a:lnTo>
                  <a:pt x="43" y="14"/>
                </a:lnTo>
                <a:lnTo>
                  <a:pt x="46" y="14"/>
                </a:lnTo>
                <a:lnTo>
                  <a:pt x="50" y="12"/>
                </a:lnTo>
                <a:lnTo>
                  <a:pt x="51" y="14"/>
                </a:lnTo>
                <a:lnTo>
                  <a:pt x="53" y="12"/>
                </a:lnTo>
                <a:lnTo>
                  <a:pt x="53" y="8"/>
                </a:lnTo>
                <a:lnTo>
                  <a:pt x="51" y="1"/>
                </a:lnTo>
                <a:lnTo>
                  <a:pt x="51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GB" kern="0" dirty="0">
              <a:solidFill>
                <a:prstClr val="white"/>
              </a:solidFill>
            </a:endParaRPr>
          </a:p>
        </p:txBody>
      </p:sp>
      <p:sp>
        <p:nvSpPr>
          <p:cNvPr id="983" name="Freeform 906"/>
          <p:cNvSpPr>
            <a:spLocks/>
          </p:cNvSpPr>
          <p:nvPr/>
        </p:nvSpPr>
        <p:spPr bwMode="auto">
          <a:xfrm>
            <a:off x="9176446" y="4105875"/>
            <a:ext cx="13642" cy="10739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0"/>
              </a:cxn>
              <a:cxn ang="0">
                <a:pos x="3" y="0"/>
              </a:cxn>
              <a:cxn ang="0">
                <a:pos x="7" y="2"/>
              </a:cxn>
              <a:cxn ang="0">
                <a:pos x="6" y="5"/>
              </a:cxn>
              <a:cxn ang="0">
                <a:pos x="3" y="5"/>
              </a:cxn>
              <a:cxn ang="0">
                <a:pos x="2" y="3"/>
              </a:cxn>
              <a:cxn ang="0">
                <a:pos x="0" y="2"/>
              </a:cxn>
            </a:cxnLst>
            <a:rect l="0" t="0" r="r" b="b"/>
            <a:pathLst>
              <a:path w="7" h="5">
                <a:moveTo>
                  <a:pt x="0" y="2"/>
                </a:moveTo>
                <a:lnTo>
                  <a:pt x="2" y="0"/>
                </a:lnTo>
                <a:lnTo>
                  <a:pt x="3" y="0"/>
                </a:lnTo>
                <a:lnTo>
                  <a:pt x="7" y="2"/>
                </a:lnTo>
                <a:lnTo>
                  <a:pt x="6" y="5"/>
                </a:lnTo>
                <a:lnTo>
                  <a:pt x="3" y="5"/>
                </a:lnTo>
                <a:lnTo>
                  <a:pt x="2" y="3"/>
                </a:lnTo>
                <a:lnTo>
                  <a:pt x="0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84" name="Freeform 907"/>
          <p:cNvSpPr>
            <a:spLocks/>
          </p:cNvSpPr>
          <p:nvPr/>
        </p:nvSpPr>
        <p:spPr bwMode="auto">
          <a:xfrm>
            <a:off x="9176446" y="4105875"/>
            <a:ext cx="13642" cy="10739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0"/>
              </a:cxn>
              <a:cxn ang="0">
                <a:pos x="3" y="0"/>
              </a:cxn>
              <a:cxn ang="0">
                <a:pos x="7" y="2"/>
              </a:cxn>
              <a:cxn ang="0">
                <a:pos x="6" y="5"/>
              </a:cxn>
              <a:cxn ang="0">
                <a:pos x="3" y="5"/>
              </a:cxn>
              <a:cxn ang="0">
                <a:pos x="2" y="3"/>
              </a:cxn>
              <a:cxn ang="0">
                <a:pos x="0" y="2"/>
              </a:cxn>
            </a:cxnLst>
            <a:rect l="0" t="0" r="r" b="b"/>
            <a:pathLst>
              <a:path w="7" h="5">
                <a:moveTo>
                  <a:pt x="0" y="2"/>
                </a:moveTo>
                <a:lnTo>
                  <a:pt x="2" y="0"/>
                </a:lnTo>
                <a:lnTo>
                  <a:pt x="3" y="0"/>
                </a:lnTo>
                <a:lnTo>
                  <a:pt x="7" y="2"/>
                </a:lnTo>
                <a:lnTo>
                  <a:pt x="6" y="5"/>
                </a:lnTo>
                <a:lnTo>
                  <a:pt x="3" y="5"/>
                </a:lnTo>
                <a:lnTo>
                  <a:pt x="2" y="3"/>
                </a:lnTo>
                <a:lnTo>
                  <a:pt x="0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85" name="Freeform 908"/>
          <p:cNvSpPr>
            <a:spLocks/>
          </p:cNvSpPr>
          <p:nvPr/>
        </p:nvSpPr>
        <p:spPr bwMode="auto">
          <a:xfrm>
            <a:off x="9153059" y="4133795"/>
            <a:ext cx="9745" cy="644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1"/>
              </a:cxn>
              <a:cxn ang="0">
                <a:pos x="0" y="0"/>
              </a:cxn>
              <a:cxn ang="0">
                <a:pos x="3" y="0"/>
              </a:cxn>
              <a:cxn ang="0">
                <a:pos x="7" y="1"/>
              </a:cxn>
              <a:cxn ang="0">
                <a:pos x="5" y="3"/>
              </a:cxn>
              <a:cxn ang="0">
                <a:pos x="4" y="1"/>
              </a:cxn>
              <a:cxn ang="0">
                <a:pos x="1" y="3"/>
              </a:cxn>
              <a:cxn ang="0">
                <a:pos x="0" y="3"/>
              </a:cxn>
            </a:cxnLst>
            <a:rect l="0" t="0" r="r" b="b"/>
            <a:pathLst>
              <a:path w="7" h="3">
                <a:moveTo>
                  <a:pt x="0" y="3"/>
                </a:moveTo>
                <a:lnTo>
                  <a:pt x="0" y="1"/>
                </a:lnTo>
                <a:lnTo>
                  <a:pt x="0" y="0"/>
                </a:lnTo>
                <a:lnTo>
                  <a:pt x="3" y="0"/>
                </a:lnTo>
                <a:lnTo>
                  <a:pt x="7" y="1"/>
                </a:lnTo>
                <a:lnTo>
                  <a:pt x="5" y="3"/>
                </a:lnTo>
                <a:lnTo>
                  <a:pt x="4" y="1"/>
                </a:lnTo>
                <a:lnTo>
                  <a:pt x="1" y="3"/>
                </a:lnTo>
                <a:lnTo>
                  <a:pt x="0" y="3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86" name="Freeform 909"/>
          <p:cNvSpPr>
            <a:spLocks/>
          </p:cNvSpPr>
          <p:nvPr/>
        </p:nvSpPr>
        <p:spPr bwMode="auto">
          <a:xfrm>
            <a:off x="9153059" y="4133795"/>
            <a:ext cx="9745" cy="644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1"/>
              </a:cxn>
              <a:cxn ang="0">
                <a:pos x="0" y="0"/>
              </a:cxn>
              <a:cxn ang="0">
                <a:pos x="3" y="0"/>
              </a:cxn>
              <a:cxn ang="0">
                <a:pos x="7" y="1"/>
              </a:cxn>
              <a:cxn ang="0">
                <a:pos x="5" y="3"/>
              </a:cxn>
              <a:cxn ang="0">
                <a:pos x="4" y="1"/>
              </a:cxn>
              <a:cxn ang="0">
                <a:pos x="1" y="3"/>
              </a:cxn>
              <a:cxn ang="0">
                <a:pos x="0" y="3"/>
              </a:cxn>
            </a:cxnLst>
            <a:rect l="0" t="0" r="r" b="b"/>
            <a:pathLst>
              <a:path w="7" h="3">
                <a:moveTo>
                  <a:pt x="0" y="3"/>
                </a:moveTo>
                <a:lnTo>
                  <a:pt x="0" y="1"/>
                </a:lnTo>
                <a:lnTo>
                  <a:pt x="0" y="0"/>
                </a:lnTo>
                <a:lnTo>
                  <a:pt x="3" y="0"/>
                </a:lnTo>
                <a:lnTo>
                  <a:pt x="7" y="1"/>
                </a:lnTo>
                <a:lnTo>
                  <a:pt x="5" y="3"/>
                </a:lnTo>
                <a:lnTo>
                  <a:pt x="4" y="1"/>
                </a:lnTo>
                <a:lnTo>
                  <a:pt x="1" y="3"/>
                </a:lnTo>
                <a:lnTo>
                  <a:pt x="0" y="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87" name="Freeform 910"/>
          <p:cNvSpPr>
            <a:spLocks/>
          </p:cNvSpPr>
          <p:nvPr/>
        </p:nvSpPr>
        <p:spPr bwMode="auto">
          <a:xfrm>
            <a:off x="9117981" y="4161713"/>
            <a:ext cx="13642" cy="8591"/>
          </a:xfrm>
          <a:custGeom>
            <a:avLst/>
            <a:gdLst/>
            <a:ahLst/>
            <a:cxnLst>
              <a:cxn ang="0">
                <a:pos x="1" y="5"/>
              </a:cxn>
              <a:cxn ang="0">
                <a:pos x="0" y="3"/>
              </a:cxn>
              <a:cxn ang="0">
                <a:pos x="1" y="1"/>
              </a:cxn>
              <a:cxn ang="0">
                <a:pos x="2" y="0"/>
              </a:cxn>
              <a:cxn ang="0">
                <a:pos x="4" y="0"/>
              </a:cxn>
              <a:cxn ang="0">
                <a:pos x="6" y="0"/>
              </a:cxn>
              <a:cxn ang="0">
                <a:pos x="6" y="1"/>
              </a:cxn>
              <a:cxn ang="0">
                <a:pos x="2" y="3"/>
              </a:cxn>
              <a:cxn ang="0">
                <a:pos x="1" y="5"/>
              </a:cxn>
            </a:cxnLst>
            <a:rect l="0" t="0" r="r" b="b"/>
            <a:pathLst>
              <a:path w="6" h="5">
                <a:moveTo>
                  <a:pt x="1" y="5"/>
                </a:moveTo>
                <a:lnTo>
                  <a:pt x="0" y="3"/>
                </a:lnTo>
                <a:lnTo>
                  <a:pt x="1" y="1"/>
                </a:lnTo>
                <a:lnTo>
                  <a:pt x="2" y="0"/>
                </a:lnTo>
                <a:lnTo>
                  <a:pt x="4" y="0"/>
                </a:lnTo>
                <a:lnTo>
                  <a:pt x="6" y="0"/>
                </a:lnTo>
                <a:lnTo>
                  <a:pt x="6" y="1"/>
                </a:lnTo>
                <a:lnTo>
                  <a:pt x="2" y="3"/>
                </a:lnTo>
                <a:lnTo>
                  <a:pt x="1" y="5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88" name="Freeform 911"/>
          <p:cNvSpPr>
            <a:spLocks/>
          </p:cNvSpPr>
          <p:nvPr/>
        </p:nvSpPr>
        <p:spPr bwMode="auto">
          <a:xfrm>
            <a:off x="9117981" y="4161713"/>
            <a:ext cx="13642" cy="8591"/>
          </a:xfrm>
          <a:custGeom>
            <a:avLst/>
            <a:gdLst/>
            <a:ahLst/>
            <a:cxnLst>
              <a:cxn ang="0">
                <a:pos x="1" y="5"/>
              </a:cxn>
              <a:cxn ang="0">
                <a:pos x="0" y="3"/>
              </a:cxn>
              <a:cxn ang="0">
                <a:pos x="1" y="1"/>
              </a:cxn>
              <a:cxn ang="0">
                <a:pos x="2" y="0"/>
              </a:cxn>
              <a:cxn ang="0">
                <a:pos x="4" y="0"/>
              </a:cxn>
              <a:cxn ang="0">
                <a:pos x="6" y="0"/>
              </a:cxn>
              <a:cxn ang="0">
                <a:pos x="6" y="1"/>
              </a:cxn>
              <a:cxn ang="0">
                <a:pos x="2" y="3"/>
              </a:cxn>
              <a:cxn ang="0">
                <a:pos x="1" y="5"/>
              </a:cxn>
            </a:cxnLst>
            <a:rect l="0" t="0" r="r" b="b"/>
            <a:pathLst>
              <a:path w="6" h="5">
                <a:moveTo>
                  <a:pt x="1" y="5"/>
                </a:moveTo>
                <a:lnTo>
                  <a:pt x="0" y="3"/>
                </a:lnTo>
                <a:lnTo>
                  <a:pt x="1" y="1"/>
                </a:lnTo>
                <a:lnTo>
                  <a:pt x="2" y="0"/>
                </a:lnTo>
                <a:lnTo>
                  <a:pt x="4" y="0"/>
                </a:lnTo>
                <a:lnTo>
                  <a:pt x="6" y="0"/>
                </a:lnTo>
                <a:lnTo>
                  <a:pt x="6" y="1"/>
                </a:lnTo>
                <a:lnTo>
                  <a:pt x="2" y="3"/>
                </a:lnTo>
                <a:lnTo>
                  <a:pt x="1" y="5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89" name="Freeform 912"/>
          <p:cNvSpPr>
            <a:spLocks/>
          </p:cNvSpPr>
          <p:nvPr/>
        </p:nvSpPr>
        <p:spPr bwMode="auto">
          <a:xfrm>
            <a:off x="10489947" y="5993623"/>
            <a:ext cx="19488" cy="21476"/>
          </a:xfrm>
          <a:custGeom>
            <a:avLst/>
            <a:gdLst/>
            <a:ahLst/>
            <a:cxnLst>
              <a:cxn ang="0">
                <a:pos x="5" y="0"/>
              </a:cxn>
              <a:cxn ang="0">
                <a:pos x="6" y="0"/>
              </a:cxn>
              <a:cxn ang="0">
                <a:pos x="6" y="2"/>
              </a:cxn>
              <a:cxn ang="0">
                <a:pos x="8" y="3"/>
              </a:cxn>
              <a:cxn ang="0">
                <a:pos x="6" y="5"/>
              </a:cxn>
              <a:cxn ang="0">
                <a:pos x="9" y="5"/>
              </a:cxn>
              <a:cxn ang="0">
                <a:pos x="9" y="7"/>
              </a:cxn>
              <a:cxn ang="0">
                <a:pos x="8" y="7"/>
              </a:cxn>
              <a:cxn ang="0">
                <a:pos x="6" y="8"/>
              </a:cxn>
              <a:cxn ang="0">
                <a:pos x="5" y="10"/>
              </a:cxn>
              <a:cxn ang="0">
                <a:pos x="4" y="8"/>
              </a:cxn>
              <a:cxn ang="0">
                <a:pos x="2" y="8"/>
              </a:cxn>
              <a:cxn ang="0">
                <a:pos x="1" y="11"/>
              </a:cxn>
              <a:cxn ang="0">
                <a:pos x="0" y="11"/>
              </a:cxn>
              <a:cxn ang="0">
                <a:pos x="0" y="10"/>
              </a:cxn>
              <a:cxn ang="0">
                <a:pos x="0" y="7"/>
              </a:cxn>
              <a:cxn ang="0">
                <a:pos x="1" y="5"/>
              </a:cxn>
              <a:cxn ang="0">
                <a:pos x="2" y="3"/>
              </a:cxn>
              <a:cxn ang="0">
                <a:pos x="2" y="0"/>
              </a:cxn>
              <a:cxn ang="0">
                <a:pos x="4" y="0"/>
              </a:cxn>
              <a:cxn ang="0">
                <a:pos x="5" y="0"/>
              </a:cxn>
            </a:cxnLst>
            <a:rect l="0" t="0" r="r" b="b"/>
            <a:pathLst>
              <a:path w="9" h="11">
                <a:moveTo>
                  <a:pt x="5" y="0"/>
                </a:moveTo>
                <a:lnTo>
                  <a:pt x="6" y="0"/>
                </a:lnTo>
                <a:lnTo>
                  <a:pt x="6" y="2"/>
                </a:lnTo>
                <a:lnTo>
                  <a:pt x="8" y="3"/>
                </a:lnTo>
                <a:lnTo>
                  <a:pt x="6" y="5"/>
                </a:lnTo>
                <a:lnTo>
                  <a:pt x="9" y="5"/>
                </a:lnTo>
                <a:lnTo>
                  <a:pt x="9" y="7"/>
                </a:lnTo>
                <a:lnTo>
                  <a:pt x="8" y="7"/>
                </a:lnTo>
                <a:lnTo>
                  <a:pt x="6" y="8"/>
                </a:lnTo>
                <a:lnTo>
                  <a:pt x="5" y="10"/>
                </a:lnTo>
                <a:lnTo>
                  <a:pt x="4" y="8"/>
                </a:lnTo>
                <a:lnTo>
                  <a:pt x="2" y="8"/>
                </a:lnTo>
                <a:lnTo>
                  <a:pt x="1" y="11"/>
                </a:lnTo>
                <a:lnTo>
                  <a:pt x="0" y="11"/>
                </a:lnTo>
                <a:lnTo>
                  <a:pt x="0" y="10"/>
                </a:lnTo>
                <a:lnTo>
                  <a:pt x="0" y="7"/>
                </a:lnTo>
                <a:lnTo>
                  <a:pt x="1" y="5"/>
                </a:lnTo>
                <a:lnTo>
                  <a:pt x="2" y="3"/>
                </a:lnTo>
                <a:lnTo>
                  <a:pt x="2" y="0"/>
                </a:lnTo>
                <a:lnTo>
                  <a:pt x="4" y="0"/>
                </a:lnTo>
                <a:lnTo>
                  <a:pt x="5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90" name="Freeform 913"/>
          <p:cNvSpPr>
            <a:spLocks/>
          </p:cNvSpPr>
          <p:nvPr/>
        </p:nvSpPr>
        <p:spPr bwMode="auto">
          <a:xfrm>
            <a:off x="10489947" y="5993623"/>
            <a:ext cx="19488" cy="21476"/>
          </a:xfrm>
          <a:custGeom>
            <a:avLst/>
            <a:gdLst/>
            <a:ahLst/>
            <a:cxnLst>
              <a:cxn ang="0">
                <a:pos x="5" y="0"/>
              </a:cxn>
              <a:cxn ang="0">
                <a:pos x="6" y="0"/>
              </a:cxn>
              <a:cxn ang="0">
                <a:pos x="6" y="2"/>
              </a:cxn>
              <a:cxn ang="0">
                <a:pos x="8" y="3"/>
              </a:cxn>
              <a:cxn ang="0">
                <a:pos x="6" y="5"/>
              </a:cxn>
              <a:cxn ang="0">
                <a:pos x="9" y="5"/>
              </a:cxn>
              <a:cxn ang="0">
                <a:pos x="9" y="7"/>
              </a:cxn>
              <a:cxn ang="0">
                <a:pos x="8" y="7"/>
              </a:cxn>
              <a:cxn ang="0">
                <a:pos x="6" y="8"/>
              </a:cxn>
              <a:cxn ang="0">
                <a:pos x="5" y="10"/>
              </a:cxn>
              <a:cxn ang="0">
                <a:pos x="4" y="8"/>
              </a:cxn>
              <a:cxn ang="0">
                <a:pos x="2" y="8"/>
              </a:cxn>
              <a:cxn ang="0">
                <a:pos x="1" y="11"/>
              </a:cxn>
              <a:cxn ang="0">
                <a:pos x="0" y="11"/>
              </a:cxn>
              <a:cxn ang="0">
                <a:pos x="0" y="10"/>
              </a:cxn>
              <a:cxn ang="0">
                <a:pos x="0" y="7"/>
              </a:cxn>
              <a:cxn ang="0">
                <a:pos x="1" y="5"/>
              </a:cxn>
              <a:cxn ang="0">
                <a:pos x="2" y="3"/>
              </a:cxn>
              <a:cxn ang="0">
                <a:pos x="2" y="0"/>
              </a:cxn>
              <a:cxn ang="0">
                <a:pos x="4" y="0"/>
              </a:cxn>
              <a:cxn ang="0">
                <a:pos x="5" y="0"/>
              </a:cxn>
            </a:cxnLst>
            <a:rect l="0" t="0" r="r" b="b"/>
            <a:pathLst>
              <a:path w="9" h="11">
                <a:moveTo>
                  <a:pt x="5" y="0"/>
                </a:moveTo>
                <a:lnTo>
                  <a:pt x="6" y="0"/>
                </a:lnTo>
                <a:lnTo>
                  <a:pt x="6" y="2"/>
                </a:lnTo>
                <a:lnTo>
                  <a:pt x="8" y="3"/>
                </a:lnTo>
                <a:lnTo>
                  <a:pt x="6" y="5"/>
                </a:lnTo>
                <a:lnTo>
                  <a:pt x="9" y="5"/>
                </a:lnTo>
                <a:lnTo>
                  <a:pt x="9" y="7"/>
                </a:lnTo>
                <a:lnTo>
                  <a:pt x="8" y="7"/>
                </a:lnTo>
                <a:lnTo>
                  <a:pt x="6" y="8"/>
                </a:lnTo>
                <a:lnTo>
                  <a:pt x="5" y="10"/>
                </a:lnTo>
                <a:lnTo>
                  <a:pt x="4" y="8"/>
                </a:lnTo>
                <a:lnTo>
                  <a:pt x="2" y="8"/>
                </a:lnTo>
                <a:lnTo>
                  <a:pt x="1" y="11"/>
                </a:lnTo>
                <a:lnTo>
                  <a:pt x="0" y="11"/>
                </a:lnTo>
                <a:lnTo>
                  <a:pt x="0" y="10"/>
                </a:lnTo>
                <a:lnTo>
                  <a:pt x="0" y="7"/>
                </a:lnTo>
                <a:lnTo>
                  <a:pt x="1" y="5"/>
                </a:lnTo>
                <a:lnTo>
                  <a:pt x="2" y="3"/>
                </a:lnTo>
                <a:lnTo>
                  <a:pt x="2" y="0"/>
                </a:lnTo>
                <a:lnTo>
                  <a:pt x="4" y="0"/>
                </a:lnTo>
                <a:lnTo>
                  <a:pt x="5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91" name="Freeform 914"/>
          <p:cNvSpPr>
            <a:spLocks/>
          </p:cNvSpPr>
          <p:nvPr/>
        </p:nvSpPr>
        <p:spPr bwMode="auto">
          <a:xfrm>
            <a:off x="10460715" y="5776714"/>
            <a:ext cx="222164" cy="216910"/>
          </a:xfrm>
          <a:custGeom>
            <a:avLst/>
            <a:gdLst/>
            <a:ahLst/>
            <a:cxnLst>
              <a:cxn ang="0">
                <a:pos x="87" y="3"/>
              </a:cxn>
              <a:cxn ang="0">
                <a:pos x="91" y="0"/>
              </a:cxn>
              <a:cxn ang="0">
                <a:pos x="94" y="5"/>
              </a:cxn>
              <a:cxn ang="0">
                <a:pos x="98" y="6"/>
              </a:cxn>
              <a:cxn ang="0">
                <a:pos x="101" y="12"/>
              </a:cxn>
              <a:cxn ang="0">
                <a:pos x="107" y="8"/>
              </a:cxn>
              <a:cxn ang="0">
                <a:pos x="110" y="8"/>
              </a:cxn>
              <a:cxn ang="0">
                <a:pos x="113" y="11"/>
              </a:cxn>
              <a:cxn ang="0">
                <a:pos x="114" y="8"/>
              </a:cxn>
              <a:cxn ang="0">
                <a:pos x="115" y="14"/>
              </a:cxn>
              <a:cxn ang="0">
                <a:pos x="115" y="22"/>
              </a:cxn>
              <a:cxn ang="0">
                <a:pos x="111" y="30"/>
              </a:cxn>
              <a:cxn ang="0">
                <a:pos x="106" y="33"/>
              </a:cxn>
              <a:cxn ang="0">
                <a:pos x="99" y="42"/>
              </a:cxn>
              <a:cxn ang="0">
                <a:pos x="94" y="55"/>
              </a:cxn>
              <a:cxn ang="0">
                <a:pos x="99" y="58"/>
              </a:cxn>
              <a:cxn ang="0">
                <a:pos x="97" y="58"/>
              </a:cxn>
              <a:cxn ang="0">
                <a:pos x="89" y="58"/>
              </a:cxn>
              <a:cxn ang="0">
                <a:pos x="85" y="58"/>
              </a:cxn>
              <a:cxn ang="0">
                <a:pos x="78" y="63"/>
              </a:cxn>
              <a:cxn ang="0">
                <a:pos x="75" y="61"/>
              </a:cxn>
              <a:cxn ang="0">
                <a:pos x="73" y="69"/>
              </a:cxn>
              <a:cxn ang="0">
                <a:pos x="70" y="77"/>
              </a:cxn>
              <a:cxn ang="0">
                <a:pos x="67" y="85"/>
              </a:cxn>
              <a:cxn ang="0">
                <a:pos x="63" y="91"/>
              </a:cxn>
              <a:cxn ang="0">
                <a:pos x="63" y="94"/>
              </a:cxn>
              <a:cxn ang="0">
                <a:pos x="58" y="97"/>
              </a:cxn>
              <a:cxn ang="0">
                <a:pos x="50" y="102"/>
              </a:cxn>
              <a:cxn ang="0">
                <a:pos x="49" y="105"/>
              </a:cxn>
              <a:cxn ang="0">
                <a:pos x="41" y="107"/>
              </a:cxn>
              <a:cxn ang="0">
                <a:pos x="35" y="105"/>
              </a:cxn>
              <a:cxn ang="0">
                <a:pos x="30" y="107"/>
              </a:cxn>
              <a:cxn ang="0">
                <a:pos x="28" y="105"/>
              </a:cxn>
              <a:cxn ang="0">
                <a:pos x="25" y="104"/>
              </a:cxn>
              <a:cxn ang="0">
                <a:pos x="17" y="99"/>
              </a:cxn>
              <a:cxn ang="0">
                <a:pos x="10" y="100"/>
              </a:cxn>
              <a:cxn ang="0">
                <a:pos x="4" y="97"/>
              </a:cxn>
              <a:cxn ang="0">
                <a:pos x="4" y="97"/>
              </a:cxn>
              <a:cxn ang="0">
                <a:pos x="2" y="96"/>
              </a:cxn>
              <a:cxn ang="0">
                <a:pos x="1" y="93"/>
              </a:cxn>
              <a:cxn ang="0">
                <a:pos x="5" y="91"/>
              </a:cxn>
              <a:cxn ang="0">
                <a:pos x="6" y="88"/>
              </a:cxn>
              <a:cxn ang="0">
                <a:pos x="4" y="86"/>
              </a:cxn>
              <a:cxn ang="0">
                <a:pos x="5" y="85"/>
              </a:cxn>
              <a:cxn ang="0">
                <a:pos x="8" y="85"/>
              </a:cxn>
              <a:cxn ang="0">
                <a:pos x="9" y="83"/>
              </a:cxn>
              <a:cxn ang="0">
                <a:pos x="12" y="77"/>
              </a:cxn>
              <a:cxn ang="0">
                <a:pos x="13" y="78"/>
              </a:cxn>
              <a:cxn ang="0">
                <a:pos x="16" y="74"/>
              </a:cxn>
              <a:cxn ang="0">
                <a:pos x="21" y="71"/>
              </a:cxn>
              <a:cxn ang="0">
                <a:pos x="24" y="66"/>
              </a:cxn>
              <a:cxn ang="0">
                <a:pos x="28" y="61"/>
              </a:cxn>
              <a:cxn ang="0">
                <a:pos x="34" y="60"/>
              </a:cxn>
              <a:cxn ang="0">
                <a:pos x="42" y="55"/>
              </a:cxn>
              <a:cxn ang="0">
                <a:pos x="55" y="47"/>
              </a:cxn>
              <a:cxn ang="0">
                <a:pos x="59" y="42"/>
              </a:cxn>
              <a:cxn ang="0">
                <a:pos x="66" y="39"/>
              </a:cxn>
              <a:cxn ang="0">
                <a:pos x="73" y="25"/>
              </a:cxn>
              <a:cxn ang="0">
                <a:pos x="81" y="19"/>
              </a:cxn>
              <a:cxn ang="0">
                <a:pos x="85" y="8"/>
              </a:cxn>
            </a:cxnLst>
            <a:rect l="0" t="0" r="r" b="b"/>
            <a:pathLst>
              <a:path w="117" h="108">
                <a:moveTo>
                  <a:pt x="85" y="8"/>
                </a:moveTo>
                <a:lnTo>
                  <a:pt x="85" y="5"/>
                </a:lnTo>
                <a:lnTo>
                  <a:pt x="87" y="3"/>
                </a:lnTo>
                <a:lnTo>
                  <a:pt x="89" y="1"/>
                </a:lnTo>
                <a:lnTo>
                  <a:pt x="90" y="0"/>
                </a:lnTo>
                <a:lnTo>
                  <a:pt x="91" y="0"/>
                </a:lnTo>
                <a:lnTo>
                  <a:pt x="93" y="0"/>
                </a:lnTo>
                <a:lnTo>
                  <a:pt x="93" y="3"/>
                </a:lnTo>
                <a:lnTo>
                  <a:pt x="94" y="5"/>
                </a:lnTo>
                <a:lnTo>
                  <a:pt x="95" y="5"/>
                </a:lnTo>
                <a:lnTo>
                  <a:pt x="97" y="5"/>
                </a:lnTo>
                <a:lnTo>
                  <a:pt x="98" y="6"/>
                </a:lnTo>
                <a:lnTo>
                  <a:pt x="98" y="11"/>
                </a:lnTo>
                <a:lnTo>
                  <a:pt x="99" y="12"/>
                </a:lnTo>
                <a:lnTo>
                  <a:pt x="101" y="12"/>
                </a:lnTo>
                <a:lnTo>
                  <a:pt x="105" y="9"/>
                </a:lnTo>
                <a:lnTo>
                  <a:pt x="106" y="9"/>
                </a:lnTo>
                <a:lnTo>
                  <a:pt x="107" y="8"/>
                </a:lnTo>
                <a:lnTo>
                  <a:pt x="110" y="6"/>
                </a:lnTo>
                <a:lnTo>
                  <a:pt x="111" y="6"/>
                </a:lnTo>
                <a:lnTo>
                  <a:pt x="110" y="8"/>
                </a:lnTo>
                <a:lnTo>
                  <a:pt x="110" y="9"/>
                </a:lnTo>
                <a:lnTo>
                  <a:pt x="110" y="12"/>
                </a:lnTo>
                <a:lnTo>
                  <a:pt x="113" y="11"/>
                </a:lnTo>
                <a:lnTo>
                  <a:pt x="111" y="9"/>
                </a:lnTo>
                <a:lnTo>
                  <a:pt x="113" y="8"/>
                </a:lnTo>
                <a:lnTo>
                  <a:pt x="114" y="8"/>
                </a:lnTo>
                <a:lnTo>
                  <a:pt x="115" y="9"/>
                </a:lnTo>
                <a:lnTo>
                  <a:pt x="114" y="12"/>
                </a:lnTo>
                <a:lnTo>
                  <a:pt x="115" y="14"/>
                </a:lnTo>
                <a:lnTo>
                  <a:pt x="114" y="16"/>
                </a:lnTo>
                <a:lnTo>
                  <a:pt x="117" y="20"/>
                </a:lnTo>
                <a:lnTo>
                  <a:pt x="115" y="22"/>
                </a:lnTo>
                <a:lnTo>
                  <a:pt x="113" y="25"/>
                </a:lnTo>
                <a:lnTo>
                  <a:pt x="113" y="27"/>
                </a:lnTo>
                <a:lnTo>
                  <a:pt x="111" y="30"/>
                </a:lnTo>
                <a:lnTo>
                  <a:pt x="109" y="30"/>
                </a:lnTo>
                <a:lnTo>
                  <a:pt x="109" y="31"/>
                </a:lnTo>
                <a:lnTo>
                  <a:pt x="106" y="33"/>
                </a:lnTo>
                <a:lnTo>
                  <a:pt x="102" y="41"/>
                </a:lnTo>
                <a:lnTo>
                  <a:pt x="101" y="41"/>
                </a:lnTo>
                <a:lnTo>
                  <a:pt x="99" y="42"/>
                </a:lnTo>
                <a:lnTo>
                  <a:pt x="95" y="45"/>
                </a:lnTo>
                <a:lnTo>
                  <a:pt x="94" y="52"/>
                </a:lnTo>
                <a:lnTo>
                  <a:pt x="94" y="55"/>
                </a:lnTo>
                <a:lnTo>
                  <a:pt x="97" y="55"/>
                </a:lnTo>
                <a:lnTo>
                  <a:pt x="98" y="56"/>
                </a:lnTo>
                <a:lnTo>
                  <a:pt x="99" y="58"/>
                </a:lnTo>
                <a:lnTo>
                  <a:pt x="98" y="58"/>
                </a:lnTo>
                <a:lnTo>
                  <a:pt x="97" y="56"/>
                </a:lnTo>
                <a:lnTo>
                  <a:pt x="97" y="58"/>
                </a:lnTo>
                <a:lnTo>
                  <a:pt x="91" y="56"/>
                </a:lnTo>
                <a:lnTo>
                  <a:pt x="89" y="56"/>
                </a:lnTo>
                <a:lnTo>
                  <a:pt x="89" y="58"/>
                </a:lnTo>
                <a:lnTo>
                  <a:pt x="87" y="60"/>
                </a:lnTo>
                <a:lnTo>
                  <a:pt x="86" y="58"/>
                </a:lnTo>
                <a:lnTo>
                  <a:pt x="85" y="58"/>
                </a:lnTo>
                <a:lnTo>
                  <a:pt x="85" y="60"/>
                </a:lnTo>
                <a:lnTo>
                  <a:pt x="81" y="61"/>
                </a:lnTo>
                <a:lnTo>
                  <a:pt x="78" y="63"/>
                </a:lnTo>
                <a:lnTo>
                  <a:pt x="77" y="63"/>
                </a:lnTo>
                <a:lnTo>
                  <a:pt x="77" y="61"/>
                </a:lnTo>
                <a:lnTo>
                  <a:pt x="75" y="61"/>
                </a:lnTo>
                <a:lnTo>
                  <a:pt x="75" y="63"/>
                </a:lnTo>
                <a:lnTo>
                  <a:pt x="74" y="66"/>
                </a:lnTo>
                <a:lnTo>
                  <a:pt x="73" y="69"/>
                </a:lnTo>
                <a:lnTo>
                  <a:pt x="71" y="72"/>
                </a:lnTo>
                <a:lnTo>
                  <a:pt x="71" y="75"/>
                </a:lnTo>
                <a:lnTo>
                  <a:pt x="70" y="77"/>
                </a:lnTo>
                <a:lnTo>
                  <a:pt x="70" y="80"/>
                </a:lnTo>
                <a:lnTo>
                  <a:pt x="67" y="82"/>
                </a:lnTo>
                <a:lnTo>
                  <a:pt x="67" y="85"/>
                </a:lnTo>
                <a:lnTo>
                  <a:pt x="67" y="86"/>
                </a:lnTo>
                <a:lnTo>
                  <a:pt x="65" y="89"/>
                </a:lnTo>
                <a:lnTo>
                  <a:pt x="63" y="91"/>
                </a:lnTo>
                <a:lnTo>
                  <a:pt x="63" y="94"/>
                </a:lnTo>
                <a:lnTo>
                  <a:pt x="62" y="94"/>
                </a:lnTo>
                <a:lnTo>
                  <a:pt x="63" y="94"/>
                </a:lnTo>
                <a:lnTo>
                  <a:pt x="63" y="96"/>
                </a:lnTo>
                <a:lnTo>
                  <a:pt x="61" y="96"/>
                </a:lnTo>
                <a:lnTo>
                  <a:pt x="58" y="97"/>
                </a:lnTo>
                <a:lnTo>
                  <a:pt x="55" y="100"/>
                </a:lnTo>
                <a:lnTo>
                  <a:pt x="51" y="102"/>
                </a:lnTo>
                <a:lnTo>
                  <a:pt x="50" y="102"/>
                </a:lnTo>
                <a:lnTo>
                  <a:pt x="50" y="104"/>
                </a:lnTo>
                <a:lnTo>
                  <a:pt x="49" y="104"/>
                </a:lnTo>
                <a:lnTo>
                  <a:pt x="49" y="105"/>
                </a:lnTo>
                <a:lnTo>
                  <a:pt x="47" y="105"/>
                </a:lnTo>
                <a:lnTo>
                  <a:pt x="42" y="107"/>
                </a:lnTo>
                <a:lnTo>
                  <a:pt x="41" y="107"/>
                </a:lnTo>
                <a:lnTo>
                  <a:pt x="37" y="108"/>
                </a:lnTo>
                <a:lnTo>
                  <a:pt x="35" y="107"/>
                </a:lnTo>
                <a:lnTo>
                  <a:pt x="35" y="105"/>
                </a:lnTo>
                <a:lnTo>
                  <a:pt x="34" y="105"/>
                </a:lnTo>
                <a:lnTo>
                  <a:pt x="33" y="107"/>
                </a:lnTo>
                <a:lnTo>
                  <a:pt x="30" y="107"/>
                </a:lnTo>
                <a:lnTo>
                  <a:pt x="30" y="105"/>
                </a:lnTo>
                <a:lnTo>
                  <a:pt x="28" y="107"/>
                </a:lnTo>
                <a:lnTo>
                  <a:pt x="28" y="105"/>
                </a:lnTo>
                <a:lnTo>
                  <a:pt x="28" y="104"/>
                </a:lnTo>
                <a:lnTo>
                  <a:pt x="26" y="104"/>
                </a:lnTo>
                <a:lnTo>
                  <a:pt x="25" y="104"/>
                </a:lnTo>
                <a:lnTo>
                  <a:pt x="20" y="104"/>
                </a:lnTo>
                <a:lnTo>
                  <a:pt x="18" y="100"/>
                </a:lnTo>
                <a:lnTo>
                  <a:pt x="17" y="99"/>
                </a:lnTo>
                <a:lnTo>
                  <a:pt x="14" y="99"/>
                </a:lnTo>
                <a:lnTo>
                  <a:pt x="13" y="100"/>
                </a:lnTo>
                <a:lnTo>
                  <a:pt x="10" y="100"/>
                </a:lnTo>
                <a:lnTo>
                  <a:pt x="5" y="100"/>
                </a:lnTo>
                <a:lnTo>
                  <a:pt x="2" y="99"/>
                </a:lnTo>
                <a:lnTo>
                  <a:pt x="4" y="97"/>
                </a:lnTo>
                <a:lnTo>
                  <a:pt x="5" y="96"/>
                </a:lnTo>
                <a:lnTo>
                  <a:pt x="6" y="94"/>
                </a:lnTo>
                <a:lnTo>
                  <a:pt x="4" y="97"/>
                </a:lnTo>
                <a:lnTo>
                  <a:pt x="2" y="97"/>
                </a:lnTo>
                <a:lnTo>
                  <a:pt x="4" y="94"/>
                </a:lnTo>
                <a:lnTo>
                  <a:pt x="2" y="96"/>
                </a:lnTo>
                <a:lnTo>
                  <a:pt x="0" y="96"/>
                </a:lnTo>
                <a:lnTo>
                  <a:pt x="0" y="94"/>
                </a:lnTo>
                <a:lnTo>
                  <a:pt x="1" y="93"/>
                </a:lnTo>
                <a:lnTo>
                  <a:pt x="4" y="93"/>
                </a:lnTo>
                <a:lnTo>
                  <a:pt x="6" y="91"/>
                </a:lnTo>
                <a:lnTo>
                  <a:pt x="5" y="91"/>
                </a:lnTo>
                <a:lnTo>
                  <a:pt x="5" y="89"/>
                </a:lnTo>
                <a:lnTo>
                  <a:pt x="6" y="89"/>
                </a:lnTo>
                <a:lnTo>
                  <a:pt x="6" y="88"/>
                </a:lnTo>
                <a:lnTo>
                  <a:pt x="5" y="88"/>
                </a:lnTo>
                <a:lnTo>
                  <a:pt x="4" y="88"/>
                </a:lnTo>
                <a:lnTo>
                  <a:pt x="4" y="86"/>
                </a:lnTo>
                <a:lnTo>
                  <a:pt x="5" y="86"/>
                </a:lnTo>
                <a:lnTo>
                  <a:pt x="6" y="85"/>
                </a:lnTo>
                <a:lnTo>
                  <a:pt x="5" y="85"/>
                </a:lnTo>
                <a:lnTo>
                  <a:pt x="5" y="83"/>
                </a:lnTo>
                <a:lnTo>
                  <a:pt x="6" y="83"/>
                </a:lnTo>
                <a:lnTo>
                  <a:pt x="8" y="85"/>
                </a:lnTo>
                <a:lnTo>
                  <a:pt x="9" y="83"/>
                </a:lnTo>
                <a:lnTo>
                  <a:pt x="10" y="83"/>
                </a:lnTo>
                <a:lnTo>
                  <a:pt x="9" y="83"/>
                </a:lnTo>
                <a:lnTo>
                  <a:pt x="8" y="82"/>
                </a:lnTo>
                <a:lnTo>
                  <a:pt x="9" y="78"/>
                </a:lnTo>
                <a:lnTo>
                  <a:pt x="12" y="77"/>
                </a:lnTo>
                <a:lnTo>
                  <a:pt x="12" y="75"/>
                </a:lnTo>
                <a:lnTo>
                  <a:pt x="13" y="77"/>
                </a:lnTo>
                <a:lnTo>
                  <a:pt x="13" y="78"/>
                </a:lnTo>
                <a:lnTo>
                  <a:pt x="14" y="78"/>
                </a:lnTo>
                <a:lnTo>
                  <a:pt x="14" y="75"/>
                </a:lnTo>
                <a:lnTo>
                  <a:pt x="16" y="74"/>
                </a:lnTo>
                <a:lnTo>
                  <a:pt x="17" y="72"/>
                </a:lnTo>
                <a:lnTo>
                  <a:pt x="18" y="72"/>
                </a:lnTo>
                <a:lnTo>
                  <a:pt x="21" y="71"/>
                </a:lnTo>
                <a:lnTo>
                  <a:pt x="21" y="67"/>
                </a:lnTo>
                <a:lnTo>
                  <a:pt x="22" y="66"/>
                </a:lnTo>
                <a:lnTo>
                  <a:pt x="24" y="66"/>
                </a:lnTo>
                <a:lnTo>
                  <a:pt x="25" y="61"/>
                </a:lnTo>
                <a:lnTo>
                  <a:pt x="26" y="61"/>
                </a:lnTo>
                <a:lnTo>
                  <a:pt x="28" y="61"/>
                </a:lnTo>
                <a:lnTo>
                  <a:pt x="29" y="61"/>
                </a:lnTo>
                <a:lnTo>
                  <a:pt x="32" y="60"/>
                </a:lnTo>
                <a:lnTo>
                  <a:pt x="34" y="60"/>
                </a:lnTo>
                <a:lnTo>
                  <a:pt x="35" y="60"/>
                </a:lnTo>
                <a:lnTo>
                  <a:pt x="38" y="58"/>
                </a:lnTo>
                <a:lnTo>
                  <a:pt x="42" y="55"/>
                </a:lnTo>
                <a:lnTo>
                  <a:pt x="46" y="53"/>
                </a:lnTo>
                <a:lnTo>
                  <a:pt x="51" y="50"/>
                </a:lnTo>
                <a:lnTo>
                  <a:pt x="55" y="47"/>
                </a:lnTo>
                <a:lnTo>
                  <a:pt x="55" y="45"/>
                </a:lnTo>
                <a:lnTo>
                  <a:pt x="58" y="44"/>
                </a:lnTo>
                <a:lnTo>
                  <a:pt x="59" y="42"/>
                </a:lnTo>
                <a:lnTo>
                  <a:pt x="61" y="42"/>
                </a:lnTo>
                <a:lnTo>
                  <a:pt x="65" y="41"/>
                </a:lnTo>
                <a:lnTo>
                  <a:pt x="66" y="39"/>
                </a:lnTo>
                <a:lnTo>
                  <a:pt x="70" y="34"/>
                </a:lnTo>
                <a:lnTo>
                  <a:pt x="71" y="30"/>
                </a:lnTo>
                <a:lnTo>
                  <a:pt x="73" y="25"/>
                </a:lnTo>
                <a:lnTo>
                  <a:pt x="74" y="22"/>
                </a:lnTo>
                <a:lnTo>
                  <a:pt x="78" y="19"/>
                </a:lnTo>
                <a:lnTo>
                  <a:pt x="81" y="19"/>
                </a:lnTo>
                <a:lnTo>
                  <a:pt x="81" y="17"/>
                </a:lnTo>
                <a:lnTo>
                  <a:pt x="83" y="14"/>
                </a:lnTo>
                <a:lnTo>
                  <a:pt x="85" y="8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92" name="Freeform 915"/>
          <p:cNvSpPr>
            <a:spLocks/>
          </p:cNvSpPr>
          <p:nvPr/>
        </p:nvSpPr>
        <p:spPr bwMode="auto">
          <a:xfrm>
            <a:off x="10460715" y="5776714"/>
            <a:ext cx="222164" cy="216910"/>
          </a:xfrm>
          <a:custGeom>
            <a:avLst/>
            <a:gdLst/>
            <a:ahLst/>
            <a:cxnLst>
              <a:cxn ang="0">
                <a:pos x="87" y="3"/>
              </a:cxn>
              <a:cxn ang="0">
                <a:pos x="91" y="0"/>
              </a:cxn>
              <a:cxn ang="0">
                <a:pos x="94" y="5"/>
              </a:cxn>
              <a:cxn ang="0">
                <a:pos x="98" y="6"/>
              </a:cxn>
              <a:cxn ang="0">
                <a:pos x="101" y="12"/>
              </a:cxn>
              <a:cxn ang="0">
                <a:pos x="107" y="8"/>
              </a:cxn>
              <a:cxn ang="0">
                <a:pos x="110" y="8"/>
              </a:cxn>
              <a:cxn ang="0">
                <a:pos x="113" y="11"/>
              </a:cxn>
              <a:cxn ang="0">
                <a:pos x="114" y="8"/>
              </a:cxn>
              <a:cxn ang="0">
                <a:pos x="115" y="14"/>
              </a:cxn>
              <a:cxn ang="0">
                <a:pos x="115" y="22"/>
              </a:cxn>
              <a:cxn ang="0">
                <a:pos x="111" y="30"/>
              </a:cxn>
              <a:cxn ang="0">
                <a:pos x="106" y="33"/>
              </a:cxn>
              <a:cxn ang="0">
                <a:pos x="99" y="42"/>
              </a:cxn>
              <a:cxn ang="0">
                <a:pos x="94" y="55"/>
              </a:cxn>
              <a:cxn ang="0">
                <a:pos x="99" y="58"/>
              </a:cxn>
              <a:cxn ang="0">
                <a:pos x="97" y="58"/>
              </a:cxn>
              <a:cxn ang="0">
                <a:pos x="89" y="58"/>
              </a:cxn>
              <a:cxn ang="0">
                <a:pos x="85" y="58"/>
              </a:cxn>
              <a:cxn ang="0">
                <a:pos x="78" y="63"/>
              </a:cxn>
              <a:cxn ang="0">
                <a:pos x="75" y="61"/>
              </a:cxn>
              <a:cxn ang="0">
                <a:pos x="73" y="69"/>
              </a:cxn>
              <a:cxn ang="0">
                <a:pos x="70" y="77"/>
              </a:cxn>
              <a:cxn ang="0">
                <a:pos x="67" y="85"/>
              </a:cxn>
              <a:cxn ang="0">
                <a:pos x="63" y="91"/>
              </a:cxn>
              <a:cxn ang="0">
                <a:pos x="63" y="94"/>
              </a:cxn>
              <a:cxn ang="0">
                <a:pos x="58" y="97"/>
              </a:cxn>
              <a:cxn ang="0">
                <a:pos x="50" y="102"/>
              </a:cxn>
              <a:cxn ang="0">
                <a:pos x="49" y="105"/>
              </a:cxn>
              <a:cxn ang="0">
                <a:pos x="41" y="107"/>
              </a:cxn>
              <a:cxn ang="0">
                <a:pos x="35" y="105"/>
              </a:cxn>
              <a:cxn ang="0">
                <a:pos x="30" y="107"/>
              </a:cxn>
              <a:cxn ang="0">
                <a:pos x="28" y="105"/>
              </a:cxn>
              <a:cxn ang="0">
                <a:pos x="25" y="104"/>
              </a:cxn>
              <a:cxn ang="0">
                <a:pos x="17" y="99"/>
              </a:cxn>
              <a:cxn ang="0">
                <a:pos x="10" y="100"/>
              </a:cxn>
              <a:cxn ang="0">
                <a:pos x="4" y="97"/>
              </a:cxn>
              <a:cxn ang="0">
                <a:pos x="4" y="97"/>
              </a:cxn>
              <a:cxn ang="0">
                <a:pos x="2" y="96"/>
              </a:cxn>
              <a:cxn ang="0">
                <a:pos x="1" y="93"/>
              </a:cxn>
              <a:cxn ang="0">
                <a:pos x="5" y="91"/>
              </a:cxn>
              <a:cxn ang="0">
                <a:pos x="6" y="88"/>
              </a:cxn>
              <a:cxn ang="0">
                <a:pos x="4" y="86"/>
              </a:cxn>
              <a:cxn ang="0">
                <a:pos x="5" y="85"/>
              </a:cxn>
              <a:cxn ang="0">
                <a:pos x="8" y="85"/>
              </a:cxn>
              <a:cxn ang="0">
                <a:pos x="9" y="83"/>
              </a:cxn>
              <a:cxn ang="0">
                <a:pos x="12" y="77"/>
              </a:cxn>
              <a:cxn ang="0">
                <a:pos x="13" y="78"/>
              </a:cxn>
              <a:cxn ang="0">
                <a:pos x="16" y="74"/>
              </a:cxn>
              <a:cxn ang="0">
                <a:pos x="21" y="71"/>
              </a:cxn>
              <a:cxn ang="0">
                <a:pos x="24" y="66"/>
              </a:cxn>
              <a:cxn ang="0">
                <a:pos x="28" y="61"/>
              </a:cxn>
              <a:cxn ang="0">
                <a:pos x="34" y="60"/>
              </a:cxn>
              <a:cxn ang="0">
                <a:pos x="42" y="55"/>
              </a:cxn>
              <a:cxn ang="0">
                <a:pos x="55" y="47"/>
              </a:cxn>
              <a:cxn ang="0">
                <a:pos x="59" y="42"/>
              </a:cxn>
              <a:cxn ang="0">
                <a:pos x="66" y="39"/>
              </a:cxn>
              <a:cxn ang="0">
                <a:pos x="73" y="25"/>
              </a:cxn>
              <a:cxn ang="0">
                <a:pos x="81" y="19"/>
              </a:cxn>
              <a:cxn ang="0">
                <a:pos x="85" y="8"/>
              </a:cxn>
            </a:cxnLst>
            <a:rect l="0" t="0" r="r" b="b"/>
            <a:pathLst>
              <a:path w="117" h="108">
                <a:moveTo>
                  <a:pt x="85" y="8"/>
                </a:moveTo>
                <a:lnTo>
                  <a:pt x="85" y="5"/>
                </a:lnTo>
                <a:lnTo>
                  <a:pt x="87" y="3"/>
                </a:lnTo>
                <a:lnTo>
                  <a:pt x="89" y="1"/>
                </a:lnTo>
                <a:lnTo>
                  <a:pt x="90" y="0"/>
                </a:lnTo>
                <a:lnTo>
                  <a:pt x="91" y="0"/>
                </a:lnTo>
                <a:lnTo>
                  <a:pt x="93" y="0"/>
                </a:lnTo>
                <a:lnTo>
                  <a:pt x="93" y="3"/>
                </a:lnTo>
                <a:lnTo>
                  <a:pt x="94" y="5"/>
                </a:lnTo>
                <a:lnTo>
                  <a:pt x="95" y="5"/>
                </a:lnTo>
                <a:lnTo>
                  <a:pt x="97" y="5"/>
                </a:lnTo>
                <a:lnTo>
                  <a:pt x="98" y="6"/>
                </a:lnTo>
                <a:lnTo>
                  <a:pt x="98" y="11"/>
                </a:lnTo>
                <a:lnTo>
                  <a:pt x="99" y="12"/>
                </a:lnTo>
                <a:lnTo>
                  <a:pt x="101" y="12"/>
                </a:lnTo>
                <a:lnTo>
                  <a:pt x="105" y="9"/>
                </a:lnTo>
                <a:lnTo>
                  <a:pt x="106" y="9"/>
                </a:lnTo>
                <a:lnTo>
                  <a:pt x="107" y="8"/>
                </a:lnTo>
                <a:lnTo>
                  <a:pt x="110" y="6"/>
                </a:lnTo>
                <a:lnTo>
                  <a:pt x="111" y="6"/>
                </a:lnTo>
                <a:lnTo>
                  <a:pt x="110" y="8"/>
                </a:lnTo>
                <a:lnTo>
                  <a:pt x="110" y="9"/>
                </a:lnTo>
                <a:lnTo>
                  <a:pt x="110" y="12"/>
                </a:lnTo>
                <a:lnTo>
                  <a:pt x="113" y="11"/>
                </a:lnTo>
                <a:lnTo>
                  <a:pt x="111" y="9"/>
                </a:lnTo>
                <a:lnTo>
                  <a:pt x="113" y="8"/>
                </a:lnTo>
                <a:lnTo>
                  <a:pt x="114" y="8"/>
                </a:lnTo>
                <a:lnTo>
                  <a:pt x="115" y="9"/>
                </a:lnTo>
                <a:lnTo>
                  <a:pt x="114" y="12"/>
                </a:lnTo>
                <a:lnTo>
                  <a:pt x="115" y="14"/>
                </a:lnTo>
                <a:lnTo>
                  <a:pt x="114" y="16"/>
                </a:lnTo>
                <a:lnTo>
                  <a:pt x="117" y="20"/>
                </a:lnTo>
                <a:lnTo>
                  <a:pt x="115" y="22"/>
                </a:lnTo>
                <a:lnTo>
                  <a:pt x="113" y="25"/>
                </a:lnTo>
                <a:lnTo>
                  <a:pt x="113" y="27"/>
                </a:lnTo>
                <a:lnTo>
                  <a:pt x="111" y="30"/>
                </a:lnTo>
                <a:lnTo>
                  <a:pt x="109" y="30"/>
                </a:lnTo>
                <a:lnTo>
                  <a:pt x="109" y="31"/>
                </a:lnTo>
                <a:lnTo>
                  <a:pt x="106" y="33"/>
                </a:lnTo>
                <a:lnTo>
                  <a:pt x="102" y="41"/>
                </a:lnTo>
                <a:lnTo>
                  <a:pt x="101" y="41"/>
                </a:lnTo>
                <a:lnTo>
                  <a:pt x="99" y="42"/>
                </a:lnTo>
                <a:lnTo>
                  <a:pt x="95" y="45"/>
                </a:lnTo>
                <a:lnTo>
                  <a:pt x="94" y="52"/>
                </a:lnTo>
                <a:lnTo>
                  <a:pt x="94" y="55"/>
                </a:lnTo>
                <a:lnTo>
                  <a:pt x="97" y="55"/>
                </a:lnTo>
                <a:lnTo>
                  <a:pt x="98" y="56"/>
                </a:lnTo>
                <a:lnTo>
                  <a:pt x="99" y="58"/>
                </a:lnTo>
                <a:lnTo>
                  <a:pt x="98" y="58"/>
                </a:lnTo>
                <a:lnTo>
                  <a:pt x="97" y="56"/>
                </a:lnTo>
                <a:lnTo>
                  <a:pt x="97" y="58"/>
                </a:lnTo>
                <a:lnTo>
                  <a:pt x="91" y="56"/>
                </a:lnTo>
                <a:lnTo>
                  <a:pt x="89" y="56"/>
                </a:lnTo>
                <a:lnTo>
                  <a:pt x="89" y="58"/>
                </a:lnTo>
                <a:lnTo>
                  <a:pt x="87" y="60"/>
                </a:lnTo>
                <a:lnTo>
                  <a:pt x="86" y="58"/>
                </a:lnTo>
                <a:lnTo>
                  <a:pt x="85" y="58"/>
                </a:lnTo>
                <a:lnTo>
                  <a:pt x="85" y="60"/>
                </a:lnTo>
                <a:lnTo>
                  <a:pt x="81" y="61"/>
                </a:lnTo>
                <a:lnTo>
                  <a:pt x="78" y="63"/>
                </a:lnTo>
                <a:lnTo>
                  <a:pt x="77" y="63"/>
                </a:lnTo>
                <a:lnTo>
                  <a:pt x="77" y="61"/>
                </a:lnTo>
                <a:lnTo>
                  <a:pt x="75" y="61"/>
                </a:lnTo>
                <a:lnTo>
                  <a:pt x="75" y="63"/>
                </a:lnTo>
                <a:lnTo>
                  <a:pt x="74" y="66"/>
                </a:lnTo>
                <a:lnTo>
                  <a:pt x="73" y="69"/>
                </a:lnTo>
                <a:lnTo>
                  <a:pt x="71" y="72"/>
                </a:lnTo>
                <a:lnTo>
                  <a:pt x="71" y="75"/>
                </a:lnTo>
                <a:lnTo>
                  <a:pt x="70" y="77"/>
                </a:lnTo>
                <a:lnTo>
                  <a:pt x="70" y="80"/>
                </a:lnTo>
                <a:lnTo>
                  <a:pt x="67" y="82"/>
                </a:lnTo>
                <a:lnTo>
                  <a:pt x="67" y="85"/>
                </a:lnTo>
                <a:lnTo>
                  <a:pt x="67" y="86"/>
                </a:lnTo>
                <a:lnTo>
                  <a:pt x="65" y="89"/>
                </a:lnTo>
                <a:lnTo>
                  <a:pt x="63" y="91"/>
                </a:lnTo>
                <a:lnTo>
                  <a:pt x="63" y="94"/>
                </a:lnTo>
                <a:lnTo>
                  <a:pt x="62" y="94"/>
                </a:lnTo>
                <a:lnTo>
                  <a:pt x="63" y="94"/>
                </a:lnTo>
                <a:lnTo>
                  <a:pt x="63" y="96"/>
                </a:lnTo>
                <a:lnTo>
                  <a:pt x="61" y="96"/>
                </a:lnTo>
                <a:lnTo>
                  <a:pt x="58" y="97"/>
                </a:lnTo>
                <a:lnTo>
                  <a:pt x="55" y="100"/>
                </a:lnTo>
                <a:lnTo>
                  <a:pt x="51" y="102"/>
                </a:lnTo>
                <a:lnTo>
                  <a:pt x="50" y="102"/>
                </a:lnTo>
                <a:lnTo>
                  <a:pt x="50" y="104"/>
                </a:lnTo>
                <a:lnTo>
                  <a:pt x="49" y="104"/>
                </a:lnTo>
                <a:lnTo>
                  <a:pt x="49" y="105"/>
                </a:lnTo>
                <a:lnTo>
                  <a:pt x="47" y="105"/>
                </a:lnTo>
                <a:lnTo>
                  <a:pt x="42" y="107"/>
                </a:lnTo>
                <a:lnTo>
                  <a:pt x="41" y="107"/>
                </a:lnTo>
                <a:lnTo>
                  <a:pt x="37" y="108"/>
                </a:lnTo>
                <a:lnTo>
                  <a:pt x="35" y="107"/>
                </a:lnTo>
                <a:lnTo>
                  <a:pt x="35" y="105"/>
                </a:lnTo>
                <a:lnTo>
                  <a:pt x="34" y="105"/>
                </a:lnTo>
                <a:lnTo>
                  <a:pt x="33" y="107"/>
                </a:lnTo>
                <a:lnTo>
                  <a:pt x="30" y="107"/>
                </a:lnTo>
                <a:lnTo>
                  <a:pt x="30" y="105"/>
                </a:lnTo>
                <a:lnTo>
                  <a:pt x="28" y="107"/>
                </a:lnTo>
                <a:lnTo>
                  <a:pt x="28" y="105"/>
                </a:lnTo>
                <a:lnTo>
                  <a:pt x="28" y="104"/>
                </a:lnTo>
                <a:lnTo>
                  <a:pt x="26" y="104"/>
                </a:lnTo>
                <a:lnTo>
                  <a:pt x="25" y="104"/>
                </a:lnTo>
                <a:lnTo>
                  <a:pt x="20" y="104"/>
                </a:lnTo>
                <a:lnTo>
                  <a:pt x="18" y="100"/>
                </a:lnTo>
                <a:lnTo>
                  <a:pt x="17" y="99"/>
                </a:lnTo>
                <a:lnTo>
                  <a:pt x="14" y="99"/>
                </a:lnTo>
                <a:lnTo>
                  <a:pt x="13" y="100"/>
                </a:lnTo>
                <a:lnTo>
                  <a:pt x="10" y="100"/>
                </a:lnTo>
                <a:lnTo>
                  <a:pt x="5" y="100"/>
                </a:lnTo>
                <a:lnTo>
                  <a:pt x="2" y="99"/>
                </a:lnTo>
                <a:lnTo>
                  <a:pt x="4" y="97"/>
                </a:lnTo>
                <a:lnTo>
                  <a:pt x="5" y="96"/>
                </a:lnTo>
                <a:lnTo>
                  <a:pt x="6" y="94"/>
                </a:lnTo>
                <a:lnTo>
                  <a:pt x="4" y="97"/>
                </a:lnTo>
                <a:lnTo>
                  <a:pt x="2" y="97"/>
                </a:lnTo>
                <a:lnTo>
                  <a:pt x="4" y="94"/>
                </a:lnTo>
                <a:lnTo>
                  <a:pt x="2" y="96"/>
                </a:lnTo>
                <a:lnTo>
                  <a:pt x="0" y="96"/>
                </a:lnTo>
                <a:lnTo>
                  <a:pt x="0" y="94"/>
                </a:lnTo>
                <a:lnTo>
                  <a:pt x="1" y="93"/>
                </a:lnTo>
                <a:lnTo>
                  <a:pt x="4" y="93"/>
                </a:lnTo>
                <a:lnTo>
                  <a:pt x="6" y="91"/>
                </a:lnTo>
                <a:lnTo>
                  <a:pt x="5" y="91"/>
                </a:lnTo>
                <a:lnTo>
                  <a:pt x="5" y="89"/>
                </a:lnTo>
                <a:lnTo>
                  <a:pt x="6" y="89"/>
                </a:lnTo>
                <a:lnTo>
                  <a:pt x="6" y="88"/>
                </a:lnTo>
                <a:lnTo>
                  <a:pt x="5" y="88"/>
                </a:lnTo>
                <a:lnTo>
                  <a:pt x="4" y="88"/>
                </a:lnTo>
                <a:lnTo>
                  <a:pt x="4" y="86"/>
                </a:lnTo>
                <a:lnTo>
                  <a:pt x="5" y="86"/>
                </a:lnTo>
                <a:lnTo>
                  <a:pt x="6" y="85"/>
                </a:lnTo>
                <a:lnTo>
                  <a:pt x="5" y="85"/>
                </a:lnTo>
                <a:lnTo>
                  <a:pt x="5" y="83"/>
                </a:lnTo>
                <a:lnTo>
                  <a:pt x="6" y="83"/>
                </a:lnTo>
                <a:lnTo>
                  <a:pt x="8" y="85"/>
                </a:lnTo>
                <a:lnTo>
                  <a:pt x="9" y="83"/>
                </a:lnTo>
                <a:lnTo>
                  <a:pt x="10" y="83"/>
                </a:lnTo>
                <a:lnTo>
                  <a:pt x="9" y="83"/>
                </a:lnTo>
                <a:lnTo>
                  <a:pt x="8" y="82"/>
                </a:lnTo>
                <a:lnTo>
                  <a:pt x="9" y="78"/>
                </a:lnTo>
                <a:lnTo>
                  <a:pt x="12" y="77"/>
                </a:lnTo>
                <a:lnTo>
                  <a:pt x="12" y="75"/>
                </a:lnTo>
                <a:lnTo>
                  <a:pt x="13" y="77"/>
                </a:lnTo>
                <a:lnTo>
                  <a:pt x="13" y="78"/>
                </a:lnTo>
                <a:lnTo>
                  <a:pt x="14" y="78"/>
                </a:lnTo>
                <a:lnTo>
                  <a:pt x="14" y="75"/>
                </a:lnTo>
                <a:lnTo>
                  <a:pt x="16" y="74"/>
                </a:lnTo>
                <a:lnTo>
                  <a:pt x="17" y="72"/>
                </a:lnTo>
                <a:lnTo>
                  <a:pt x="18" y="72"/>
                </a:lnTo>
                <a:lnTo>
                  <a:pt x="21" y="71"/>
                </a:lnTo>
                <a:lnTo>
                  <a:pt x="21" y="67"/>
                </a:lnTo>
                <a:lnTo>
                  <a:pt x="22" y="66"/>
                </a:lnTo>
                <a:lnTo>
                  <a:pt x="24" y="66"/>
                </a:lnTo>
                <a:lnTo>
                  <a:pt x="25" y="61"/>
                </a:lnTo>
                <a:lnTo>
                  <a:pt x="26" y="61"/>
                </a:lnTo>
                <a:lnTo>
                  <a:pt x="28" y="61"/>
                </a:lnTo>
                <a:lnTo>
                  <a:pt x="29" y="61"/>
                </a:lnTo>
                <a:lnTo>
                  <a:pt x="32" y="60"/>
                </a:lnTo>
                <a:lnTo>
                  <a:pt x="34" y="60"/>
                </a:lnTo>
                <a:lnTo>
                  <a:pt x="35" y="60"/>
                </a:lnTo>
                <a:lnTo>
                  <a:pt x="38" y="58"/>
                </a:lnTo>
                <a:lnTo>
                  <a:pt x="42" y="55"/>
                </a:lnTo>
                <a:lnTo>
                  <a:pt x="46" y="53"/>
                </a:lnTo>
                <a:lnTo>
                  <a:pt x="51" y="50"/>
                </a:lnTo>
                <a:lnTo>
                  <a:pt x="55" y="47"/>
                </a:lnTo>
                <a:lnTo>
                  <a:pt x="55" y="45"/>
                </a:lnTo>
                <a:lnTo>
                  <a:pt x="58" y="44"/>
                </a:lnTo>
                <a:lnTo>
                  <a:pt x="59" y="42"/>
                </a:lnTo>
                <a:lnTo>
                  <a:pt x="61" y="42"/>
                </a:lnTo>
                <a:lnTo>
                  <a:pt x="65" y="41"/>
                </a:lnTo>
                <a:lnTo>
                  <a:pt x="66" y="39"/>
                </a:lnTo>
                <a:lnTo>
                  <a:pt x="70" y="34"/>
                </a:lnTo>
                <a:lnTo>
                  <a:pt x="71" y="30"/>
                </a:lnTo>
                <a:lnTo>
                  <a:pt x="73" y="25"/>
                </a:lnTo>
                <a:lnTo>
                  <a:pt x="74" y="22"/>
                </a:lnTo>
                <a:lnTo>
                  <a:pt x="78" y="19"/>
                </a:lnTo>
                <a:lnTo>
                  <a:pt x="81" y="19"/>
                </a:lnTo>
                <a:lnTo>
                  <a:pt x="81" y="17"/>
                </a:lnTo>
                <a:lnTo>
                  <a:pt x="83" y="14"/>
                </a:lnTo>
                <a:lnTo>
                  <a:pt x="85" y="8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93" name="Freeform 916"/>
          <p:cNvSpPr>
            <a:spLocks/>
          </p:cNvSpPr>
          <p:nvPr/>
        </p:nvSpPr>
        <p:spPr bwMode="auto">
          <a:xfrm>
            <a:off x="10638055" y="5559807"/>
            <a:ext cx="163701" cy="251269"/>
          </a:xfrm>
          <a:custGeom>
            <a:avLst/>
            <a:gdLst/>
            <a:ahLst/>
            <a:cxnLst>
              <a:cxn ang="0">
                <a:pos x="33" y="116"/>
              </a:cxn>
              <a:cxn ang="0">
                <a:pos x="37" y="108"/>
              </a:cxn>
              <a:cxn ang="0">
                <a:pos x="37" y="102"/>
              </a:cxn>
              <a:cxn ang="0">
                <a:pos x="26" y="96"/>
              </a:cxn>
              <a:cxn ang="0">
                <a:pos x="16" y="88"/>
              </a:cxn>
              <a:cxn ang="0">
                <a:pos x="22" y="82"/>
              </a:cxn>
              <a:cxn ang="0">
                <a:pos x="29" y="74"/>
              </a:cxn>
              <a:cxn ang="0">
                <a:pos x="32" y="66"/>
              </a:cxn>
              <a:cxn ang="0">
                <a:pos x="32" y="61"/>
              </a:cxn>
              <a:cxn ang="0">
                <a:pos x="32" y="55"/>
              </a:cxn>
              <a:cxn ang="0">
                <a:pos x="28" y="49"/>
              </a:cxn>
              <a:cxn ang="0">
                <a:pos x="32" y="47"/>
              </a:cxn>
              <a:cxn ang="0">
                <a:pos x="26" y="46"/>
              </a:cxn>
              <a:cxn ang="0">
                <a:pos x="24" y="39"/>
              </a:cxn>
              <a:cxn ang="0">
                <a:pos x="24" y="36"/>
              </a:cxn>
              <a:cxn ang="0">
                <a:pos x="22" y="31"/>
              </a:cxn>
              <a:cxn ang="0">
                <a:pos x="21" y="35"/>
              </a:cxn>
              <a:cxn ang="0">
                <a:pos x="10" y="20"/>
              </a:cxn>
              <a:cxn ang="0">
                <a:pos x="12" y="16"/>
              </a:cxn>
              <a:cxn ang="0">
                <a:pos x="8" y="16"/>
              </a:cxn>
              <a:cxn ang="0">
                <a:pos x="6" y="9"/>
              </a:cxn>
              <a:cxn ang="0">
                <a:pos x="0" y="2"/>
              </a:cxn>
              <a:cxn ang="0">
                <a:pos x="4" y="3"/>
              </a:cxn>
              <a:cxn ang="0">
                <a:pos x="6" y="9"/>
              </a:cxn>
              <a:cxn ang="0">
                <a:pos x="10" y="8"/>
              </a:cxn>
              <a:cxn ang="0">
                <a:pos x="14" y="11"/>
              </a:cxn>
              <a:cxn ang="0">
                <a:pos x="21" y="13"/>
              </a:cxn>
              <a:cxn ang="0">
                <a:pos x="22" y="16"/>
              </a:cxn>
              <a:cxn ang="0">
                <a:pos x="24" y="19"/>
              </a:cxn>
              <a:cxn ang="0">
                <a:pos x="28" y="24"/>
              </a:cxn>
              <a:cxn ang="0">
                <a:pos x="24" y="24"/>
              </a:cxn>
              <a:cxn ang="0">
                <a:pos x="26" y="27"/>
              </a:cxn>
              <a:cxn ang="0">
                <a:pos x="30" y="35"/>
              </a:cxn>
              <a:cxn ang="0">
                <a:pos x="30" y="39"/>
              </a:cxn>
              <a:cxn ang="0">
                <a:pos x="30" y="42"/>
              </a:cxn>
              <a:cxn ang="0">
                <a:pos x="32" y="46"/>
              </a:cxn>
              <a:cxn ang="0">
                <a:pos x="37" y="44"/>
              </a:cxn>
              <a:cxn ang="0">
                <a:pos x="38" y="49"/>
              </a:cxn>
              <a:cxn ang="0">
                <a:pos x="41" y="42"/>
              </a:cxn>
              <a:cxn ang="0">
                <a:pos x="41" y="38"/>
              </a:cxn>
              <a:cxn ang="0">
                <a:pos x="45" y="42"/>
              </a:cxn>
              <a:cxn ang="0">
                <a:pos x="46" y="47"/>
              </a:cxn>
              <a:cxn ang="0">
                <a:pos x="48" y="52"/>
              </a:cxn>
              <a:cxn ang="0">
                <a:pos x="52" y="58"/>
              </a:cxn>
              <a:cxn ang="0">
                <a:pos x="63" y="63"/>
              </a:cxn>
              <a:cxn ang="0">
                <a:pos x="70" y="63"/>
              </a:cxn>
              <a:cxn ang="0">
                <a:pos x="74" y="58"/>
              </a:cxn>
              <a:cxn ang="0">
                <a:pos x="79" y="55"/>
              </a:cxn>
              <a:cxn ang="0">
                <a:pos x="86" y="58"/>
              </a:cxn>
              <a:cxn ang="0">
                <a:pos x="85" y="69"/>
              </a:cxn>
              <a:cxn ang="0">
                <a:pos x="81" y="75"/>
              </a:cxn>
              <a:cxn ang="0">
                <a:pos x="78" y="83"/>
              </a:cxn>
              <a:cxn ang="0">
                <a:pos x="78" y="86"/>
              </a:cxn>
              <a:cxn ang="0">
                <a:pos x="74" y="82"/>
              </a:cxn>
              <a:cxn ang="0">
                <a:pos x="67" y="83"/>
              </a:cxn>
              <a:cxn ang="0">
                <a:pos x="62" y="91"/>
              </a:cxn>
              <a:cxn ang="0">
                <a:pos x="65" y="94"/>
              </a:cxn>
              <a:cxn ang="0">
                <a:pos x="59" y="105"/>
              </a:cxn>
              <a:cxn ang="0">
                <a:pos x="50" y="119"/>
              </a:cxn>
              <a:cxn ang="0">
                <a:pos x="40" y="127"/>
              </a:cxn>
              <a:cxn ang="0">
                <a:pos x="32" y="124"/>
              </a:cxn>
            </a:cxnLst>
            <a:rect l="0" t="0" r="r" b="b"/>
            <a:pathLst>
              <a:path w="86" h="127">
                <a:moveTo>
                  <a:pt x="30" y="121"/>
                </a:moveTo>
                <a:lnTo>
                  <a:pt x="33" y="118"/>
                </a:lnTo>
                <a:lnTo>
                  <a:pt x="33" y="116"/>
                </a:lnTo>
                <a:lnTo>
                  <a:pt x="36" y="115"/>
                </a:lnTo>
                <a:lnTo>
                  <a:pt x="37" y="111"/>
                </a:lnTo>
                <a:lnTo>
                  <a:pt x="37" y="108"/>
                </a:lnTo>
                <a:lnTo>
                  <a:pt x="38" y="105"/>
                </a:lnTo>
                <a:lnTo>
                  <a:pt x="38" y="104"/>
                </a:lnTo>
                <a:lnTo>
                  <a:pt x="37" y="102"/>
                </a:lnTo>
                <a:lnTo>
                  <a:pt x="33" y="97"/>
                </a:lnTo>
                <a:lnTo>
                  <a:pt x="30" y="97"/>
                </a:lnTo>
                <a:lnTo>
                  <a:pt x="26" y="96"/>
                </a:lnTo>
                <a:lnTo>
                  <a:pt x="22" y="91"/>
                </a:lnTo>
                <a:lnTo>
                  <a:pt x="18" y="91"/>
                </a:lnTo>
                <a:lnTo>
                  <a:pt x="16" y="88"/>
                </a:lnTo>
                <a:lnTo>
                  <a:pt x="17" y="85"/>
                </a:lnTo>
                <a:lnTo>
                  <a:pt x="20" y="83"/>
                </a:lnTo>
                <a:lnTo>
                  <a:pt x="22" y="82"/>
                </a:lnTo>
                <a:lnTo>
                  <a:pt x="25" y="80"/>
                </a:lnTo>
                <a:lnTo>
                  <a:pt x="28" y="79"/>
                </a:lnTo>
                <a:lnTo>
                  <a:pt x="29" y="74"/>
                </a:lnTo>
                <a:lnTo>
                  <a:pt x="29" y="69"/>
                </a:lnTo>
                <a:lnTo>
                  <a:pt x="30" y="66"/>
                </a:lnTo>
                <a:lnTo>
                  <a:pt x="32" y="66"/>
                </a:lnTo>
                <a:lnTo>
                  <a:pt x="33" y="66"/>
                </a:lnTo>
                <a:lnTo>
                  <a:pt x="33" y="63"/>
                </a:lnTo>
                <a:lnTo>
                  <a:pt x="32" y="61"/>
                </a:lnTo>
                <a:lnTo>
                  <a:pt x="33" y="60"/>
                </a:lnTo>
                <a:lnTo>
                  <a:pt x="33" y="58"/>
                </a:lnTo>
                <a:lnTo>
                  <a:pt x="32" y="55"/>
                </a:lnTo>
                <a:lnTo>
                  <a:pt x="32" y="52"/>
                </a:lnTo>
                <a:lnTo>
                  <a:pt x="29" y="50"/>
                </a:lnTo>
                <a:lnTo>
                  <a:pt x="28" y="49"/>
                </a:lnTo>
                <a:lnTo>
                  <a:pt x="30" y="49"/>
                </a:lnTo>
                <a:lnTo>
                  <a:pt x="30" y="47"/>
                </a:lnTo>
                <a:lnTo>
                  <a:pt x="32" y="47"/>
                </a:lnTo>
                <a:lnTo>
                  <a:pt x="30" y="46"/>
                </a:lnTo>
                <a:lnTo>
                  <a:pt x="29" y="46"/>
                </a:lnTo>
                <a:lnTo>
                  <a:pt x="26" y="46"/>
                </a:lnTo>
                <a:lnTo>
                  <a:pt x="24" y="41"/>
                </a:lnTo>
                <a:lnTo>
                  <a:pt x="22" y="36"/>
                </a:lnTo>
                <a:lnTo>
                  <a:pt x="24" y="39"/>
                </a:lnTo>
                <a:lnTo>
                  <a:pt x="25" y="39"/>
                </a:lnTo>
                <a:lnTo>
                  <a:pt x="25" y="36"/>
                </a:lnTo>
                <a:lnTo>
                  <a:pt x="24" y="36"/>
                </a:lnTo>
                <a:lnTo>
                  <a:pt x="24" y="35"/>
                </a:lnTo>
                <a:lnTo>
                  <a:pt x="24" y="31"/>
                </a:lnTo>
                <a:lnTo>
                  <a:pt x="22" y="31"/>
                </a:lnTo>
                <a:lnTo>
                  <a:pt x="20" y="31"/>
                </a:lnTo>
                <a:lnTo>
                  <a:pt x="20" y="33"/>
                </a:lnTo>
                <a:lnTo>
                  <a:pt x="21" y="35"/>
                </a:lnTo>
                <a:lnTo>
                  <a:pt x="17" y="30"/>
                </a:lnTo>
                <a:lnTo>
                  <a:pt x="12" y="24"/>
                </a:lnTo>
                <a:lnTo>
                  <a:pt x="10" y="20"/>
                </a:lnTo>
                <a:lnTo>
                  <a:pt x="12" y="19"/>
                </a:lnTo>
                <a:lnTo>
                  <a:pt x="13" y="16"/>
                </a:lnTo>
                <a:lnTo>
                  <a:pt x="12" y="16"/>
                </a:lnTo>
                <a:lnTo>
                  <a:pt x="12" y="17"/>
                </a:lnTo>
                <a:lnTo>
                  <a:pt x="9" y="19"/>
                </a:lnTo>
                <a:lnTo>
                  <a:pt x="8" y="16"/>
                </a:lnTo>
                <a:lnTo>
                  <a:pt x="6" y="14"/>
                </a:lnTo>
                <a:lnTo>
                  <a:pt x="6" y="13"/>
                </a:lnTo>
                <a:lnTo>
                  <a:pt x="6" y="9"/>
                </a:lnTo>
                <a:lnTo>
                  <a:pt x="2" y="5"/>
                </a:lnTo>
                <a:lnTo>
                  <a:pt x="1" y="2"/>
                </a:lnTo>
                <a:lnTo>
                  <a:pt x="0" y="2"/>
                </a:lnTo>
                <a:lnTo>
                  <a:pt x="2" y="0"/>
                </a:lnTo>
                <a:lnTo>
                  <a:pt x="4" y="0"/>
                </a:lnTo>
                <a:lnTo>
                  <a:pt x="4" y="3"/>
                </a:lnTo>
                <a:lnTo>
                  <a:pt x="5" y="6"/>
                </a:lnTo>
                <a:lnTo>
                  <a:pt x="5" y="8"/>
                </a:lnTo>
                <a:lnTo>
                  <a:pt x="6" y="9"/>
                </a:lnTo>
                <a:lnTo>
                  <a:pt x="8" y="9"/>
                </a:lnTo>
                <a:lnTo>
                  <a:pt x="9" y="8"/>
                </a:lnTo>
                <a:lnTo>
                  <a:pt x="10" y="8"/>
                </a:lnTo>
                <a:lnTo>
                  <a:pt x="10" y="9"/>
                </a:lnTo>
                <a:lnTo>
                  <a:pt x="13" y="9"/>
                </a:lnTo>
                <a:lnTo>
                  <a:pt x="14" y="11"/>
                </a:lnTo>
                <a:lnTo>
                  <a:pt x="16" y="11"/>
                </a:lnTo>
                <a:lnTo>
                  <a:pt x="18" y="11"/>
                </a:lnTo>
                <a:lnTo>
                  <a:pt x="21" y="13"/>
                </a:lnTo>
                <a:lnTo>
                  <a:pt x="18" y="14"/>
                </a:lnTo>
                <a:lnTo>
                  <a:pt x="21" y="16"/>
                </a:lnTo>
                <a:lnTo>
                  <a:pt x="22" y="16"/>
                </a:lnTo>
                <a:lnTo>
                  <a:pt x="24" y="16"/>
                </a:lnTo>
                <a:lnTo>
                  <a:pt x="24" y="17"/>
                </a:lnTo>
                <a:lnTo>
                  <a:pt x="24" y="19"/>
                </a:lnTo>
                <a:lnTo>
                  <a:pt x="26" y="22"/>
                </a:lnTo>
                <a:lnTo>
                  <a:pt x="28" y="22"/>
                </a:lnTo>
                <a:lnTo>
                  <a:pt x="28" y="24"/>
                </a:lnTo>
                <a:lnTo>
                  <a:pt x="28" y="25"/>
                </a:lnTo>
                <a:lnTo>
                  <a:pt x="25" y="24"/>
                </a:lnTo>
                <a:lnTo>
                  <a:pt x="24" y="24"/>
                </a:lnTo>
                <a:lnTo>
                  <a:pt x="24" y="27"/>
                </a:lnTo>
                <a:lnTo>
                  <a:pt x="25" y="27"/>
                </a:lnTo>
                <a:lnTo>
                  <a:pt x="26" y="27"/>
                </a:lnTo>
                <a:lnTo>
                  <a:pt x="26" y="30"/>
                </a:lnTo>
                <a:lnTo>
                  <a:pt x="29" y="31"/>
                </a:lnTo>
                <a:lnTo>
                  <a:pt x="30" y="35"/>
                </a:lnTo>
                <a:lnTo>
                  <a:pt x="32" y="36"/>
                </a:lnTo>
                <a:lnTo>
                  <a:pt x="30" y="38"/>
                </a:lnTo>
                <a:lnTo>
                  <a:pt x="30" y="39"/>
                </a:lnTo>
                <a:lnTo>
                  <a:pt x="32" y="41"/>
                </a:lnTo>
                <a:lnTo>
                  <a:pt x="32" y="42"/>
                </a:lnTo>
                <a:lnTo>
                  <a:pt x="30" y="42"/>
                </a:lnTo>
                <a:lnTo>
                  <a:pt x="29" y="44"/>
                </a:lnTo>
                <a:lnTo>
                  <a:pt x="30" y="44"/>
                </a:lnTo>
                <a:lnTo>
                  <a:pt x="32" y="46"/>
                </a:lnTo>
                <a:lnTo>
                  <a:pt x="34" y="46"/>
                </a:lnTo>
                <a:lnTo>
                  <a:pt x="34" y="44"/>
                </a:lnTo>
                <a:lnTo>
                  <a:pt x="37" y="44"/>
                </a:lnTo>
                <a:lnTo>
                  <a:pt x="38" y="46"/>
                </a:lnTo>
                <a:lnTo>
                  <a:pt x="38" y="47"/>
                </a:lnTo>
                <a:lnTo>
                  <a:pt x="38" y="49"/>
                </a:lnTo>
                <a:lnTo>
                  <a:pt x="41" y="50"/>
                </a:lnTo>
                <a:lnTo>
                  <a:pt x="41" y="49"/>
                </a:lnTo>
                <a:lnTo>
                  <a:pt x="41" y="42"/>
                </a:lnTo>
                <a:lnTo>
                  <a:pt x="41" y="41"/>
                </a:lnTo>
                <a:lnTo>
                  <a:pt x="40" y="38"/>
                </a:lnTo>
                <a:lnTo>
                  <a:pt x="41" y="38"/>
                </a:lnTo>
                <a:lnTo>
                  <a:pt x="41" y="39"/>
                </a:lnTo>
                <a:lnTo>
                  <a:pt x="45" y="41"/>
                </a:lnTo>
                <a:lnTo>
                  <a:pt x="45" y="42"/>
                </a:lnTo>
                <a:lnTo>
                  <a:pt x="46" y="44"/>
                </a:lnTo>
                <a:lnTo>
                  <a:pt x="46" y="46"/>
                </a:lnTo>
                <a:lnTo>
                  <a:pt x="46" y="47"/>
                </a:lnTo>
                <a:lnTo>
                  <a:pt x="46" y="49"/>
                </a:lnTo>
                <a:lnTo>
                  <a:pt x="46" y="52"/>
                </a:lnTo>
                <a:lnTo>
                  <a:pt x="48" y="52"/>
                </a:lnTo>
                <a:lnTo>
                  <a:pt x="49" y="53"/>
                </a:lnTo>
                <a:lnTo>
                  <a:pt x="49" y="57"/>
                </a:lnTo>
                <a:lnTo>
                  <a:pt x="52" y="58"/>
                </a:lnTo>
                <a:lnTo>
                  <a:pt x="53" y="58"/>
                </a:lnTo>
                <a:lnTo>
                  <a:pt x="57" y="60"/>
                </a:lnTo>
                <a:lnTo>
                  <a:pt x="63" y="63"/>
                </a:lnTo>
                <a:lnTo>
                  <a:pt x="66" y="63"/>
                </a:lnTo>
                <a:lnTo>
                  <a:pt x="69" y="64"/>
                </a:lnTo>
                <a:lnTo>
                  <a:pt x="70" y="63"/>
                </a:lnTo>
                <a:lnTo>
                  <a:pt x="71" y="63"/>
                </a:lnTo>
                <a:lnTo>
                  <a:pt x="73" y="60"/>
                </a:lnTo>
                <a:lnTo>
                  <a:pt x="74" y="58"/>
                </a:lnTo>
                <a:lnTo>
                  <a:pt x="75" y="58"/>
                </a:lnTo>
                <a:lnTo>
                  <a:pt x="78" y="57"/>
                </a:lnTo>
                <a:lnTo>
                  <a:pt x="79" y="55"/>
                </a:lnTo>
                <a:lnTo>
                  <a:pt x="81" y="55"/>
                </a:lnTo>
                <a:lnTo>
                  <a:pt x="82" y="55"/>
                </a:lnTo>
                <a:lnTo>
                  <a:pt x="86" y="58"/>
                </a:lnTo>
                <a:lnTo>
                  <a:pt x="86" y="61"/>
                </a:lnTo>
                <a:lnTo>
                  <a:pt x="85" y="64"/>
                </a:lnTo>
                <a:lnTo>
                  <a:pt x="85" y="69"/>
                </a:lnTo>
                <a:lnTo>
                  <a:pt x="85" y="72"/>
                </a:lnTo>
                <a:lnTo>
                  <a:pt x="83" y="74"/>
                </a:lnTo>
                <a:lnTo>
                  <a:pt x="81" y="75"/>
                </a:lnTo>
                <a:lnTo>
                  <a:pt x="79" y="75"/>
                </a:lnTo>
                <a:lnTo>
                  <a:pt x="78" y="80"/>
                </a:lnTo>
                <a:lnTo>
                  <a:pt x="78" y="83"/>
                </a:lnTo>
                <a:lnTo>
                  <a:pt x="79" y="83"/>
                </a:lnTo>
                <a:lnTo>
                  <a:pt x="79" y="85"/>
                </a:lnTo>
                <a:lnTo>
                  <a:pt x="78" y="86"/>
                </a:lnTo>
                <a:lnTo>
                  <a:pt x="77" y="83"/>
                </a:lnTo>
                <a:lnTo>
                  <a:pt x="75" y="82"/>
                </a:lnTo>
                <a:lnTo>
                  <a:pt x="74" y="82"/>
                </a:lnTo>
                <a:lnTo>
                  <a:pt x="71" y="83"/>
                </a:lnTo>
                <a:lnTo>
                  <a:pt x="70" y="83"/>
                </a:lnTo>
                <a:lnTo>
                  <a:pt x="67" y="83"/>
                </a:lnTo>
                <a:lnTo>
                  <a:pt x="66" y="85"/>
                </a:lnTo>
                <a:lnTo>
                  <a:pt x="62" y="90"/>
                </a:lnTo>
                <a:lnTo>
                  <a:pt x="62" y="91"/>
                </a:lnTo>
                <a:lnTo>
                  <a:pt x="63" y="91"/>
                </a:lnTo>
                <a:lnTo>
                  <a:pt x="63" y="93"/>
                </a:lnTo>
                <a:lnTo>
                  <a:pt x="65" y="94"/>
                </a:lnTo>
                <a:lnTo>
                  <a:pt x="65" y="96"/>
                </a:lnTo>
                <a:lnTo>
                  <a:pt x="63" y="99"/>
                </a:lnTo>
                <a:lnTo>
                  <a:pt x="59" y="105"/>
                </a:lnTo>
                <a:lnTo>
                  <a:pt x="59" y="107"/>
                </a:lnTo>
                <a:lnTo>
                  <a:pt x="55" y="110"/>
                </a:lnTo>
                <a:lnTo>
                  <a:pt x="50" y="119"/>
                </a:lnTo>
                <a:lnTo>
                  <a:pt x="48" y="124"/>
                </a:lnTo>
                <a:lnTo>
                  <a:pt x="42" y="126"/>
                </a:lnTo>
                <a:lnTo>
                  <a:pt x="40" y="127"/>
                </a:lnTo>
                <a:lnTo>
                  <a:pt x="38" y="126"/>
                </a:lnTo>
                <a:lnTo>
                  <a:pt x="37" y="124"/>
                </a:lnTo>
                <a:lnTo>
                  <a:pt x="32" y="124"/>
                </a:lnTo>
                <a:lnTo>
                  <a:pt x="30" y="122"/>
                </a:lnTo>
                <a:lnTo>
                  <a:pt x="30" y="121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94" name="Freeform 917"/>
          <p:cNvSpPr>
            <a:spLocks/>
          </p:cNvSpPr>
          <p:nvPr/>
        </p:nvSpPr>
        <p:spPr bwMode="auto">
          <a:xfrm>
            <a:off x="10638055" y="5559807"/>
            <a:ext cx="163701" cy="251269"/>
          </a:xfrm>
          <a:custGeom>
            <a:avLst/>
            <a:gdLst/>
            <a:ahLst/>
            <a:cxnLst>
              <a:cxn ang="0">
                <a:pos x="33" y="116"/>
              </a:cxn>
              <a:cxn ang="0">
                <a:pos x="37" y="108"/>
              </a:cxn>
              <a:cxn ang="0">
                <a:pos x="37" y="102"/>
              </a:cxn>
              <a:cxn ang="0">
                <a:pos x="26" y="96"/>
              </a:cxn>
              <a:cxn ang="0">
                <a:pos x="16" y="88"/>
              </a:cxn>
              <a:cxn ang="0">
                <a:pos x="22" y="82"/>
              </a:cxn>
              <a:cxn ang="0">
                <a:pos x="29" y="74"/>
              </a:cxn>
              <a:cxn ang="0">
                <a:pos x="32" y="66"/>
              </a:cxn>
              <a:cxn ang="0">
                <a:pos x="32" y="61"/>
              </a:cxn>
              <a:cxn ang="0">
                <a:pos x="32" y="55"/>
              </a:cxn>
              <a:cxn ang="0">
                <a:pos x="28" y="49"/>
              </a:cxn>
              <a:cxn ang="0">
                <a:pos x="32" y="47"/>
              </a:cxn>
              <a:cxn ang="0">
                <a:pos x="26" y="46"/>
              </a:cxn>
              <a:cxn ang="0">
                <a:pos x="24" y="39"/>
              </a:cxn>
              <a:cxn ang="0">
                <a:pos x="24" y="36"/>
              </a:cxn>
              <a:cxn ang="0">
                <a:pos x="22" y="31"/>
              </a:cxn>
              <a:cxn ang="0">
                <a:pos x="21" y="35"/>
              </a:cxn>
              <a:cxn ang="0">
                <a:pos x="10" y="20"/>
              </a:cxn>
              <a:cxn ang="0">
                <a:pos x="12" y="16"/>
              </a:cxn>
              <a:cxn ang="0">
                <a:pos x="8" y="16"/>
              </a:cxn>
              <a:cxn ang="0">
                <a:pos x="6" y="9"/>
              </a:cxn>
              <a:cxn ang="0">
                <a:pos x="0" y="2"/>
              </a:cxn>
              <a:cxn ang="0">
                <a:pos x="4" y="3"/>
              </a:cxn>
              <a:cxn ang="0">
                <a:pos x="6" y="9"/>
              </a:cxn>
              <a:cxn ang="0">
                <a:pos x="10" y="8"/>
              </a:cxn>
              <a:cxn ang="0">
                <a:pos x="14" y="11"/>
              </a:cxn>
              <a:cxn ang="0">
                <a:pos x="21" y="13"/>
              </a:cxn>
              <a:cxn ang="0">
                <a:pos x="22" y="16"/>
              </a:cxn>
              <a:cxn ang="0">
                <a:pos x="24" y="19"/>
              </a:cxn>
              <a:cxn ang="0">
                <a:pos x="28" y="24"/>
              </a:cxn>
              <a:cxn ang="0">
                <a:pos x="24" y="24"/>
              </a:cxn>
              <a:cxn ang="0">
                <a:pos x="26" y="27"/>
              </a:cxn>
              <a:cxn ang="0">
                <a:pos x="30" y="35"/>
              </a:cxn>
              <a:cxn ang="0">
                <a:pos x="30" y="39"/>
              </a:cxn>
              <a:cxn ang="0">
                <a:pos x="30" y="42"/>
              </a:cxn>
              <a:cxn ang="0">
                <a:pos x="32" y="46"/>
              </a:cxn>
              <a:cxn ang="0">
                <a:pos x="37" y="44"/>
              </a:cxn>
              <a:cxn ang="0">
                <a:pos x="38" y="49"/>
              </a:cxn>
              <a:cxn ang="0">
                <a:pos x="41" y="42"/>
              </a:cxn>
              <a:cxn ang="0">
                <a:pos x="41" y="38"/>
              </a:cxn>
              <a:cxn ang="0">
                <a:pos x="45" y="42"/>
              </a:cxn>
              <a:cxn ang="0">
                <a:pos x="46" y="47"/>
              </a:cxn>
              <a:cxn ang="0">
                <a:pos x="48" y="52"/>
              </a:cxn>
              <a:cxn ang="0">
                <a:pos x="52" y="58"/>
              </a:cxn>
              <a:cxn ang="0">
                <a:pos x="63" y="63"/>
              </a:cxn>
              <a:cxn ang="0">
                <a:pos x="70" y="63"/>
              </a:cxn>
              <a:cxn ang="0">
                <a:pos x="74" y="58"/>
              </a:cxn>
              <a:cxn ang="0">
                <a:pos x="79" y="55"/>
              </a:cxn>
              <a:cxn ang="0">
                <a:pos x="86" y="58"/>
              </a:cxn>
              <a:cxn ang="0">
                <a:pos x="85" y="69"/>
              </a:cxn>
              <a:cxn ang="0">
                <a:pos x="81" y="75"/>
              </a:cxn>
              <a:cxn ang="0">
                <a:pos x="78" y="83"/>
              </a:cxn>
              <a:cxn ang="0">
                <a:pos x="78" y="86"/>
              </a:cxn>
              <a:cxn ang="0">
                <a:pos x="74" y="82"/>
              </a:cxn>
              <a:cxn ang="0">
                <a:pos x="67" y="83"/>
              </a:cxn>
              <a:cxn ang="0">
                <a:pos x="62" y="91"/>
              </a:cxn>
              <a:cxn ang="0">
                <a:pos x="65" y="94"/>
              </a:cxn>
              <a:cxn ang="0">
                <a:pos x="59" y="105"/>
              </a:cxn>
              <a:cxn ang="0">
                <a:pos x="50" y="119"/>
              </a:cxn>
              <a:cxn ang="0">
                <a:pos x="40" y="127"/>
              </a:cxn>
              <a:cxn ang="0">
                <a:pos x="32" y="124"/>
              </a:cxn>
            </a:cxnLst>
            <a:rect l="0" t="0" r="r" b="b"/>
            <a:pathLst>
              <a:path w="86" h="127">
                <a:moveTo>
                  <a:pt x="30" y="121"/>
                </a:moveTo>
                <a:lnTo>
                  <a:pt x="33" y="118"/>
                </a:lnTo>
                <a:lnTo>
                  <a:pt x="33" y="116"/>
                </a:lnTo>
                <a:lnTo>
                  <a:pt x="36" y="115"/>
                </a:lnTo>
                <a:lnTo>
                  <a:pt x="37" y="111"/>
                </a:lnTo>
                <a:lnTo>
                  <a:pt x="37" y="108"/>
                </a:lnTo>
                <a:lnTo>
                  <a:pt x="38" y="105"/>
                </a:lnTo>
                <a:lnTo>
                  <a:pt x="38" y="104"/>
                </a:lnTo>
                <a:lnTo>
                  <a:pt x="37" y="102"/>
                </a:lnTo>
                <a:lnTo>
                  <a:pt x="33" y="97"/>
                </a:lnTo>
                <a:lnTo>
                  <a:pt x="30" y="97"/>
                </a:lnTo>
                <a:lnTo>
                  <a:pt x="26" y="96"/>
                </a:lnTo>
                <a:lnTo>
                  <a:pt x="22" y="91"/>
                </a:lnTo>
                <a:lnTo>
                  <a:pt x="18" y="91"/>
                </a:lnTo>
                <a:lnTo>
                  <a:pt x="16" y="88"/>
                </a:lnTo>
                <a:lnTo>
                  <a:pt x="17" y="85"/>
                </a:lnTo>
                <a:lnTo>
                  <a:pt x="20" y="83"/>
                </a:lnTo>
                <a:lnTo>
                  <a:pt x="22" y="82"/>
                </a:lnTo>
                <a:lnTo>
                  <a:pt x="25" y="80"/>
                </a:lnTo>
                <a:lnTo>
                  <a:pt x="28" y="79"/>
                </a:lnTo>
                <a:lnTo>
                  <a:pt x="29" y="74"/>
                </a:lnTo>
                <a:lnTo>
                  <a:pt x="29" y="69"/>
                </a:lnTo>
                <a:lnTo>
                  <a:pt x="30" y="66"/>
                </a:lnTo>
                <a:lnTo>
                  <a:pt x="32" y="66"/>
                </a:lnTo>
                <a:lnTo>
                  <a:pt x="33" y="66"/>
                </a:lnTo>
                <a:lnTo>
                  <a:pt x="33" y="63"/>
                </a:lnTo>
                <a:lnTo>
                  <a:pt x="32" y="61"/>
                </a:lnTo>
                <a:lnTo>
                  <a:pt x="33" y="60"/>
                </a:lnTo>
                <a:lnTo>
                  <a:pt x="33" y="58"/>
                </a:lnTo>
                <a:lnTo>
                  <a:pt x="32" y="55"/>
                </a:lnTo>
                <a:lnTo>
                  <a:pt x="32" y="52"/>
                </a:lnTo>
                <a:lnTo>
                  <a:pt x="29" y="50"/>
                </a:lnTo>
                <a:lnTo>
                  <a:pt x="28" y="49"/>
                </a:lnTo>
                <a:lnTo>
                  <a:pt x="30" y="49"/>
                </a:lnTo>
                <a:lnTo>
                  <a:pt x="30" y="47"/>
                </a:lnTo>
                <a:lnTo>
                  <a:pt x="32" y="47"/>
                </a:lnTo>
                <a:lnTo>
                  <a:pt x="30" y="46"/>
                </a:lnTo>
                <a:lnTo>
                  <a:pt x="29" y="46"/>
                </a:lnTo>
                <a:lnTo>
                  <a:pt x="26" y="46"/>
                </a:lnTo>
                <a:lnTo>
                  <a:pt x="24" y="41"/>
                </a:lnTo>
                <a:lnTo>
                  <a:pt x="22" y="36"/>
                </a:lnTo>
                <a:lnTo>
                  <a:pt x="24" y="39"/>
                </a:lnTo>
                <a:lnTo>
                  <a:pt x="25" y="39"/>
                </a:lnTo>
                <a:lnTo>
                  <a:pt x="25" y="36"/>
                </a:lnTo>
                <a:lnTo>
                  <a:pt x="24" y="36"/>
                </a:lnTo>
                <a:lnTo>
                  <a:pt x="24" y="35"/>
                </a:lnTo>
                <a:lnTo>
                  <a:pt x="24" y="31"/>
                </a:lnTo>
                <a:lnTo>
                  <a:pt x="22" y="31"/>
                </a:lnTo>
                <a:lnTo>
                  <a:pt x="20" y="31"/>
                </a:lnTo>
                <a:lnTo>
                  <a:pt x="20" y="33"/>
                </a:lnTo>
                <a:lnTo>
                  <a:pt x="21" y="35"/>
                </a:lnTo>
                <a:lnTo>
                  <a:pt x="17" y="30"/>
                </a:lnTo>
                <a:lnTo>
                  <a:pt x="12" y="24"/>
                </a:lnTo>
                <a:lnTo>
                  <a:pt x="10" y="20"/>
                </a:lnTo>
                <a:lnTo>
                  <a:pt x="12" y="19"/>
                </a:lnTo>
                <a:lnTo>
                  <a:pt x="13" y="16"/>
                </a:lnTo>
                <a:lnTo>
                  <a:pt x="12" y="16"/>
                </a:lnTo>
                <a:lnTo>
                  <a:pt x="12" y="17"/>
                </a:lnTo>
                <a:lnTo>
                  <a:pt x="9" y="19"/>
                </a:lnTo>
                <a:lnTo>
                  <a:pt x="8" y="16"/>
                </a:lnTo>
                <a:lnTo>
                  <a:pt x="6" y="14"/>
                </a:lnTo>
                <a:lnTo>
                  <a:pt x="6" y="13"/>
                </a:lnTo>
                <a:lnTo>
                  <a:pt x="6" y="9"/>
                </a:lnTo>
                <a:lnTo>
                  <a:pt x="2" y="5"/>
                </a:lnTo>
                <a:lnTo>
                  <a:pt x="1" y="2"/>
                </a:lnTo>
                <a:lnTo>
                  <a:pt x="0" y="2"/>
                </a:lnTo>
                <a:lnTo>
                  <a:pt x="2" y="0"/>
                </a:lnTo>
                <a:lnTo>
                  <a:pt x="4" y="0"/>
                </a:lnTo>
                <a:lnTo>
                  <a:pt x="4" y="3"/>
                </a:lnTo>
                <a:lnTo>
                  <a:pt x="5" y="6"/>
                </a:lnTo>
                <a:lnTo>
                  <a:pt x="5" y="8"/>
                </a:lnTo>
                <a:lnTo>
                  <a:pt x="6" y="9"/>
                </a:lnTo>
                <a:lnTo>
                  <a:pt x="8" y="9"/>
                </a:lnTo>
                <a:lnTo>
                  <a:pt x="9" y="8"/>
                </a:lnTo>
                <a:lnTo>
                  <a:pt x="10" y="8"/>
                </a:lnTo>
                <a:lnTo>
                  <a:pt x="10" y="9"/>
                </a:lnTo>
                <a:lnTo>
                  <a:pt x="13" y="9"/>
                </a:lnTo>
                <a:lnTo>
                  <a:pt x="14" y="11"/>
                </a:lnTo>
                <a:lnTo>
                  <a:pt x="16" y="11"/>
                </a:lnTo>
                <a:lnTo>
                  <a:pt x="18" y="11"/>
                </a:lnTo>
                <a:lnTo>
                  <a:pt x="21" y="13"/>
                </a:lnTo>
                <a:lnTo>
                  <a:pt x="18" y="14"/>
                </a:lnTo>
                <a:lnTo>
                  <a:pt x="21" y="16"/>
                </a:lnTo>
                <a:lnTo>
                  <a:pt x="22" y="16"/>
                </a:lnTo>
                <a:lnTo>
                  <a:pt x="24" y="16"/>
                </a:lnTo>
                <a:lnTo>
                  <a:pt x="24" y="17"/>
                </a:lnTo>
                <a:lnTo>
                  <a:pt x="24" y="19"/>
                </a:lnTo>
                <a:lnTo>
                  <a:pt x="26" y="22"/>
                </a:lnTo>
                <a:lnTo>
                  <a:pt x="28" y="22"/>
                </a:lnTo>
                <a:lnTo>
                  <a:pt x="28" y="24"/>
                </a:lnTo>
                <a:lnTo>
                  <a:pt x="28" y="25"/>
                </a:lnTo>
                <a:lnTo>
                  <a:pt x="25" y="24"/>
                </a:lnTo>
                <a:lnTo>
                  <a:pt x="24" y="24"/>
                </a:lnTo>
                <a:lnTo>
                  <a:pt x="24" y="27"/>
                </a:lnTo>
                <a:lnTo>
                  <a:pt x="25" y="27"/>
                </a:lnTo>
                <a:lnTo>
                  <a:pt x="26" y="27"/>
                </a:lnTo>
                <a:lnTo>
                  <a:pt x="26" y="30"/>
                </a:lnTo>
                <a:lnTo>
                  <a:pt x="29" y="31"/>
                </a:lnTo>
                <a:lnTo>
                  <a:pt x="30" y="35"/>
                </a:lnTo>
                <a:lnTo>
                  <a:pt x="32" y="36"/>
                </a:lnTo>
                <a:lnTo>
                  <a:pt x="30" y="38"/>
                </a:lnTo>
                <a:lnTo>
                  <a:pt x="30" y="39"/>
                </a:lnTo>
                <a:lnTo>
                  <a:pt x="32" y="41"/>
                </a:lnTo>
                <a:lnTo>
                  <a:pt x="32" y="42"/>
                </a:lnTo>
                <a:lnTo>
                  <a:pt x="30" y="42"/>
                </a:lnTo>
                <a:lnTo>
                  <a:pt x="29" y="44"/>
                </a:lnTo>
                <a:lnTo>
                  <a:pt x="30" y="44"/>
                </a:lnTo>
                <a:lnTo>
                  <a:pt x="32" y="46"/>
                </a:lnTo>
                <a:lnTo>
                  <a:pt x="34" y="46"/>
                </a:lnTo>
                <a:lnTo>
                  <a:pt x="34" y="44"/>
                </a:lnTo>
                <a:lnTo>
                  <a:pt x="37" y="44"/>
                </a:lnTo>
                <a:lnTo>
                  <a:pt x="38" y="46"/>
                </a:lnTo>
                <a:lnTo>
                  <a:pt x="38" y="47"/>
                </a:lnTo>
                <a:lnTo>
                  <a:pt x="38" y="49"/>
                </a:lnTo>
                <a:lnTo>
                  <a:pt x="41" y="50"/>
                </a:lnTo>
                <a:lnTo>
                  <a:pt x="41" y="49"/>
                </a:lnTo>
                <a:lnTo>
                  <a:pt x="41" y="42"/>
                </a:lnTo>
                <a:lnTo>
                  <a:pt x="41" y="41"/>
                </a:lnTo>
                <a:lnTo>
                  <a:pt x="40" y="38"/>
                </a:lnTo>
                <a:lnTo>
                  <a:pt x="41" y="38"/>
                </a:lnTo>
                <a:lnTo>
                  <a:pt x="41" y="39"/>
                </a:lnTo>
                <a:lnTo>
                  <a:pt x="45" y="41"/>
                </a:lnTo>
                <a:lnTo>
                  <a:pt x="45" y="42"/>
                </a:lnTo>
                <a:lnTo>
                  <a:pt x="46" y="44"/>
                </a:lnTo>
                <a:lnTo>
                  <a:pt x="46" y="46"/>
                </a:lnTo>
                <a:lnTo>
                  <a:pt x="46" y="47"/>
                </a:lnTo>
                <a:lnTo>
                  <a:pt x="46" y="49"/>
                </a:lnTo>
                <a:lnTo>
                  <a:pt x="46" y="52"/>
                </a:lnTo>
                <a:lnTo>
                  <a:pt x="48" y="52"/>
                </a:lnTo>
                <a:lnTo>
                  <a:pt x="49" y="53"/>
                </a:lnTo>
                <a:lnTo>
                  <a:pt x="49" y="57"/>
                </a:lnTo>
                <a:lnTo>
                  <a:pt x="52" y="58"/>
                </a:lnTo>
                <a:lnTo>
                  <a:pt x="53" y="58"/>
                </a:lnTo>
                <a:lnTo>
                  <a:pt x="57" y="60"/>
                </a:lnTo>
                <a:lnTo>
                  <a:pt x="63" y="63"/>
                </a:lnTo>
                <a:lnTo>
                  <a:pt x="66" y="63"/>
                </a:lnTo>
                <a:lnTo>
                  <a:pt x="69" y="64"/>
                </a:lnTo>
                <a:lnTo>
                  <a:pt x="70" y="63"/>
                </a:lnTo>
                <a:lnTo>
                  <a:pt x="71" y="63"/>
                </a:lnTo>
                <a:lnTo>
                  <a:pt x="73" y="60"/>
                </a:lnTo>
                <a:lnTo>
                  <a:pt x="74" y="58"/>
                </a:lnTo>
                <a:lnTo>
                  <a:pt x="75" y="58"/>
                </a:lnTo>
                <a:lnTo>
                  <a:pt x="78" y="57"/>
                </a:lnTo>
                <a:lnTo>
                  <a:pt x="79" y="55"/>
                </a:lnTo>
                <a:lnTo>
                  <a:pt x="81" y="55"/>
                </a:lnTo>
                <a:lnTo>
                  <a:pt x="82" y="55"/>
                </a:lnTo>
                <a:lnTo>
                  <a:pt x="86" y="58"/>
                </a:lnTo>
                <a:lnTo>
                  <a:pt x="86" y="61"/>
                </a:lnTo>
                <a:lnTo>
                  <a:pt x="85" y="64"/>
                </a:lnTo>
                <a:lnTo>
                  <a:pt x="85" y="69"/>
                </a:lnTo>
                <a:lnTo>
                  <a:pt x="85" y="72"/>
                </a:lnTo>
                <a:lnTo>
                  <a:pt x="83" y="74"/>
                </a:lnTo>
                <a:lnTo>
                  <a:pt x="81" y="75"/>
                </a:lnTo>
                <a:lnTo>
                  <a:pt x="79" y="75"/>
                </a:lnTo>
                <a:lnTo>
                  <a:pt x="78" y="80"/>
                </a:lnTo>
                <a:lnTo>
                  <a:pt x="78" y="83"/>
                </a:lnTo>
                <a:lnTo>
                  <a:pt x="79" y="83"/>
                </a:lnTo>
                <a:lnTo>
                  <a:pt x="79" y="85"/>
                </a:lnTo>
                <a:lnTo>
                  <a:pt x="78" y="86"/>
                </a:lnTo>
                <a:lnTo>
                  <a:pt x="77" y="83"/>
                </a:lnTo>
                <a:lnTo>
                  <a:pt x="75" y="82"/>
                </a:lnTo>
                <a:lnTo>
                  <a:pt x="74" y="82"/>
                </a:lnTo>
                <a:lnTo>
                  <a:pt x="71" y="83"/>
                </a:lnTo>
                <a:lnTo>
                  <a:pt x="70" y="83"/>
                </a:lnTo>
                <a:lnTo>
                  <a:pt x="67" y="83"/>
                </a:lnTo>
                <a:lnTo>
                  <a:pt x="66" y="85"/>
                </a:lnTo>
                <a:lnTo>
                  <a:pt x="62" y="90"/>
                </a:lnTo>
                <a:lnTo>
                  <a:pt x="62" y="91"/>
                </a:lnTo>
                <a:lnTo>
                  <a:pt x="63" y="91"/>
                </a:lnTo>
                <a:lnTo>
                  <a:pt x="63" y="93"/>
                </a:lnTo>
                <a:lnTo>
                  <a:pt x="65" y="94"/>
                </a:lnTo>
                <a:lnTo>
                  <a:pt x="65" y="96"/>
                </a:lnTo>
                <a:lnTo>
                  <a:pt x="63" y="99"/>
                </a:lnTo>
                <a:lnTo>
                  <a:pt x="59" y="105"/>
                </a:lnTo>
                <a:lnTo>
                  <a:pt x="59" y="107"/>
                </a:lnTo>
                <a:lnTo>
                  <a:pt x="55" y="110"/>
                </a:lnTo>
                <a:lnTo>
                  <a:pt x="50" y="119"/>
                </a:lnTo>
                <a:lnTo>
                  <a:pt x="48" y="124"/>
                </a:lnTo>
                <a:lnTo>
                  <a:pt x="42" y="126"/>
                </a:lnTo>
                <a:lnTo>
                  <a:pt x="40" y="127"/>
                </a:lnTo>
                <a:lnTo>
                  <a:pt x="38" y="126"/>
                </a:lnTo>
                <a:lnTo>
                  <a:pt x="37" y="124"/>
                </a:lnTo>
                <a:lnTo>
                  <a:pt x="32" y="124"/>
                </a:lnTo>
                <a:lnTo>
                  <a:pt x="30" y="122"/>
                </a:lnTo>
                <a:lnTo>
                  <a:pt x="30" y="12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95" name="Freeform 918"/>
          <p:cNvSpPr>
            <a:spLocks/>
          </p:cNvSpPr>
          <p:nvPr/>
        </p:nvSpPr>
        <p:spPr bwMode="auto">
          <a:xfrm>
            <a:off x="10121620" y="4520365"/>
            <a:ext cx="3898" cy="10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3"/>
              </a:cxn>
              <a:cxn ang="0">
                <a:pos x="1" y="6"/>
              </a:cxn>
              <a:cxn ang="0">
                <a:pos x="0" y="3"/>
              </a:cxn>
              <a:cxn ang="0">
                <a:pos x="0" y="0"/>
              </a:cxn>
            </a:cxnLst>
            <a:rect l="0" t="0" r="r" b="b"/>
            <a:pathLst>
              <a:path w="1" h="6">
                <a:moveTo>
                  <a:pt x="0" y="0"/>
                </a:moveTo>
                <a:lnTo>
                  <a:pt x="1" y="3"/>
                </a:lnTo>
                <a:lnTo>
                  <a:pt x="1" y="6"/>
                </a:lnTo>
                <a:lnTo>
                  <a:pt x="0" y="3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96" name="Freeform 919"/>
          <p:cNvSpPr>
            <a:spLocks/>
          </p:cNvSpPr>
          <p:nvPr/>
        </p:nvSpPr>
        <p:spPr bwMode="auto">
          <a:xfrm>
            <a:off x="10121620" y="4520365"/>
            <a:ext cx="3898" cy="10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3"/>
              </a:cxn>
              <a:cxn ang="0">
                <a:pos x="1" y="6"/>
              </a:cxn>
              <a:cxn ang="0">
                <a:pos x="0" y="3"/>
              </a:cxn>
              <a:cxn ang="0">
                <a:pos x="0" y="0"/>
              </a:cxn>
            </a:cxnLst>
            <a:rect l="0" t="0" r="r" b="b"/>
            <a:pathLst>
              <a:path w="1" h="6">
                <a:moveTo>
                  <a:pt x="0" y="0"/>
                </a:moveTo>
                <a:lnTo>
                  <a:pt x="1" y="3"/>
                </a:lnTo>
                <a:lnTo>
                  <a:pt x="1" y="6"/>
                </a:lnTo>
                <a:lnTo>
                  <a:pt x="0" y="3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97" name="Freeform 920"/>
          <p:cNvSpPr>
            <a:spLocks/>
          </p:cNvSpPr>
          <p:nvPr/>
        </p:nvSpPr>
        <p:spPr bwMode="auto">
          <a:xfrm>
            <a:off x="10125518" y="4533250"/>
            <a:ext cx="37026" cy="5154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2"/>
              </a:cxn>
              <a:cxn ang="0">
                <a:pos x="4" y="2"/>
              </a:cxn>
              <a:cxn ang="0">
                <a:pos x="7" y="8"/>
              </a:cxn>
              <a:cxn ang="0">
                <a:pos x="12" y="13"/>
              </a:cxn>
              <a:cxn ang="0">
                <a:pos x="18" y="19"/>
              </a:cxn>
              <a:cxn ang="0">
                <a:pos x="19" y="24"/>
              </a:cxn>
              <a:cxn ang="0">
                <a:pos x="18" y="24"/>
              </a:cxn>
              <a:cxn ang="0">
                <a:pos x="16" y="25"/>
              </a:cxn>
              <a:cxn ang="0">
                <a:pos x="14" y="25"/>
              </a:cxn>
              <a:cxn ang="0">
                <a:pos x="11" y="25"/>
              </a:cxn>
              <a:cxn ang="0">
                <a:pos x="8" y="22"/>
              </a:cxn>
              <a:cxn ang="0">
                <a:pos x="7" y="21"/>
              </a:cxn>
              <a:cxn ang="0">
                <a:pos x="7" y="16"/>
              </a:cxn>
              <a:cxn ang="0">
                <a:pos x="4" y="14"/>
              </a:cxn>
              <a:cxn ang="0">
                <a:pos x="2" y="11"/>
              </a:cxn>
              <a:cxn ang="0">
                <a:pos x="0" y="7"/>
              </a:cxn>
              <a:cxn ang="0">
                <a:pos x="0" y="5"/>
              </a:cxn>
              <a:cxn ang="0">
                <a:pos x="0" y="0"/>
              </a:cxn>
            </a:cxnLst>
            <a:rect l="0" t="0" r="r" b="b"/>
            <a:pathLst>
              <a:path w="19" h="25">
                <a:moveTo>
                  <a:pt x="0" y="0"/>
                </a:moveTo>
                <a:lnTo>
                  <a:pt x="2" y="2"/>
                </a:lnTo>
                <a:lnTo>
                  <a:pt x="4" y="2"/>
                </a:lnTo>
                <a:lnTo>
                  <a:pt x="7" y="8"/>
                </a:lnTo>
                <a:lnTo>
                  <a:pt x="12" y="13"/>
                </a:lnTo>
                <a:lnTo>
                  <a:pt x="18" y="19"/>
                </a:lnTo>
                <a:lnTo>
                  <a:pt x="19" y="24"/>
                </a:lnTo>
                <a:lnTo>
                  <a:pt x="18" y="24"/>
                </a:lnTo>
                <a:lnTo>
                  <a:pt x="16" y="25"/>
                </a:lnTo>
                <a:lnTo>
                  <a:pt x="14" y="25"/>
                </a:lnTo>
                <a:lnTo>
                  <a:pt x="11" y="25"/>
                </a:lnTo>
                <a:lnTo>
                  <a:pt x="8" y="22"/>
                </a:lnTo>
                <a:lnTo>
                  <a:pt x="7" y="21"/>
                </a:lnTo>
                <a:lnTo>
                  <a:pt x="7" y="16"/>
                </a:lnTo>
                <a:lnTo>
                  <a:pt x="4" y="14"/>
                </a:lnTo>
                <a:lnTo>
                  <a:pt x="2" y="11"/>
                </a:lnTo>
                <a:lnTo>
                  <a:pt x="0" y="7"/>
                </a:lnTo>
                <a:lnTo>
                  <a:pt x="0" y="5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98" name="Freeform 921"/>
          <p:cNvSpPr>
            <a:spLocks/>
          </p:cNvSpPr>
          <p:nvPr/>
        </p:nvSpPr>
        <p:spPr bwMode="auto">
          <a:xfrm>
            <a:off x="10125518" y="4533250"/>
            <a:ext cx="37026" cy="5154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2"/>
              </a:cxn>
              <a:cxn ang="0">
                <a:pos x="4" y="2"/>
              </a:cxn>
              <a:cxn ang="0">
                <a:pos x="7" y="8"/>
              </a:cxn>
              <a:cxn ang="0">
                <a:pos x="12" y="13"/>
              </a:cxn>
              <a:cxn ang="0">
                <a:pos x="18" y="19"/>
              </a:cxn>
              <a:cxn ang="0">
                <a:pos x="19" y="24"/>
              </a:cxn>
              <a:cxn ang="0">
                <a:pos x="18" y="24"/>
              </a:cxn>
              <a:cxn ang="0">
                <a:pos x="16" y="25"/>
              </a:cxn>
              <a:cxn ang="0">
                <a:pos x="14" y="25"/>
              </a:cxn>
              <a:cxn ang="0">
                <a:pos x="11" y="25"/>
              </a:cxn>
              <a:cxn ang="0">
                <a:pos x="8" y="22"/>
              </a:cxn>
              <a:cxn ang="0">
                <a:pos x="7" y="21"/>
              </a:cxn>
              <a:cxn ang="0">
                <a:pos x="7" y="16"/>
              </a:cxn>
              <a:cxn ang="0">
                <a:pos x="4" y="14"/>
              </a:cxn>
              <a:cxn ang="0">
                <a:pos x="2" y="11"/>
              </a:cxn>
              <a:cxn ang="0">
                <a:pos x="0" y="7"/>
              </a:cxn>
              <a:cxn ang="0">
                <a:pos x="0" y="5"/>
              </a:cxn>
              <a:cxn ang="0">
                <a:pos x="0" y="0"/>
              </a:cxn>
            </a:cxnLst>
            <a:rect l="0" t="0" r="r" b="b"/>
            <a:pathLst>
              <a:path w="19" h="25">
                <a:moveTo>
                  <a:pt x="0" y="0"/>
                </a:moveTo>
                <a:lnTo>
                  <a:pt x="2" y="2"/>
                </a:lnTo>
                <a:lnTo>
                  <a:pt x="4" y="2"/>
                </a:lnTo>
                <a:lnTo>
                  <a:pt x="7" y="8"/>
                </a:lnTo>
                <a:lnTo>
                  <a:pt x="12" y="13"/>
                </a:lnTo>
                <a:lnTo>
                  <a:pt x="18" y="19"/>
                </a:lnTo>
                <a:lnTo>
                  <a:pt x="19" y="24"/>
                </a:lnTo>
                <a:lnTo>
                  <a:pt x="18" y="24"/>
                </a:lnTo>
                <a:lnTo>
                  <a:pt x="16" y="25"/>
                </a:lnTo>
                <a:lnTo>
                  <a:pt x="14" y="25"/>
                </a:lnTo>
                <a:lnTo>
                  <a:pt x="11" y="25"/>
                </a:lnTo>
                <a:lnTo>
                  <a:pt x="8" y="22"/>
                </a:lnTo>
                <a:lnTo>
                  <a:pt x="7" y="21"/>
                </a:lnTo>
                <a:lnTo>
                  <a:pt x="7" y="16"/>
                </a:lnTo>
                <a:lnTo>
                  <a:pt x="4" y="14"/>
                </a:lnTo>
                <a:lnTo>
                  <a:pt x="2" y="11"/>
                </a:lnTo>
                <a:lnTo>
                  <a:pt x="0" y="7"/>
                </a:lnTo>
                <a:lnTo>
                  <a:pt x="0" y="5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999" name="Freeform 922"/>
          <p:cNvSpPr>
            <a:spLocks/>
          </p:cNvSpPr>
          <p:nvPr/>
        </p:nvSpPr>
        <p:spPr bwMode="auto">
          <a:xfrm>
            <a:off x="10174237" y="4574053"/>
            <a:ext cx="33130" cy="30067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1" y="0"/>
              </a:cxn>
              <a:cxn ang="0">
                <a:pos x="4" y="3"/>
              </a:cxn>
              <a:cxn ang="0">
                <a:pos x="5" y="4"/>
              </a:cxn>
              <a:cxn ang="0">
                <a:pos x="8" y="4"/>
              </a:cxn>
              <a:cxn ang="0">
                <a:pos x="8" y="6"/>
              </a:cxn>
              <a:cxn ang="0">
                <a:pos x="9" y="8"/>
              </a:cxn>
              <a:cxn ang="0">
                <a:pos x="12" y="9"/>
              </a:cxn>
              <a:cxn ang="0">
                <a:pos x="13" y="11"/>
              </a:cxn>
              <a:cxn ang="0">
                <a:pos x="16" y="11"/>
              </a:cxn>
              <a:cxn ang="0">
                <a:pos x="16" y="14"/>
              </a:cxn>
              <a:cxn ang="0">
                <a:pos x="13" y="14"/>
              </a:cxn>
              <a:cxn ang="0">
                <a:pos x="10" y="12"/>
              </a:cxn>
              <a:cxn ang="0">
                <a:pos x="8" y="11"/>
              </a:cxn>
              <a:cxn ang="0">
                <a:pos x="4" y="6"/>
              </a:cxn>
              <a:cxn ang="0">
                <a:pos x="0" y="1"/>
              </a:cxn>
            </a:cxnLst>
            <a:rect l="0" t="0" r="r" b="b"/>
            <a:pathLst>
              <a:path w="16" h="14">
                <a:moveTo>
                  <a:pt x="0" y="1"/>
                </a:moveTo>
                <a:lnTo>
                  <a:pt x="1" y="0"/>
                </a:lnTo>
                <a:lnTo>
                  <a:pt x="4" y="3"/>
                </a:lnTo>
                <a:lnTo>
                  <a:pt x="5" y="4"/>
                </a:lnTo>
                <a:lnTo>
                  <a:pt x="8" y="4"/>
                </a:lnTo>
                <a:lnTo>
                  <a:pt x="8" y="6"/>
                </a:lnTo>
                <a:lnTo>
                  <a:pt x="9" y="8"/>
                </a:lnTo>
                <a:lnTo>
                  <a:pt x="12" y="9"/>
                </a:lnTo>
                <a:lnTo>
                  <a:pt x="13" y="11"/>
                </a:lnTo>
                <a:lnTo>
                  <a:pt x="16" y="11"/>
                </a:lnTo>
                <a:lnTo>
                  <a:pt x="16" y="14"/>
                </a:lnTo>
                <a:lnTo>
                  <a:pt x="13" y="14"/>
                </a:lnTo>
                <a:lnTo>
                  <a:pt x="10" y="12"/>
                </a:lnTo>
                <a:lnTo>
                  <a:pt x="8" y="11"/>
                </a:lnTo>
                <a:lnTo>
                  <a:pt x="4" y="6"/>
                </a:lnTo>
                <a:lnTo>
                  <a:pt x="0" y="1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00" name="Freeform 923"/>
          <p:cNvSpPr>
            <a:spLocks/>
          </p:cNvSpPr>
          <p:nvPr/>
        </p:nvSpPr>
        <p:spPr bwMode="auto">
          <a:xfrm>
            <a:off x="10174237" y="4574053"/>
            <a:ext cx="33130" cy="30067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1" y="0"/>
              </a:cxn>
              <a:cxn ang="0">
                <a:pos x="4" y="3"/>
              </a:cxn>
              <a:cxn ang="0">
                <a:pos x="5" y="4"/>
              </a:cxn>
              <a:cxn ang="0">
                <a:pos x="8" y="4"/>
              </a:cxn>
              <a:cxn ang="0">
                <a:pos x="8" y="6"/>
              </a:cxn>
              <a:cxn ang="0">
                <a:pos x="9" y="8"/>
              </a:cxn>
              <a:cxn ang="0">
                <a:pos x="12" y="9"/>
              </a:cxn>
              <a:cxn ang="0">
                <a:pos x="13" y="11"/>
              </a:cxn>
              <a:cxn ang="0">
                <a:pos x="16" y="11"/>
              </a:cxn>
              <a:cxn ang="0">
                <a:pos x="16" y="14"/>
              </a:cxn>
              <a:cxn ang="0">
                <a:pos x="13" y="14"/>
              </a:cxn>
              <a:cxn ang="0">
                <a:pos x="10" y="12"/>
              </a:cxn>
              <a:cxn ang="0">
                <a:pos x="8" y="11"/>
              </a:cxn>
              <a:cxn ang="0">
                <a:pos x="4" y="6"/>
              </a:cxn>
              <a:cxn ang="0">
                <a:pos x="0" y="1"/>
              </a:cxn>
            </a:cxnLst>
            <a:rect l="0" t="0" r="r" b="b"/>
            <a:pathLst>
              <a:path w="16" h="14">
                <a:moveTo>
                  <a:pt x="0" y="1"/>
                </a:moveTo>
                <a:lnTo>
                  <a:pt x="1" y="0"/>
                </a:lnTo>
                <a:lnTo>
                  <a:pt x="4" y="3"/>
                </a:lnTo>
                <a:lnTo>
                  <a:pt x="5" y="4"/>
                </a:lnTo>
                <a:lnTo>
                  <a:pt x="8" y="4"/>
                </a:lnTo>
                <a:lnTo>
                  <a:pt x="8" y="6"/>
                </a:lnTo>
                <a:lnTo>
                  <a:pt x="9" y="8"/>
                </a:lnTo>
                <a:lnTo>
                  <a:pt x="12" y="9"/>
                </a:lnTo>
                <a:lnTo>
                  <a:pt x="13" y="11"/>
                </a:lnTo>
                <a:lnTo>
                  <a:pt x="16" y="11"/>
                </a:lnTo>
                <a:lnTo>
                  <a:pt x="16" y="14"/>
                </a:lnTo>
                <a:lnTo>
                  <a:pt x="13" y="14"/>
                </a:lnTo>
                <a:lnTo>
                  <a:pt x="10" y="12"/>
                </a:lnTo>
                <a:lnTo>
                  <a:pt x="8" y="11"/>
                </a:lnTo>
                <a:lnTo>
                  <a:pt x="4" y="6"/>
                </a:lnTo>
                <a:lnTo>
                  <a:pt x="0" y="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01" name="Freeform 924"/>
          <p:cNvSpPr>
            <a:spLocks/>
          </p:cNvSpPr>
          <p:nvPr/>
        </p:nvSpPr>
        <p:spPr bwMode="auto">
          <a:xfrm>
            <a:off x="10178136" y="4608414"/>
            <a:ext cx="7795" cy="1073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0"/>
              </a:cxn>
              <a:cxn ang="0">
                <a:pos x="3" y="2"/>
              </a:cxn>
              <a:cxn ang="0">
                <a:pos x="4" y="3"/>
              </a:cxn>
              <a:cxn ang="0">
                <a:pos x="3" y="6"/>
              </a:cxn>
              <a:cxn ang="0">
                <a:pos x="0" y="3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4" h="6">
                <a:moveTo>
                  <a:pt x="0" y="0"/>
                </a:moveTo>
                <a:lnTo>
                  <a:pt x="1" y="0"/>
                </a:lnTo>
                <a:lnTo>
                  <a:pt x="3" y="2"/>
                </a:lnTo>
                <a:lnTo>
                  <a:pt x="4" y="3"/>
                </a:lnTo>
                <a:lnTo>
                  <a:pt x="3" y="6"/>
                </a:lnTo>
                <a:lnTo>
                  <a:pt x="0" y="3"/>
                </a:ln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02" name="Freeform 925"/>
          <p:cNvSpPr>
            <a:spLocks/>
          </p:cNvSpPr>
          <p:nvPr/>
        </p:nvSpPr>
        <p:spPr bwMode="auto">
          <a:xfrm>
            <a:off x="10178136" y="4608414"/>
            <a:ext cx="7795" cy="1073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0"/>
              </a:cxn>
              <a:cxn ang="0">
                <a:pos x="3" y="2"/>
              </a:cxn>
              <a:cxn ang="0">
                <a:pos x="4" y="3"/>
              </a:cxn>
              <a:cxn ang="0">
                <a:pos x="3" y="6"/>
              </a:cxn>
              <a:cxn ang="0">
                <a:pos x="0" y="3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4" h="6">
                <a:moveTo>
                  <a:pt x="0" y="0"/>
                </a:moveTo>
                <a:lnTo>
                  <a:pt x="1" y="0"/>
                </a:lnTo>
                <a:lnTo>
                  <a:pt x="3" y="2"/>
                </a:lnTo>
                <a:lnTo>
                  <a:pt x="4" y="3"/>
                </a:lnTo>
                <a:lnTo>
                  <a:pt x="3" y="6"/>
                </a:lnTo>
                <a:lnTo>
                  <a:pt x="0" y="3"/>
                </a:lnTo>
                <a:lnTo>
                  <a:pt x="0" y="2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03" name="Freeform 926"/>
          <p:cNvSpPr>
            <a:spLocks/>
          </p:cNvSpPr>
          <p:nvPr/>
        </p:nvSpPr>
        <p:spPr bwMode="auto">
          <a:xfrm>
            <a:off x="10191779" y="4619155"/>
            <a:ext cx="1948" cy="10737"/>
          </a:xfrm>
          <a:custGeom>
            <a:avLst/>
            <a:gdLst/>
            <a:ahLst/>
            <a:cxnLst>
              <a:cxn ang="0">
                <a:pos x="1" y="1"/>
              </a:cxn>
              <a:cxn ang="0">
                <a:pos x="2" y="3"/>
              </a:cxn>
              <a:cxn ang="0">
                <a:pos x="2" y="4"/>
              </a:cxn>
              <a:cxn ang="0">
                <a:pos x="1" y="6"/>
              </a:cxn>
              <a:cxn ang="0">
                <a:pos x="0" y="3"/>
              </a:cxn>
              <a:cxn ang="0">
                <a:pos x="0" y="0"/>
              </a:cxn>
              <a:cxn ang="0">
                <a:pos x="1" y="0"/>
              </a:cxn>
              <a:cxn ang="0">
                <a:pos x="1" y="1"/>
              </a:cxn>
            </a:cxnLst>
            <a:rect l="0" t="0" r="r" b="b"/>
            <a:pathLst>
              <a:path w="2" h="6">
                <a:moveTo>
                  <a:pt x="1" y="1"/>
                </a:moveTo>
                <a:lnTo>
                  <a:pt x="2" y="3"/>
                </a:lnTo>
                <a:lnTo>
                  <a:pt x="2" y="4"/>
                </a:lnTo>
                <a:lnTo>
                  <a:pt x="1" y="6"/>
                </a:lnTo>
                <a:lnTo>
                  <a:pt x="0" y="3"/>
                </a:lnTo>
                <a:lnTo>
                  <a:pt x="0" y="0"/>
                </a:lnTo>
                <a:lnTo>
                  <a:pt x="1" y="0"/>
                </a:lnTo>
                <a:lnTo>
                  <a:pt x="1" y="1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04" name="Freeform 927"/>
          <p:cNvSpPr>
            <a:spLocks/>
          </p:cNvSpPr>
          <p:nvPr/>
        </p:nvSpPr>
        <p:spPr bwMode="auto">
          <a:xfrm>
            <a:off x="10191779" y="4619155"/>
            <a:ext cx="1948" cy="10737"/>
          </a:xfrm>
          <a:custGeom>
            <a:avLst/>
            <a:gdLst/>
            <a:ahLst/>
            <a:cxnLst>
              <a:cxn ang="0">
                <a:pos x="1" y="1"/>
              </a:cxn>
              <a:cxn ang="0">
                <a:pos x="2" y="3"/>
              </a:cxn>
              <a:cxn ang="0">
                <a:pos x="2" y="4"/>
              </a:cxn>
              <a:cxn ang="0">
                <a:pos x="1" y="6"/>
              </a:cxn>
              <a:cxn ang="0">
                <a:pos x="0" y="3"/>
              </a:cxn>
              <a:cxn ang="0">
                <a:pos x="0" y="0"/>
              </a:cxn>
              <a:cxn ang="0">
                <a:pos x="1" y="0"/>
              </a:cxn>
              <a:cxn ang="0">
                <a:pos x="1" y="1"/>
              </a:cxn>
            </a:cxnLst>
            <a:rect l="0" t="0" r="r" b="b"/>
            <a:pathLst>
              <a:path w="2" h="6">
                <a:moveTo>
                  <a:pt x="1" y="1"/>
                </a:moveTo>
                <a:lnTo>
                  <a:pt x="2" y="3"/>
                </a:lnTo>
                <a:lnTo>
                  <a:pt x="2" y="4"/>
                </a:lnTo>
                <a:lnTo>
                  <a:pt x="1" y="6"/>
                </a:lnTo>
                <a:lnTo>
                  <a:pt x="0" y="3"/>
                </a:lnTo>
                <a:lnTo>
                  <a:pt x="0" y="0"/>
                </a:lnTo>
                <a:lnTo>
                  <a:pt x="1" y="0"/>
                </a:lnTo>
                <a:lnTo>
                  <a:pt x="1" y="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05" name="Freeform 928"/>
          <p:cNvSpPr>
            <a:spLocks/>
          </p:cNvSpPr>
          <p:nvPr/>
        </p:nvSpPr>
        <p:spPr bwMode="auto">
          <a:xfrm>
            <a:off x="10197623" y="4625597"/>
            <a:ext cx="17540" cy="15033"/>
          </a:xfrm>
          <a:custGeom>
            <a:avLst/>
            <a:gdLst/>
            <a:ahLst/>
            <a:cxnLst>
              <a:cxn ang="0">
                <a:pos x="0" y="5"/>
              </a:cxn>
              <a:cxn ang="0">
                <a:pos x="0" y="3"/>
              </a:cxn>
              <a:cxn ang="0">
                <a:pos x="0" y="1"/>
              </a:cxn>
              <a:cxn ang="0">
                <a:pos x="2" y="0"/>
              </a:cxn>
              <a:cxn ang="0">
                <a:pos x="4" y="0"/>
              </a:cxn>
              <a:cxn ang="0">
                <a:pos x="5" y="3"/>
              </a:cxn>
              <a:cxn ang="0">
                <a:pos x="8" y="5"/>
              </a:cxn>
              <a:cxn ang="0">
                <a:pos x="9" y="9"/>
              </a:cxn>
              <a:cxn ang="0">
                <a:pos x="6" y="9"/>
              </a:cxn>
              <a:cxn ang="0">
                <a:pos x="4" y="5"/>
              </a:cxn>
              <a:cxn ang="0">
                <a:pos x="1" y="5"/>
              </a:cxn>
              <a:cxn ang="0">
                <a:pos x="0" y="5"/>
              </a:cxn>
            </a:cxnLst>
            <a:rect l="0" t="0" r="r" b="b"/>
            <a:pathLst>
              <a:path w="9" h="9">
                <a:moveTo>
                  <a:pt x="0" y="5"/>
                </a:moveTo>
                <a:lnTo>
                  <a:pt x="0" y="3"/>
                </a:lnTo>
                <a:lnTo>
                  <a:pt x="0" y="1"/>
                </a:lnTo>
                <a:lnTo>
                  <a:pt x="2" y="0"/>
                </a:lnTo>
                <a:lnTo>
                  <a:pt x="4" y="0"/>
                </a:lnTo>
                <a:lnTo>
                  <a:pt x="5" y="3"/>
                </a:lnTo>
                <a:lnTo>
                  <a:pt x="8" y="5"/>
                </a:lnTo>
                <a:lnTo>
                  <a:pt x="9" y="9"/>
                </a:lnTo>
                <a:lnTo>
                  <a:pt x="6" y="9"/>
                </a:lnTo>
                <a:lnTo>
                  <a:pt x="4" y="5"/>
                </a:lnTo>
                <a:lnTo>
                  <a:pt x="1" y="5"/>
                </a:lnTo>
                <a:lnTo>
                  <a:pt x="0" y="5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06" name="Freeform 929"/>
          <p:cNvSpPr>
            <a:spLocks/>
          </p:cNvSpPr>
          <p:nvPr/>
        </p:nvSpPr>
        <p:spPr bwMode="auto">
          <a:xfrm>
            <a:off x="10197623" y="4625597"/>
            <a:ext cx="17540" cy="15033"/>
          </a:xfrm>
          <a:custGeom>
            <a:avLst/>
            <a:gdLst/>
            <a:ahLst/>
            <a:cxnLst>
              <a:cxn ang="0">
                <a:pos x="0" y="5"/>
              </a:cxn>
              <a:cxn ang="0">
                <a:pos x="0" y="3"/>
              </a:cxn>
              <a:cxn ang="0">
                <a:pos x="0" y="1"/>
              </a:cxn>
              <a:cxn ang="0">
                <a:pos x="2" y="0"/>
              </a:cxn>
              <a:cxn ang="0">
                <a:pos x="4" y="0"/>
              </a:cxn>
              <a:cxn ang="0">
                <a:pos x="5" y="3"/>
              </a:cxn>
              <a:cxn ang="0">
                <a:pos x="8" y="5"/>
              </a:cxn>
              <a:cxn ang="0">
                <a:pos x="9" y="9"/>
              </a:cxn>
              <a:cxn ang="0">
                <a:pos x="6" y="9"/>
              </a:cxn>
              <a:cxn ang="0">
                <a:pos x="4" y="5"/>
              </a:cxn>
              <a:cxn ang="0">
                <a:pos x="1" y="5"/>
              </a:cxn>
              <a:cxn ang="0">
                <a:pos x="0" y="5"/>
              </a:cxn>
            </a:cxnLst>
            <a:rect l="0" t="0" r="r" b="b"/>
            <a:pathLst>
              <a:path w="9" h="9">
                <a:moveTo>
                  <a:pt x="0" y="5"/>
                </a:moveTo>
                <a:lnTo>
                  <a:pt x="0" y="3"/>
                </a:lnTo>
                <a:lnTo>
                  <a:pt x="0" y="1"/>
                </a:lnTo>
                <a:lnTo>
                  <a:pt x="2" y="0"/>
                </a:lnTo>
                <a:lnTo>
                  <a:pt x="4" y="0"/>
                </a:lnTo>
                <a:lnTo>
                  <a:pt x="5" y="3"/>
                </a:lnTo>
                <a:lnTo>
                  <a:pt x="8" y="5"/>
                </a:lnTo>
                <a:lnTo>
                  <a:pt x="9" y="9"/>
                </a:lnTo>
                <a:lnTo>
                  <a:pt x="6" y="9"/>
                </a:lnTo>
                <a:lnTo>
                  <a:pt x="4" y="5"/>
                </a:lnTo>
                <a:lnTo>
                  <a:pt x="1" y="5"/>
                </a:lnTo>
                <a:lnTo>
                  <a:pt x="0" y="5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07" name="Freeform 930"/>
          <p:cNvSpPr>
            <a:spLocks/>
          </p:cNvSpPr>
          <p:nvPr/>
        </p:nvSpPr>
        <p:spPr bwMode="auto">
          <a:xfrm>
            <a:off x="10197623" y="4640629"/>
            <a:ext cx="1949" cy="8591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1"/>
              </a:cxn>
              <a:cxn ang="0">
                <a:pos x="1" y="0"/>
              </a:cxn>
              <a:cxn ang="0">
                <a:pos x="1" y="3"/>
              </a:cxn>
              <a:cxn ang="0">
                <a:pos x="1" y="4"/>
              </a:cxn>
              <a:cxn ang="0">
                <a:pos x="0" y="3"/>
              </a:cxn>
            </a:cxnLst>
            <a:rect l="0" t="0" r="r" b="b"/>
            <a:pathLst>
              <a:path w="1" h="4">
                <a:moveTo>
                  <a:pt x="0" y="3"/>
                </a:moveTo>
                <a:lnTo>
                  <a:pt x="0" y="1"/>
                </a:lnTo>
                <a:lnTo>
                  <a:pt x="1" y="0"/>
                </a:lnTo>
                <a:lnTo>
                  <a:pt x="1" y="3"/>
                </a:lnTo>
                <a:lnTo>
                  <a:pt x="1" y="4"/>
                </a:lnTo>
                <a:lnTo>
                  <a:pt x="0" y="3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08" name="Freeform 931"/>
          <p:cNvSpPr>
            <a:spLocks/>
          </p:cNvSpPr>
          <p:nvPr/>
        </p:nvSpPr>
        <p:spPr bwMode="auto">
          <a:xfrm>
            <a:off x="10197623" y="4640629"/>
            <a:ext cx="1949" cy="8591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1"/>
              </a:cxn>
              <a:cxn ang="0">
                <a:pos x="1" y="0"/>
              </a:cxn>
              <a:cxn ang="0">
                <a:pos x="1" y="3"/>
              </a:cxn>
              <a:cxn ang="0">
                <a:pos x="1" y="4"/>
              </a:cxn>
              <a:cxn ang="0">
                <a:pos x="0" y="3"/>
              </a:cxn>
            </a:cxnLst>
            <a:rect l="0" t="0" r="r" b="b"/>
            <a:pathLst>
              <a:path w="1" h="4">
                <a:moveTo>
                  <a:pt x="0" y="3"/>
                </a:moveTo>
                <a:lnTo>
                  <a:pt x="0" y="1"/>
                </a:lnTo>
                <a:lnTo>
                  <a:pt x="1" y="0"/>
                </a:lnTo>
                <a:lnTo>
                  <a:pt x="1" y="3"/>
                </a:lnTo>
                <a:lnTo>
                  <a:pt x="1" y="4"/>
                </a:lnTo>
                <a:lnTo>
                  <a:pt x="0" y="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09" name="Freeform 932"/>
          <p:cNvSpPr>
            <a:spLocks/>
          </p:cNvSpPr>
          <p:nvPr/>
        </p:nvSpPr>
        <p:spPr bwMode="auto">
          <a:xfrm>
            <a:off x="10215164" y="4640629"/>
            <a:ext cx="5846" cy="8591"/>
          </a:xfrm>
          <a:custGeom>
            <a:avLst/>
            <a:gdLst/>
            <a:ahLst/>
            <a:cxnLst>
              <a:cxn ang="0">
                <a:pos x="1" y="3"/>
              </a:cxn>
              <a:cxn ang="0">
                <a:pos x="0" y="2"/>
              </a:cxn>
              <a:cxn ang="0">
                <a:pos x="1" y="2"/>
              </a:cxn>
              <a:cxn ang="0">
                <a:pos x="1" y="0"/>
              </a:cxn>
              <a:cxn ang="0">
                <a:pos x="3" y="0"/>
              </a:cxn>
              <a:cxn ang="0">
                <a:pos x="3" y="2"/>
              </a:cxn>
              <a:cxn ang="0">
                <a:pos x="3" y="3"/>
              </a:cxn>
              <a:cxn ang="0">
                <a:pos x="1" y="3"/>
              </a:cxn>
            </a:cxnLst>
            <a:rect l="0" t="0" r="r" b="b"/>
            <a:pathLst>
              <a:path w="3" h="3">
                <a:moveTo>
                  <a:pt x="1" y="3"/>
                </a:moveTo>
                <a:lnTo>
                  <a:pt x="0" y="2"/>
                </a:lnTo>
                <a:lnTo>
                  <a:pt x="1" y="2"/>
                </a:lnTo>
                <a:lnTo>
                  <a:pt x="1" y="0"/>
                </a:lnTo>
                <a:lnTo>
                  <a:pt x="3" y="0"/>
                </a:lnTo>
                <a:lnTo>
                  <a:pt x="3" y="2"/>
                </a:lnTo>
                <a:lnTo>
                  <a:pt x="3" y="3"/>
                </a:lnTo>
                <a:lnTo>
                  <a:pt x="1" y="3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10" name="Freeform 933"/>
          <p:cNvSpPr>
            <a:spLocks/>
          </p:cNvSpPr>
          <p:nvPr/>
        </p:nvSpPr>
        <p:spPr bwMode="auto">
          <a:xfrm>
            <a:off x="10215164" y="4640629"/>
            <a:ext cx="5846" cy="8591"/>
          </a:xfrm>
          <a:custGeom>
            <a:avLst/>
            <a:gdLst/>
            <a:ahLst/>
            <a:cxnLst>
              <a:cxn ang="0">
                <a:pos x="1" y="3"/>
              </a:cxn>
              <a:cxn ang="0">
                <a:pos x="0" y="2"/>
              </a:cxn>
              <a:cxn ang="0">
                <a:pos x="1" y="2"/>
              </a:cxn>
              <a:cxn ang="0">
                <a:pos x="1" y="0"/>
              </a:cxn>
              <a:cxn ang="0">
                <a:pos x="3" y="0"/>
              </a:cxn>
              <a:cxn ang="0">
                <a:pos x="3" y="2"/>
              </a:cxn>
              <a:cxn ang="0">
                <a:pos x="3" y="3"/>
              </a:cxn>
              <a:cxn ang="0">
                <a:pos x="1" y="3"/>
              </a:cxn>
            </a:cxnLst>
            <a:rect l="0" t="0" r="r" b="b"/>
            <a:pathLst>
              <a:path w="3" h="3">
                <a:moveTo>
                  <a:pt x="1" y="3"/>
                </a:moveTo>
                <a:lnTo>
                  <a:pt x="0" y="2"/>
                </a:lnTo>
                <a:lnTo>
                  <a:pt x="1" y="2"/>
                </a:lnTo>
                <a:lnTo>
                  <a:pt x="1" y="0"/>
                </a:lnTo>
                <a:lnTo>
                  <a:pt x="3" y="0"/>
                </a:lnTo>
                <a:lnTo>
                  <a:pt x="3" y="2"/>
                </a:lnTo>
                <a:lnTo>
                  <a:pt x="3" y="3"/>
                </a:lnTo>
                <a:lnTo>
                  <a:pt x="1" y="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11" name="Freeform 934"/>
          <p:cNvSpPr>
            <a:spLocks/>
          </p:cNvSpPr>
          <p:nvPr/>
        </p:nvSpPr>
        <p:spPr bwMode="auto">
          <a:xfrm>
            <a:off x="10236600" y="4608416"/>
            <a:ext cx="35079" cy="3221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" y="8"/>
              </a:cxn>
              <a:cxn ang="0">
                <a:pos x="13" y="9"/>
              </a:cxn>
              <a:cxn ang="0">
                <a:pos x="16" y="11"/>
              </a:cxn>
              <a:cxn ang="0">
                <a:pos x="17" y="11"/>
              </a:cxn>
              <a:cxn ang="0">
                <a:pos x="18" y="13"/>
              </a:cxn>
              <a:cxn ang="0">
                <a:pos x="18" y="16"/>
              </a:cxn>
              <a:cxn ang="0">
                <a:pos x="18" y="17"/>
              </a:cxn>
              <a:cxn ang="0">
                <a:pos x="14" y="14"/>
              </a:cxn>
              <a:cxn ang="0">
                <a:pos x="10" y="11"/>
              </a:cxn>
              <a:cxn ang="0">
                <a:pos x="4" y="6"/>
              </a:cxn>
              <a:cxn ang="0">
                <a:pos x="1" y="5"/>
              </a:cxn>
              <a:cxn ang="0">
                <a:pos x="0" y="0"/>
              </a:cxn>
            </a:cxnLst>
            <a:rect l="0" t="0" r="r" b="b"/>
            <a:pathLst>
              <a:path w="18" h="17">
                <a:moveTo>
                  <a:pt x="0" y="0"/>
                </a:moveTo>
                <a:lnTo>
                  <a:pt x="9" y="8"/>
                </a:lnTo>
                <a:lnTo>
                  <a:pt x="13" y="9"/>
                </a:lnTo>
                <a:lnTo>
                  <a:pt x="16" y="11"/>
                </a:lnTo>
                <a:lnTo>
                  <a:pt x="17" y="11"/>
                </a:lnTo>
                <a:lnTo>
                  <a:pt x="18" y="13"/>
                </a:lnTo>
                <a:lnTo>
                  <a:pt x="18" y="16"/>
                </a:lnTo>
                <a:lnTo>
                  <a:pt x="18" y="17"/>
                </a:lnTo>
                <a:lnTo>
                  <a:pt x="14" y="14"/>
                </a:lnTo>
                <a:lnTo>
                  <a:pt x="10" y="11"/>
                </a:lnTo>
                <a:lnTo>
                  <a:pt x="4" y="6"/>
                </a:lnTo>
                <a:lnTo>
                  <a:pt x="1" y="5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12" name="Freeform 935"/>
          <p:cNvSpPr>
            <a:spLocks/>
          </p:cNvSpPr>
          <p:nvPr/>
        </p:nvSpPr>
        <p:spPr bwMode="auto">
          <a:xfrm>
            <a:off x="10236600" y="4608416"/>
            <a:ext cx="35079" cy="3221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" y="8"/>
              </a:cxn>
              <a:cxn ang="0">
                <a:pos x="13" y="9"/>
              </a:cxn>
              <a:cxn ang="0">
                <a:pos x="16" y="11"/>
              </a:cxn>
              <a:cxn ang="0">
                <a:pos x="17" y="11"/>
              </a:cxn>
              <a:cxn ang="0">
                <a:pos x="18" y="13"/>
              </a:cxn>
              <a:cxn ang="0">
                <a:pos x="18" y="16"/>
              </a:cxn>
              <a:cxn ang="0">
                <a:pos x="18" y="17"/>
              </a:cxn>
              <a:cxn ang="0">
                <a:pos x="14" y="14"/>
              </a:cxn>
              <a:cxn ang="0">
                <a:pos x="10" y="11"/>
              </a:cxn>
              <a:cxn ang="0">
                <a:pos x="4" y="6"/>
              </a:cxn>
              <a:cxn ang="0">
                <a:pos x="1" y="5"/>
              </a:cxn>
              <a:cxn ang="0">
                <a:pos x="0" y="0"/>
              </a:cxn>
            </a:cxnLst>
            <a:rect l="0" t="0" r="r" b="b"/>
            <a:pathLst>
              <a:path w="18" h="17">
                <a:moveTo>
                  <a:pt x="0" y="0"/>
                </a:moveTo>
                <a:lnTo>
                  <a:pt x="9" y="8"/>
                </a:lnTo>
                <a:lnTo>
                  <a:pt x="13" y="9"/>
                </a:lnTo>
                <a:lnTo>
                  <a:pt x="16" y="11"/>
                </a:lnTo>
                <a:lnTo>
                  <a:pt x="17" y="11"/>
                </a:lnTo>
                <a:lnTo>
                  <a:pt x="18" y="13"/>
                </a:lnTo>
                <a:lnTo>
                  <a:pt x="18" y="16"/>
                </a:lnTo>
                <a:lnTo>
                  <a:pt x="18" y="17"/>
                </a:lnTo>
                <a:lnTo>
                  <a:pt x="14" y="14"/>
                </a:lnTo>
                <a:lnTo>
                  <a:pt x="10" y="11"/>
                </a:lnTo>
                <a:lnTo>
                  <a:pt x="4" y="6"/>
                </a:lnTo>
                <a:lnTo>
                  <a:pt x="1" y="5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13" name="Freeform 936"/>
          <p:cNvSpPr>
            <a:spLocks/>
          </p:cNvSpPr>
          <p:nvPr/>
        </p:nvSpPr>
        <p:spPr bwMode="auto">
          <a:xfrm>
            <a:off x="10297014" y="4636335"/>
            <a:ext cx="25333" cy="47248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1" y="0"/>
              </a:cxn>
              <a:cxn ang="0">
                <a:pos x="2" y="2"/>
              </a:cxn>
              <a:cxn ang="0">
                <a:pos x="4" y="6"/>
              </a:cxn>
              <a:cxn ang="0">
                <a:pos x="4" y="8"/>
              </a:cxn>
              <a:cxn ang="0">
                <a:pos x="6" y="11"/>
              </a:cxn>
              <a:cxn ang="0">
                <a:pos x="9" y="16"/>
              </a:cxn>
              <a:cxn ang="0">
                <a:pos x="9" y="17"/>
              </a:cxn>
              <a:cxn ang="0">
                <a:pos x="11" y="19"/>
              </a:cxn>
              <a:cxn ang="0">
                <a:pos x="13" y="21"/>
              </a:cxn>
              <a:cxn ang="0">
                <a:pos x="13" y="24"/>
              </a:cxn>
              <a:cxn ang="0">
                <a:pos x="11" y="22"/>
              </a:cxn>
              <a:cxn ang="0">
                <a:pos x="9" y="22"/>
              </a:cxn>
              <a:cxn ang="0">
                <a:pos x="7" y="19"/>
              </a:cxn>
              <a:cxn ang="0">
                <a:pos x="5" y="16"/>
              </a:cxn>
              <a:cxn ang="0">
                <a:pos x="1" y="8"/>
              </a:cxn>
              <a:cxn ang="0">
                <a:pos x="1" y="5"/>
              </a:cxn>
              <a:cxn ang="0">
                <a:pos x="1" y="2"/>
              </a:cxn>
              <a:cxn ang="0">
                <a:pos x="0" y="2"/>
              </a:cxn>
            </a:cxnLst>
            <a:rect l="0" t="0" r="r" b="b"/>
            <a:pathLst>
              <a:path w="13" h="24">
                <a:moveTo>
                  <a:pt x="0" y="2"/>
                </a:moveTo>
                <a:lnTo>
                  <a:pt x="0" y="0"/>
                </a:lnTo>
                <a:lnTo>
                  <a:pt x="1" y="0"/>
                </a:lnTo>
                <a:lnTo>
                  <a:pt x="2" y="2"/>
                </a:lnTo>
                <a:lnTo>
                  <a:pt x="4" y="6"/>
                </a:lnTo>
                <a:lnTo>
                  <a:pt x="4" y="8"/>
                </a:lnTo>
                <a:lnTo>
                  <a:pt x="6" y="11"/>
                </a:lnTo>
                <a:lnTo>
                  <a:pt x="9" y="16"/>
                </a:lnTo>
                <a:lnTo>
                  <a:pt x="9" y="17"/>
                </a:lnTo>
                <a:lnTo>
                  <a:pt x="11" y="19"/>
                </a:lnTo>
                <a:lnTo>
                  <a:pt x="13" y="21"/>
                </a:lnTo>
                <a:lnTo>
                  <a:pt x="13" y="24"/>
                </a:lnTo>
                <a:lnTo>
                  <a:pt x="11" y="22"/>
                </a:lnTo>
                <a:lnTo>
                  <a:pt x="9" y="22"/>
                </a:lnTo>
                <a:lnTo>
                  <a:pt x="7" y="19"/>
                </a:lnTo>
                <a:lnTo>
                  <a:pt x="5" y="16"/>
                </a:lnTo>
                <a:lnTo>
                  <a:pt x="1" y="8"/>
                </a:lnTo>
                <a:lnTo>
                  <a:pt x="1" y="5"/>
                </a:lnTo>
                <a:lnTo>
                  <a:pt x="1" y="2"/>
                </a:lnTo>
                <a:lnTo>
                  <a:pt x="0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14" name="Freeform 937"/>
          <p:cNvSpPr>
            <a:spLocks/>
          </p:cNvSpPr>
          <p:nvPr/>
        </p:nvSpPr>
        <p:spPr bwMode="auto">
          <a:xfrm>
            <a:off x="10297014" y="4636335"/>
            <a:ext cx="25333" cy="47248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1" y="0"/>
              </a:cxn>
              <a:cxn ang="0">
                <a:pos x="2" y="2"/>
              </a:cxn>
              <a:cxn ang="0">
                <a:pos x="4" y="6"/>
              </a:cxn>
              <a:cxn ang="0">
                <a:pos x="4" y="8"/>
              </a:cxn>
              <a:cxn ang="0">
                <a:pos x="6" y="11"/>
              </a:cxn>
              <a:cxn ang="0">
                <a:pos x="9" y="16"/>
              </a:cxn>
              <a:cxn ang="0">
                <a:pos x="9" y="17"/>
              </a:cxn>
              <a:cxn ang="0">
                <a:pos x="11" y="19"/>
              </a:cxn>
              <a:cxn ang="0">
                <a:pos x="13" y="21"/>
              </a:cxn>
              <a:cxn ang="0">
                <a:pos x="13" y="24"/>
              </a:cxn>
              <a:cxn ang="0">
                <a:pos x="11" y="22"/>
              </a:cxn>
              <a:cxn ang="0">
                <a:pos x="9" y="22"/>
              </a:cxn>
              <a:cxn ang="0">
                <a:pos x="7" y="19"/>
              </a:cxn>
              <a:cxn ang="0">
                <a:pos x="5" y="16"/>
              </a:cxn>
              <a:cxn ang="0">
                <a:pos x="1" y="8"/>
              </a:cxn>
              <a:cxn ang="0">
                <a:pos x="1" y="5"/>
              </a:cxn>
              <a:cxn ang="0">
                <a:pos x="1" y="2"/>
              </a:cxn>
              <a:cxn ang="0">
                <a:pos x="0" y="2"/>
              </a:cxn>
            </a:cxnLst>
            <a:rect l="0" t="0" r="r" b="b"/>
            <a:pathLst>
              <a:path w="13" h="24">
                <a:moveTo>
                  <a:pt x="0" y="2"/>
                </a:moveTo>
                <a:lnTo>
                  <a:pt x="0" y="0"/>
                </a:lnTo>
                <a:lnTo>
                  <a:pt x="1" y="0"/>
                </a:lnTo>
                <a:lnTo>
                  <a:pt x="2" y="2"/>
                </a:lnTo>
                <a:lnTo>
                  <a:pt x="4" y="6"/>
                </a:lnTo>
                <a:lnTo>
                  <a:pt x="4" y="8"/>
                </a:lnTo>
                <a:lnTo>
                  <a:pt x="6" y="11"/>
                </a:lnTo>
                <a:lnTo>
                  <a:pt x="9" y="16"/>
                </a:lnTo>
                <a:lnTo>
                  <a:pt x="9" y="17"/>
                </a:lnTo>
                <a:lnTo>
                  <a:pt x="11" y="19"/>
                </a:lnTo>
                <a:lnTo>
                  <a:pt x="13" y="21"/>
                </a:lnTo>
                <a:lnTo>
                  <a:pt x="13" y="24"/>
                </a:lnTo>
                <a:lnTo>
                  <a:pt x="11" y="22"/>
                </a:lnTo>
                <a:lnTo>
                  <a:pt x="9" y="22"/>
                </a:lnTo>
                <a:lnTo>
                  <a:pt x="7" y="19"/>
                </a:lnTo>
                <a:lnTo>
                  <a:pt x="5" y="16"/>
                </a:lnTo>
                <a:lnTo>
                  <a:pt x="1" y="8"/>
                </a:lnTo>
                <a:lnTo>
                  <a:pt x="1" y="5"/>
                </a:lnTo>
                <a:lnTo>
                  <a:pt x="1" y="2"/>
                </a:lnTo>
                <a:lnTo>
                  <a:pt x="0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15" name="Freeform 938"/>
          <p:cNvSpPr>
            <a:spLocks/>
          </p:cNvSpPr>
          <p:nvPr/>
        </p:nvSpPr>
        <p:spPr bwMode="auto">
          <a:xfrm>
            <a:off x="10281423" y="4657812"/>
            <a:ext cx="9744" cy="1288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1" y="0"/>
              </a:cxn>
              <a:cxn ang="0">
                <a:pos x="2" y="2"/>
              </a:cxn>
              <a:cxn ang="0">
                <a:pos x="4" y="3"/>
              </a:cxn>
              <a:cxn ang="0">
                <a:pos x="4" y="5"/>
              </a:cxn>
              <a:cxn ang="0">
                <a:pos x="2" y="5"/>
              </a:cxn>
              <a:cxn ang="0">
                <a:pos x="0" y="2"/>
              </a:cxn>
            </a:cxnLst>
            <a:rect l="0" t="0" r="r" b="b"/>
            <a:pathLst>
              <a:path w="4" h="5">
                <a:moveTo>
                  <a:pt x="0" y="2"/>
                </a:moveTo>
                <a:lnTo>
                  <a:pt x="0" y="0"/>
                </a:lnTo>
                <a:lnTo>
                  <a:pt x="1" y="0"/>
                </a:lnTo>
                <a:lnTo>
                  <a:pt x="2" y="2"/>
                </a:lnTo>
                <a:lnTo>
                  <a:pt x="4" y="3"/>
                </a:lnTo>
                <a:lnTo>
                  <a:pt x="4" y="5"/>
                </a:lnTo>
                <a:lnTo>
                  <a:pt x="2" y="5"/>
                </a:lnTo>
                <a:lnTo>
                  <a:pt x="0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16" name="Freeform 939"/>
          <p:cNvSpPr>
            <a:spLocks/>
          </p:cNvSpPr>
          <p:nvPr/>
        </p:nvSpPr>
        <p:spPr bwMode="auto">
          <a:xfrm>
            <a:off x="10281423" y="4657812"/>
            <a:ext cx="9744" cy="1288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1" y="0"/>
              </a:cxn>
              <a:cxn ang="0">
                <a:pos x="2" y="2"/>
              </a:cxn>
              <a:cxn ang="0">
                <a:pos x="4" y="3"/>
              </a:cxn>
              <a:cxn ang="0">
                <a:pos x="4" y="5"/>
              </a:cxn>
              <a:cxn ang="0">
                <a:pos x="2" y="5"/>
              </a:cxn>
              <a:cxn ang="0">
                <a:pos x="0" y="2"/>
              </a:cxn>
            </a:cxnLst>
            <a:rect l="0" t="0" r="r" b="b"/>
            <a:pathLst>
              <a:path w="4" h="5">
                <a:moveTo>
                  <a:pt x="0" y="2"/>
                </a:moveTo>
                <a:lnTo>
                  <a:pt x="0" y="0"/>
                </a:lnTo>
                <a:lnTo>
                  <a:pt x="1" y="0"/>
                </a:lnTo>
                <a:lnTo>
                  <a:pt x="2" y="2"/>
                </a:lnTo>
                <a:lnTo>
                  <a:pt x="4" y="3"/>
                </a:lnTo>
                <a:lnTo>
                  <a:pt x="4" y="5"/>
                </a:lnTo>
                <a:lnTo>
                  <a:pt x="2" y="5"/>
                </a:lnTo>
                <a:lnTo>
                  <a:pt x="0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17" name="Freeform 940"/>
          <p:cNvSpPr>
            <a:spLocks/>
          </p:cNvSpPr>
          <p:nvPr/>
        </p:nvSpPr>
        <p:spPr bwMode="auto">
          <a:xfrm>
            <a:off x="10261935" y="4670697"/>
            <a:ext cx="38977" cy="21476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4" y="2"/>
              </a:cxn>
              <a:cxn ang="0">
                <a:pos x="8" y="2"/>
              </a:cxn>
              <a:cxn ang="0">
                <a:pos x="12" y="2"/>
              </a:cxn>
              <a:cxn ang="0">
                <a:pos x="14" y="4"/>
              </a:cxn>
              <a:cxn ang="0">
                <a:pos x="18" y="7"/>
              </a:cxn>
              <a:cxn ang="0">
                <a:pos x="19" y="8"/>
              </a:cxn>
              <a:cxn ang="0">
                <a:pos x="20" y="8"/>
              </a:cxn>
              <a:cxn ang="0">
                <a:pos x="20" y="10"/>
              </a:cxn>
              <a:cxn ang="0">
                <a:pos x="19" y="11"/>
              </a:cxn>
              <a:cxn ang="0">
                <a:pos x="14" y="11"/>
              </a:cxn>
              <a:cxn ang="0">
                <a:pos x="11" y="10"/>
              </a:cxn>
              <a:cxn ang="0">
                <a:pos x="7" y="10"/>
              </a:cxn>
              <a:cxn ang="0">
                <a:pos x="4" y="10"/>
              </a:cxn>
              <a:cxn ang="0">
                <a:pos x="2" y="7"/>
              </a:cxn>
              <a:cxn ang="0">
                <a:pos x="0" y="5"/>
              </a:cxn>
              <a:cxn ang="0">
                <a:pos x="0" y="4"/>
              </a:cxn>
              <a:cxn ang="0">
                <a:pos x="0" y="0"/>
              </a:cxn>
            </a:cxnLst>
            <a:rect l="0" t="0" r="r" b="b"/>
            <a:pathLst>
              <a:path w="20" h="11">
                <a:moveTo>
                  <a:pt x="0" y="0"/>
                </a:moveTo>
                <a:lnTo>
                  <a:pt x="2" y="0"/>
                </a:lnTo>
                <a:lnTo>
                  <a:pt x="4" y="2"/>
                </a:lnTo>
                <a:lnTo>
                  <a:pt x="8" y="2"/>
                </a:lnTo>
                <a:lnTo>
                  <a:pt x="12" y="2"/>
                </a:lnTo>
                <a:lnTo>
                  <a:pt x="14" y="4"/>
                </a:lnTo>
                <a:lnTo>
                  <a:pt x="18" y="7"/>
                </a:lnTo>
                <a:lnTo>
                  <a:pt x="19" y="8"/>
                </a:lnTo>
                <a:lnTo>
                  <a:pt x="20" y="8"/>
                </a:lnTo>
                <a:lnTo>
                  <a:pt x="20" y="10"/>
                </a:lnTo>
                <a:lnTo>
                  <a:pt x="19" y="11"/>
                </a:lnTo>
                <a:lnTo>
                  <a:pt x="14" y="11"/>
                </a:lnTo>
                <a:lnTo>
                  <a:pt x="11" y="10"/>
                </a:lnTo>
                <a:lnTo>
                  <a:pt x="7" y="10"/>
                </a:lnTo>
                <a:lnTo>
                  <a:pt x="4" y="10"/>
                </a:lnTo>
                <a:lnTo>
                  <a:pt x="2" y="7"/>
                </a:lnTo>
                <a:lnTo>
                  <a:pt x="0" y="5"/>
                </a:lnTo>
                <a:lnTo>
                  <a:pt x="0" y="4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18" name="Freeform 941"/>
          <p:cNvSpPr>
            <a:spLocks/>
          </p:cNvSpPr>
          <p:nvPr/>
        </p:nvSpPr>
        <p:spPr bwMode="auto">
          <a:xfrm>
            <a:off x="10261935" y="4670697"/>
            <a:ext cx="38977" cy="21476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4" y="2"/>
              </a:cxn>
              <a:cxn ang="0">
                <a:pos x="8" y="2"/>
              </a:cxn>
              <a:cxn ang="0">
                <a:pos x="12" y="2"/>
              </a:cxn>
              <a:cxn ang="0">
                <a:pos x="14" y="4"/>
              </a:cxn>
              <a:cxn ang="0">
                <a:pos x="18" y="7"/>
              </a:cxn>
              <a:cxn ang="0">
                <a:pos x="19" y="8"/>
              </a:cxn>
              <a:cxn ang="0">
                <a:pos x="20" y="8"/>
              </a:cxn>
              <a:cxn ang="0">
                <a:pos x="20" y="10"/>
              </a:cxn>
              <a:cxn ang="0">
                <a:pos x="19" y="11"/>
              </a:cxn>
              <a:cxn ang="0">
                <a:pos x="14" y="11"/>
              </a:cxn>
              <a:cxn ang="0">
                <a:pos x="11" y="10"/>
              </a:cxn>
              <a:cxn ang="0">
                <a:pos x="7" y="10"/>
              </a:cxn>
              <a:cxn ang="0">
                <a:pos x="4" y="10"/>
              </a:cxn>
              <a:cxn ang="0">
                <a:pos x="2" y="7"/>
              </a:cxn>
              <a:cxn ang="0">
                <a:pos x="0" y="5"/>
              </a:cxn>
              <a:cxn ang="0">
                <a:pos x="0" y="4"/>
              </a:cxn>
              <a:cxn ang="0">
                <a:pos x="0" y="0"/>
              </a:cxn>
            </a:cxnLst>
            <a:rect l="0" t="0" r="r" b="b"/>
            <a:pathLst>
              <a:path w="20" h="11">
                <a:moveTo>
                  <a:pt x="0" y="0"/>
                </a:moveTo>
                <a:lnTo>
                  <a:pt x="2" y="0"/>
                </a:lnTo>
                <a:lnTo>
                  <a:pt x="4" y="2"/>
                </a:lnTo>
                <a:lnTo>
                  <a:pt x="8" y="2"/>
                </a:lnTo>
                <a:lnTo>
                  <a:pt x="12" y="2"/>
                </a:lnTo>
                <a:lnTo>
                  <a:pt x="14" y="4"/>
                </a:lnTo>
                <a:lnTo>
                  <a:pt x="18" y="7"/>
                </a:lnTo>
                <a:lnTo>
                  <a:pt x="19" y="8"/>
                </a:lnTo>
                <a:lnTo>
                  <a:pt x="20" y="8"/>
                </a:lnTo>
                <a:lnTo>
                  <a:pt x="20" y="10"/>
                </a:lnTo>
                <a:lnTo>
                  <a:pt x="19" y="11"/>
                </a:lnTo>
                <a:lnTo>
                  <a:pt x="14" y="11"/>
                </a:lnTo>
                <a:lnTo>
                  <a:pt x="11" y="10"/>
                </a:lnTo>
                <a:lnTo>
                  <a:pt x="7" y="10"/>
                </a:lnTo>
                <a:lnTo>
                  <a:pt x="4" y="10"/>
                </a:lnTo>
                <a:lnTo>
                  <a:pt x="2" y="7"/>
                </a:lnTo>
                <a:lnTo>
                  <a:pt x="0" y="5"/>
                </a:lnTo>
                <a:lnTo>
                  <a:pt x="0" y="4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19" name="Freeform 942"/>
          <p:cNvSpPr>
            <a:spLocks/>
          </p:cNvSpPr>
          <p:nvPr/>
        </p:nvSpPr>
        <p:spPr bwMode="auto">
          <a:xfrm>
            <a:off x="5306100" y="4080104"/>
            <a:ext cx="11693" cy="4295"/>
          </a:xfrm>
          <a:custGeom>
            <a:avLst/>
            <a:gdLst/>
            <a:ahLst/>
            <a:cxnLst>
              <a:cxn ang="0">
                <a:pos x="6" y="0"/>
              </a:cxn>
              <a:cxn ang="0">
                <a:pos x="4" y="0"/>
              </a:cxn>
              <a:cxn ang="0">
                <a:pos x="2" y="0"/>
              </a:cxn>
              <a:cxn ang="0">
                <a:pos x="0" y="0"/>
              </a:cxn>
              <a:cxn ang="0">
                <a:pos x="2" y="2"/>
              </a:cxn>
              <a:cxn ang="0">
                <a:pos x="3" y="3"/>
              </a:cxn>
              <a:cxn ang="0">
                <a:pos x="4" y="2"/>
              </a:cxn>
              <a:cxn ang="0">
                <a:pos x="6" y="0"/>
              </a:cxn>
            </a:cxnLst>
            <a:rect l="0" t="0" r="r" b="b"/>
            <a:pathLst>
              <a:path w="6" h="3">
                <a:moveTo>
                  <a:pt x="6" y="0"/>
                </a:move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  <a:lnTo>
                  <a:pt x="3" y="3"/>
                </a:lnTo>
                <a:lnTo>
                  <a:pt x="4" y="2"/>
                </a:lnTo>
                <a:lnTo>
                  <a:pt x="6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20" name="Freeform 943"/>
          <p:cNvSpPr>
            <a:spLocks/>
          </p:cNvSpPr>
          <p:nvPr/>
        </p:nvSpPr>
        <p:spPr bwMode="auto">
          <a:xfrm>
            <a:off x="5306100" y="4080104"/>
            <a:ext cx="11693" cy="4295"/>
          </a:xfrm>
          <a:custGeom>
            <a:avLst/>
            <a:gdLst/>
            <a:ahLst/>
            <a:cxnLst>
              <a:cxn ang="0">
                <a:pos x="6" y="0"/>
              </a:cxn>
              <a:cxn ang="0">
                <a:pos x="4" y="0"/>
              </a:cxn>
              <a:cxn ang="0">
                <a:pos x="2" y="0"/>
              </a:cxn>
              <a:cxn ang="0">
                <a:pos x="0" y="0"/>
              </a:cxn>
              <a:cxn ang="0">
                <a:pos x="2" y="2"/>
              </a:cxn>
              <a:cxn ang="0">
                <a:pos x="3" y="3"/>
              </a:cxn>
              <a:cxn ang="0">
                <a:pos x="4" y="2"/>
              </a:cxn>
              <a:cxn ang="0">
                <a:pos x="6" y="0"/>
              </a:cxn>
            </a:cxnLst>
            <a:rect l="0" t="0" r="r" b="b"/>
            <a:pathLst>
              <a:path w="6" h="3">
                <a:moveTo>
                  <a:pt x="6" y="0"/>
                </a:move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  <a:lnTo>
                  <a:pt x="3" y="3"/>
                </a:lnTo>
                <a:lnTo>
                  <a:pt x="4" y="2"/>
                </a:lnTo>
                <a:lnTo>
                  <a:pt x="6" y="0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21" name="Freeform 944"/>
          <p:cNvSpPr>
            <a:spLocks/>
          </p:cNvSpPr>
          <p:nvPr/>
        </p:nvSpPr>
        <p:spPr bwMode="auto">
          <a:xfrm>
            <a:off x="9747449" y="2424298"/>
            <a:ext cx="89645" cy="300665"/>
          </a:xfrm>
          <a:custGeom>
            <a:avLst/>
            <a:gdLst/>
            <a:ahLst/>
            <a:cxnLst>
              <a:cxn ang="0">
                <a:pos x="15" y="0"/>
              </a:cxn>
              <a:cxn ang="0">
                <a:pos x="19" y="5"/>
              </a:cxn>
              <a:cxn ang="0">
                <a:pos x="22" y="16"/>
              </a:cxn>
              <a:cxn ang="0">
                <a:pos x="26" y="29"/>
              </a:cxn>
              <a:cxn ang="0">
                <a:pos x="24" y="36"/>
              </a:cxn>
              <a:cxn ang="0">
                <a:pos x="23" y="41"/>
              </a:cxn>
              <a:cxn ang="0">
                <a:pos x="24" y="49"/>
              </a:cxn>
              <a:cxn ang="0">
                <a:pos x="26" y="51"/>
              </a:cxn>
              <a:cxn ang="0">
                <a:pos x="28" y="57"/>
              </a:cxn>
              <a:cxn ang="0">
                <a:pos x="32" y="69"/>
              </a:cxn>
              <a:cxn ang="0">
                <a:pos x="38" y="85"/>
              </a:cxn>
              <a:cxn ang="0">
                <a:pos x="42" y="93"/>
              </a:cxn>
              <a:cxn ang="0">
                <a:pos x="47" y="99"/>
              </a:cxn>
              <a:cxn ang="0">
                <a:pos x="40" y="94"/>
              </a:cxn>
              <a:cxn ang="0">
                <a:pos x="32" y="91"/>
              </a:cxn>
              <a:cxn ang="0">
                <a:pos x="26" y="90"/>
              </a:cxn>
              <a:cxn ang="0">
                <a:pos x="20" y="96"/>
              </a:cxn>
              <a:cxn ang="0">
                <a:pos x="18" y="104"/>
              </a:cxn>
              <a:cxn ang="0">
                <a:pos x="15" y="116"/>
              </a:cxn>
              <a:cxn ang="0">
                <a:pos x="16" y="124"/>
              </a:cxn>
              <a:cxn ang="0">
                <a:pos x="22" y="131"/>
              </a:cxn>
              <a:cxn ang="0">
                <a:pos x="24" y="135"/>
              </a:cxn>
              <a:cxn ang="0">
                <a:pos x="28" y="137"/>
              </a:cxn>
              <a:cxn ang="0">
                <a:pos x="30" y="146"/>
              </a:cxn>
              <a:cxn ang="0">
                <a:pos x="26" y="140"/>
              </a:cxn>
              <a:cxn ang="0">
                <a:pos x="15" y="137"/>
              </a:cxn>
              <a:cxn ang="0">
                <a:pos x="10" y="146"/>
              </a:cxn>
              <a:cxn ang="0">
                <a:pos x="6" y="149"/>
              </a:cxn>
              <a:cxn ang="0">
                <a:pos x="4" y="138"/>
              </a:cxn>
              <a:cxn ang="0">
                <a:pos x="7" y="116"/>
              </a:cxn>
              <a:cxn ang="0">
                <a:pos x="8" y="110"/>
              </a:cxn>
              <a:cxn ang="0">
                <a:pos x="4" y="101"/>
              </a:cxn>
              <a:cxn ang="0">
                <a:pos x="6" y="94"/>
              </a:cxn>
              <a:cxn ang="0">
                <a:pos x="8" y="79"/>
              </a:cxn>
              <a:cxn ang="0">
                <a:pos x="8" y="76"/>
              </a:cxn>
              <a:cxn ang="0">
                <a:pos x="7" y="69"/>
              </a:cxn>
              <a:cxn ang="0">
                <a:pos x="8" y="58"/>
              </a:cxn>
              <a:cxn ang="0">
                <a:pos x="6" y="52"/>
              </a:cxn>
              <a:cxn ang="0">
                <a:pos x="2" y="49"/>
              </a:cxn>
              <a:cxn ang="0">
                <a:pos x="0" y="44"/>
              </a:cxn>
              <a:cxn ang="0">
                <a:pos x="0" y="38"/>
              </a:cxn>
              <a:cxn ang="0">
                <a:pos x="3" y="25"/>
              </a:cxn>
              <a:cxn ang="0">
                <a:pos x="3" y="19"/>
              </a:cxn>
              <a:cxn ang="0">
                <a:pos x="7" y="16"/>
              </a:cxn>
              <a:cxn ang="0">
                <a:pos x="11" y="18"/>
              </a:cxn>
              <a:cxn ang="0">
                <a:pos x="14" y="16"/>
              </a:cxn>
              <a:cxn ang="0">
                <a:pos x="14" y="13"/>
              </a:cxn>
              <a:cxn ang="0">
                <a:pos x="16" y="13"/>
              </a:cxn>
              <a:cxn ang="0">
                <a:pos x="14" y="7"/>
              </a:cxn>
              <a:cxn ang="0">
                <a:pos x="11" y="2"/>
              </a:cxn>
              <a:cxn ang="0">
                <a:pos x="15" y="2"/>
              </a:cxn>
            </a:cxnLst>
            <a:rect l="0" t="0" r="r" b="b"/>
            <a:pathLst>
              <a:path w="47" h="151">
                <a:moveTo>
                  <a:pt x="15" y="2"/>
                </a:moveTo>
                <a:lnTo>
                  <a:pt x="15" y="0"/>
                </a:lnTo>
                <a:lnTo>
                  <a:pt x="18" y="2"/>
                </a:lnTo>
                <a:lnTo>
                  <a:pt x="19" y="5"/>
                </a:lnTo>
                <a:lnTo>
                  <a:pt x="20" y="13"/>
                </a:lnTo>
                <a:lnTo>
                  <a:pt x="22" y="16"/>
                </a:lnTo>
                <a:lnTo>
                  <a:pt x="24" y="22"/>
                </a:lnTo>
                <a:lnTo>
                  <a:pt x="26" y="29"/>
                </a:lnTo>
                <a:lnTo>
                  <a:pt x="26" y="33"/>
                </a:lnTo>
                <a:lnTo>
                  <a:pt x="24" y="36"/>
                </a:lnTo>
                <a:lnTo>
                  <a:pt x="23" y="38"/>
                </a:lnTo>
                <a:lnTo>
                  <a:pt x="23" y="41"/>
                </a:lnTo>
                <a:lnTo>
                  <a:pt x="24" y="46"/>
                </a:lnTo>
                <a:lnTo>
                  <a:pt x="24" y="49"/>
                </a:lnTo>
                <a:lnTo>
                  <a:pt x="24" y="51"/>
                </a:lnTo>
                <a:lnTo>
                  <a:pt x="26" y="51"/>
                </a:lnTo>
                <a:lnTo>
                  <a:pt x="27" y="54"/>
                </a:lnTo>
                <a:lnTo>
                  <a:pt x="28" y="57"/>
                </a:lnTo>
                <a:lnTo>
                  <a:pt x="28" y="58"/>
                </a:lnTo>
                <a:lnTo>
                  <a:pt x="32" y="69"/>
                </a:lnTo>
                <a:lnTo>
                  <a:pt x="38" y="82"/>
                </a:lnTo>
                <a:lnTo>
                  <a:pt x="38" y="85"/>
                </a:lnTo>
                <a:lnTo>
                  <a:pt x="40" y="90"/>
                </a:lnTo>
                <a:lnTo>
                  <a:pt x="42" y="93"/>
                </a:lnTo>
                <a:lnTo>
                  <a:pt x="43" y="96"/>
                </a:lnTo>
                <a:lnTo>
                  <a:pt x="47" y="99"/>
                </a:lnTo>
                <a:lnTo>
                  <a:pt x="47" y="101"/>
                </a:lnTo>
                <a:lnTo>
                  <a:pt x="40" y="94"/>
                </a:lnTo>
                <a:lnTo>
                  <a:pt x="38" y="93"/>
                </a:lnTo>
                <a:lnTo>
                  <a:pt x="32" y="91"/>
                </a:lnTo>
                <a:lnTo>
                  <a:pt x="28" y="90"/>
                </a:lnTo>
                <a:lnTo>
                  <a:pt x="26" y="90"/>
                </a:lnTo>
                <a:lnTo>
                  <a:pt x="22" y="93"/>
                </a:lnTo>
                <a:lnTo>
                  <a:pt x="20" y="96"/>
                </a:lnTo>
                <a:lnTo>
                  <a:pt x="20" y="99"/>
                </a:lnTo>
                <a:lnTo>
                  <a:pt x="18" y="104"/>
                </a:lnTo>
                <a:lnTo>
                  <a:pt x="15" y="112"/>
                </a:lnTo>
                <a:lnTo>
                  <a:pt x="15" y="116"/>
                </a:lnTo>
                <a:lnTo>
                  <a:pt x="15" y="120"/>
                </a:lnTo>
                <a:lnTo>
                  <a:pt x="16" y="124"/>
                </a:lnTo>
                <a:lnTo>
                  <a:pt x="22" y="129"/>
                </a:lnTo>
                <a:lnTo>
                  <a:pt x="22" y="131"/>
                </a:lnTo>
                <a:lnTo>
                  <a:pt x="23" y="134"/>
                </a:lnTo>
                <a:lnTo>
                  <a:pt x="24" y="135"/>
                </a:lnTo>
                <a:lnTo>
                  <a:pt x="27" y="135"/>
                </a:lnTo>
                <a:lnTo>
                  <a:pt x="28" y="137"/>
                </a:lnTo>
                <a:lnTo>
                  <a:pt x="30" y="142"/>
                </a:lnTo>
                <a:lnTo>
                  <a:pt x="30" y="146"/>
                </a:lnTo>
                <a:lnTo>
                  <a:pt x="28" y="148"/>
                </a:lnTo>
                <a:lnTo>
                  <a:pt x="26" y="140"/>
                </a:lnTo>
                <a:lnTo>
                  <a:pt x="19" y="137"/>
                </a:lnTo>
                <a:lnTo>
                  <a:pt x="15" y="137"/>
                </a:lnTo>
                <a:lnTo>
                  <a:pt x="12" y="140"/>
                </a:lnTo>
                <a:lnTo>
                  <a:pt x="10" y="146"/>
                </a:lnTo>
                <a:lnTo>
                  <a:pt x="8" y="151"/>
                </a:lnTo>
                <a:lnTo>
                  <a:pt x="6" y="149"/>
                </a:lnTo>
                <a:lnTo>
                  <a:pt x="4" y="143"/>
                </a:lnTo>
                <a:lnTo>
                  <a:pt x="4" y="138"/>
                </a:lnTo>
                <a:lnTo>
                  <a:pt x="6" y="129"/>
                </a:lnTo>
                <a:lnTo>
                  <a:pt x="7" y="116"/>
                </a:lnTo>
                <a:lnTo>
                  <a:pt x="8" y="113"/>
                </a:lnTo>
                <a:lnTo>
                  <a:pt x="8" y="110"/>
                </a:lnTo>
                <a:lnTo>
                  <a:pt x="7" y="107"/>
                </a:lnTo>
                <a:lnTo>
                  <a:pt x="4" y="101"/>
                </a:lnTo>
                <a:lnTo>
                  <a:pt x="4" y="98"/>
                </a:lnTo>
                <a:lnTo>
                  <a:pt x="6" y="94"/>
                </a:lnTo>
                <a:lnTo>
                  <a:pt x="8" y="85"/>
                </a:lnTo>
                <a:lnTo>
                  <a:pt x="8" y="79"/>
                </a:lnTo>
                <a:lnTo>
                  <a:pt x="8" y="77"/>
                </a:lnTo>
                <a:lnTo>
                  <a:pt x="8" y="76"/>
                </a:lnTo>
                <a:lnTo>
                  <a:pt x="8" y="72"/>
                </a:lnTo>
                <a:lnTo>
                  <a:pt x="7" y="69"/>
                </a:lnTo>
                <a:lnTo>
                  <a:pt x="7" y="66"/>
                </a:lnTo>
                <a:lnTo>
                  <a:pt x="8" y="58"/>
                </a:lnTo>
                <a:lnTo>
                  <a:pt x="8" y="57"/>
                </a:lnTo>
                <a:lnTo>
                  <a:pt x="6" y="52"/>
                </a:lnTo>
                <a:lnTo>
                  <a:pt x="3" y="49"/>
                </a:lnTo>
                <a:lnTo>
                  <a:pt x="2" y="49"/>
                </a:lnTo>
                <a:lnTo>
                  <a:pt x="2" y="47"/>
                </a:lnTo>
                <a:lnTo>
                  <a:pt x="0" y="44"/>
                </a:lnTo>
                <a:lnTo>
                  <a:pt x="0" y="41"/>
                </a:lnTo>
                <a:lnTo>
                  <a:pt x="0" y="38"/>
                </a:lnTo>
                <a:lnTo>
                  <a:pt x="3" y="32"/>
                </a:lnTo>
                <a:lnTo>
                  <a:pt x="3" y="25"/>
                </a:lnTo>
                <a:lnTo>
                  <a:pt x="3" y="22"/>
                </a:lnTo>
                <a:lnTo>
                  <a:pt x="3" y="19"/>
                </a:lnTo>
                <a:lnTo>
                  <a:pt x="4" y="18"/>
                </a:lnTo>
                <a:lnTo>
                  <a:pt x="7" y="16"/>
                </a:lnTo>
                <a:lnTo>
                  <a:pt x="8" y="16"/>
                </a:lnTo>
                <a:lnTo>
                  <a:pt x="11" y="18"/>
                </a:lnTo>
                <a:lnTo>
                  <a:pt x="14" y="18"/>
                </a:lnTo>
                <a:lnTo>
                  <a:pt x="14" y="16"/>
                </a:lnTo>
                <a:lnTo>
                  <a:pt x="14" y="14"/>
                </a:lnTo>
                <a:lnTo>
                  <a:pt x="14" y="13"/>
                </a:lnTo>
                <a:lnTo>
                  <a:pt x="15" y="13"/>
                </a:lnTo>
                <a:lnTo>
                  <a:pt x="16" y="13"/>
                </a:lnTo>
                <a:lnTo>
                  <a:pt x="15" y="11"/>
                </a:lnTo>
                <a:lnTo>
                  <a:pt x="14" y="7"/>
                </a:lnTo>
                <a:lnTo>
                  <a:pt x="11" y="3"/>
                </a:lnTo>
                <a:lnTo>
                  <a:pt x="11" y="2"/>
                </a:lnTo>
                <a:lnTo>
                  <a:pt x="14" y="2"/>
                </a:lnTo>
                <a:lnTo>
                  <a:pt x="15" y="2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22" name="Freeform 945"/>
          <p:cNvSpPr>
            <a:spLocks/>
          </p:cNvSpPr>
          <p:nvPr/>
        </p:nvSpPr>
        <p:spPr bwMode="auto">
          <a:xfrm>
            <a:off x="9747449" y="2424298"/>
            <a:ext cx="89645" cy="300665"/>
          </a:xfrm>
          <a:custGeom>
            <a:avLst/>
            <a:gdLst/>
            <a:ahLst/>
            <a:cxnLst>
              <a:cxn ang="0">
                <a:pos x="15" y="0"/>
              </a:cxn>
              <a:cxn ang="0">
                <a:pos x="19" y="5"/>
              </a:cxn>
              <a:cxn ang="0">
                <a:pos x="22" y="16"/>
              </a:cxn>
              <a:cxn ang="0">
                <a:pos x="26" y="29"/>
              </a:cxn>
              <a:cxn ang="0">
                <a:pos x="24" y="36"/>
              </a:cxn>
              <a:cxn ang="0">
                <a:pos x="23" y="41"/>
              </a:cxn>
              <a:cxn ang="0">
                <a:pos x="24" y="49"/>
              </a:cxn>
              <a:cxn ang="0">
                <a:pos x="26" y="51"/>
              </a:cxn>
              <a:cxn ang="0">
                <a:pos x="28" y="57"/>
              </a:cxn>
              <a:cxn ang="0">
                <a:pos x="32" y="69"/>
              </a:cxn>
              <a:cxn ang="0">
                <a:pos x="38" y="85"/>
              </a:cxn>
              <a:cxn ang="0">
                <a:pos x="42" y="93"/>
              </a:cxn>
              <a:cxn ang="0">
                <a:pos x="47" y="99"/>
              </a:cxn>
              <a:cxn ang="0">
                <a:pos x="40" y="94"/>
              </a:cxn>
              <a:cxn ang="0">
                <a:pos x="32" y="91"/>
              </a:cxn>
              <a:cxn ang="0">
                <a:pos x="26" y="90"/>
              </a:cxn>
              <a:cxn ang="0">
                <a:pos x="20" y="96"/>
              </a:cxn>
              <a:cxn ang="0">
                <a:pos x="18" y="104"/>
              </a:cxn>
              <a:cxn ang="0">
                <a:pos x="15" y="116"/>
              </a:cxn>
              <a:cxn ang="0">
                <a:pos x="16" y="124"/>
              </a:cxn>
              <a:cxn ang="0">
                <a:pos x="22" y="131"/>
              </a:cxn>
              <a:cxn ang="0">
                <a:pos x="24" y="135"/>
              </a:cxn>
              <a:cxn ang="0">
                <a:pos x="28" y="137"/>
              </a:cxn>
              <a:cxn ang="0">
                <a:pos x="30" y="146"/>
              </a:cxn>
              <a:cxn ang="0">
                <a:pos x="26" y="140"/>
              </a:cxn>
              <a:cxn ang="0">
                <a:pos x="15" y="137"/>
              </a:cxn>
              <a:cxn ang="0">
                <a:pos x="10" y="146"/>
              </a:cxn>
              <a:cxn ang="0">
                <a:pos x="6" y="149"/>
              </a:cxn>
              <a:cxn ang="0">
                <a:pos x="4" y="138"/>
              </a:cxn>
              <a:cxn ang="0">
                <a:pos x="7" y="116"/>
              </a:cxn>
              <a:cxn ang="0">
                <a:pos x="8" y="110"/>
              </a:cxn>
              <a:cxn ang="0">
                <a:pos x="4" y="101"/>
              </a:cxn>
              <a:cxn ang="0">
                <a:pos x="6" y="94"/>
              </a:cxn>
              <a:cxn ang="0">
                <a:pos x="8" y="79"/>
              </a:cxn>
              <a:cxn ang="0">
                <a:pos x="8" y="76"/>
              </a:cxn>
              <a:cxn ang="0">
                <a:pos x="7" y="69"/>
              </a:cxn>
              <a:cxn ang="0">
                <a:pos x="8" y="58"/>
              </a:cxn>
              <a:cxn ang="0">
                <a:pos x="6" y="52"/>
              </a:cxn>
              <a:cxn ang="0">
                <a:pos x="2" y="49"/>
              </a:cxn>
              <a:cxn ang="0">
                <a:pos x="0" y="44"/>
              </a:cxn>
              <a:cxn ang="0">
                <a:pos x="0" y="38"/>
              </a:cxn>
              <a:cxn ang="0">
                <a:pos x="3" y="25"/>
              </a:cxn>
              <a:cxn ang="0">
                <a:pos x="3" y="19"/>
              </a:cxn>
              <a:cxn ang="0">
                <a:pos x="7" y="16"/>
              </a:cxn>
              <a:cxn ang="0">
                <a:pos x="11" y="18"/>
              </a:cxn>
              <a:cxn ang="0">
                <a:pos x="14" y="16"/>
              </a:cxn>
              <a:cxn ang="0">
                <a:pos x="14" y="13"/>
              </a:cxn>
              <a:cxn ang="0">
                <a:pos x="16" y="13"/>
              </a:cxn>
              <a:cxn ang="0">
                <a:pos x="14" y="7"/>
              </a:cxn>
              <a:cxn ang="0">
                <a:pos x="11" y="2"/>
              </a:cxn>
              <a:cxn ang="0">
                <a:pos x="15" y="2"/>
              </a:cxn>
            </a:cxnLst>
            <a:rect l="0" t="0" r="r" b="b"/>
            <a:pathLst>
              <a:path w="47" h="151">
                <a:moveTo>
                  <a:pt x="15" y="2"/>
                </a:moveTo>
                <a:lnTo>
                  <a:pt x="15" y="0"/>
                </a:lnTo>
                <a:lnTo>
                  <a:pt x="18" y="2"/>
                </a:lnTo>
                <a:lnTo>
                  <a:pt x="19" y="5"/>
                </a:lnTo>
                <a:lnTo>
                  <a:pt x="20" y="13"/>
                </a:lnTo>
                <a:lnTo>
                  <a:pt x="22" y="16"/>
                </a:lnTo>
                <a:lnTo>
                  <a:pt x="24" y="22"/>
                </a:lnTo>
                <a:lnTo>
                  <a:pt x="26" y="29"/>
                </a:lnTo>
                <a:lnTo>
                  <a:pt x="26" y="33"/>
                </a:lnTo>
                <a:lnTo>
                  <a:pt x="24" y="36"/>
                </a:lnTo>
                <a:lnTo>
                  <a:pt x="23" y="38"/>
                </a:lnTo>
                <a:lnTo>
                  <a:pt x="23" y="41"/>
                </a:lnTo>
                <a:lnTo>
                  <a:pt x="24" y="46"/>
                </a:lnTo>
                <a:lnTo>
                  <a:pt x="24" y="49"/>
                </a:lnTo>
                <a:lnTo>
                  <a:pt x="24" y="51"/>
                </a:lnTo>
                <a:lnTo>
                  <a:pt x="26" y="51"/>
                </a:lnTo>
                <a:lnTo>
                  <a:pt x="27" y="54"/>
                </a:lnTo>
                <a:lnTo>
                  <a:pt x="28" y="57"/>
                </a:lnTo>
                <a:lnTo>
                  <a:pt x="28" y="58"/>
                </a:lnTo>
                <a:lnTo>
                  <a:pt x="32" y="69"/>
                </a:lnTo>
                <a:lnTo>
                  <a:pt x="38" y="82"/>
                </a:lnTo>
                <a:lnTo>
                  <a:pt x="38" y="85"/>
                </a:lnTo>
                <a:lnTo>
                  <a:pt x="40" y="90"/>
                </a:lnTo>
                <a:lnTo>
                  <a:pt x="42" y="93"/>
                </a:lnTo>
                <a:lnTo>
                  <a:pt x="43" y="96"/>
                </a:lnTo>
                <a:lnTo>
                  <a:pt x="47" y="99"/>
                </a:lnTo>
                <a:lnTo>
                  <a:pt x="47" y="101"/>
                </a:lnTo>
                <a:lnTo>
                  <a:pt x="40" y="94"/>
                </a:lnTo>
                <a:lnTo>
                  <a:pt x="38" y="93"/>
                </a:lnTo>
                <a:lnTo>
                  <a:pt x="32" y="91"/>
                </a:lnTo>
                <a:lnTo>
                  <a:pt x="28" y="90"/>
                </a:lnTo>
                <a:lnTo>
                  <a:pt x="26" y="90"/>
                </a:lnTo>
                <a:lnTo>
                  <a:pt x="22" y="93"/>
                </a:lnTo>
                <a:lnTo>
                  <a:pt x="20" y="96"/>
                </a:lnTo>
                <a:lnTo>
                  <a:pt x="20" y="99"/>
                </a:lnTo>
                <a:lnTo>
                  <a:pt x="18" y="104"/>
                </a:lnTo>
                <a:lnTo>
                  <a:pt x="15" y="112"/>
                </a:lnTo>
                <a:lnTo>
                  <a:pt x="15" y="116"/>
                </a:lnTo>
                <a:lnTo>
                  <a:pt x="15" y="120"/>
                </a:lnTo>
                <a:lnTo>
                  <a:pt x="16" y="124"/>
                </a:lnTo>
                <a:lnTo>
                  <a:pt x="22" y="129"/>
                </a:lnTo>
                <a:lnTo>
                  <a:pt x="22" y="131"/>
                </a:lnTo>
                <a:lnTo>
                  <a:pt x="23" y="134"/>
                </a:lnTo>
                <a:lnTo>
                  <a:pt x="24" y="135"/>
                </a:lnTo>
                <a:lnTo>
                  <a:pt x="27" y="135"/>
                </a:lnTo>
                <a:lnTo>
                  <a:pt x="28" y="137"/>
                </a:lnTo>
                <a:lnTo>
                  <a:pt x="30" y="142"/>
                </a:lnTo>
                <a:lnTo>
                  <a:pt x="30" y="146"/>
                </a:lnTo>
                <a:lnTo>
                  <a:pt x="28" y="148"/>
                </a:lnTo>
                <a:lnTo>
                  <a:pt x="26" y="140"/>
                </a:lnTo>
                <a:lnTo>
                  <a:pt x="19" y="137"/>
                </a:lnTo>
                <a:lnTo>
                  <a:pt x="15" y="137"/>
                </a:lnTo>
                <a:lnTo>
                  <a:pt x="12" y="140"/>
                </a:lnTo>
                <a:lnTo>
                  <a:pt x="10" y="146"/>
                </a:lnTo>
                <a:lnTo>
                  <a:pt x="8" y="151"/>
                </a:lnTo>
                <a:lnTo>
                  <a:pt x="6" y="149"/>
                </a:lnTo>
                <a:lnTo>
                  <a:pt x="4" y="143"/>
                </a:lnTo>
                <a:lnTo>
                  <a:pt x="4" y="138"/>
                </a:lnTo>
                <a:lnTo>
                  <a:pt x="6" y="129"/>
                </a:lnTo>
                <a:lnTo>
                  <a:pt x="7" y="116"/>
                </a:lnTo>
                <a:lnTo>
                  <a:pt x="8" y="113"/>
                </a:lnTo>
                <a:lnTo>
                  <a:pt x="8" y="110"/>
                </a:lnTo>
                <a:lnTo>
                  <a:pt x="7" y="107"/>
                </a:lnTo>
                <a:lnTo>
                  <a:pt x="4" y="101"/>
                </a:lnTo>
                <a:lnTo>
                  <a:pt x="4" y="98"/>
                </a:lnTo>
                <a:lnTo>
                  <a:pt x="6" y="94"/>
                </a:lnTo>
                <a:lnTo>
                  <a:pt x="8" y="85"/>
                </a:lnTo>
                <a:lnTo>
                  <a:pt x="8" y="79"/>
                </a:lnTo>
                <a:lnTo>
                  <a:pt x="8" y="77"/>
                </a:lnTo>
                <a:lnTo>
                  <a:pt x="8" y="76"/>
                </a:lnTo>
                <a:lnTo>
                  <a:pt x="8" y="72"/>
                </a:lnTo>
                <a:lnTo>
                  <a:pt x="7" y="69"/>
                </a:lnTo>
                <a:lnTo>
                  <a:pt x="7" y="66"/>
                </a:lnTo>
                <a:lnTo>
                  <a:pt x="8" y="58"/>
                </a:lnTo>
                <a:lnTo>
                  <a:pt x="8" y="57"/>
                </a:lnTo>
                <a:lnTo>
                  <a:pt x="6" y="52"/>
                </a:lnTo>
                <a:lnTo>
                  <a:pt x="3" y="49"/>
                </a:lnTo>
                <a:lnTo>
                  <a:pt x="2" y="49"/>
                </a:lnTo>
                <a:lnTo>
                  <a:pt x="2" y="47"/>
                </a:lnTo>
                <a:lnTo>
                  <a:pt x="0" y="44"/>
                </a:lnTo>
                <a:lnTo>
                  <a:pt x="0" y="41"/>
                </a:lnTo>
                <a:lnTo>
                  <a:pt x="0" y="38"/>
                </a:lnTo>
                <a:lnTo>
                  <a:pt x="3" y="32"/>
                </a:lnTo>
                <a:lnTo>
                  <a:pt x="3" y="25"/>
                </a:lnTo>
                <a:lnTo>
                  <a:pt x="3" y="22"/>
                </a:lnTo>
                <a:lnTo>
                  <a:pt x="3" y="19"/>
                </a:lnTo>
                <a:lnTo>
                  <a:pt x="4" y="18"/>
                </a:lnTo>
                <a:lnTo>
                  <a:pt x="7" y="16"/>
                </a:lnTo>
                <a:lnTo>
                  <a:pt x="8" y="16"/>
                </a:lnTo>
                <a:lnTo>
                  <a:pt x="11" y="18"/>
                </a:lnTo>
                <a:lnTo>
                  <a:pt x="14" y="18"/>
                </a:lnTo>
                <a:lnTo>
                  <a:pt x="14" y="16"/>
                </a:lnTo>
                <a:lnTo>
                  <a:pt x="14" y="14"/>
                </a:lnTo>
                <a:lnTo>
                  <a:pt x="14" y="13"/>
                </a:lnTo>
                <a:lnTo>
                  <a:pt x="15" y="13"/>
                </a:lnTo>
                <a:lnTo>
                  <a:pt x="16" y="13"/>
                </a:lnTo>
                <a:lnTo>
                  <a:pt x="15" y="11"/>
                </a:lnTo>
                <a:lnTo>
                  <a:pt x="14" y="7"/>
                </a:lnTo>
                <a:lnTo>
                  <a:pt x="11" y="3"/>
                </a:lnTo>
                <a:lnTo>
                  <a:pt x="11" y="2"/>
                </a:lnTo>
                <a:lnTo>
                  <a:pt x="14" y="2"/>
                </a:lnTo>
                <a:lnTo>
                  <a:pt x="15" y="2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23" name="Freeform 946"/>
          <p:cNvSpPr>
            <a:spLocks/>
          </p:cNvSpPr>
          <p:nvPr/>
        </p:nvSpPr>
        <p:spPr bwMode="auto">
          <a:xfrm>
            <a:off x="10369119" y="2256786"/>
            <a:ext cx="37028" cy="23622"/>
          </a:xfrm>
          <a:custGeom>
            <a:avLst/>
            <a:gdLst/>
            <a:ahLst/>
            <a:cxnLst>
              <a:cxn ang="0">
                <a:pos x="16" y="0"/>
              </a:cxn>
              <a:cxn ang="0">
                <a:pos x="13" y="2"/>
              </a:cxn>
              <a:cxn ang="0">
                <a:pos x="5" y="4"/>
              </a:cxn>
              <a:cxn ang="0">
                <a:pos x="4" y="4"/>
              </a:cxn>
              <a:cxn ang="0">
                <a:pos x="7" y="5"/>
              </a:cxn>
              <a:cxn ang="0">
                <a:pos x="5" y="7"/>
              </a:cxn>
              <a:cxn ang="0">
                <a:pos x="0" y="13"/>
              </a:cxn>
              <a:cxn ang="0">
                <a:pos x="7" y="10"/>
              </a:cxn>
              <a:cxn ang="0">
                <a:pos x="11" y="8"/>
              </a:cxn>
              <a:cxn ang="0">
                <a:pos x="16" y="7"/>
              </a:cxn>
              <a:cxn ang="0">
                <a:pos x="19" y="4"/>
              </a:cxn>
              <a:cxn ang="0">
                <a:pos x="19" y="2"/>
              </a:cxn>
              <a:cxn ang="0">
                <a:pos x="17" y="0"/>
              </a:cxn>
              <a:cxn ang="0">
                <a:pos x="16" y="0"/>
              </a:cxn>
            </a:cxnLst>
            <a:rect l="0" t="0" r="r" b="b"/>
            <a:pathLst>
              <a:path w="19" h="13">
                <a:moveTo>
                  <a:pt x="16" y="0"/>
                </a:moveTo>
                <a:lnTo>
                  <a:pt x="13" y="2"/>
                </a:lnTo>
                <a:lnTo>
                  <a:pt x="5" y="4"/>
                </a:lnTo>
                <a:lnTo>
                  <a:pt x="4" y="4"/>
                </a:lnTo>
                <a:lnTo>
                  <a:pt x="7" y="5"/>
                </a:lnTo>
                <a:lnTo>
                  <a:pt x="5" y="7"/>
                </a:lnTo>
                <a:lnTo>
                  <a:pt x="0" y="13"/>
                </a:lnTo>
                <a:lnTo>
                  <a:pt x="7" y="10"/>
                </a:lnTo>
                <a:lnTo>
                  <a:pt x="11" y="8"/>
                </a:lnTo>
                <a:lnTo>
                  <a:pt x="16" y="7"/>
                </a:lnTo>
                <a:lnTo>
                  <a:pt x="19" y="4"/>
                </a:lnTo>
                <a:lnTo>
                  <a:pt x="19" y="2"/>
                </a:lnTo>
                <a:lnTo>
                  <a:pt x="17" y="0"/>
                </a:lnTo>
                <a:lnTo>
                  <a:pt x="16" y="0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24" name="Freeform 947"/>
          <p:cNvSpPr>
            <a:spLocks/>
          </p:cNvSpPr>
          <p:nvPr/>
        </p:nvSpPr>
        <p:spPr bwMode="auto">
          <a:xfrm>
            <a:off x="10369119" y="2256786"/>
            <a:ext cx="37028" cy="23622"/>
          </a:xfrm>
          <a:custGeom>
            <a:avLst/>
            <a:gdLst/>
            <a:ahLst/>
            <a:cxnLst>
              <a:cxn ang="0">
                <a:pos x="16" y="0"/>
              </a:cxn>
              <a:cxn ang="0">
                <a:pos x="13" y="2"/>
              </a:cxn>
              <a:cxn ang="0">
                <a:pos x="5" y="4"/>
              </a:cxn>
              <a:cxn ang="0">
                <a:pos x="4" y="4"/>
              </a:cxn>
              <a:cxn ang="0">
                <a:pos x="7" y="5"/>
              </a:cxn>
              <a:cxn ang="0">
                <a:pos x="5" y="7"/>
              </a:cxn>
              <a:cxn ang="0">
                <a:pos x="0" y="13"/>
              </a:cxn>
              <a:cxn ang="0">
                <a:pos x="7" y="10"/>
              </a:cxn>
              <a:cxn ang="0">
                <a:pos x="11" y="8"/>
              </a:cxn>
              <a:cxn ang="0">
                <a:pos x="16" y="7"/>
              </a:cxn>
              <a:cxn ang="0">
                <a:pos x="19" y="4"/>
              </a:cxn>
              <a:cxn ang="0">
                <a:pos x="19" y="2"/>
              </a:cxn>
              <a:cxn ang="0">
                <a:pos x="17" y="0"/>
              </a:cxn>
              <a:cxn ang="0">
                <a:pos x="16" y="0"/>
              </a:cxn>
            </a:cxnLst>
            <a:rect l="0" t="0" r="r" b="b"/>
            <a:pathLst>
              <a:path w="19" h="13">
                <a:moveTo>
                  <a:pt x="16" y="0"/>
                </a:moveTo>
                <a:lnTo>
                  <a:pt x="13" y="2"/>
                </a:lnTo>
                <a:lnTo>
                  <a:pt x="5" y="4"/>
                </a:lnTo>
                <a:lnTo>
                  <a:pt x="4" y="4"/>
                </a:lnTo>
                <a:lnTo>
                  <a:pt x="7" y="5"/>
                </a:lnTo>
                <a:lnTo>
                  <a:pt x="5" y="7"/>
                </a:lnTo>
                <a:lnTo>
                  <a:pt x="0" y="13"/>
                </a:lnTo>
                <a:lnTo>
                  <a:pt x="7" y="10"/>
                </a:lnTo>
                <a:lnTo>
                  <a:pt x="11" y="8"/>
                </a:lnTo>
                <a:lnTo>
                  <a:pt x="16" y="7"/>
                </a:lnTo>
                <a:lnTo>
                  <a:pt x="19" y="4"/>
                </a:lnTo>
                <a:lnTo>
                  <a:pt x="19" y="2"/>
                </a:lnTo>
                <a:lnTo>
                  <a:pt x="17" y="0"/>
                </a:lnTo>
                <a:lnTo>
                  <a:pt x="16" y="0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25" name="Freeform 948"/>
          <p:cNvSpPr>
            <a:spLocks/>
          </p:cNvSpPr>
          <p:nvPr/>
        </p:nvSpPr>
        <p:spPr bwMode="auto">
          <a:xfrm>
            <a:off x="10168392" y="2548861"/>
            <a:ext cx="5846" cy="6443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1" y="2"/>
              </a:cxn>
              <a:cxn ang="0">
                <a:pos x="0" y="3"/>
              </a:cxn>
              <a:cxn ang="0">
                <a:pos x="2" y="3"/>
              </a:cxn>
              <a:cxn ang="0">
                <a:pos x="4" y="2"/>
              </a:cxn>
              <a:cxn ang="0">
                <a:pos x="4" y="0"/>
              </a:cxn>
            </a:cxnLst>
            <a:rect l="0" t="0" r="r" b="b"/>
            <a:pathLst>
              <a:path w="4" h="3">
                <a:moveTo>
                  <a:pt x="4" y="0"/>
                </a:moveTo>
                <a:lnTo>
                  <a:pt x="1" y="2"/>
                </a:lnTo>
                <a:lnTo>
                  <a:pt x="0" y="3"/>
                </a:lnTo>
                <a:lnTo>
                  <a:pt x="2" y="3"/>
                </a:lnTo>
                <a:lnTo>
                  <a:pt x="4" y="2"/>
                </a:lnTo>
                <a:lnTo>
                  <a:pt x="4" y="0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26" name="Freeform 949"/>
          <p:cNvSpPr>
            <a:spLocks/>
          </p:cNvSpPr>
          <p:nvPr/>
        </p:nvSpPr>
        <p:spPr bwMode="auto">
          <a:xfrm>
            <a:off x="10168392" y="2548861"/>
            <a:ext cx="5846" cy="6443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1" y="2"/>
              </a:cxn>
              <a:cxn ang="0">
                <a:pos x="0" y="3"/>
              </a:cxn>
              <a:cxn ang="0">
                <a:pos x="2" y="3"/>
              </a:cxn>
              <a:cxn ang="0">
                <a:pos x="4" y="2"/>
              </a:cxn>
              <a:cxn ang="0">
                <a:pos x="4" y="0"/>
              </a:cxn>
            </a:cxnLst>
            <a:rect l="0" t="0" r="r" b="b"/>
            <a:pathLst>
              <a:path w="4" h="3">
                <a:moveTo>
                  <a:pt x="4" y="0"/>
                </a:moveTo>
                <a:lnTo>
                  <a:pt x="1" y="2"/>
                </a:lnTo>
                <a:lnTo>
                  <a:pt x="0" y="3"/>
                </a:lnTo>
                <a:lnTo>
                  <a:pt x="2" y="3"/>
                </a:lnTo>
                <a:lnTo>
                  <a:pt x="4" y="2"/>
                </a:lnTo>
                <a:lnTo>
                  <a:pt x="4" y="0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27" name="Freeform 950"/>
          <p:cNvSpPr>
            <a:spLocks/>
          </p:cNvSpPr>
          <p:nvPr/>
        </p:nvSpPr>
        <p:spPr bwMode="auto">
          <a:xfrm>
            <a:off x="10141108" y="2555302"/>
            <a:ext cx="23386" cy="27920"/>
          </a:xfrm>
          <a:custGeom>
            <a:avLst/>
            <a:gdLst/>
            <a:ahLst/>
            <a:cxnLst>
              <a:cxn ang="0">
                <a:pos x="12" y="0"/>
              </a:cxn>
              <a:cxn ang="0">
                <a:pos x="9" y="2"/>
              </a:cxn>
              <a:cxn ang="0">
                <a:pos x="7" y="5"/>
              </a:cxn>
              <a:cxn ang="0">
                <a:pos x="5" y="6"/>
              </a:cxn>
              <a:cxn ang="0">
                <a:pos x="4" y="6"/>
              </a:cxn>
              <a:cxn ang="0">
                <a:pos x="3" y="8"/>
              </a:cxn>
              <a:cxn ang="0">
                <a:pos x="1" y="8"/>
              </a:cxn>
              <a:cxn ang="0">
                <a:pos x="0" y="8"/>
              </a:cxn>
              <a:cxn ang="0">
                <a:pos x="0" y="11"/>
              </a:cxn>
              <a:cxn ang="0">
                <a:pos x="1" y="13"/>
              </a:cxn>
              <a:cxn ang="0">
                <a:pos x="5" y="10"/>
              </a:cxn>
              <a:cxn ang="0">
                <a:pos x="8" y="8"/>
              </a:cxn>
              <a:cxn ang="0">
                <a:pos x="11" y="6"/>
              </a:cxn>
              <a:cxn ang="0">
                <a:pos x="12" y="5"/>
              </a:cxn>
              <a:cxn ang="0">
                <a:pos x="13" y="3"/>
              </a:cxn>
              <a:cxn ang="0">
                <a:pos x="13" y="2"/>
              </a:cxn>
              <a:cxn ang="0">
                <a:pos x="13" y="0"/>
              </a:cxn>
              <a:cxn ang="0">
                <a:pos x="12" y="0"/>
              </a:cxn>
            </a:cxnLst>
            <a:rect l="0" t="0" r="r" b="b"/>
            <a:pathLst>
              <a:path w="13" h="13">
                <a:moveTo>
                  <a:pt x="12" y="0"/>
                </a:moveTo>
                <a:lnTo>
                  <a:pt x="9" y="2"/>
                </a:lnTo>
                <a:lnTo>
                  <a:pt x="7" y="5"/>
                </a:lnTo>
                <a:lnTo>
                  <a:pt x="5" y="6"/>
                </a:lnTo>
                <a:lnTo>
                  <a:pt x="4" y="6"/>
                </a:lnTo>
                <a:lnTo>
                  <a:pt x="3" y="8"/>
                </a:lnTo>
                <a:lnTo>
                  <a:pt x="1" y="8"/>
                </a:lnTo>
                <a:lnTo>
                  <a:pt x="0" y="8"/>
                </a:lnTo>
                <a:lnTo>
                  <a:pt x="0" y="11"/>
                </a:lnTo>
                <a:lnTo>
                  <a:pt x="1" y="13"/>
                </a:lnTo>
                <a:lnTo>
                  <a:pt x="5" y="10"/>
                </a:lnTo>
                <a:lnTo>
                  <a:pt x="8" y="8"/>
                </a:lnTo>
                <a:lnTo>
                  <a:pt x="11" y="6"/>
                </a:lnTo>
                <a:lnTo>
                  <a:pt x="12" y="5"/>
                </a:lnTo>
                <a:lnTo>
                  <a:pt x="13" y="3"/>
                </a:lnTo>
                <a:lnTo>
                  <a:pt x="13" y="2"/>
                </a:lnTo>
                <a:lnTo>
                  <a:pt x="13" y="0"/>
                </a:lnTo>
                <a:lnTo>
                  <a:pt x="12" y="0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28" name="Freeform 951"/>
          <p:cNvSpPr>
            <a:spLocks/>
          </p:cNvSpPr>
          <p:nvPr/>
        </p:nvSpPr>
        <p:spPr bwMode="auto">
          <a:xfrm>
            <a:off x="10141108" y="2555302"/>
            <a:ext cx="23386" cy="27920"/>
          </a:xfrm>
          <a:custGeom>
            <a:avLst/>
            <a:gdLst/>
            <a:ahLst/>
            <a:cxnLst>
              <a:cxn ang="0">
                <a:pos x="12" y="0"/>
              </a:cxn>
              <a:cxn ang="0">
                <a:pos x="9" y="2"/>
              </a:cxn>
              <a:cxn ang="0">
                <a:pos x="7" y="5"/>
              </a:cxn>
              <a:cxn ang="0">
                <a:pos x="5" y="6"/>
              </a:cxn>
              <a:cxn ang="0">
                <a:pos x="4" y="6"/>
              </a:cxn>
              <a:cxn ang="0">
                <a:pos x="3" y="8"/>
              </a:cxn>
              <a:cxn ang="0">
                <a:pos x="1" y="8"/>
              </a:cxn>
              <a:cxn ang="0">
                <a:pos x="0" y="8"/>
              </a:cxn>
              <a:cxn ang="0">
                <a:pos x="0" y="11"/>
              </a:cxn>
              <a:cxn ang="0">
                <a:pos x="1" y="13"/>
              </a:cxn>
              <a:cxn ang="0">
                <a:pos x="5" y="10"/>
              </a:cxn>
              <a:cxn ang="0">
                <a:pos x="8" y="8"/>
              </a:cxn>
              <a:cxn ang="0">
                <a:pos x="11" y="6"/>
              </a:cxn>
              <a:cxn ang="0">
                <a:pos x="12" y="5"/>
              </a:cxn>
              <a:cxn ang="0">
                <a:pos x="13" y="3"/>
              </a:cxn>
              <a:cxn ang="0">
                <a:pos x="13" y="2"/>
              </a:cxn>
              <a:cxn ang="0">
                <a:pos x="13" y="0"/>
              </a:cxn>
              <a:cxn ang="0">
                <a:pos x="12" y="0"/>
              </a:cxn>
            </a:cxnLst>
            <a:rect l="0" t="0" r="r" b="b"/>
            <a:pathLst>
              <a:path w="13" h="13">
                <a:moveTo>
                  <a:pt x="12" y="0"/>
                </a:moveTo>
                <a:lnTo>
                  <a:pt x="9" y="2"/>
                </a:lnTo>
                <a:lnTo>
                  <a:pt x="7" y="5"/>
                </a:lnTo>
                <a:lnTo>
                  <a:pt x="5" y="6"/>
                </a:lnTo>
                <a:lnTo>
                  <a:pt x="4" y="6"/>
                </a:lnTo>
                <a:lnTo>
                  <a:pt x="3" y="8"/>
                </a:lnTo>
                <a:lnTo>
                  <a:pt x="1" y="8"/>
                </a:lnTo>
                <a:lnTo>
                  <a:pt x="0" y="8"/>
                </a:lnTo>
                <a:lnTo>
                  <a:pt x="0" y="11"/>
                </a:lnTo>
                <a:lnTo>
                  <a:pt x="1" y="13"/>
                </a:lnTo>
                <a:lnTo>
                  <a:pt x="5" y="10"/>
                </a:lnTo>
                <a:lnTo>
                  <a:pt x="8" y="8"/>
                </a:lnTo>
                <a:lnTo>
                  <a:pt x="11" y="6"/>
                </a:lnTo>
                <a:lnTo>
                  <a:pt x="12" y="5"/>
                </a:lnTo>
                <a:lnTo>
                  <a:pt x="13" y="3"/>
                </a:lnTo>
                <a:lnTo>
                  <a:pt x="13" y="2"/>
                </a:lnTo>
                <a:lnTo>
                  <a:pt x="13" y="0"/>
                </a:lnTo>
                <a:lnTo>
                  <a:pt x="12" y="0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29" name="Freeform 952"/>
          <p:cNvSpPr>
            <a:spLocks/>
          </p:cNvSpPr>
          <p:nvPr/>
        </p:nvSpPr>
        <p:spPr bwMode="auto">
          <a:xfrm>
            <a:off x="10119671" y="2593959"/>
            <a:ext cx="5847" cy="10739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0" y="5"/>
              </a:cxn>
              <a:cxn ang="0">
                <a:pos x="0" y="6"/>
              </a:cxn>
              <a:cxn ang="0">
                <a:pos x="3" y="5"/>
              </a:cxn>
              <a:cxn ang="0">
                <a:pos x="3" y="3"/>
              </a:cxn>
              <a:cxn ang="0">
                <a:pos x="4" y="0"/>
              </a:cxn>
            </a:cxnLst>
            <a:rect l="0" t="0" r="r" b="b"/>
            <a:pathLst>
              <a:path w="4" h="6">
                <a:moveTo>
                  <a:pt x="4" y="0"/>
                </a:moveTo>
                <a:lnTo>
                  <a:pt x="0" y="5"/>
                </a:lnTo>
                <a:lnTo>
                  <a:pt x="0" y="6"/>
                </a:lnTo>
                <a:lnTo>
                  <a:pt x="3" y="5"/>
                </a:lnTo>
                <a:lnTo>
                  <a:pt x="3" y="3"/>
                </a:lnTo>
                <a:lnTo>
                  <a:pt x="4" y="0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30" name="Freeform 953"/>
          <p:cNvSpPr>
            <a:spLocks/>
          </p:cNvSpPr>
          <p:nvPr/>
        </p:nvSpPr>
        <p:spPr bwMode="auto">
          <a:xfrm>
            <a:off x="10119671" y="2593959"/>
            <a:ext cx="5847" cy="10739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0" y="5"/>
              </a:cxn>
              <a:cxn ang="0">
                <a:pos x="0" y="6"/>
              </a:cxn>
              <a:cxn ang="0">
                <a:pos x="3" y="5"/>
              </a:cxn>
              <a:cxn ang="0">
                <a:pos x="3" y="3"/>
              </a:cxn>
              <a:cxn ang="0">
                <a:pos x="4" y="0"/>
              </a:cxn>
            </a:cxnLst>
            <a:rect l="0" t="0" r="r" b="b"/>
            <a:pathLst>
              <a:path w="4" h="6">
                <a:moveTo>
                  <a:pt x="4" y="0"/>
                </a:moveTo>
                <a:lnTo>
                  <a:pt x="0" y="5"/>
                </a:lnTo>
                <a:lnTo>
                  <a:pt x="0" y="6"/>
                </a:lnTo>
                <a:lnTo>
                  <a:pt x="3" y="5"/>
                </a:lnTo>
                <a:lnTo>
                  <a:pt x="3" y="3"/>
                </a:lnTo>
                <a:lnTo>
                  <a:pt x="4" y="0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31" name="Freeform 954"/>
          <p:cNvSpPr>
            <a:spLocks/>
          </p:cNvSpPr>
          <p:nvPr/>
        </p:nvSpPr>
        <p:spPr bwMode="auto">
          <a:xfrm>
            <a:off x="10106030" y="2619731"/>
            <a:ext cx="1948" cy="6444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0" y="3"/>
              </a:cxn>
              <a:cxn ang="0">
                <a:pos x="1" y="1"/>
              </a:cxn>
              <a:cxn ang="0">
                <a:pos x="1" y="0"/>
              </a:cxn>
            </a:cxnLst>
            <a:rect l="0" t="0" r="r" b="b"/>
            <a:pathLst>
              <a:path w="1" h="3">
                <a:moveTo>
                  <a:pt x="1" y="0"/>
                </a:moveTo>
                <a:lnTo>
                  <a:pt x="0" y="3"/>
                </a:lnTo>
                <a:lnTo>
                  <a:pt x="1" y="1"/>
                </a:lnTo>
                <a:lnTo>
                  <a:pt x="1" y="0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32" name="Freeform 955"/>
          <p:cNvSpPr>
            <a:spLocks/>
          </p:cNvSpPr>
          <p:nvPr/>
        </p:nvSpPr>
        <p:spPr bwMode="auto">
          <a:xfrm>
            <a:off x="10106030" y="2619731"/>
            <a:ext cx="1948" cy="6444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0" y="3"/>
              </a:cxn>
              <a:cxn ang="0">
                <a:pos x="1" y="1"/>
              </a:cxn>
              <a:cxn ang="0">
                <a:pos x="1" y="0"/>
              </a:cxn>
            </a:cxnLst>
            <a:rect l="0" t="0" r="r" b="b"/>
            <a:pathLst>
              <a:path w="1" h="3">
                <a:moveTo>
                  <a:pt x="1" y="0"/>
                </a:moveTo>
                <a:lnTo>
                  <a:pt x="0" y="3"/>
                </a:lnTo>
                <a:lnTo>
                  <a:pt x="1" y="1"/>
                </a:lnTo>
                <a:lnTo>
                  <a:pt x="1" y="0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33" name="Freeform 956"/>
          <p:cNvSpPr>
            <a:spLocks/>
          </p:cNvSpPr>
          <p:nvPr/>
        </p:nvSpPr>
        <p:spPr bwMode="auto">
          <a:xfrm>
            <a:off x="10039771" y="2679864"/>
            <a:ext cx="13640" cy="12885"/>
          </a:xfrm>
          <a:custGeom>
            <a:avLst/>
            <a:gdLst/>
            <a:ahLst/>
            <a:cxnLst>
              <a:cxn ang="0">
                <a:pos x="7" y="0"/>
              </a:cxn>
              <a:cxn ang="0">
                <a:pos x="7" y="2"/>
              </a:cxn>
              <a:cxn ang="0">
                <a:pos x="3" y="5"/>
              </a:cxn>
              <a:cxn ang="0">
                <a:pos x="2" y="6"/>
              </a:cxn>
              <a:cxn ang="0">
                <a:pos x="0" y="6"/>
              </a:cxn>
              <a:cxn ang="0">
                <a:pos x="2" y="5"/>
              </a:cxn>
              <a:cxn ang="0">
                <a:pos x="4" y="3"/>
              </a:cxn>
              <a:cxn ang="0">
                <a:pos x="6" y="0"/>
              </a:cxn>
              <a:cxn ang="0">
                <a:pos x="7" y="0"/>
              </a:cxn>
            </a:cxnLst>
            <a:rect l="0" t="0" r="r" b="b"/>
            <a:pathLst>
              <a:path w="7" h="6">
                <a:moveTo>
                  <a:pt x="7" y="0"/>
                </a:moveTo>
                <a:lnTo>
                  <a:pt x="7" y="2"/>
                </a:lnTo>
                <a:lnTo>
                  <a:pt x="3" y="5"/>
                </a:lnTo>
                <a:lnTo>
                  <a:pt x="2" y="6"/>
                </a:lnTo>
                <a:lnTo>
                  <a:pt x="0" y="6"/>
                </a:lnTo>
                <a:lnTo>
                  <a:pt x="2" y="5"/>
                </a:lnTo>
                <a:lnTo>
                  <a:pt x="4" y="3"/>
                </a:lnTo>
                <a:lnTo>
                  <a:pt x="6" y="0"/>
                </a:lnTo>
                <a:lnTo>
                  <a:pt x="7" y="0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34" name="Freeform 957"/>
          <p:cNvSpPr>
            <a:spLocks/>
          </p:cNvSpPr>
          <p:nvPr/>
        </p:nvSpPr>
        <p:spPr bwMode="auto">
          <a:xfrm>
            <a:off x="10039771" y="2679864"/>
            <a:ext cx="13640" cy="12885"/>
          </a:xfrm>
          <a:custGeom>
            <a:avLst/>
            <a:gdLst/>
            <a:ahLst/>
            <a:cxnLst>
              <a:cxn ang="0">
                <a:pos x="7" y="0"/>
              </a:cxn>
              <a:cxn ang="0">
                <a:pos x="7" y="2"/>
              </a:cxn>
              <a:cxn ang="0">
                <a:pos x="3" y="5"/>
              </a:cxn>
              <a:cxn ang="0">
                <a:pos x="2" y="6"/>
              </a:cxn>
              <a:cxn ang="0">
                <a:pos x="0" y="6"/>
              </a:cxn>
              <a:cxn ang="0">
                <a:pos x="2" y="5"/>
              </a:cxn>
              <a:cxn ang="0">
                <a:pos x="4" y="3"/>
              </a:cxn>
              <a:cxn ang="0">
                <a:pos x="6" y="0"/>
              </a:cxn>
              <a:cxn ang="0">
                <a:pos x="7" y="0"/>
              </a:cxn>
            </a:cxnLst>
            <a:rect l="0" t="0" r="r" b="b"/>
            <a:pathLst>
              <a:path w="7" h="6">
                <a:moveTo>
                  <a:pt x="7" y="0"/>
                </a:moveTo>
                <a:lnTo>
                  <a:pt x="7" y="2"/>
                </a:lnTo>
                <a:lnTo>
                  <a:pt x="3" y="5"/>
                </a:lnTo>
                <a:lnTo>
                  <a:pt x="2" y="6"/>
                </a:lnTo>
                <a:lnTo>
                  <a:pt x="0" y="6"/>
                </a:lnTo>
                <a:lnTo>
                  <a:pt x="2" y="5"/>
                </a:lnTo>
                <a:lnTo>
                  <a:pt x="4" y="3"/>
                </a:lnTo>
                <a:lnTo>
                  <a:pt x="6" y="0"/>
                </a:lnTo>
                <a:lnTo>
                  <a:pt x="7" y="0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35" name="Freeform 958"/>
          <p:cNvSpPr>
            <a:spLocks/>
          </p:cNvSpPr>
          <p:nvPr/>
        </p:nvSpPr>
        <p:spPr bwMode="auto">
          <a:xfrm>
            <a:off x="9977410" y="2714226"/>
            <a:ext cx="25333" cy="21476"/>
          </a:xfrm>
          <a:custGeom>
            <a:avLst/>
            <a:gdLst/>
            <a:ahLst/>
            <a:cxnLst>
              <a:cxn ang="0">
                <a:pos x="13" y="1"/>
              </a:cxn>
              <a:cxn ang="0">
                <a:pos x="13" y="3"/>
              </a:cxn>
              <a:cxn ang="0">
                <a:pos x="5" y="9"/>
              </a:cxn>
              <a:cxn ang="0">
                <a:pos x="3" y="11"/>
              </a:cxn>
              <a:cxn ang="0">
                <a:pos x="0" y="12"/>
              </a:cxn>
              <a:cxn ang="0">
                <a:pos x="0" y="9"/>
              </a:cxn>
              <a:cxn ang="0">
                <a:pos x="7" y="4"/>
              </a:cxn>
              <a:cxn ang="0">
                <a:pos x="12" y="0"/>
              </a:cxn>
              <a:cxn ang="0">
                <a:pos x="13" y="0"/>
              </a:cxn>
              <a:cxn ang="0">
                <a:pos x="13" y="1"/>
              </a:cxn>
            </a:cxnLst>
            <a:rect l="0" t="0" r="r" b="b"/>
            <a:pathLst>
              <a:path w="13" h="12">
                <a:moveTo>
                  <a:pt x="13" y="1"/>
                </a:moveTo>
                <a:lnTo>
                  <a:pt x="13" y="3"/>
                </a:lnTo>
                <a:lnTo>
                  <a:pt x="5" y="9"/>
                </a:lnTo>
                <a:lnTo>
                  <a:pt x="3" y="11"/>
                </a:lnTo>
                <a:lnTo>
                  <a:pt x="0" y="12"/>
                </a:lnTo>
                <a:lnTo>
                  <a:pt x="0" y="9"/>
                </a:lnTo>
                <a:lnTo>
                  <a:pt x="7" y="4"/>
                </a:lnTo>
                <a:lnTo>
                  <a:pt x="12" y="0"/>
                </a:lnTo>
                <a:lnTo>
                  <a:pt x="13" y="0"/>
                </a:lnTo>
                <a:lnTo>
                  <a:pt x="13" y="1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36" name="Freeform 959"/>
          <p:cNvSpPr>
            <a:spLocks/>
          </p:cNvSpPr>
          <p:nvPr/>
        </p:nvSpPr>
        <p:spPr bwMode="auto">
          <a:xfrm>
            <a:off x="9977410" y="2714226"/>
            <a:ext cx="25333" cy="21476"/>
          </a:xfrm>
          <a:custGeom>
            <a:avLst/>
            <a:gdLst/>
            <a:ahLst/>
            <a:cxnLst>
              <a:cxn ang="0">
                <a:pos x="13" y="1"/>
              </a:cxn>
              <a:cxn ang="0">
                <a:pos x="13" y="3"/>
              </a:cxn>
              <a:cxn ang="0">
                <a:pos x="5" y="9"/>
              </a:cxn>
              <a:cxn ang="0">
                <a:pos x="3" y="11"/>
              </a:cxn>
              <a:cxn ang="0">
                <a:pos x="0" y="12"/>
              </a:cxn>
              <a:cxn ang="0">
                <a:pos x="0" y="9"/>
              </a:cxn>
              <a:cxn ang="0">
                <a:pos x="7" y="4"/>
              </a:cxn>
              <a:cxn ang="0">
                <a:pos x="12" y="0"/>
              </a:cxn>
              <a:cxn ang="0">
                <a:pos x="13" y="0"/>
              </a:cxn>
              <a:cxn ang="0">
                <a:pos x="13" y="1"/>
              </a:cxn>
            </a:cxnLst>
            <a:rect l="0" t="0" r="r" b="b"/>
            <a:pathLst>
              <a:path w="13" h="12">
                <a:moveTo>
                  <a:pt x="13" y="1"/>
                </a:moveTo>
                <a:lnTo>
                  <a:pt x="13" y="3"/>
                </a:lnTo>
                <a:lnTo>
                  <a:pt x="5" y="9"/>
                </a:lnTo>
                <a:lnTo>
                  <a:pt x="3" y="11"/>
                </a:lnTo>
                <a:lnTo>
                  <a:pt x="0" y="12"/>
                </a:lnTo>
                <a:lnTo>
                  <a:pt x="0" y="9"/>
                </a:lnTo>
                <a:lnTo>
                  <a:pt x="7" y="4"/>
                </a:lnTo>
                <a:lnTo>
                  <a:pt x="12" y="0"/>
                </a:lnTo>
                <a:lnTo>
                  <a:pt x="13" y="0"/>
                </a:lnTo>
                <a:lnTo>
                  <a:pt x="13" y="1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37" name="Freeform 960"/>
          <p:cNvSpPr>
            <a:spLocks/>
          </p:cNvSpPr>
          <p:nvPr/>
        </p:nvSpPr>
        <p:spPr bwMode="auto">
          <a:xfrm>
            <a:off x="9901403" y="2739997"/>
            <a:ext cx="54567" cy="38657"/>
          </a:xfrm>
          <a:custGeom>
            <a:avLst/>
            <a:gdLst/>
            <a:ahLst/>
            <a:cxnLst>
              <a:cxn ang="0">
                <a:pos x="28" y="1"/>
              </a:cxn>
              <a:cxn ang="0">
                <a:pos x="28" y="0"/>
              </a:cxn>
              <a:cxn ang="0">
                <a:pos x="28" y="1"/>
              </a:cxn>
              <a:cxn ang="0">
                <a:pos x="24" y="3"/>
              </a:cxn>
              <a:cxn ang="0">
                <a:pos x="15" y="9"/>
              </a:cxn>
              <a:cxn ang="0">
                <a:pos x="12" y="9"/>
              </a:cxn>
              <a:cxn ang="0">
                <a:pos x="11" y="11"/>
              </a:cxn>
              <a:cxn ang="0">
                <a:pos x="10" y="12"/>
              </a:cxn>
              <a:cxn ang="0">
                <a:pos x="6" y="16"/>
              </a:cxn>
              <a:cxn ang="0">
                <a:pos x="2" y="19"/>
              </a:cxn>
              <a:cxn ang="0">
                <a:pos x="0" y="19"/>
              </a:cxn>
              <a:cxn ang="0">
                <a:pos x="0" y="17"/>
              </a:cxn>
              <a:cxn ang="0">
                <a:pos x="2" y="14"/>
              </a:cxn>
              <a:cxn ang="0">
                <a:pos x="3" y="12"/>
              </a:cxn>
              <a:cxn ang="0">
                <a:pos x="4" y="12"/>
              </a:cxn>
              <a:cxn ang="0">
                <a:pos x="8" y="8"/>
              </a:cxn>
              <a:cxn ang="0">
                <a:pos x="10" y="6"/>
              </a:cxn>
              <a:cxn ang="0">
                <a:pos x="12" y="6"/>
              </a:cxn>
              <a:cxn ang="0">
                <a:pos x="14" y="3"/>
              </a:cxn>
              <a:cxn ang="0">
                <a:pos x="15" y="3"/>
              </a:cxn>
              <a:cxn ang="0">
                <a:pos x="16" y="3"/>
              </a:cxn>
              <a:cxn ang="0">
                <a:pos x="16" y="5"/>
              </a:cxn>
              <a:cxn ang="0">
                <a:pos x="19" y="3"/>
              </a:cxn>
              <a:cxn ang="0">
                <a:pos x="22" y="1"/>
              </a:cxn>
              <a:cxn ang="0">
                <a:pos x="24" y="0"/>
              </a:cxn>
              <a:cxn ang="0">
                <a:pos x="27" y="0"/>
              </a:cxn>
              <a:cxn ang="0">
                <a:pos x="28" y="0"/>
              </a:cxn>
              <a:cxn ang="0">
                <a:pos x="28" y="1"/>
              </a:cxn>
            </a:cxnLst>
            <a:rect l="0" t="0" r="r" b="b"/>
            <a:pathLst>
              <a:path w="28" h="19">
                <a:moveTo>
                  <a:pt x="28" y="1"/>
                </a:moveTo>
                <a:lnTo>
                  <a:pt x="28" y="0"/>
                </a:lnTo>
                <a:lnTo>
                  <a:pt x="28" y="1"/>
                </a:lnTo>
                <a:lnTo>
                  <a:pt x="24" y="3"/>
                </a:lnTo>
                <a:lnTo>
                  <a:pt x="15" y="9"/>
                </a:lnTo>
                <a:lnTo>
                  <a:pt x="12" y="9"/>
                </a:lnTo>
                <a:lnTo>
                  <a:pt x="11" y="11"/>
                </a:lnTo>
                <a:lnTo>
                  <a:pt x="10" y="12"/>
                </a:lnTo>
                <a:lnTo>
                  <a:pt x="6" y="16"/>
                </a:lnTo>
                <a:lnTo>
                  <a:pt x="2" y="19"/>
                </a:lnTo>
                <a:lnTo>
                  <a:pt x="0" y="19"/>
                </a:lnTo>
                <a:lnTo>
                  <a:pt x="0" y="17"/>
                </a:lnTo>
                <a:lnTo>
                  <a:pt x="2" y="14"/>
                </a:lnTo>
                <a:lnTo>
                  <a:pt x="3" y="12"/>
                </a:lnTo>
                <a:lnTo>
                  <a:pt x="4" y="12"/>
                </a:lnTo>
                <a:lnTo>
                  <a:pt x="8" y="8"/>
                </a:lnTo>
                <a:lnTo>
                  <a:pt x="10" y="6"/>
                </a:lnTo>
                <a:lnTo>
                  <a:pt x="12" y="6"/>
                </a:lnTo>
                <a:lnTo>
                  <a:pt x="14" y="3"/>
                </a:lnTo>
                <a:lnTo>
                  <a:pt x="15" y="3"/>
                </a:lnTo>
                <a:lnTo>
                  <a:pt x="16" y="3"/>
                </a:lnTo>
                <a:lnTo>
                  <a:pt x="16" y="5"/>
                </a:lnTo>
                <a:lnTo>
                  <a:pt x="19" y="3"/>
                </a:lnTo>
                <a:lnTo>
                  <a:pt x="22" y="1"/>
                </a:lnTo>
                <a:lnTo>
                  <a:pt x="24" y="0"/>
                </a:lnTo>
                <a:lnTo>
                  <a:pt x="27" y="0"/>
                </a:lnTo>
                <a:lnTo>
                  <a:pt x="28" y="0"/>
                </a:lnTo>
                <a:lnTo>
                  <a:pt x="28" y="1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38" name="Freeform 961"/>
          <p:cNvSpPr>
            <a:spLocks/>
          </p:cNvSpPr>
          <p:nvPr/>
        </p:nvSpPr>
        <p:spPr bwMode="auto">
          <a:xfrm>
            <a:off x="9901403" y="2739997"/>
            <a:ext cx="54567" cy="38657"/>
          </a:xfrm>
          <a:custGeom>
            <a:avLst/>
            <a:gdLst/>
            <a:ahLst/>
            <a:cxnLst>
              <a:cxn ang="0">
                <a:pos x="28" y="1"/>
              </a:cxn>
              <a:cxn ang="0">
                <a:pos x="28" y="0"/>
              </a:cxn>
              <a:cxn ang="0">
                <a:pos x="28" y="1"/>
              </a:cxn>
              <a:cxn ang="0">
                <a:pos x="24" y="3"/>
              </a:cxn>
              <a:cxn ang="0">
                <a:pos x="15" y="9"/>
              </a:cxn>
              <a:cxn ang="0">
                <a:pos x="12" y="9"/>
              </a:cxn>
              <a:cxn ang="0">
                <a:pos x="11" y="11"/>
              </a:cxn>
              <a:cxn ang="0">
                <a:pos x="10" y="12"/>
              </a:cxn>
              <a:cxn ang="0">
                <a:pos x="6" y="16"/>
              </a:cxn>
              <a:cxn ang="0">
                <a:pos x="2" y="19"/>
              </a:cxn>
              <a:cxn ang="0">
                <a:pos x="0" y="19"/>
              </a:cxn>
              <a:cxn ang="0">
                <a:pos x="0" y="17"/>
              </a:cxn>
              <a:cxn ang="0">
                <a:pos x="2" y="14"/>
              </a:cxn>
              <a:cxn ang="0">
                <a:pos x="3" y="12"/>
              </a:cxn>
              <a:cxn ang="0">
                <a:pos x="4" y="12"/>
              </a:cxn>
              <a:cxn ang="0">
                <a:pos x="8" y="8"/>
              </a:cxn>
              <a:cxn ang="0">
                <a:pos x="10" y="6"/>
              </a:cxn>
              <a:cxn ang="0">
                <a:pos x="12" y="6"/>
              </a:cxn>
              <a:cxn ang="0">
                <a:pos x="14" y="3"/>
              </a:cxn>
              <a:cxn ang="0">
                <a:pos x="15" y="3"/>
              </a:cxn>
              <a:cxn ang="0">
                <a:pos x="16" y="3"/>
              </a:cxn>
              <a:cxn ang="0">
                <a:pos x="16" y="5"/>
              </a:cxn>
              <a:cxn ang="0">
                <a:pos x="19" y="3"/>
              </a:cxn>
              <a:cxn ang="0">
                <a:pos x="22" y="1"/>
              </a:cxn>
              <a:cxn ang="0">
                <a:pos x="24" y="0"/>
              </a:cxn>
              <a:cxn ang="0">
                <a:pos x="27" y="0"/>
              </a:cxn>
              <a:cxn ang="0">
                <a:pos x="28" y="0"/>
              </a:cxn>
              <a:cxn ang="0">
                <a:pos x="28" y="1"/>
              </a:cxn>
            </a:cxnLst>
            <a:rect l="0" t="0" r="r" b="b"/>
            <a:pathLst>
              <a:path w="28" h="19">
                <a:moveTo>
                  <a:pt x="28" y="1"/>
                </a:moveTo>
                <a:lnTo>
                  <a:pt x="28" y="0"/>
                </a:lnTo>
                <a:lnTo>
                  <a:pt x="28" y="1"/>
                </a:lnTo>
                <a:lnTo>
                  <a:pt x="24" y="3"/>
                </a:lnTo>
                <a:lnTo>
                  <a:pt x="15" y="9"/>
                </a:lnTo>
                <a:lnTo>
                  <a:pt x="12" y="9"/>
                </a:lnTo>
                <a:lnTo>
                  <a:pt x="11" y="11"/>
                </a:lnTo>
                <a:lnTo>
                  <a:pt x="10" y="12"/>
                </a:lnTo>
                <a:lnTo>
                  <a:pt x="6" y="16"/>
                </a:lnTo>
                <a:lnTo>
                  <a:pt x="2" y="19"/>
                </a:lnTo>
                <a:lnTo>
                  <a:pt x="0" y="19"/>
                </a:lnTo>
                <a:lnTo>
                  <a:pt x="0" y="17"/>
                </a:lnTo>
                <a:lnTo>
                  <a:pt x="2" y="14"/>
                </a:lnTo>
                <a:lnTo>
                  <a:pt x="3" y="12"/>
                </a:lnTo>
                <a:lnTo>
                  <a:pt x="4" y="12"/>
                </a:lnTo>
                <a:lnTo>
                  <a:pt x="8" y="8"/>
                </a:lnTo>
                <a:lnTo>
                  <a:pt x="10" y="6"/>
                </a:lnTo>
                <a:lnTo>
                  <a:pt x="12" y="6"/>
                </a:lnTo>
                <a:lnTo>
                  <a:pt x="14" y="3"/>
                </a:lnTo>
                <a:lnTo>
                  <a:pt x="15" y="3"/>
                </a:lnTo>
                <a:lnTo>
                  <a:pt x="16" y="3"/>
                </a:lnTo>
                <a:lnTo>
                  <a:pt x="16" y="5"/>
                </a:lnTo>
                <a:lnTo>
                  <a:pt x="19" y="3"/>
                </a:lnTo>
                <a:lnTo>
                  <a:pt x="22" y="1"/>
                </a:lnTo>
                <a:lnTo>
                  <a:pt x="24" y="0"/>
                </a:lnTo>
                <a:lnTo>
                  <a:pt x="27" y="0"/>
                </a:lnTo>
                <a:lnTo>
                  <a:pt x="28" y="0"/>
                </a:lnTo>
                <a:lnTo>
                  <a:pt x="28" y="1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39" name="Freeform 962"/>
          <p:cNvSpPr>
            <a:spLocks/>
          </p:cNvSpPr>
          <p:nvPr/>
        </p:nvSpPr>
        <p:spPr bwMode="auto">
          <a:xfrm>
            <a:off x="9891661" y="2800130"/>
            <a:ext cx="7795" cy="2148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5" y="0"/>
              </a:cxn>
              <a:cxn ang="0">
                <a:pos x="4" y="1"/>
              </a:cxn>
              <a:cxn ang="0">
                <a:pos x="1" y="1"/>
              </a:cxn>
              <a:cxn ang="0">
                <a:pos x="0" y="1"/>
              </a:cxn>
              <a:cxn ang="0">
                <a:pos x="1" y="0"/>
              </a:cxn>
              <a:cxn ang="0">
                <a:pos x="4" y="0"/>
              </a:cxn>
            </a:cxnLst>
            <a:rect l="0" t="0" r="r" b="b"/>
            <a:pathLst>
              <a:path w="5" h="1">
                <a:moveTo>
                  <a:pt x="4" y="0"/>
                </a:moveTo>
                <a:lnTo>
                  <a:pt x="5" y="0"/>
                </a:lnTo>
                <a:lnTo>
                  <a:pt x="4" y="1"/>
                </a:lnTo>
                <a:lnTo>
                  <a:pt x="1" y="1"/>
                </a:lnTo>
                <a:lnTo>
                  <a:pt x="0" y="1"/>
                </a:lnTo>
                <a:lnTo>
                  <a:pt x="1" y="0"/>
                </a:lnTo>
                <a:lnTo>
                  <a:pt x="4" y="0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40" name="Freeform 963"/>
          <p:cNvSpPr>
            <a:spLocks/>
          </p:cNvSpPr>
          <p:nvPr/>
        </p:nvSpPr>
        <p:spPr bwMode="auto">
          <a:xfrm>
            <a:off x="9891661" y="2800130"/>
            <a:ext cx="7795" cy="2148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5" y="0"/>
              </a:cxn>
              <a:cxn ang="0">
                <a:pos x="4" y="1"/>
              </a:cxn>
              <a:cxn ang="0">
                <a:pos x="1" y="1"/>
              </a:cxn>
              <a:cxn ang="0">
                <a:pos x="0" y="1"/>
              </a:cxn>
              <a:cxn ang="0">
                <a:pos x="1" y="0"/>
              </a:cxn>
              <a:cxn ang="0">
                <a:pos x="4" y="0"/>
              </a:cxn>
            </a:cxnLst>
            <a:rect l="0" t="0" r="r" b="b"/>
            <a:pathLst>
              <a:path w="5" h="1">
                <a:moveTo>
                  <a:pt x="4" y="0"/>
                </a:moveTo>
                <a:lnTo>
                  <a:pt x="5" y="0"/>
                </a:lnTo>
                <a:lnTo>
                  <a:pt x="4" y="1"/>
                </a:lnTo>
                <a:lnTo>
                  <a:pt x="1" y="1"/>
                </a:lnTo>
                <a:lnTo>
                  <a:pt x="0" y="1"/>
                </a:lnTo>
                <a:lnTo>
                  <a:pt x="1" y="0"/>
                </a:lnTo>
                <a:lnTo>
                  <a:pt x="4" y="0"/>
                </a:lnTo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41" name="Freeform 964"/>
          <p:cNvSpPr>
            <a:spLocks/>
          </p:cNvSpPr>
          <p:nvPr/>
        </p:nvSpPr>
        <p:spPr bwMode="auto">
          <a:xfrm>
            <a:off x="9856582" y="2774359"/>
            <a:ext cx="25333" cy="30067"/>
          </a:xfrm>
          <a:custGeom>
            <a:avLst/>
            <a:gdLst/>
            <a:ahLst/>
            <a:cxnLst>
              <a:cxn ang="0">
                <a:pos x="10" y="2"/>
              </a:cxn>
              <a:cxn ang="0">
                <a:pos x="10" y="0"/>
              </a:cxn>
              <a:cxn ang="0">
                <a:pos x="13" y="2"/>
              </a:cxn>
              <a:cxn ang="0">
                <a:pos x="13" y="3"/>
              </a:cxn>
              <a:cxn ang="0">
                <a:pos x="11" y="5"/>
              </a:cxn>
              <a:cxn ang="0">
                <a:pos x="2" y="13"/>
              </a:cxn>
              <a:cxn ang="0">
                <a:pos x="1" y="16"/>
              </a:cxn>
              <a:cxn ang="0">
                <a:pos x="0" y="13"/>
              </a:cxn>
              <a:cxn ang="0">
                <a:pos x="8" y="5"/>
              </a:cxn>
              <a:cxn ang="0">
                <a:pos x="9" y="2"/>
              </a:cxn>
              <a:cxn ang="0">
                <a:pos x="10" y="2"/>
              </a:cxn>
            </a:cxnLst>
            <a:rect l="0" t="0" r="r" b="b"/>
            <a:pathLst>
              <a:path w="13" h="16">
                <a:moveTo>
                  <a:pt x="10" y="2"/>
                </a:moveTo>
                <a:lnTo>
                  <a:pt x="10" y="0"/>
                </a:lnTo>
                <a:lnTo>
                  <a:pt x="13" y="2"/>
                </a:lnTo>
                <a:lnTo>
                  <a:pt x="13" y="3"/>
                </a:lnTo>
                <a:lnTo>
                  <a:pt x="11" y="5"/>
                </a:lnTo>
                <a:lnTo>
                  <a:pt x="2" y="13"/>
                </a:lnTo>
                <a:lnTo>
                  <a:pt x="1" y="16"/>
                </a:lnTo>
                <a:lnTo>
                  <a:pt x="0" y="13"/>
                </a:lnTo>
                <a:lnTo>
                  <a:pt x="8" y="5"/>
                </a:lnTo>
                <a:lnTo>
                  <a:pt x="9" y="2"/>
                </a:lnTo>
                <a:lnTo>
                  <a:pt x="10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42" name="Freeform 965"/>
          <p:cNvSpPr>
            <a:spLocks/>
          </p:cNvSpPr>
          <p:nvPr/>
        </p:nvSpPr>
        <p:spPr bwMode="auto">
          <a:xfrm>
            <a:off x="9856582" y="2774359"/>
            <a:ext cx="25333" cy="30067"/>
          </a:xfrm>
          <a:custGeom>
            <a:avLst/>
            <a:gdLst/>
            <a:ahLst/>
            <a:cxnLst>
              <a:cxn ang="0">
                <a:pos x="10" y="2"/>
              </a:cxn>
              <a:cxn ang="0">
                <a:pos x="10" y="0"/>
              </a:cxn>
              <a:cxn ang="0">
                <a:pos x="13" y="2"/>
              </a:cxn>
              <a:cxn ang="0">
                <a:pos x="13" y="3"/>
              </a:cxn>
              <a:cxn ang="0">
                <a:pos x="11" y="5"/>
              </a:cxn>
              <a:cxn ang="0">
                <a:pos x="2" y="13"/>
              </a:cxn>
              <a:cxn ang="0">
                <a:pos x="1" y="16"/>
              </a:cxn>
              <a:cxn ang="0">
                <a:pos x="0" y="13"/>
              </a:cxn>
              <a:cxn ang="0">
                <a:pos x="8" y="5"/>
              </a:cxn>
              <a:cxn ang="0">
                <a:pos x="9" y="2"/>
              </a:cxn>
              <a:cxn ang="0">
                <a:pos x="10" y="2"/>
              </a:cxn>
            </a:cxnLst>
            <a:rect l="0" t="0" r="r" b="b"/>
            <a:pathLst>
              <a:path w="13" h="16">
                <a:moveTo>
                  <a:pt x="10" y="2"/>
                </a:moveTo>
                <a:lnTo>
                  <a:pt x="10" y="0"/>
                </a:lnTo>
                <a:lnTo>
                  <a:pt x="13" y="2"/>
                </a:lnTo>
                <a:lnTo>
                  <a:pt x="13" y="3"/>
                </a:lnTo>
                <a:lnTo>
                  <a:pt x="11" y="5"/>
                </a:lnTo>
                <a:lnTo>
                  <a:pt x="2" y="13"/>
                </a:lnTo>
                <a:lnTo>
                  <a:pt x="1" y="16"/>
                </a:lnTo>
                <a:lnTo>
                  <a:pt x="0" y="13"/>
                </a:lnTo>
                <a:lnTo>
                  <a:pt x="8" y="5"/>
                </a:lnTo>
                <a:lnTo>
                  <a:pt x="9" y="2"/>
                </a:lnTo>
                <a:lnTo>
                  <a:pt x="10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43" name="Freeform 966"/>
          <p:cNvSpPr>
            <a:spLocks/>
          </p:cNvSpPr>
          <p:nvPr/>
        </p:nvSpPr>
        <p:spPr bwMode="auto">
          <a:xfrm>
            <a:off x="8289735" y="1518009"/>
            <a:ext cx="76003" cy="15033"/>
          </a:xfrm>
          <a:custGeom>
            <a:avLst/>
            <a:gdLst/>
            <a:ahLst/>
            <a:cxnLst>
              <a:cxn ang="0">
                <a:pos x="4" y="2"/>
              </a:cxn>
              <a:cxn ang="0">
                <a:pos x="0" y="0"/>
              </a:cxn>
              <a:cxn ang="0">
                <a:pos x="6" y="2"/>
              </a:cxn>
              <a:cxn ang="0">
                <a:pos x="12" y="0"/>
              </a:cxn>
              <a:cxn ang="0">
                <a:pos x="12" y="2"/>
              </a:cxn>
              <a:cxn ang="0">
                <a:pos x="18" y="2"/>
              </a:cxn>
              <a:cxn ang="0">
                <a:pos x="32" y="2"/>
              </a:cxn>
              <a:cxn ang="0">
                <a:pos x="40" y="3"/>
              </a:cxn>
              <a:cxn ang="0">
                <a:pos x="39" y="5"/>
              </a:cxn>
              <a:cxn ang="0">
                <a:pos x="36" y="5"/>
              </a:cxn>
              <a:cxn ang="0">
                <a:pos x="28" y="7"/>
              </a:cxn>
              <a:cxn ang="0">
                <a:pos x="23" y="8"/>
              </a:cxn>
              <a:cxn ang="0">
                <a:pos x="20" y="8"/>
              </a:cxn>
              <a:cxn ang="0">
                <a:pos x="18" y="8"/>
              </a:cxn>
              <a:cxn ang="0">
                <a:pos x="12" y="8"/>
              </a:cxn>
              <a:cxn ang="0">
                <a:pos x="6" y="7"/>
              </a:cxn>
              <a:cxn ang="0">
                <a:pos x="10" y="7"/>
              </a:cxn>
              <a:cxn ang="0">
                <a:pos x="12" y="8"/>
              </a:cxn>
              <a:cxn ang="0">
                <a:pos x="15" y="7"/>
              </a:cxn>
              <a:cxn ang="0">
                <a:pos x="19" y="7"/>
              </a:cxn>
              <a:cxn ang="0">
                <a:pos x="15" y="5"/>
              </a:cxn>
              <a:cxn ang="0">
                <a:pos x="4" y="5"/>
              </a:cxn>
              <a:cxn ang="0">
                <a:pos x="7" y="5"/>
              </a:cxn>
              <a:cxn ang="0">
                <a:pos x="6" y="3"/>
              </a:cxn>
              <a:cxn ang="0">
                <a:pos x="3" y="3"/>
              </a:cxn>
              <a:cxn ang="0">
                <a:pos x="2" y="3"/>
              </a:cxn>
              <a:cxn ang="0">
                <a:pos x="4" y="2"/>
              </a:cxn>
            </a:cxnLst>
            <a:rect l="0" t="0" r="r" b="b"/>
            <a:pathLst>
              <a:path w="40" h="8">
                <a:moveTo>
                  <a:pt x="4" y="2"/>
                </a:moveTo>
                <a:lnTo>
                  <a:pt x="0" y="0"/>
                </a:lnTo>
                <a:lnTo>
                  <a:pt x="6" y="2"/>
                </a:lnTo>
                <a:lnTo>
                  <a:pt x="12" y="0"/>
                </a:lnTo>
                <a:lnTo>
                  <a:pt x="12" y="2"/>
                </a:lnTo>
                <a:lnTo>
                  <a:pt x="18" y="2"/>
                </a:lnTo>
                <a:lnTo>
                  <a:pt x="32" y="2"/>
                </a:lnTo>
                <a:lnTo>
                  <a:pt x="40" y="3"/>
                </a:lnTo>
                <a:lnTo>
                  <a:pt x="39" y="5"/>
                </a:lnTo>
                <a:lnTo>
                  <a:pt x="36" y="5"/>
                </a:lnTo>
                <a:lnTo>
                  <a:pt x="28" y="7"/>
                </a:lnTo>
                <a:lnTo>
                  <a:pt x="23" y="8"/>
                </a:lnTo>
                <a:lnTo>
                  <a:pt x="20" y="8"/>
                </a:lnTo>
                <a:lnTo>
                  <a:pt x="18" y="8"/>
                </a:lnTo>
                <a:lnTo>
                  <a:pt x="12" y="8"/>
                </a:lnTo>
                <a:lnTo>
                  <a:pt x="6" y="7"/>
                </a:lnTo>
                <a:lnTo>
                  <a:pt x="10" y="7"/>
                </a:lnTo>
                <a:lnTo>
                  <a:pt x="12" y="8"/>
                </a:lnTo>
                <a:lnTo>
                  <a:pt x="15" y="7"/>
                </a:lnTo>
                <a:lnTo>
                  <a:pt x="19" y="7"/>
                </a:lnTo>
                <a:lnTo>
                  <a:pt x="15" y="5"/>
                </a:lnTo>
                <a:lnTo>
                  <a:pt x="4" y="5"/>
                </a:lnTo>
                <a:lnTo>
                  <a:pt x="7" y="5"/>
                </a:lnTo>
                <a:lnTo>
                  <a:pt x="6" y="3"/>
                </a:lnTo>
                <a:lnTo>
                  <a:pt x="3" y="3"/>
                </a:lnTo>
                <a:lnTo>
                  <a:pt x="2" y="3"/>
                </a:lnTo>
                <a:lnTo>
                  <a:pt x="4" y="2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44" name="Freeform 967"/>
          <p:cNvSpPr>
            <a:spLocks/>
          </p:cNvSpPr>
          <p:nvPr/>
        </p:nvSpPr>
        <p:spPr bwMode="auto">
          <a:xfrm>
            <a:off x="8289735" y="1518009"/>
            <a:ext cx="76003" cy="15033"/>
          </a:xfrm>
          <a:custGeom>
            <a:avLst/>
            <a:gdLst/>
            <a:ahLst/>
            <a:cxnLst>
              <a:cxn ang="0">
                <a:pos x="4" y="2"/>
              </a:cxn>
              <a:cxn ang="0">
                <a:pos x="0" y="0"/>
              </a:cxn>
              <a:cxn ang="0">
                <a:pos x="6" y="2"/>
              </a:cxn>
              <a:cxn ang="0">
                <a:pos x="12" y="0"/>
              </a:cxn>
              <a:cxn ang="0">
                <a:pos x="12" y="2"/>
              </a:cxn>
              <a:cxn ang="0">
                <a:pos x="18" y="2"/>
              </a:cxn>
              <a:cxn ang="0">
                <a:pos x="32" y="2"/>
              </a:cxn>
              <a:cxn ang="0">
                <a:pos x="40" y="3"/>
              </a:cxn>
              <a:cxn ang="0">
                <a:pos x="39" y="5"/>
              </a:cxn>
              <a:cxn ang="0">
                <a:pos x="36" y="5"/>
              </a:cxn>
              <a:cxn ang="0">
                <a:pos x="28" y="7"/>
              </a:cxn>
              <a:cxn ang="0">
                <a:pos x="23" y="8"/>
              </a:cxn>
              <a:cxn ang="0">
                <a:pos x="20" y="8"/>
              </a:cxn>
              <a:cxn ang="0">
                <a:pos x="18" y="8"/>
              </a:cxn>
              <a:cxn ang="0">
                <a:pos x="12" y="8"/>
              </a:cxn>
              <a:cxn ang="0">
                <a:pos x="6" y="7"/>
              </a:cxn>
              <a:cxn ang="0">
                <a:pos x="10" y="7"/>
              </a:cxn>
              <a:cxn ang="0">
                <a:pos x="12" y="8"/>
              </a:cxn>
              <a:cxn ang="0">
                <a:pos x="15" y="7"/>
              </a:cxn>
              <a:cxn ang="0">
                <a:pos x="19" y="7"/>
              </a:cxn>
              <a:cxn ang="0">
                <a:pos x="15" y="5"/>
              </a:cxn>
              <a:cxn ang="0">
                <a:pos x="4" y="5"/>
              </a:cxn>
              <a:cxn ang="0">
                <a:pos x="7" y="5"/>
              </a:cxn>
              <a:cxn ang="0">
                <a:pos x="6" y="3"/>
              </a:cxn>
              <a:cxn ang="0">
                <a:pos x="3" y="3"/>
              </a:cxn>
              <a:cxn ang="0">
                <a:pos x="2" y="3"/>
              </a:cxn>
              <a:cxn ang="0">
                <a:pos x="4" y="2"/>
              </a:cxn>
            </a:cxnLst>
            <a:rect l="0" t="0" r="r" b="b"/>
            <a:pathLst>
              <a:path w="40" h="8">
                <a:moveTo>
                  <a:pt x="4" y="2"/>
                </a:moveTo>
                <a:lnTo>
                  <a:pt x="0" y="0"/>
                </a:lnTo>
                <a:lnTo>
                  <a:pt x="6" y="2"/>
                </a:lnTo>
                <a:lnTo>
                  <a:pt x="12" y="0"/>
                </a:lnTo>
                <a:lnTo>
                  <a:pt x="12" y="2"/>
                </a:lnTo>
                <a:lnTo>
                  <a:pt x="18" y="2"/>
                </a:lnTo>
                <a:lnTo>
                  <a:pt x="32" y="2"/>
                </a:lnTo>
                <a:lnTo>
                  <a:pt x="40" y="3"/>
                </a:lnTo>
                <a:lnTo>
                  <a:pt x="39" y="5"/>
                </a:lnTo>
                <a:lnTo>
                  <a:pt x="36" y="5"/>
                </a:lnTo>
                <a:lnTo>
                  <a:pt x="28" y="7"/>
                </a:lnTo>
                <a:lnTo>
                  <a:pt x="23" y="8"/>
                </a:lnTo>
                <a:lnTo>
                  <a:pt x="20" y="8"/>
                </a:lnTo>
                <a:lnTo>
                  <a:pt x="18" y="8"/>
                </a:lnTo>
                <a:lnTo>
                  <a:pt x="12" y="8"/>
                </a:lnTo>
                <a:lnTo>
                  <a:pt x="6" y="7"/>
                </a:lnTo>
                <a:lnTo>
                  <a:pt x="10" y="7"/>
                </a:lnTo>
                <a:lnTo>
                  <a:pt x="12" y="8"/>
                </a:lnTo>
                <a:lnTo>
                  <a:pt x="15" y="7"/>
                </a:lnTo>
                <a:lnTo>
                  <a:pt x="19" y="7"/>
                </a:lnTo>
                <a:lnTo>
                  <a:pt x="15" y="5"/>
                </a:lnTo>
                <a:lnTo>
                  <a:pt x="4" y="5"/>
                </a:lnTo>
                <a:lnTo>
                  <a:pt x="7" y="5"/>
                </a:lnTo>
                <a:lnTo>
                  <a:pt x="6" y="3"/>
                </a:lnTo>
                <a:lnTo>
                  <a:pt x="3" y="3"/>
                </a:lnTo>
                <a:lnTo>
                  <a:pt x="2" y="3"/>
                </a:lnTo>
                <a:lnTo>
                  <a:pt x="4" y="2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45" name="Freeform 968"/>
          <p:cNvSpPr>
            <a:spLocks/>
          </p:cNvSpPr>
          <p:nvPr/>
        </p:nvSpPr>
        <p:spPr bwMode="auto">
          <a:xfrm>
            <a:off x="8303376" y="1479352"/>
            <a:ext cx="181240" cy="42952"/>
          </a:xfrm>
          <a:custGeom>
            <a:avLst/>
            <a:gdLst/>
            <a:ahLst/>
            <a:cxnLst>
              <a:cxn ang="0">
                <a:pos x="55" y="1"/>
              </a:cxn>
              <a:cxn ang="0">
                <a:pos x="61" y="0"/>
              </a:cxn>
              <a:cxn ang="0">
                <a:pos x="69" y="1"/>
              </a:cxn>
              <a:cxn ang="0">
                <a:pos x="74" y="3"/>
              </a:cxn>
              <a:cxn ang="0">
                <a:pos x="79" y="6"/>
              </a:cxn>
              <a:cxn ang="0">
                <a:pos x="89" y="8"/>
              </a:cxn>
              <a:cxn ang="0">
                <a:pos x="95" y="9"/>
              </a:cxn>
              <a:cxn ang="0">
                <a:pos x="91" y="11"/>
              </a:cxn>
              <a:cxn ang="0">
                <a:pos x="86" y="11"/>
              </a:cxn>
              <a:cxn ang="0">
                <a:pos x="85" y="14"/>
              </a:cxn>
              <a:cxn ang="0">
                <a:pos x="87" y="14"/>
              </a:cxn>
              <a:cxn ang="0">
                <a:pos x="87" y="16"/>
              </a:cxn>
              <a:cxn ang="0">
                <a:pos x="90" y="17"/>
              </a:cxn>
              <a:cxn ang="0">
                <a:pos x="86" y="17"/>
              </a:cxn>
              <a:cxn ang="0">
                <a:pos x="67" y="17"/>
              </a:cxn>
              <a:cxn ang="0">
                <a:pos x="50" y="20"/>
              </a:cxn>
              <a:cxn ang="0">
                <a:pos x="39" y="22"/>
              </a:cxn>
              <a:cxn ang="0">
                <a:pos x="34" y="22"/>
              </a:cxn>
              <a:cxn ang="0">
                <a:pos x="25" y="20"/>
              </a:cxn>
              <a:cxn ang="0">
                <a:pos x="17" y="19"/>
              </a:cxn>
              <a:cxn ang="0">
                <a:pos x="12" y="17"/>
              </a:cxn>
              <a:cxn ang="0">
                <a:pos x="10" y="17"/>
              </a:cxn>
              <a:cxn ang="0">
                <a:pos x="4" y="17"/>
              </a:cxn>
              <a:cxn ang="0">
                <a:pos x="0" y="17"/>
              </a:cxn>
              <a:cxn ang="0">
                <a:pos x="8" y="16"/>
              </a:cxn>
              <a:cxn ang="0">
                <a:pos x="6" y="16"/>
              </a:cxn>
              <a:cxn ang="0">
                <a:pos x="12" y="14"/>
              </a:cxn>
              <a:cxn ang="0">
                <a:pos x="21" y="11"/>
              </a:cxn>
              <a:cxn ang="0">
                <a:pos x="17" y="11"/>
              </a:cxn>
              <a:cxn ang="0">
                <a:pos x="17" y="9"/>
              </a:cxn>
              <a:cxn ang="0">
                <a:pos x="25" y="8"/>
              </a:cxn>
              <a:cxn ang="0">
                <a:pos x="35" y="5"/>
              </a:cxn>
              <a:cxn ang="0">
                <a:pos x="50" y="5"/>
              </a:cxn>
              <a:cxn ang="0">
                <a:pos x="51" y="3"/>
              </a:cxn>
            </a:cxnLst>
            <a:rect l="0" t="0" r="r" b="b"/>
            <a:pathLst>
              <a:path w="97" h="22">
                <a:moveTo>
                  <a:pt x="53" y="3"/>
                </a:moveTo>
                <a:lnTo>
                  <a:pt x="55" y="1"/>
                </a:lnTo>
                <a:lnTo>
                  <a:pt x="54" y="0"/>
                </a:lnTo>
                <a:lnTo>
                  <a:pt x="61" y="0"/>
                </a:lnTo>
                <a:lnTo>
                  <a:pt x="63" y="0"/>
                </a:lnTo>
                <a:lnTo>
                  <a:pt x="69" y="1"/>
                </a:lnTo>
                <a:lnTo>
                  <a:pt x="71" y="3"/>
                </a:lnTo>
                <a:lnTo>
                  <a:pt x="74" y="3"/>
                </a:lnTo>
                <a:lnTo>
                  <a:pt x="75" y="5"/>
                </a:lnTo>
                <a:lnTo>
                  <a:pt x="79" y="6"/>
                </a:lnTo>
                <a:lnTo>
                  <a:pt x="87" y="8"/>
                </a:lnTo>
                <a:lnTo>
                  <a:pt x="89" y="8"/>
                </a:lnTo>
                <a:lnTo>
                  <a:pt x="91" y="9"/>
                </a:lnTo>
                <a:lnTo>
                  <a:pt x="95" y="9"/>
                </a:lnTo>
                <a:lnTo>
                  <a:pt x="97" y="9"/>
                </a:lnTo>
                <a:lnTo>
                  <a:pt x="91" y="11"/>
                </a:lnTo>
                <a:lnTo>
                  <a:pt x="90" y="11"/>
                </a:lnTo>
                <a:lnTo>
                  <a:pt x="86" y="11"/>
                </a:lnTo>
                <a:lnTo>
                  <a:pt x="85" y="12"/>
                </a:lnTo>
                <a:lnTo>
                  <a:pt x="85" y="14"/>
                </a:lnTo>
                <a:lnTo>
                  <a:pt x="83" y="14"/>
                </a:lnTo>
                <a:lnTo>
                  <a:pt x="87" y="14"/>
                </a:lnTo>
                <a:lnTo>
                  <a:pt x="89" y="16"/>
                </a:lnTo>
                <a:lnTo>
                  <a:pt x="87" y="16"/>
                </a:lnTo>
                <a:lnTo>
                  <a:pt x="90" y="16"/>
                </a:lnTo>
                <a:lnTo>
                  <a:pt x="90" y="17"/>
                </a:lnTo>
                <a:lnTo>
                  <a:pt x="89" y="17"/>
                </a:lnTo>
                <a:lnTo>
                  <a:pt x="86" y="17"/>
                </a:lnTo>
                <a:lnTo>
                  <a:pt x="81" y="17"/>
                </a:lnTo>
                <a:lnTo>
                  <a:pt x="67" y="17"/>
                </a:lnTo>
                <a:lnTo>
                  <a:pt x="53" y="20"/>
                </a:lnTo>
                <a:lnTo>
                  <a:pt x="50" y="20"/>
                </a:lnTo>
                <a:lnTo>
                  <a:pt x="43" y="22"/>
                </a:lnTo>
                <a:lnTo>
                  <a:pt x="39" y="22"/>
                </a:lnTo>
                <a:lnTo>
                  <a:pt x="37" y="22"/>
                </a:lnTo>
                <a:lnTo>
                  <a:pt x="34" y="22"/>
                </a:lnTo>
                <a:lnTo>
                  <a:pt x="32" y="22"/>
                </a:lnTo>
                <a:lnTo>
                  <a:pt x="25" y="20"/>
                </a:lnTo>
                <a:lnTo>
                  <a:pt x="24" y="20"/>
                </a:lnTo>
                <a:lnTo>
                  <a:pt x="17" y="19"/>
                </a:lnTo>
                <a:lnTo>
                  <a:pt x="10" y="19"/>
                </a:lnTo>
                <a:lnTo>
                  <a:pt x="12" y="17"/>
                </a:lnTo>
                <a:lnTo>
                  <a:pt x="13" y="17"/>
                </a:lnTo>
                <a:lnTo>
                  <a:pt x="10" y="17"/>
                </a:lnTo>
                <a:lnTo>
                  <a:pt x="8" y="17"/>
                </a:lnTo>
                <a:lnTo>
                  <a:pt x="4" y="17"/>
                </a:lnTo>
                <a:lnTo>
                  <a:pt x="2" y="17"/>
                </a:lnTo>
                <a:lnTo>
                  <a:pt x="0" y="17"/>
                </a:lnTo>
                <a:lnTo>
                  <a:pt x="2" y="16"/>
                </a:lnTo>
                <a:lnTo>
                  <a:pt x="8" y="16"/>
                </a:lnTo>
                <a:lnTo>
                  <a:pt x="9" y="16"/>
                </a:lnTo>
                <a:lnTo>
                  <a:pt x="6" y="16"/>
                </a:lnTo>
                <a:lnTo>
                  <a:pt x="6" y="14"/>
                </a:lnTo>
                <a:lnTo>
                  <a:pt x="12" y="14"/>
                </a:lnTo>
                <a:lnTo>
                  <a:pt x="18" y="12"/>
                </a:lnTo>
                <a:lnTo>
                  <a:pt x="21" y="11"/>
                </a:lnTo>
                <a:lnTo>
                  <a:pt x="20" y="11"/>
                </a:lnTo>
                <a:lnTo>
                  <a:pt x="17" y="11"/>
                </a:lnTo>
                <a:lnTo>
                  <a:pt x="16" y="9"/>
                </a:lnTo>
                <a:lnTo>
                  <a:pt x="17" y="9"/>
                </a:lnTo>
                <a:lnTo>
                  <a:pt x="18" y="8"/>
                </a:lnTo>
                <a:lnTo>
                  <a:pt x="25" y="8"/>
                </a:lnTo>
                <a:lnTo>
                  <a:pt x="26" y="6"/>
                </a:lnTo>
                <a:lnTo>
                  <a:pt x="35" y="5"/>
                </a:lnTo>
                <a:lnTo>
                  <a:pt x="39" y="5"/>
                </a:lnTo>
                <a:lnTo>
                  <a:pt x="50" y="5"/>
                </a:lnTo>
                <a:lnTo>
                  <a:pt x="53" y="3"/>
                </a:lnTo>
                <a:lnTo>
                  <a:pt x="51" y="3"/>
                </a:lnTo>
                <a:lnTo>
                  <a:pt x="53" y="3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46" name="Freeform 969"/>
          <p:cNvSpPr>
            <a:spLocks/>
          </p:cNvSpPr>
          <p:nvPr/>
        </p:nvSpPr>
        <p:spPr bwMode="auto">
          <a:xfrm>
            <a:off x="8303376" y="1479352"/>
            <a:ext cx="181240" cy="42952"/>
          </a:xfrm>
          <a:custGeom>
            <a:avLst/>
            <a:gdLst/>
            <a:ahLst/>
            <a:cxnLst>
              <a:cxn ang="0">
                <a:pos x="55" y="1"/>
              </a:cxn>
              <a:cxn ang="0">
                <a:pos x="61" y="0"/>
              </a:cxn>
              <a:cxn ang="0">
                <a:pos x="69" y="1"/>
              </a:cxn>
              <a:cxn ang="0">
                <a:pos x="74" y="3"/>
              </a:cxn>
              <a:cxn ang="0">
                <a:pos x="79" y="6"/>
              </a:cxn>
              <a:cxn ang="0">
                <a:pos x="89" y="8"/>
              </a:cxn>
              <a:cxn ang="0">
                <a:pos x="95" y="9"/>
              </a:cxn>
              <a:cxn ang="0">
                <a:pos x="91" y="11"/>
              </a:cxn>
              <a:cxn ang="0">
                <a:pos x="86" y="11"/>
              </a:cxn>
              <a:cxn ang="0">
                <a:pos x="85" y="14"/>
              </a:cxn>
              <a:cxn ang="0">
                <a:pos x="87" y="14"/>
              </a:cxn>
              <a:cxn ang="0">
                <a:pos x="87" y="16"/>
              </a:cxn>
              <a:cxn ang="0">
                <a:pos x="90" y="17"/>
              </a:cxn>
              <a:cxn ang="0">
                <a:pos x="86" y="17"/>
              </a:cxn>
              <a:cxn ang="0">
                <a:pos x="67" y="17"/>
              </a:cxn>
              <a:cxn ang="0">
                <a:pos x="50" y="20"/>
              </a:cxn>
              <a:cxn ang="0">
                <a:pos x="39" y="22"/>
              </a:cxn>
              <a:cxn ang="0">
                <a:pos x="34" y="22"/>
              </a:cxn>
              <a:cxn ang="0">
                <a:pos x="25" y="20"/>
              </a:cxn>
              <a:cxn ang="0">
                <a:pos x="17" y="19"/>
              </a:cxn>
              <a:cxn ang="0">
                <a:pos x="12" y="17"/>
              </a:cxn>
              <a:cxn ang="0">
                <a:pos x="10" y="17"/>
              </a:cxn>
              <a:cxn ang="0">
                <a:pos x="4" y="17"/>
              </a:cxn>
              <a:cxn ang="0">
                <a:pos x="0" y="17"/>
              </a:cxn>
              <a:cxn ang="0">
                <a:pos x="8" y="16"/>
              </a:cxn>
              <a:cxn ang="0">
                <a:pos x="6" y="16"/>
              </a:cxn>
              <a:cxn ang="0">
                <a:pos x="12" y="14"/>
              </a:cxn>
              <a:cxn ang="0">
                <a:pos x="21" y="11"/>
              </a:cxn>
              <a:cxn ang="0">
                <a:pos x="17" y="11"/>
              </a:cxn>
              <a:cxn ang="0">
                <a:pos x="17" y="9"/>
              </a:cxn>
              <a:cxn ang="0">
                <a:pos x="25" y="8"/>
              </a:cxn>
              <a:cxn ang="0">
                <a:pos x="35" y="5"/>
              </a:cxn>
              <a:cxn ang="0">
                <a:pos x="50" y="5"/>
              </a:cxn>
              <a:cxn ang="0">
                <a:pos x="51" y="3"/>
              </a:cxn>
            </a:cxnLst>
            <a:rect l="0" t="0" r="r" b="b"/>
            <a:pathLst>
              <a:path w="97" h="22">
                <a:moveTo>
                  <a:pt x="53" y="3"/>
                </a:moveTo>
                <a:lnTo>
                  <a:pt x="55" y="1"/>
                </a:lnTo>
                <a:lnTo>
                  <a:pt x="54" y="0"/>
                </a:lnTo>
                <a:lnTo>
                  <a:pt x="61" y="0"/>
                </a:lnTo>
                <a:lnTo>
                  <a:pt x="63" y="0"/>
                </a:lnTo>
                <a:lnTo>
                  <a:pt x="69" y="1"/>
                </a:lnTo>
                <a:lnTo>
                  <a:pt x="71" y="3"/>
                </a:lnTo>
                <a:lnTo>
                  <a:pt x="74" y="3"/>
                </a:lnTo>
                <a:lnTo>
                  <a:pt x="75" y="5"/>
                </a:lnTo>
                <a:lnTo>
                  <a:pt x="79" y="6"/>
                </a:lnTo>
                <a:lnTo>
                  <a:pt x="87" y="8"/>
                </a:lnTo>
                <a:lnTo>
                  <a:pt x="89" y="8"/>
                </a:lnTo>
                <a:lnTo>
                  <a:pt x="91" y="9"/>
                </a:lnTo>
                <a:lnTo>
                  <a:pt x="95" y="9"/>
                </a:lnTo>
                <a:lnTo>
                  <a:pt x="97" y="9"/>
                </a:lnTo>
                <a:lnTo>
                  <a:pt x="91" y="11"/>
                </a:lnTo>
                <a:lnTo>
                  <a:pt x="90" y="11"/>
                </a:lnTo>
                <a:lnTo>
                  <a:pt x="86" y="11"/>
                </a:lnTo>
                <a:lnTo>
                  <a:pt x="85" y="12"/>
                </a:lnTo>
                <a:lnTo>
                  <a:pt x="85" y="14"/>
                </a:lnTo>
                <a:lnTo>
                  <a:pt x="83" y="14"/>
                </a:lnTo>
                <a:lnTo>
                  <a:pt x="87" y="14"/>
                </a:lnTo>
                <a:lnTo>
                  <a:pt x="89" y="16"/>
                </a:lnTo>
                <a:lnTo>
                  <a:pt x="87" y="16"/>
                </a:lnTo>
                <a:lnTo>
                  <a:pt x="90" y="16"/>
                </a:lnTo>
                <a:lnTo>
                  <a:pt x="90" y="17"/>
                </a:lnTo>
                <a:lnTo>
                  <a:pt x="89" y="17"/>
                </a:lnTo>
                <a:lnTo>
                  <a:pt x="86" y="17"/>
                </a:lnTo>
                <a:lnTo>
                  <a:pt x="81" y="17"/>
                </a:lnTo>
                <a:lnTo>
                  <a:pt x="67" y="17"/>
                </a:lnTo>
                <a:lnTo>
                  <a:pt x="53" y="20"/>
                </a:lnTo>
                <a:lnTo>
                  <a:pt x="50" y="20"/>
                </a:lnTo>
                <a:lnTo>
                  <a:pt x="43" y="22"/>
                </a:lnTo>
                <a:lnTo>
                  <a:pt x="39" y="22"/>
                </a:lnTo>
                <a:lnTo>
                  <a:pt x="37" y="22"/>
                </a:lnTo>
                <a:lnTo>
                  <a:pt x="34" y="22"/>
                </a:lnTo>
                <a:lnTo>
                  <a:pt x="32" y="22"/>
                </a:lnTo>
                <a:lnTo>
                  <a:pt x="25" y="20"/>
                </a:lnTo>
                <a:lnTo>
                  <a:pt x="24" y="20"/>
                </a:lnTo>
                <a:lnTo>
                  <a:pt x="17" y="19"/>
                </a:lnTo>
                <a:lnTo>
                  <a:pt x="10" y="19"/>
                </a:lnTo>
                <a:lnTo>
                  <a:pt x="12" y="17"/>
                </a:lnTo>
                <a:lnTo>
                  <a:pt x="13" y="17"/>
                </a:lnTo>
                <a:lnTo>
                  <a:pt x="10" y="17"/>
                </a:lnTo>
                <a:lnTo>
                  <a:pt x="8" y="17"/>
                </a:lnTo>
                <a:lnTo>
                  <a:pt x="4" y="17"/>
                </a:lnTo>
                <a:lnTo>
                  <a:pt x="2" y="17"/>
                </a:lnTo>
                <a:lnTo>
                  <a:pt x="0" y="17"/>
                </a:lnTo>
                <a:lnTo>
                  <a:pt x="2" y="16"/>
                </a:lnTo>
                <a:lnTo>
                  <a:pt x="8" y="16"/>
                </a:lnTo>
                <a:lnTo>
                  <a:pt x="9" y="16"/>
                </a:lnTo>
                <a:lnTo>
                  <a:pt x="6" y="16"/>
                </a:lnTo>
                <a:lnTo>
                  <a:pt x="6" y="14"/>
                </a:lnTo>
                <a:lnTo>
                  <a:pt x="12" y="14"/>
                </a:lnTo>
                <a:lnTo>
                  <a:pt x="18" y="12"/>
                </a:lnTo>
                <a:lnTo>
                  <a:pt x="21" y="11"/>
                </a:lnTo>
                <a:lnTo>
                  <a:pt x="20" y="11"/>
                </a:lnTo>
                <a:lnTo>
                  <a:pt x="17" y="11"/>
                </a:lnTo>
                <a:lnTo>
                  <a:pt x="16" y="9"/>
                </a:lnTo>
                <a:lnTo>
                  <a:pt x="17" y="9"/>
                </a:lnTo>
                <a:lnTo>
                  <a:pt x="18" y="8"/>
                </a:lnTo>
                <a:lnTo>
                  <a:pt x="25" y="8"/>
                </a:lnTo>
                <a:lnTo>
                  <a:pt x="26" y="6"/>
                </a:lnTo>
                <a:lnTo>
                  <a:pt x="35" y="5"/>
                </a:lnTo>
                <a:lnTo>
                  <a:pt x="39" y="5"/>
                </a:lnTo>
                <a:lnTo>
                  <a:pt x="50" y="5"/>
                </a:lnTo>
                <a:lnTo>
                  <a:pt x="53" y="3"/>
                </a:lnTo>
                <a:lnTo>
                  <a:pt x="51" y="3"/>
                </a:lnTo>
                <a:lnTo>
                  <a:pt x="53" y="3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47" name="Freeform 970"/>
          <p:cNvSpPr>
            <a:spLocks/>
          </p:cNvSpPr>
          <p:nvPr/>
        </p:nvSpPr>
        <p:spPr bwMode="auto">
          <a:xfrm>
            <a:off x="8342353" y="1515861"/>
            <a:ext cx="214369" cy="51542"/>
          </a:xfrm>
          <a:custGeom>
            <a:avLst/>
            <a:gdLst/>
            <a:ahLst/>
            <a:cxnLst>
              <a:cxn ang="0">
                <a:pos x="33" y="3"/>
              </a:cxn>
              <a:cxn ang="0">
                <a:pos x="37" y="3"/>
              </a:cxn>
              <a:cxn ang="0">
                <a:pos x="38" y="1"/>
              </a:cxn>
              <a:cxn ang="0">
                <a:pos x="60" y="0"/>
              </a:cxn>
              <a:cxn ang="0">
                <a:pos x="70" y="0"/>
              </a:cxn>
              <a:cxn ang="0">
                <a:pos x="77" y="1"/>
              </a:cxn>
              <a:cxn ang="0">
                <a:pos x="81" y="3"/>
              </a:cxn>
              <a:cxn ang="0">
                <a:pos x="73" y="6"/>
              </a:cxn>
              <a:cxn ang="0">
                <a:pos x="62" y="8"/>
              </a:cxn>
              <a:cxn ang="0">
                <a:pos x="70" y="8"/>
              </a:cxn>
              <a:cxn ang="0">
                <a:pos x="78" y="6"/>
              </a:cxn>
              <a:cxn ang="0">
                <a:pos x="85" y="3"/>
              </a:cxn>
              <a:cxn ang="0">
                <a:pos x="85" y="1"/>
              </a:cxn>
              <a:cxn ang="0">
                <a:pos x="93" y="3"/>
              </a:cxn>
              <a:cxn ang="0">
                <a:pos x="101" y="3"/>
              </a:cxn>
              <a:cxn ang="0">
                <a:pos x="106" y="6"/>
              </a:cxn>
              <a:cxn ang="0">
                <a:pos x="108" y="8"/>
              </a:cxn>
              <a:cxn ang="0">
                <a:pos x="106" y="9"/>
              </a:cxn>
              <a:cxn ang="0">
                <a:pos x="112" y="9"/>
              </a:cxn>
              <a:cxn ang="0">
                <a:pos x="106" y="11"/>
              </a:cxn>
              <a:cxn ang="0">
                <a:pos x="104" y="12"/>
              </a:cxn>
              <a:cxn ang="0">
                <a:pos x="104" y="15"/>
              </a:cxn>
              <a:cxn ang="0">
                <a:pos x="93" y="15"/>
              </a:cxn>
              <a:cxn ang="0">
                <a:pos x="98" y="19"/>
              </a:cxn>
              <a:cxn ang="0">
                <a:pos x="104" y="20"/>
              </a:cxn>
              <a:cxn ang="0">
                <a:pos x="104" y="23"/>
              </a:cxn>
              <a:cxn ang="0">
                <a:pos x="97" y="23"/>
              </a:cxn>
              <a:cxn ang="0">
                <a:pos x="93" y="25"/>
              </a:cxn>
              <a:cxn ang="0">
                <a:pos x="73" y="25"/>
              </a:cxn>
              <a:cxn ang="0">
                <a:pos x="70" y="23"/>
              </a:cxn>
              <a:cxn ang="0">
                <a:pos x="64" y="22"/>
              </a:cxn>
              <a:cxn ang="0">
                <a:pos x="52" y="20"/>
              </a:cxn>
              <a:cxn ang="0">
                <a:pos x="46" y="22"/>
              </a:cxn>
              <a:cxn ang="0">
                <a:pos x="45" y="19"/>
              </a:cxn>
              <a:cxn ang="0">
                <a:pos x="40" y="19"/>
              </a:cxn>
              <a:cxn ang="0">
                <a:pos x="32" y="20"/>
              </a:cxn>
              <a:cxn ang="0">
                <a:pos x="28" y="19"/>
              </a:cxn>
              <a:cxn ang="0">
                <a:pos x="21" y="17"/>
              </a:cxn>
              <a:cxn ang="0">
                <a:pos x="21" y="14"/>
              </a:cxn>
              <a:cxn ang="0">
                <a:pos x="18" y="12"/>
              </a:cxn>
              <a:cxn ang="0">
                <a:pos x="13" y="12"/>
              </a:cxn>
              <a:cxn ang="0">
                <a:pos x="9" y="11"/>
              </a:cxn>
              <a:cxn ang="0">
                <a:pos x="7" y="12"/>
              </a:cxn>
              <a:cxn ang="0">
                <a:pos x="4" y="12"/>
              </a:cxn>
              <a:cxn ang="0">
                <a:pos x="5" y="11"/>
              </a:cxn>
              <a:cxn ang="0">
                <a:pos x="14" y="8"/>
              </a:cxn>
              <a:cxn ang="0">
                <a:pos x="22" y="8"/>
              </a:cxn>
              <a:cxn ang="0">
                <a:pos x="22" y="6"/>
              </a:cxn>
              <a:cxn ang="0">
                <a:pos x="24" y="4"/>
              </a:cxn>
              <a:cxn ang="0">
                <a:pos x="32" y="3"/>
              </a:cxn>
            </a:cxnLst>
            <a:rect l="0" t="0" r="r" b="b"/>
            <a:pathLst>
              <a:path w="112" h="25">
                <a:moveTo>
                  <a:pt x="32" y="3"/>
                </a:moveTo>
                <a:lnTo>
                  <a:pt x="33" y="3"/>
                </a:lnTo>
                <a:lnTo>
                  <a:pt x="32" y="1"/>
                </a:lnTo>
                <a:lnTo>
                  <a:pt x="37" y="3"/>
                </a:lnTo>
                <a:lnTo>
                  <a:pt x="38" y="3"/>
                </a:lnTo>
                <a:lnTo>
                  <a:pt x="38" y="1"/>
                </a:lnTo>
                <a:lnTo>
                  <a:pt x="42" y="1"/>
                </a:lnTo>
                <a:lnTo>
                  <a:pt x="60" y="0"/>
                </a:lnTo>
                <a:lnTo>
                  <a:pt x="66" y="0"/>
                </a:lnTo>
                <a:lnTo>
                  <a:pt x="70" y="0"/>
                </a:lnTo>
                <a:lnTo>
                  <a:pt x="74" y="1"/>
                </a:lnTo>
                <a:lnTo>
                  <a:pt x="77" y="1"/>
                </a:lnTo>
                <a:lnTo>
                  <a:pt x="80" y="3"/>
                </a:lnTo>
                <a:lnTo>
                  <a:pt x="81" y="3"/>
                </a:lnTo>
                <a:lnTo>
                  <a:pt x="80" y="4"/>
                </a:lnTo>
                <a:lnTo>
                  <a:pt x="73" y="6"/>
                </a:lnTo>
                <a:lnTo>
                  <a:pt x="70" y="6"/>
                </a:lnTo>
                <a:lnTo>
                  <a:pt x="62" y="8"/>
                </a:lnTo>
                <a:lnTo>
                  <a:pt x="65" y="9"/>
                </a:lnTo>
                <a:lnTo>
                  <a:pt x="70" y="8"/>
                </a:lnTo>
                <a:lnTo>
                  <a:pt x="74" y="8"/>
                </a:lnTo>
                <a:lnTo>
                  <a:pt x="78" y="6"/>
                </a:lnTo>
                <a:lnTo>
                  <a:pt x="85" y="4"/>
                </a:lnTo>
                <a:lnTo>
                  <a:pt x="85" y="3"/>
                </a:lnTo>
                <a:lnTo>
                  <a:pt x="84" y="3"/>
                </a:lnTo>
                <a:lnTo>
                  <a:pt x="85" y="1"/>
                </a:lnTo>
                <a:lnTo>
                  <a:pt x="92" y="3"/>
                </a:lnTo>
                <a:lnTo>
                  <a:pt x="93" y="3"/>
                </a:lnTo>
                <a:lnTo>
                  <a:pt x="98" y="3"/>
                </a:lnTo>
                <a:lnTo>
                  <a:pt x="101" y="3"/>
                </a:lnTo>
                <a:lnTo>
                  <a:pt x="101" y="4"/>
                </a:lnTo>
                <a:lnTo>
                  <a:pt x="106" y="6"/>
                </a:lnTo>
                <a:lnTo>
                  <a:pt x="108" y="6"/>
                </a:lnTo>
                <a:lnTo>
                  <a:pt x="108" y="8"/>
                </a:lnTo>
                <a:lnTo>
                  <a:pt x="106" y="8"/>
                </a:lnTo>
                <a:lnTo>
                  <a:pt x="106" y="9"/>
                </a:lnTo>
                <a:lnTo>
                  <a:pt x="110" y="9"/>
                </a:lnTo>
                <a:lnTo>
                  <a:pt x="112" y="9"/>
                </a:lnTo>
                <a:lnTo>
                  <a:pt x="108" y="9"/>
                </a:lnTo>
                <a:lnTo>
                  <a:pt x="106" y="11"/>
                </a:lnTo>
                <a:lnTo>
                  <a:pt x="105" y="11"/>
                </a:lnTo>
                <a:lnTo>
                  <a:pt x="104" y="12"/>
                </a:lnTo>
                <a:lnTo>
                  <a:pt x="104" y="14"/>
                </a:lnTo>
                <a:lnTo>
                  <a:pt x="104" y="15"/>
                </a:lnTo>
                <a:lnTo>
                  <a:pt x="102" y="17"/>
                </a:lnTo>
                <a:lnTo>
                  <a:pt x="93" y="15"/>
                </a:lnTo>
                <a:lnTo>
                  <a:pt x="93" y="17"/>
                </a:lnTo>
                <a:lnTo>
                  <a:pt x="98" y="19"/>
                </a:lnTo>
                <a:lnTo>
                  <a:pt x="101" y="19"/>
                </a:lnTo>
                <a:lnTo>
                  <a:pt x="104" y="20"/>
                </a:lnTo>
                <a:lnTo>
                  <a:pt x="104" y="22"/>
                </a:lnTo>
                <a:lnTo>
                  <a:pt x="104" y="23"/>
                </a:lnTo>
                <a:lnTo>
                  <a:pt x="101" y="23"/>
                </a:lnTo>
                <a:lnTo>
                  <a:pt x="97" y="23"/>
                </a:lnTo>
                <a:lnTo>
                  <a:pt x="97" y="25"/>
                </a:lnTo>
                <a:lnTo>
                  <a:pt x="93" y="25"/>
                </a:lnTo>
                <a:lnTo>
                  <a:pt x="90" y="25"/>
                </a:lnTo>
                <a:lnTo>
                  <a:pt x="73" y="25"/>
                </a:lnTo>
                <a:lnTo>
                  <a:pt x="72" y="23"/>
                </a:lnTo>
                <a:lnTo>
                  <a:pt x="70" y="23"/>
                </a:lnTo>
                <a:lnTo>
                  <a:pt x="65" y="23"/>
                </a:lnTo>
                <a:lnTo>
                  <a:pt x="64" y="22"/>
                </a:lnTo>
                <a:lnTo>
                  <a:pt x="52" y="22"/>
                </a:lnTo>
                <a:lnTo>
                  <a:pt x="52" y="20"/>
                </a:lnTo>
                <a:lnTo>
                  <a:pt x="49" y="20"/>
                </a:lnTo>
                <a:lnTo>
                  <a:pt x="46" y="22"/>
                </a:lnTo>
                <a:lnTo>
                  <a:pt x="45" y="20"/>
                </a:lnTo>
                <a:lnTo>
                  <a:pt x="45" y="19"/>
                </a:lnTo>
                <a:lnTo>
                  <a:pt x="44" y="19"/>
                </a:lnTo>
                <a:lnTo>
                  <a:pt x="40" y="19"/>
                </a:lnTo>
                <a:lnTo>
                  <a:pt x="33" y="20"/>
                </a:lnTo>
                <a:lnTo>
                  <a:pt x="32" y="20"/>
                </a:lnTo>
                <a:lnTo>
                  <a:pt x="29" y="19"/>
                </a:lnTo>
                <a:lnTo>
                  <a:pt x="28" y="19"/>
                </a:lnTo>
                <a:lnTo>
                  <a:pt x="24" y="17"/>
                </a:lnTo>
                <a:lnTo>
                  <a:pt x="21" y="17"/>
                </a:lnTo>
                <a:lnTo>
                  <a:pt x="21" y="15"/>
                </a:lnTo>
                <a:lnTo>
                  <a:pt x="21" y="14"/>
                </a:lnTo>
                <a:lnTo>
                  <a:pt x="20" y="12"/>
                </a:lnTo>
                <a:lnTo>
                  <a:pt x="18" y="12"/>
                </a:lnTo>
                <a:lnTo>
                  <a:pt x="14" y="12"/>
                </a:lnTo>
                <a:lnTo>
                  <a:pt x="13" y="12"/>
                </a:lnTo>
                <a:lnTo>
                  <a:pt x="11" y="12"/>
                </a:lnTo>
                <a:lnTo>
                  <a:pt x="9" y="11"/>
                </a:lnTo>
                <a:lnTo>
                  <a:pt x="7" y="11"/>
                </a:lnTo>
                <a:lnTo>
                  <a:pt x="7" y="12"/>
                </a:lnTo>
                <a:lnTo>
                  <a:pt x="5" y="12"/>
                </a:lnTo>
                <a:lnTo>
                  <a:pt x="4" y="12"/>
                </a:lnTo>
                <a:lnTo>
                  <a:pt x="0" y="11"/>
                </a:lnTo>
                <a:lnTo>
                  <a:pt x="5" y="11"/>
                </a:lnTo>
                <a:lnTo>
                  <a:pt x="13" y="9"/>
                </a:lnTo>
                <a:lnTo>
                  <a:pt x="14" y="8"/>
                </a:lnTo>
                <a:lnTo>
                  <a:pt x="16" y="8"/>
                </a:lnTo>
                <a:lnTo>
                  <a:pt x="22" y="8"/>
                </a:lnTo>
                <a:lnTo>
                  <a:pt x="25" y="6"/>
                </a:lnTo>
                <a:lnTo>
                  <a:pt x="22" y="6"/>
                </a:lnTo>
                <a:lnTo>
                  <a:pt x="22" y="4"/>
                </a:lnTo>
                <a:lnTo>
                  <a:pt x="24" y="4"/>
                </a:lnTo>
                <a:lnTo>
                  <a:pt x="28" y="3"/>
                </a:lnTo>
                <a:lnTo>
                  <a:pt x="32" y="3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48" name="Freeform 971"/>
          <p:cNvSpPr>
            <a:spLocks/>
          </p:cNvSpPr>
          <p:nvPr/>
        </p:nvSpPr>
        <p:spPr bwMode="auto">
          <a:xfrm>
            <a:off x="8342353" y="1515861"/>
            <a:ext cx="214369" cy="51542"/>
          </a:xfrm>
          <a:custGeom>
            <a:avLst/>
            <a:gdLst/>
            <a:ahLst/>
            <a:cxnLst>
              <a:cxn ang="0">
                <a:pos x="33" y="3"/>
              </a:cxn>
              <a:cxn ang="0">
                <a:pos x="37" y="3"/>
              </a:cxn>
              <a:cxn ang="0">
                <a:pos x="38" y="1"/>
              </a:cxn>
              <a:cxn ang="0">
                <a:pos x="60" y="0"/>
              </a:cxn>
              <a:cxn ang="0">
                <a:pos x="70" y="0"/>
              </a:cxn>
              <a:cxn ang="0">
                <a:pos x="77" y="1"/>
              </a:cxn>
              <a:cxn ang="0">
                <a:pos x="81" y="3"/>
              </a:cxn>
              <a:cxn ang="0">
                <a:pos x="73" y="6"/>
              </a:cxn>
              <a:cxn ang="0">
                <a:pos x="62" y="8"/>
              </a:cxn>
              <a:cxn ang="0">
                <a:pos x="70" y="8"/>
              </a:cxn>
              <a:cxn ang="0">
                <a:pos x="78" y="6"/>
              </a:cxn>
              <a:cxn ang="0">
                <a:pos x="85" y="3"/>
              </a:cxn>
              <a:cxn ang="0">
                <a:pos x="85" y="1"/>
              </a:cxn>
              <a:cxn ang="0">
                <a:pos x="93" y="3"/>
              </a:cxn>
              <a:cxn ang="0">
                <a:pos x="101" y="3"/>
              </a:cxn>
              <a:cxn ang="0">
                <a:pos x="106" y="6"/>
              </a:cxn>
              <a:cxn ang="0">
                <a:pos x="108" y="8"/>
              </a:cxn>
              <a:cxn ang="0">
                <a:pos x="106" y="9"/>
              </a:cxn>
              <a:cxn ang="0">
                <a:pos x="112" y="9"/>
              </a:cxn>
              <a:cxn ang="0">
                <a:pos x="106" y="11"/>
              </a:cxn>
              <a:cxn ang="0">
                <a:pos x="104" y="12"/>
              </a:cxn>
              <a:cxn ang="0">
                <a:pos x="104" y="15"/>
              </a:cxn>
              <a:cxn ang="0">
                <a:pos x="93" y="15"/>
              </a:cxn>
              <a:cxn ang="0">
                <a:pos x="98" y="19"/>
              </a:cxn>
              <a:cxn ang="0">
                <a:pos x="104" y="20"/>
              </a:cxn>
              <a:cxn ang="0">
                <a:pos x="104" y="23"/>
              </a:cxn>
              <a:cxn ang="0">
                <a:pos x="97" y="23"/>
              </a:cxn>
              <a:cxn ang="0">
                <a:pos x="93" y="25"/>
              </a:cxn>
              <a:cxn ang="0">
                <a:pos x="73" y="25"/>
              </a:cxn>
              <a:cxn ang="0">
                <a:pos x="70" y="23"/>
              </a:cxn>
              <a:cxn ang="0">
                <a:pos x="64" y="22"/>
              </a:cxn>
              <a:cxn ang="0">
                <a:pos x="52" y="20"/>
              </a:cxn>
              <a:cxn ang="0">
                <a:pos x="46" y="22"/>
              </a:cxn>
              <a:cxn ang="0">
                <a:pos x="45" y="19"/>
              </a:cxn>
              <a:cxn ang="0">
                <a:pos x="40" y="19"/>
              </a:cxn>
              <a:cxn ang="0">
                <a:pos x="32" y="20"/>
              </a:cxn>
              <a:cxn ang="0">
                <a:pos x="28" y="19"/>
              </a:cxn>
              <a:cxn ang="0">
                <a:pos x="21" y="17"/>
              </a:cxn>
              <a:cxn ang="0">
                <a:pos x="21" y="14"/>
              </a:cxn>
              <a:cxn ang="0">
                <a:pos x="18" y="12"/>
              </a:cxn>
              <a:cxn ang="0">
                <a:pos x="13" y="12"/>
              </a:cxn>
              <a:cxn ang="0">
                <a:pos x="9" y="11"/>
              </a:cxn>
              <a:cxn ang="0">
                <a:pos x="7" y="12"/>
              </a:cxn>
              <a:cxn ang="0">
                <a:pos x="4" y="12"/>
              </a:cxn>
              <a:cxn ang="0">
                <a:pos x="5" y="11"/>
              </a:cxn>
              <a:cxn ang="0">
                <a:pos x="14" y="8"/>
              </a:cxn>
              <a:cxn ang="0">
                <a:pos x="22" y="8"/>
              </a:cxn>
              <a:cxn ang="0">
                <a:pos x="22" y="6"/>
              </a:cxn>
              <a:cxn ang="0">
                <a:pos x="24" y="4"/>
              </a:cxn>
              <a:cxn ang="0">
                <a:pos x="32" y="3"/>
              </a:cxn>
            </a:cxnLst>
            <a:rect l="0" t="0" r="r" b="b"/>
            <a:pathLst>
              <a:path w="112" h="25">
                <a:moveTo>
                  <a:pt x="32" y="3"/>
                </a:moveTo>
                <a:lnTo>
                  <a:pt x="33" y="3"/>
                </a:lnTo>
                <a:lnTo>
                  <a:pt x="32" y="1"/>
                </a:lnTo>
                <a:lnTo>
                  <a:pt x="37" y="3"/>
                </a:lnTo>
                <a:lnTo>
                  <a:pt x="38" y="3"/>
                </a:lnTo>
                <a:lnTo>
                  <a:pt x="38" y="1"/>
                </a:lnTo>
                <a:lnTo>
                  <a:pt x="42" y="1"/>
                </a:lnTo>
                <a:lnTo>
                  <a:pt x="60" y="0"/>
                </a:lnTo>
                <a:lnTo>
                  <a:pt x="66" y="0"/>
                </a:lnTo>
                <a:lnTo>
                  <a:pt x="70" y="0"/>
                </a:lnTo>
                <a:lnTo>
                  <a:pt x="74" y="1"/>
                </a:lnTo>
                <a:lnTo>
                  <a:pt x="77" y="1"/>
                </a:lnTo>
                <a:lnTo>
                  <a:pt x="80" y="3"/>
                </a:lnTo>
                <a:lnTo>
                  <a:pt x="81" y="3"/>
                </a:lnTo>
                <a:lnTo>
                  <a:pt x="80" y="4"/>
                </a:lnTo>
                <a:lnTo>
                  <a:pt x="73" y="6"/>
                </a:lnTo>
                <a:lnTo>
                  <a:pt x="70" y="6"/>
                </a:lnTo>
                <a:lnTo>
                  <a:pt x="62" y="8"/>
                </a:lnTo>
                <a:lnTo>
                  <a:pt x="65" y="9"/>
                </a:lnTo>
                <a:lnTo>
                  <a:pt x="70" y="8"/>
                </a:lnTo>
                <a:lnTo>
                  <a:pt x="74" y="8"/>
                </a:lnTo>
                <a:lnTo>
                  <a:pt x="78" y="6"/>
                </a:lnTo>
                <a:lnTo>
                  <a:pt x="85" y="4"/>
                </a:lnTo>
                <a:lnTo>
                  <a:pt x="85" y="3"/>
                </a:lnTo>
                <a:lnTo>
                  <a:pt x="84" y="3"/>
                </a:lnTo>
                <a:lnTo>
                  <a:pt x="85" y="1"/>
                </a:lnTo>
                <a:lnTo>
                  <a:pt x="92" y="3"/>
                </a:lnTo>
                <a:lnTo>
                  <a:pt x="93" y="3"/>
                </a:lnTo>
                <a:lnTo>
                  <a:pt x="98" y="3"/>
                </a:lnTo>
                <a:lnTo>
                  <a:pt x="101" y="3"/>
                </a:lnTo>
                <a:lnTo>
                  <a:pt x="101" y="4"/>
                </a:lnTo>
                <a:lnTo>
                  <a:pt x="106" y="6"/>
                </a:lnTo>
                <a:lnTo>
                  <a:pt x="108" y="6"/>
                </a:lnTo>
                <a:lnTo>
                  <a:pt x="108" y="8"/>
                </a:lnTo>
                <a:lnTo>
                  <a:pt x="106" y="8"/>
                </a:lnTo>
                <a:lnTo>
                  <a:pt x="106" y="9"/>
                </a:lnTo>
                <a:lnTo>
                  <a:pt x="110" y="9"/>
                </a:lnTo>
                <a:lnTo>
                  <a:pt x="112" y="9"/>
                </a:lnTo>
                <a:lnTo>
                  <a:pt x="108" y="9"/>
                </a:lnTo>
                <a:lnTo>
                  <a:pt x="106" y="11"/>
                </a:lnTo>
                <a:lnTo>
                  <a:pt x="105" y="11"/>
                </a:lnTo>
                <a:lnTo>
                  <a:pt x="104" y="12"/>
                </a:lnTo>
                <a:lnTo>
                  <a:pt x="104" y="14"/>
                </a:lnTo>
                <a:lnTo>
                  <a:pt x="104" y="15"/>
                </a:lnTo>
                <a:lnTo>
                  <a:pt x="102" y="17"/>
                </a:lnTo>
                <a:lnTo>
                  <a:pt x="93" y="15"/>
                </a:lnTo>
                <a:lnTo>
                  <a:pt x="93" y="17"/>
                </a:lnTo>
                <a:lnTo>
                  <a:pt x="98" y="19"/>
                </a:lnTo>
                <a:lnTo>
                  <a:pt x="101" y="19"/>
                </a:lnTo>
                <a:lnTo>
                  <a:pt x="104" y="20"/>
                </a:lnTo>
                <a:lnTo>
                  <a:pt x="104" y="22"/>
                </a:lnTo>
                <a:lnTo>
                  <a:pt x="104" y="23"/>
                </a:lnTo>
                <a:lnTo>
                  <a:pt x="101" y="23"/>
                </a:lnTo>
                <a:lnTo>
                  <a:pt x="97" y="23"/>
                </a:lnTo>
                <a:lnTo>
                  <a:pt x="97" y="25"/>
                </a:lnTo>
                <a:lnTo>
                  <a:pt x="93" y="25"/>
                </a:lnTo>
                <a:lnTo>
                  <a:pt x="90" y="25"/>
                </a:lnTo>
                <a:lnTo>
                  <a:pt x="73" y="25"/>
                </a:lnTo>
                <a:lnTo>
                  <a:pt x="72" y="23"/>
                </a:lnTo>
                <a:lnTo>
                  <a:pt x="70" y="23"/>
                </a:lnTo>
                <a:lnTo>
                  <a:pt x="65" y="23"/>
                </a:lnTo>
                <a:lnTo>
                  <a:pt x="64" y="22"/>
                </a:lnTo>
                <a:lnTo>
                  <a:pt x="52" y="22"/>
                </a:lnTo>
                <a:lnTo>
                  <a:pt x="52" y="20"/>
                </a:lnTo>
                <a:lnTo>
                  <a:pt x="49" y="20"/>
                </a:lnTo>
                <a:lnTo>
                  <a:pt x="46" y="22"/>
                </a:lnTo>
                <a:lnTo>
                  <a:pt x="45" y="20"/>
                </a:lnTo>
                <a:lnTo>
                  <a:pt x="45" y="19"/>
                </a:lnTo>
                <a:lnTo>
                  <a:pt x="44" y="19"/>
                </a:lnTo>
                <a:lnTo>
                  <a:pt x="40" y="19"/>
                </a:lnTo>
                <a:lnTo>
                  <a:pt x="33" y="20"/>
                </a:lnTo>
                <a:lnTo>
                  <a:pt x="32" y="20"/>
                </a:lnTo>
                <a:lnTo>
                  <a:pt x="29" y="19"/>
                </a:lnTo>
                <a:lnTo>
                  <a:pt x="28" y="19"/>
                </a:lnTo>
                <a:lnTo>
                  <a:pt x="24" y="17"/>
                </a:lnTo>
                <a:lnTo>
                  <a:pt x="21" y="17"/>
                </a:lnTo>
                <a:lnTo>
                  <a:pt x="21" y="15"/>
                </a:lnTo>
                <a:lnTo>
                  <a:pt x="21" y="14"/>
                </a:lnTo>
                <a:lnTo>
                  <a:pt x="20" y="12"/>
                </a:lnTo>
                <a:lnTo>
                  <a:pt x="18" y="12"/>
                </a:lnTo>
                <a:lnTo>
                  <a:pt x="14" y="12"/>
                </a:lnTo>
                <a:lnTo>
                  <a:pt x="13" y="12"/>
                </a:lnTo>
                <a:lnTo>
                  <a:pt x="11" y="12"/>
                </a:lnTo>
                <a:lnTo>
                  <a:pt x="9" y="11"/>
                </a:lnTo>
                <a:lnTo>
                  <a:pt x="7" y="11"/>
                </a:lnTo>
                <a:lnTo>
                  <a:pt x="7" y="12"/>
                </a:lnTo>
                <a:lnTo>
                  <a:pt x="5" y="12"/>
                </a:lnTo>
                <a:lnTo>
                  <a:pt x="4" y="12"/>
                </a:lnTo>
                <a:lnTo>
                  <a:pt x="0" y="11"/>
                </a:lnTo>
                <a:lnTo>
                  <a:pt x="5" y="11"/>
                </a:lnTo>
                <a:lnTo>
                  <a:pt x="13" y="9"/>
                </a:lnTo>
                <a:lnTo>
                  <a:pt x="14" y="8"/>
                </a:lnTo>
                <a:lnTo>
                  <a:pt x="16" y="8"/>
                </a:lnTo>
                <a:lnTo>
                  <a:pt x="22" y="8"/>
                </a:lnTo>
                <a:lnTo>
                  <a:pt x="25" y="6"/>
                </a:lnTo>
                <a:lnTo>
                  <a:pt x="22" y="6"/>
                </a:lnTo>
                <a:lnTo>
                  <a:pt x="22" y="4"/>
                </a:lnTo>
                <a:lnTo>
                  <a:pt x="24" y="4"/>
                </a:lnTo>
                <a:lnTo>
                  <a:pt x="28" y="3"/>
                </a:lnTo>
                <a:lnTo>
                  <a:pt x="32" y="3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49" name="Freeform 972"/>
          <p:cNvSpPr>
            <a:spLocks/>
          </p:cNvSpPr>
          <p:nvPr/>
        </p:nvSpPr>
        <p:spPr bwMode="auto">
          <a:xfrm>
            <a:off x="8527490" y="1543781"/>
            <a:ext cx="179291" cy="51542"/>
          </a:xfrm>
          <a:custGeom>
            <a:avLst/>
            <a:gdLst/>
            <a:ahLst/>
            <a:cxnLst>
              <a:cxn ang="0">
                <a:pos x="12" y="17"/>
              </a:cxn>
              <a:cxn ang="0">
                <a:pos x="15" y="14"/>
              </a:cxn>
              <a:cxn ang="0">
                <a:pos x="19" y="11"/>
              </a:cxn>
              <a:cxn ang="0">
                <a:pos x="27" y="11"/>
              </a:cxn>
              <a:cxn ang="0">
                <a:pos x="23" y="8"/>
              </a:cxn>
              <a:cxn ang="0">
                <a:pos x="28" y="6"/>
              </a:cxn>
              <a:cxn ang="0">
                <a:pos x="28" y="5"/>
              </a:cxn>
              <a:cxn ang="0">
                <a:pos x="29" y="5"/>
              </a:cxn>
              <a:cxn ang="0">
                <a:pos x="35" y="3"/>
              </a:cxn>
              <a:cxn ang="0">
                <a:pos x="36" y="0"/>
              </a:cxn>
              <a:cxn ang="0">
                <a:pos x="39" y="3"/>
              </a:cxn>
              <a:cxn ang="0">
                <a:pos x="44" y="1"/>
              </a:cxn>
              <a:cxn ang="0">
                <a:pos x="45" y="0"/>
              </a:cxn>
              <a:cxn ang="0">
                <a:pos x="53" y="1"/>
              </a:cxn>
              <a:cxn ang="0">
                <a:pos x="56" y="0"/>
              </a:cxn>
              <a:cxn ang="0">
                <a:pos x="55" y="3"/>
              </a:cxn>
              <a:cxn ang="0">
                <a:pos x="53" y="6"/>
              </a:cxn>
              <a:cxn ang="0">
                <a:pos x="60" y="5"/>
              </a:cxn>
              <a:cxn ang="0">
                <a:pos x="61" y="3"/>
              </a:cxn>
              <a:cxn ang="0">
                <a:pos x="65" y="5"/>
              </a:cxn>
              <a:cxn ang="0">
                <a:pos x="69" y="3"/>
              </a:cxn>
              <a:cxn ang="0">
                <a:pos x="72" y="5"/>
              </a:cxn>
              <a:cxn ang="0">
                <a:pos x="73" y="8"/>
              </a:cxn>
              <a:cxn ang="0">
                <a:pos x="75" y="6"/>
              </a:cxn>
              <a:cxn ang="0">
                <a:pos x="79" y="8"/>
              </a:cxn>
              <a:cxn ang="0">
                <a:pos x="89" y="11"/>
              </a:cxn>
              <a:cxn ang="0">
                <a:pos x="93" y="12"/>
              </a:cxn>
              <a:cxn ang="0">
                <a:pos x="92" y="14"/>
              </a:cxn>
              <a:cxn ang="0">
                <a:pos x="88" y="19"/>
              </a:cxn>
              <a:cxn ang="0">
                <a:pos x="83" y="19"/>
              </a:cxn>
              <a:cxn ang="0">
                <a:pos x="67" y="20"/>
              </a:cxn>
              <a:cxn ang="0">
                <a:pos x="60" y="20"/>
              </a:cxn>
              <a:cxn ang="0">
                <a:pos x="55" y="22"/>
              </a:cxn>
              <a:cxn ang="0">
                <a:pos x="48" y="20"/>
              </a:cxn>
              <a:cxn ang="0">
                <a:pos x="39" y="20"/>
              </a:cxn>
              <a:cxn ang="0">
                <a:pos x="27" y="22"/>
              </a:cxn>
              <a:cxn ang="0">
                <a:pos x="24" y="22"/>
              </a:cxn>
              <a:cxn ang="0">
                <a:pos x="15" y="25"/>
              </a:cxn>
              <a:cxn ang="0">
                <a:pos x="10" y="27"/>
              </a:cxn>
              <a:cxn ang="0">
                <a:pos x="3" y="25"/>
              </a:cxn>
              <a:cxn ang="0">
                <a:pos x="3" y="23"/>
              </a:cxn>
              <a:cxn ang="0">
                <a:pos x="2" y="22"/>
              </a:cxn>
              <a:cxn ang="0">
                <a:pos x="11" y="19"/>
              </a:cxn>
            </a:cxnLst>
            <a:rect l="0" t="0" r="r" b="b"/>
            <a:pathLst>
              <a:path w="93" h="27">
                <a:moveTo>
                  <a:pt x="10" y="17"/>
                </a:moveTo>
                <a:lnTo>
                  <a:pt x="12" y="17"/>
                </a:lnTo>
                <a:lnTo>
                  <a:pt x="12" y="16"/>
                </a:lnTo>
                <a:lnTo>
                  <a:pt x="15" y="14"/>
                </a:lnTo>
                <a:lnTo>
                  <a:pt x="14" y="14"/>
                </a:lnTo>
                <a:lnTo>
                  <a:pt x="19" y="11"/>
                </a:lnTo>
                <a:lnTo>
                  <a:pt x="24" y="11"/>
                </a:lnTo>
                <a:lnTo>
                  <a:pt x="27" y="11"/>
                </a:lnTo>
                <a:lnTo>
                  <a:pt x="23" y="11"/>
                </a:lnTo>
                <a:lnTo>
                  <a:pt x="23" y="8"/>
                </a:lnTo>
                <a:lnTo>
                  <a:pt x="26" y="6"/>
                </a:lnTo>
                <a:lnTo>
                  <a:pt x="28" y="6"/>
                </a:lnTo>
                <a:lnTo>
                  <a:pt x="26" y="6"/>
                </a:lnTo>
                <a:lnTo>
                  <a:pt x="28" y="5"/>
                </a:lnTo>
                <a:lnTo>
                  <a:pt x="31" y="5"/>
                </a:lnTo>
                <a:lnTo>
                  <a:pt x="29" y="5"/>
                </a:lnTo>
                <a:lnTo>
                  <a:pt x="29" y="3"/>
                </a:lnTo>
                <a:lnTo>
                  <a:pt x="35" y="3"/>
                </a:lnTo>
                <a:lnTo>
                  <a:pt x="35" y="1"/>
                </a:lnTo>
                <a:lnTo>
                  <a:pt x="36" y="0"/>
                </a:lnTo>
                <a:lnTo>
                  <a:pt x="37" y="1"/>
                </a:lnTo>
                <a:lnTo>
                  <a:pt x="39" y="3"/>
                </a:lnTo>
                <a:lnTo>
                  <a:pt x="43" y="3"/>
                </a:lnTo>
                <a:lnTo>
                  <a:pt x="44" y="1"/>
                </a:lnTo>
                <a:lnTo>
                  <a:pt x="43" y="0"/>
                </a:lnTo>
                <a:lnTo>
                  <a:pt x="45" y="0"/>
                </a:lnTo>
                <a:lnTo>
                  <a:pt x="53" y="0"/>
                </a:lnTo>
                <a:lnTo>
                  <a:pt x="53" y="1"/>
                </a:lnTo>
                <a:lnTo>
                  <a:pt x="55" y="1"/>
                </a:lnTo>
                <a:lnTo>
                  <a:pt x="56" y="0"/>
                </a:lnTo>
                <a:lnTo>
                  <a:pt x="57" y="1"/>
                </a:lnTo>
                <a:lnTo>
                  <a:pt x="55" y="3"/>
                </a:lnTo>
                <a:lnTo>
                  <a:pt x="55" y="5"/>
                </a:lnTo>
                <a:lnTo>
                  <a:pt x="53" y="6"/>
                </a:lnTo>
                <a:lnTo>
                  <a:pt x="57" y="6"/>
                </a:lnTo>
                <a:lnTo>
                  <a:pt x="60" y="5"/>
                </a:lnTo>
                <a:lnTo>
                  <a:pt x="60" y="3"/>
                </a:lnTo>
                <a:lnTo>
                  <a:pt x="61" y="3"/>
                </a:lnTo>
                <a:lnTo>
                  <a:pt x="64" y="5"/>
                </a:lnTo>
                <a:lnTo>
                  <a:pt x="65" y="5"/>
                </a:lnTo>
                <a:lnTo>
                  <a:pt x="68" y="5"/>
                </a:lnTo>
                <a:lnTo>
                  <a:pt x="69" y="3"/>
                </a:lnTo>
                <a:lnTo>
                  <a:pt x="71" y="5"/>
                </a:lnTo>
                <a:lnTo>
                  <a:pt x="72" y="5"/>
                </a:lnTo>
                <a:lnTo>
                  <a:pt x="72" y="6"/>
                </a:lnTo>
                <a:lnTo>
                  <a:pt x="73" y="8"/>
                </a:lnTo>
                <a:lnTo>
                  <a:pt x="75" y="8"/>
                </a:lnTo>
                <a:lnTo>
                  <a:pt x="75" y="6"/>
                </a:lnTo>
                <a:lnTo>
                  <a:pt x="77" y="6"/>
                </a:lnTo>
                <a:lnTo>
                  <a:pt x="79" y="8"/>
                </a:lnTo>
                <a:lnTo>
                  <a:pt x="81" y="9"/>
                </a:lnTo>
                <a:lnTo>
                  <a:pt x="89" y="11"/>
                </a:lnTo>
                <a:lnTo>
                  <a:pt x="92" y="11"/>
                </a:lnTo>
                <a:lnTo>
                  <a:pt x="93" y="12"/>
                </a:lnTo>
                <a:lnTo>
                  <a:pt x="93" y="14"/>
                </a:lnTo>
                <a:lnTo>
                  <a:pt x="92" y="14"/>
                </a:lnTo>
                <a:lnTo>
                  <a:pt x="93" y="16"/>
                </a:lnTo>
                <a:lnTo>
                  <a:pt x="88" y="19"/>
                </a:lnTo>
                <a:lnTo>
                  <a:pt x="85" y="19"/>
                </a:lnTo>
                <a:lnTo>
                  <a:pt x="83" y="19"/>
                </a:lnTo>
                <a:lnTo>
                  <a:pt x="77" y="19"/>
                </a:lnTo>
                <a:lnTo>
                  <a:pt x="67" y="20"/>
                </a:lnTo>
                <a:lnTo>
                  <a:pt x="63" y="20"/>
                </a:lnTo>
                <a:lnTo>
                  <a:pt x="60" y="20"/>
                </a:lnTo>
                <a:lnTo>
                  <a:pt x="56" y="20"/>
                </a:lnTo>
                <a:lnTo>
                  <a:pt x="55" y="22"/>
                </a:lnTo>
                <a:lnTo>
                  <a:pt x="53" y="22"/>
                </a:lnTo>
                <a:lnTo>
                  <a:pt x="48" y="20"/>
                </a:lnTo>
                <a:lnTo>
                  <a:pt x="41" y="22"/>
                </a:lnTo>
                <a:lnTo>
                  <a:pt x="39" y="20"/>
                </a:lnTo>
                <a:lnTo>
                  <a:pt x="36" y="22"/>
                </a:lnTo>
                <a:lnTo>
                  <a:pt x="27" y="22"/>
                </a:lnTo>
                <a:lnTo>
                  <a:pt x="26" y="22"/>
                </a:lnTo>
                <a:lnTo>
                  <a:pt x="24" y="22"/>
                </a:lnTo>
                <a:lnTo>
                  <a:pt x="22" y="23"/>
                </a:lnTo>
                <a:lnTo>
                  <a:pt x="15" y="25"/>
                </a:lnTo>
                <a:lnTo>
                  <a:pt x="11" y="25"/>
                </a:lnTo>
                <a:lnTo>
                  <a:pt x="10" y="27"/>
                </a:lnTo>
                <a:lnTo>
                  <a:pt x="2" y="25"/>
                </a:lnTo>
                <a:lnTo>
                  <a:pt x="3" y="25"/>
                </a:lnTo>
                <a:lnTo>
                  <a:pt x="4" y="25"/>
                </a:lnTo>
                <a:lnTo>
                  <a:pt x="3" y="23"/>
                </a:lnTo>
                <a:lnTo>
                  <a:pt x="0" y="23"/>
                </a:lnTo>
                <a:lnTo>
                  <a:pt x="2" y="22"/>
                </a:lnTo>
                <a:lnTo>
                  <a:pt x="3" y="22"/>
                </a:lnTo>
                <a:lnTo>
                  <a:pt x="11" y="19"/>
                </a:lnTo>
                <a:lnTo>
                  <a:pt x="10" y="17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50" name="Freeform 973"/>
          <p:cNvSpPr>
            <a:spLocks/>
          </p:cNvSpPr>
          <p:nvPr/>
        </p:nvSpPr>
        <p:spPr bwMode="auto">
          <a:xfrm>
            <a:off x="8527490" y="1543781"/>
            <a:ext cx="179291" cy="51542"/>
          </a:xfrm>
          <a:custGeom>
            <a:avLst/>
            <a:gdLst/>
            <a:ahLst/>
            <a:cxnLst>
              <a:cxn ang="0">
                <a:pos x="12" y="17"/>
              </a:cxn>
              <a:cxn ang="0">
                <a:pos x="15" y="14"/>
              </a:cxn>
              <a:cxn ang="0">
                <a:pos x="19" y="11"/>
              </a:cxn>
              <a:cxn ang="0">
                <a:pos x="27" y="11"/>
              </a:cxn>
              <a:cxn ang="0">
                <a:pos x="23" y="8"/>
              </a:cxn>
              <a:cxn ang="0">
                <a:pos x="28" y="6"/>
              </a:cxn>
              <a:cxn ang="0">
                <a:pos x="28" y="5"/>
              </a:cxn>
              <a:cxn ang="0">
                <a:pos x="29" y="5"/>
              </a:cxn>
              <a:cxn ang="0">
                <a:pos x="35" y="3"/>
              </a:cxn>
              <a:cxn ang="0">
                <a:pos x="36" y="0"/>
              </a:cxn>
              <a:cxn ang="0">
                <a:pos x="39" y="3"/>
              </a:cxn>
              <a:cxn ang="0">
                <a:pos x="44" y="1"/>
              </a:cxn>
              <a:cxn ang="0">
                <a:pos x="45" y="0"/>
              </a:cxn>
              <a:cxn ang="0">
                <a:pos x="53" y="1"/>
              </a:cxn>
              <a:cxn ang="0">
                <a:pos x="56" y="0"/>
              </a:cxn>
              <a:cxn ang="0">
                <a:pos x="55" y="3"/>
              </a:cxn>
              <a:cxn ang="0">
                <a:pos x="53" y="6"/>
              </a:cxn>
              <a:cxn ang="0">
                <a:pos x="60" y="5"/>
              </a:cxn>
              <a:cxn ang="0">
                <a:pos x="61" y="3"/>
              </a:cxn>
              <a:cxn ang="0">
                <a:pos x="65" y="5"/>
              </a:cxn>
              <a:cxn ang="0">
                <a:pos x="69" y="3"/>
              </a:cxn>
              <a:cxn ang="0">
                <a:pos x="72" y="5"/>
              </a:cxn>
              <a:cxn ang="0">
                <a:pos x="73" y="8"/>
              </a:cxn>
              <a:cxn ang="0">
                <a:pos x="75" y="6"/>
              </a:cxn>
              <a:cxn ang="0">
                <a:pos x="79" y="8"/>
              </a:cxn>
              <a:cxn ang="0">
                <a:pos x="89" y="11"/>
              </a:cxn>
              <a:cxn ang="0">
                <a:pos x="93" y="12"/>
              </a:cxn>
              <a:cxn ang="0">
                <a:pos x="92" y="14"/>
              </a:cxn>
              <a:cxn ang="0">
                <a:pos x="88" y="19"/>
              </a:cxn>
              <a:cxn ang="0">
                <a:pos x="83" y="19"/>
              </a:cxn>
              <a:cxn ang="0">
                <a:pos x="67" y="20"/>
              </a:cxn>
              <a:cxn ang="0">
                <a:pos x="60" y="20"/>
              </a:cxn>
              <a:cxn ang="0">
                <a:pos x="55" y="22"/>
              </a:cxn>
              <a:cxn ang="0">
                <a:pos x="48" y="20"/>
              </a:cxn>
              <a:cxn ang="0">
                <a:pos x="39" y="20"/>
              </a:cxn>
              <a:cxn ang="0">
                <a:pos x="27" y="22"/>
              </a:cxn>
              <a:cxn ang="0">
                <a:pos x="24" y="22"/>
              </a:cxn>
              <a:cxn ang="0">
                <a:pos x="15" y="25"/>
              </a:cxn>
              <a:cxn ang="0">
                <a:pos x="10" y="27"/>
              </a:cxn>
              <a:cxn ang="0">
                <a:pos x="3" y="25"/>
              </a:cxn>
              <a:cxn ang="0">
                <a:pos x="3" y="23"/>
              </a:cxn>
              <a:cxn ang="0">
                <a:pos x="2" y="22"/>
              </a:cxn>
              <a:cxn ang="0">
                <a:pos x="11" y="19"/>
              </a:cxn>
            </a:cxnLst>
            <a:rect l="0" t="0" r="r" b="b"/>
            <a:pathLst>
              <a:path w="93" h="27">
                <a:moveTo>
                  <a:pt x="10" y="17"/>
                </a:moveTo>
                <a:lnTo>
                  <a:pt x="12" y="17"/>
                </a:lnTo>
                <a:lnTo>
                  <a:pt x="12" y="16"/>
                </a:lnTo>
                <a:lnTo>
                  <a:pt x="15" y="14"/>
                </a:lnTo>
                <a:lnTo>
                  <a:pt x="14" y="14"/>
                </a:lnTo>
                <a:lnTo>
                  <a:pt x="19" y="11"/>
                </a:lnTo>
                <a:lnTo>
                  <a:pt x="24" y="11"/>
                </a:lnTo>
                <a:lnTo>
                  <a:pt x="27" y="11"/>
                </a:lnTo>
                <a:lnTo>
                  <a:pt x="23" y="11"/>
                </a:lnTo>
                <a:lnTo>
                  <a:pt x="23" y="8"/>
                </a:lnTo>
                <a:lnTo>
                  <a:pt x="26" y="6"/>
                </a:lnTo>
                <a:lnTo>
                  <a:pt x="28" y="6"/>
                </a:lnTo>
                <a:lnTo>
                  <a:pt x="26" y="6"/>
                </a:lnTo>
                <a:lnTo>
                  <a:pt x="28" y="5"/>
                </a:lnTo>
                <a:lnTo>
                  <a:pt x="31" y="5"/>
                </a:lnTo>
                <a:lnTo>
                  <a:pt x="29" y="5"/>
                </a:lnTo>
                <a:lnTo>
                  <a:pt x="29" y="3"/>
                </a:lnTo>
                <a:lnTo>
                  <a:pt x="35" y="3"/>
                </a:lnTo>
                <a:lnTo>
                  <a:pt x="35" y="1"/>
                </a:lnTo>
                <a:lnTo>
                  <a:pt x="36" y="0"/>
                </a:lnTo>
                <a:lnTo>
                  <a:pt x="37" y="1"/>
                </a:lnTo>
                <a:lnTo>
                  <a:pt x="39" y="3"/>
                </a:lnTo>
                <a:lnTo>
                  <a:pt x="43" y="3"/>
                </a:lnTo>
                <a:lnTo>
                  <a:pt x="44" y="1"/>
                </a:lnTo>
                <a:lnTo>
                  <a:pt x="43" y="0"/>
                </a:lnTo>
                <a:lnTo>
                  <a:pt x="45" y="0"/>
                </a:lnTo>
                <a:lnTo>
                  <a:pt x="53" y="0"/>
                </a:lnTo>
                <a:lnTo>
                  <a:pt x="53" y="1"/>
                </a:lnTo>
                <a:lnTo>
                  <a:pt x="55" y="1"/>
                </a:lnTo>
                <a:lnTo>
                  <a:pt x="56" y="0"/>
                </a:lnTo>
                <a:lnTo>
                  <a:pt x="57" y="1"/>
                </a:lnTo>
                <a:lnTo>
                  <a:pt x="55" y="3"/>
                </a:lnTo>
                <a:lnTo>
                  <a:pt x="55" y="5"/>
                </a:lnTo>
                <a:lnTo>
                  <a:pt x="53" y="6"/>
                </a:lnTo>
                <a:lnTo>
                  <a:pt x="57" y="6"/>
                </a:lnTo>
                <a:lnTo>
                  <a:pt x="60" y="5"/>
                </a:lnTo>
                <a:lnTo>
                  <a:pt x="60" y="3"/>
                </a:lnTo>
                <a:lnTo>
                  <a:pt x="61" y="3"/>
                </a:lnTo>
                <a:lnTo>
                  <a:pt x="64" y="5"/>
                </a:lnTo>
                <a:lnTo>
                  <a:pt x="65" y="5"/>
                </a:lnTo>
                <a:lnTo>
                  <a:pt x="68" y="5"/>
                </a:lnTo>
                <a:lnTo>
                  <a:pt x="69" y="3"/>
                </a:lnTo>
                <a:lnTo>
                  <a:pt x="71" y="5"/>
                </a:lnTo>
                <a:lnTo>
                  <a:pt x="72" y="5"/>
                </a:lnTo>
                <a:lnTo>
                  <a:pt x="72" y="6"/>
                </a:lnTo>
                <a:lnTo>
                  <a:pt x="73" y="8"/>
                </a:lnTo>
                <a:lnTo>
                  <a:pt x="75" y="8"/>
                </a:lnTo>
                <a:lnTo>
                  <a:pt x="75" y="6"/>
                </a:lnTo>
                <a:lnTo>
                  <a:pt x="77" y="6"/>
                </a:lnTo>
                <a:lnTo>
                  <a:pt x="79" y="8"/>
                </a:lnTo>
                <a:lnTo>
                  <a:pt x="81" y="9"/>
                </a:lnTo>
                <a:lnTo>
                  <a:pt x="89" y="11"/>
                </a:lnTo>
                <a:lnTo>
                  <a:pt x="92" y="11"/>
                </a:lnTo>
                <a:lnTo>
                  <a:pt x="93" y="12"/>
                </a:lnTo>
                <a:lnTo>
                  <a:pt x="93" y="14"/>
                </a:lnTo>
                <a:lnTo>
                  <a:pt x="92" y="14"/>
                </a:lnTo>
                <a:lnTo>
                  <a:pt x="93" y="16"/>
                </a:lnTo>
                <a:lnTo>
                  <a:pt x="88" y="19"/>
                </a:lnTo>
                <a:lnTo>
                  <a:pt x="85" y="19"/>
                </a:lnTo>
                <a:lnTo>
                  <a:pt x="83" y="19"/>
                </a:lnTo>
                <a:lnTo>
                  <a:pt x="77" y="19"/>
                </a:lnTo>
                <a:lnTo>
                  <a:pt x="67" y="20"/>
                </a:lnTo>
                <a:lnTo>
                  <a:pt x="63" y="20"/>
                </a:lnTo>
                <a:lnTo>
                  <a:pt x="60" y="20"/>
                </a:lnTo>
                <a:lnTo>
                  <a:pt x="56" y="20"/>
                </a:lnTo>
                <a:lnTo>
                  <a:pt x="55" y="22"/>
                </a:lnTo>
                <a:lnTo>
                  <a:pt x="53" y="22"/>
                </a:lnTo>
                <a:lnTo>
                  <a:pt x="48" y="20"/>
                </a:lnTo>
                <a:lnTo>
                  <a:pt x="41" y="22"/>
                </a:lnTo>
                <a:lnTo>
                  <a:pt x="39" y="20"/>
                </a:lnTo>
                <a:lnTo>
                  <a:pt x="36" y="22"/>
                </a:lnTo>
                <a:lnTo>
                  <a:pt x="27" y="22"/>
                </a:lnTo>
                <a:lnTo>
                  <a:pt x="26" y="22"/>
                </a:lnTo>
                <a:lnTo>
                  <a:pt x="24" y="22"/>
                </a:lnTo>
                <a:lnTo>
                  <a:pt x="22" y="23"/>
                </a:lnTo>
                <a:lnTo>
                  <a:pt x="15" y="25"/>
                </a:lnTo>
                <a:lnTo>
                  <a:pt x="11" y="25"/>
                </a:lnTo>
                <a:lnTo>
                  <a:pt x="10" y="27"/>
                </a:lnTo>
                <a:lnTo>
                  <a:pt x="2" y="25"/>
                </a:lnTo>
                <a:lnTo>
                  <a:pt x="3" y="25"/>
                </a:lnTo>
                <a:lnTo>
                  <a:pt x="4" y="25"/>
                </a:lnTo>
                <a:lnTo>
                  <a:pt x="3" y="23"/>
                </a:lnTo>
                <a:lnTo>
                  <a:pt x="0" y="23"/>
                </a:lnTo>
                <a:lnTo>
                  <a:pt x="2" y="22"/>
                </a:lnTo>
                <a:lnTo>
                  <a:pt x="3" y="22"/>
                </a:lnTo>
                <a:lnTo>
                  <a:pt x="11" y="19"/>
                </a:lnTo>
                <a:lnTo>
                  <a:pt x="10" y="17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51" name="Freeform 974"/>
          <p:cNvSpPr>
            <a:spLocks/>
          </p:cNvSpPr>
          <p:nvPr/>
        </p:nvSpPr>
        <p:spPr bwMode="auto">
          <a:xfrm>
            <a:off x="9568157" y="1724180"/>
            <a:ext cx="23386" cy="12885"/>
          </a:xfrm>
          <a:custGeom>
            <a:avLst/>
            <a:gdLst/>
            <a:ahLst/>
            <a:cxnLst>
              <a:cxn ang="0">
                <a:pos x="8" y="3"/>
              </a:cxn>
              <a:cxn ang="0">
                <a:pos x="9" y="5"/>
              </a:cxn>
              <a:cxn ang="0">
                <a:pos x="11" y="5"/>
              </a:cxn>
              <a:cxn ang="0">
                <a:pos x="12" y="6"/>
              </a:cxn>
              <a:cxn ang="0">
                <a:pos x="9" y="6"/>
              </a:cxn>
              <a:cxn ang="0">
                <a:pos x="8" y="5"/>
              </a:cxn>
              <a:cxn ang="0">
                <a:pos x="4" y="5"/>
              </a:cxn>
              <a:cxn ang="0">
                <a:pos x="4" y="3"/>
              </a:cxn>
              <a:cxn ang="0">
                <a:pos x="0" y="2"/>
              </a:cxn>
              <a:cxn ang="0">
                <a:pos x="0" y="0"/>
              </a:cxn>
              <a:cxn ang="0">
                <a:pos x="1" y="0"/>
              </a:cxn>
              <a:cxn ang="0">
                <a:pos x="4" y="2"/>
              </a:cxn>
              <a:cxn ang="0">
                <a:pos x="8" y="3"/>
              </a:cxn>
            </a:cxnLst>
            <a:rect l="0" t="0" r="r" b="b"/>
            <a:pathLst>
              <a:path w="12" h="6">
                <a:moveTo>
                  <a:pt x="8" y="3"/>
                </a:moveTo>
                <a:lnTo>
                  <a:pt x="9" y="5"/>
                </a:lnTo>
                <a:lnTo>
                  <a:pt x="11" y="5"/>
                </a:lnTo>
                <a:lnTo>
                  <a:pt x="12" y="6"/>
                </a:lnTo>
                <a:lnTo>
                  <a:pt x="9" y="6"/>
                </a:lnTo>
                <a:lnTo>
                  <a:pt x="8" y="5"/>
                </a:lnTo>
                <a:lnTo>
                  <a:pt x="4" y="5"/>
                </a:lnTo>
                <a:lnTo>
                  <a:pt x="4" y="3"/>
                </a:lnTo>
                <a:lnTo>
                  <a:pt x="0" y="2"/>
                </a:lnTo>
                <a:lnTo>
                  <a:pt x="0" y="0"/>
                </a:lnTo>
                <a:lnTo>
                  <a:pt x="1" y="0"/>
                </a:lnTo>
                <a:lnTo>
                  <a:pt x="4" y="2"/>
                </a:lnTo>
                <a:lnTo>
                  <a:pt x="8" y="3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52" name="Freeform 975"/>
          <p:cNvSpPr>
            <a:spLocks/>
          </p:cNvSpPr>
          <p:nvPr/>
        </p:nvSpPr>
        <p:spPr bwMode="auto">
          <a:xfrm>
            <a:off x="9568157" y="1724180"/>
            <a:ext cx="23386" cy="12885"/>
          </a:xfrm>
          <a:custGeom>
            <a:avLst/>
            <a:gdLst/>
            <a:ahLst/>
            <a:cxnLst>
              <a:cxn ang="0">
                <a:pos x="8" y="3"/>
              </a:cxn>
              <a:cxn ang="0">
                <a:pos x="9" y="5"/>
              </a:cxn>
              <a:cxn ang="0">
                <a:pos x="11" y="5"/>
              </a:cxn>
              <a:cxn ang="0">
                <a:pos x="12" y="6"/>
              </a:cxn>
              <a:cxn ang="0">
                <a:pos x="9" y="6"/>
              </a:cxn>
              <a:cxn ang="0">
                <a:pos x="8" y="5"/>
              </a:cxn>
              <a:cxn ang="0">
                <a:pos x="4" y="5"/>
              </a:cxn>
              <a:cxn ang="0">
                <a:pos x="4" y="3"/>
              </a:cxn>
              <a:cxn ang="0">
                <a:pos x="0" y="2"/>
              </a:cxn>
              <a:cxn ang="0">
                <a:pos x="0" y="0"/>
              </a:cxn>
              <a:cxn ang="0">
                <a:pos x="1" y="0"/>
              </a:cxn>
              <a:cxn ang="0">
                <a:pos x="4" y="2"/>
              </a:cxn>
              <a:cxn ang="0">
                <a:pos x="8" y="3"/>
              </a:cxn>
            </a:cxnLst>
            <a:rect l="0" t="0" r="r" b="b"/>
            <a:pathLst>
              <a:path w="12" h="6">
                <a:moveTo>
                  <a:pt x="8" y="3"/>
                </a:moveTo>
                <a:lnTo>
                  <a:pt x="9" y="5"/>
                </a:lnTo>
                <a:lnTo>
                  <a:pt x="11" y="5"/>
                </a:lnTo>
                <a:lnTo>
                  <a:pt x="12" y="6"/>
                </a:lnTo>
                <a:lnTo>
                  <a:pt x="9" y="6"/>
                </a:lnTo>
                <a:lnTo>
                  <a:pt x="8" y="5"/>
                </a:lnTo>
                <a:lnTo>
                  <a:pt x="4" y="5"/>
                </a:lnTo>
                <a:lnTo>
                  <a:pt x="4" y="3"/>
                </a:lnTo>
                <a:lnTo>
                  <a:pt x="0" y="2"/>
                </a:lnTo>
                <a:lnTo>
                  <a:pt x="0" y="0"/>
                </a:lnTo>
                <a:lnTo>
                  <a:pt x="1" y="0"/>
                </a:lnTo>
                <a:lnTo>
                  <a:pt x="4" y="2"/>
                </a:lnTo>
                <a:lnTo>
                  <a:pt x="8" y="3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53" name="Freeform 976"/>
          <p:cNvSpPr>
            <a:spLocks/>
          </p:cNvSpPr>
          <p:nvPr/>
        </p:nvSpPr>
        <p:spPr bwMode="auto">
          <a:xfrm>
            <a:off x="9568157" y="1670488"/>
            <a:ext cx="13640" cy="17181"/>
          </a:xfrm>
          <a:custGeom>
            <a:avLst/>
            <a:gdLst/>
            <a:ahLst/>
            <a:cxnLst>
              <a:cxn ang="0">
                <a:pos x="7" y="4"/>
              </a:cxn>
              <a:cxn ang="0">
                <a:pos x="5" y="6"/>
              </a:cxn>
              <a:cxn ang="0">
                <a:pos x="4" y="6"/>
              </a:cxn>
              <a:cxn ang="0">
                <a:pos x="5" y="8"/>
              </a:cxn>
              <a:cxn ang="0">
                <a:pos x="4" y="9"/>
              </a:cxn>
              <a:cxn ang="0">
                <a:pos x="0" y="8"/>
              </a:cxn>
              <a:cxn ang="0">
                <a:pos x="0" y="6"/>
              </a:cxn>
              <a:cxn ang="0">
                <a:pos x="0" y="4"/>
              </a:cxn>
              <a:cxn ang="0">
                <a:pos x="1" y="4"/>
              </a:cxn>
              <a:cxn ang="0">
                <a:pos x="0" y="3"/>
              </a:cxn>
              <a:cxn ang="0">
                <a:pos x="1" y="1"/>
              </a:cxn>
              <a:cxn ang="0">
                <a:pos x="1" y="0"/>
              </a:cxn>
              <a:cxn ang="0">
                <a:pos x="1" y="1"/>
              </a:cxn>
              <a:cxn ang="0">
                <a:pos x="3" y="1"/>
              </a:cxn>
              <a:cxn ang="0">
                <a:pos x="4" y="3"/>
              </a:cxn>
              <a:cxn ang="0">
                <a:pos x="7" y="4"/>
              </a:cxn>
              <a:cxn ang="0">
                <a:pos x="8" y="4"/>
              </a:cxn>
              <a:cxn ang="0">
                <a:pos x="7" y="4"/>
              </a:cxn>
            </a:cxnLst>
            <a:rect l="0" t="0" r="r" b="b"/>
            <a:pathLst>
              <a:path w="8" h="9">
                <a:moveTo>
                  <a:pt x="7" y="4"/>
                </a:moveTo>
                <a:lnTo>
                  <a:pt x="5" y="6"/>
                </a:lnTo>
                <a:lnTo>
                  <a:pt x="4" y="6"/>
                </a:lnTo>
                <a:lnTo>
                  <a:pt x="5" y="8"/>
                </a:lnTo>
                <a:lnTo>
                  <a:pt x="4" y="9"/>
                </a:lnTo>
                <a:lnTo>
                  <a:pt x="0" y="8"/>
                </a:lnTo>
                <a:lnTo>
                  <a:pt x="0" y="6"/>
                </a:lnTo>
                <a:lnTo>
                  <a:pt x="0" y="4"/>
                </a:lnTo>
                <a:lnTo>
                  <a:pt x="1" y="4"/>
                </a:lnTo>
                <a:lnTo>
                  <a:pt x="0" y="3"/>
                </a:lnTo>
                <a:lnTo>
                  <a:pt x="1" y="1"/>
                </a:lnTo>
                <a:lnTo>
                  <a:pt x="1" y="0"/>
                </a:lnTo>
                <a:lnTo>
                  <a:pt x="1" y="1"/>
                </a:lnTo>
                <a:lnTo>
                  <a:pt x="3" y="1"/>
                </a:lnTo>
                <a:lnTo>
                  <a:pt x="4" y="3"/>
                </a:lnTo>
                <a:lnTo>
                  <a:pt x="7" y="4"/>
                </a:lnTo>
                <a:lnTo>
                  <a:pt x="8" y="4"/>
                </a:lnTo>
                <a:lnTo>
                  <a:pt x="7" y="4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54" name="Freeform 977"/>
          <p:cNvSpPr>
            <a:spLocks/>
          </p:cNvSpPr>
          <p:nvPr/>
        </p:nvSpPr>
        <p:spPr bwMode="auto">
          <a:xfrm>
            <a:off x="9568157" y="1670488"/>
            <a:ext cx="13640" cy="17181"/>
          </a:xfrm>
          <a:custGeom>
            <a:avLst/>
            <a:gdLst/>
            <a:ahLst/>
            <a:cxnLst>
              <a:cxn ang="0">
                <a:pos x="7" y="4"/>
              </a:cxn>
              <a:cxn ang="0">
                <a:pos x="5" y="6"/>
              </a:cxn>
              <a:cxn ang="0">
                <a:pos x="4" y="6"/>
              </a:cxn>
              <a:cxn ang="0">
                <a:pos x="5" y="8"/>
              </a:cxn>
              <a:cxn ang="0">
                <a:pos x="4" y="9"/>
              </a:cxn>
              <a:cxn ang="0">
                <a:pos x="0" y="8"/>
              </a:cxn>
              <a:cxn ang="0">
                <a:pos x="0" y="6"/>
              </a:cxn>
              <a:cxn ang="0">
                <a:pos x="0" y="4"/>
              </a:cxn>
              <a:cxn ang="0">
                <a:pos x="1" y="4"/>
              </a:cxn>
              <a:cxn ang="0">
                <a:pos x="0" y="3"/>
              </a:cxn>
              <a:cxn ang="0">
                <a:pos x="1" y="1"/>
              </a:cxn>
              <a:cxn ang="0">
                <a:pos x="1" y="0"/>
              </a:cxn>
              <a:cxn ang="0">
                <a:pos x="1" y="1"/>
              </a:cxn>
              <a:cxn ang="0">
                <a:pos x="3" y="1"/>
              </a:cxn>
              <a:cxn ang="0">
                <a:pos x="4" y="3"/>
              </a:cxn>
              <a:cxn ang="0">
                <a:pos x="7" y="4"/>
              </a:cxn>
              <a:cxn ang="0">
                <a:pos x="8" y="4"/>
              </a:cxn>
              <a:cxn ang="0">
                <a:pos x="7" y="4"/>
              </a:cxn>
            </a:cxnLst>
            <a:rect l="0" t="0" r="r" b="b"/>
            <a:pathLst>
              <a:path w="8" h="9">
                <a:moveTo>
                  <a:pt x="7" y="4"/>
                </a:moveTo>
                <a:lnTo>
                  <a:pt x="5" y="6"/>
                </a:lnTo>
                <a:lnTo>
                  <a:pt x="4" y="6"/>
                </a:lnTo>
                <a:lnTo>
                  <a:pt x="5" y="8"/>
                </a:lnTo>
                <a:lnTo>
                  <a:pt x="4" y="9"/>
                </a:lnTo>
                <a:lnTo>
                  <a:pt x="0" y="8"/>
                </a:lnTo>
                <a:lnTo>
                  <a:pt x="0" y="6"/>
                </a:lnTo>
                <a:lnTo>
                  <a:pt x="0" y="4"/>
                </a:lnTo>
                <a:lnTo>
                  <a:pt x="1" y="4"/>
                </a:lnTo>
                <a:lnTo>
                  <a:pt x="0" y="3"/>
                </a:lnTo>
                <a:lnTo>
                  <a:pt x="1" y="1"/>
                </a:lnTo>
                <a:lnTo>
                  <a:pt x="1" y="0"/>
                </a:lnTo>
                <a:lnTo>
                  <a:pt x="1" y="1"/>
                </a:lnTo>
                <a:lnTo>
                  <a:pt x="3" y="1"/>
                </a:lnTo>
                <a:lnTo>
                  <a:pt x="4" y="3"/>
                </a:lnTo>
                <a:lnTo>
                  <a:pt x="7" y="4"/>
                </a:lnTo>
                <a:lnTo>
                  <a:pt x="8" y="4"/>
                </a:lnTo>
                <a:lnTo>
                  <a:pt x="7" y="4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55" name="Freeform 978"/>
          <p:cNvSpPr>
            <a:spLocks/>
          </p:cNvSpPr>
          <p:nvPr/>
        </p:nvSpPr>
        <p:spPr bwMode="auto">
          <a:xfrm>
            <a:off x="9603236" y="1655456"/>
            <a:ext cx="190984" cy="53689"/>
          </a:xfrm>
          <a:custGeom>
            <a:avLst/>
            <a:gdLst/>
            <a:ahLst/>
            <a:cxnLst>
              <a:cxn ang="0">
                <a:pos x="49" y="8"/>
              </a:cxn>
              <a:cxn ang="0">
                <a:pos x="54" y="8"/>
              </a:cxn>
              <a:cxn ang="0">
                <a:pos x="54" y="10"/>
              </a:cxn>
              <a:cxn ang="0">
                <a:pos x="54" y="11"/>
              </a:cxn>
              <a:cxn ang="0">
                <a:pos x="57" y="11"/>
              </a:cxn>
              <a:cxn ang="0">
                <a:pos x="61" y="11"/>
              </a:cxn>
              <a:cxn ang="0">
                <a:pos x="62" y="8"/>
              </a:cxn>
              <a:cxn ang="0">
                <a:pos x="61" y="7"/>
              </a:cxn>
              <a:cxn ang="0">
                <a:pos x="61" y="4"/>
              </a:cxn>
              <a:cxn ang="0">
                <a:pos x="66" y="2"/>
              </a:cxn>
              <a:cxn ang="0">
                <a:pos x="78" y="7"/>
              </a:cxn>
              <a:cxn ang="0">
                <a:pos x="81" y="8"/>
              </a:cxn>
              <a:cxn ang="0">
                <a:pos x="86" y="10"/>
              </a:cxn>
              <a:cxn ang="0">
                <a:pos x="83" y="13"/>
              </a:cxn>
              <a:cxn ang="0">
                <a:pos x="81" y="15"/>
              </a:cxn>
              <a:cxn ang="0">
                <a:pos x="85" y="19"/>
              </a:cxn>
              <a:cxn ang="0">
                <a:pos x="94" y="21"/>
              </a:cxn>
              <a:cxn ang="0">
                <a:pos x="94" y="24"/>
              </a:cxn>
              <a:cxn ang="0">
                <a:pos x="86" y="24"/>
              </a:cxn>
              <a:cxn ang="0">
                <a:pos x="77" y="22"/>
              </a:cxn>
              <a:cxn ang="0">
                <a:pos x="79" y="21"/>
              </a:cxn>
              <a:cxn ang="0">
                <a:pos x="73" y="22"/>
              </a:cxn>
              <a:cxn ang="0">
                <a:pos x="61" y="24"/>
              </a:cxn>
              <a:cxn ang="0">
                <a:pos x="50" y="26"/>
              </a:cxn>
              <a:cxn ang="0">
                <a:pos x="45" y="24"/>
              </a:cxn>
              <a:cxn ang="0">
                <a:pos x="49" y="24"/>
              </a:cxn>
              <a:cxn ang="0">
                <a:pos x="45" y="22"/>
              </a:cxn>
              <a:cxn ang="0">
                <a:pos x="41" y="21"/>
              </a:cxn>
              <a:cxn ang="0">
                <a:pos x="42" y="24"/>
              </a:cxn>
              <a:cxn ang="0">
                <a:pos x="39" y="26"/>
              </a:cxn>
              <a:cxn ang="0">
                <a:pos x="35" y="27"/>
              </a:cxn>
              <a:cxn ang="0">
                <a:pos x="24" y="26"/>
              </a:cxn>
              <a:cxn ang="0">
                <a:pos x="17" y="24"/>
              </a:cxn>
              <a:cxn ang="0">
                <a:pos x="12" y="21"/>
              </a:cxn>
              <a:cxn ang="0">
                <a:pos x="2" y="18"/>
              </a:cxn>
              <a:cxn ang="0">
                <a:pos x="2" y="15"/>
              </a:cxn>
              <a:cxn ang="0">
                <a:pos x="9" y="16"/>
              </a:cxn>
              <a:cxn ang="0">
                <a:pos x="5" y="15"/>
              </a:cxn>
              <a:cxn ang="0">
                <a:pos x="5" y="15"/>
              </a:cxn>
              <a:cxn ang="0">
                <a:pos x="6" y="13"/>
              </a:cxn>
              <a:cxn ang="0">
                <a:pos x="1" y="11"/>
              </a:cxn>
              <a:cxn ang="0">
                <a:pos x="5" y="11"/>
              </a:cxn>
              <a:cxn ang="0">
                <a:pos x="4" y="10"/>
              </a:cxn>
              <a:cxn ang="0">
                <a:pos x="6" y="8"/>
              </a:cxn>
              <a:cxn ang="0">
                <a:pos x="12" y="8"/>
              </a:cxn>
              <a:cxn ang="0">
                <a:pos x="9" y="7"/>
              </a:cxn>
              <a:cxn ang="0">
                <a:pos x="6" y="5"/>
              </a:cxn>
              <a:cxn ang="0">
                <a:pos x="9" y="4"/>
              </a:cxn>
              <a:cxn ang="0">
                <a:pos x="18" y="4"/>
              </a:cxn>
              <a:cxn ang="0">
                <a:pos x="22" y="2"/>
              </a:cxn>
              <a:cxn ang="0">
                <a:pos x="33" y="0"/>
              </a:cxn>
              <a:cxn ang="0">
                <a:pos x="33" y="2"/>
              </a:cxn>
              <a:cxn ang="0">
                <a:pos x="41" y="5"/>
              </a:cxn>
              <a:cxn ang="0">
                <a:pos x="46" y="5"/>
              </a:cxn>
              <a:cxn ang="0">
                <a:pos x="46" y="7"/>
              </a:cxn>
            </a:cxnLst>
            <a:rect l="0" t="0" r="r" b="b"/>
            <a:pathLst>
              <a:path w="99" h="27">
                <a:moveTo>
                  <a:pt x="49" y="7"/>
                </a:moveTo>
                <a:lnTo>
                  <a:pt x="49" y="8"/>
                </a:lnTo>
                <a:lnTo>
                  <a:pt x="50" y="7"/>
                </a:lnTo>
                <a:lnTo>
                  <a:pt x="54" y="8"/>
                </a:lnTo>
                <a:lnTo>
                  <a:pt x="53" y="10"/>
                </a:lnTo>
                <a:lnTo>
                  <a:pt x="54" y="10"/>
                </a:lnTo>
                <a:lnTo>
                  <a:pt x="53" y="10"/>
                </a:lnTo>
                <a:lnTo>
                  <a:pt x="54" y="11"/>
                </a:lnTo>
                <a:lnTo>
                  <a:pt x="55" y="11"/>
                </a:lnTo>
                <a:lnTo>
                  <a:pt x="57" y="11"/>
                </a:lnTo>
                <a:lnTo>
                  <a:pt x="59" y="11"/>
                </a:lnTo>
                <a:lnTo>
                  <a:pt x="61" y="11"/>
                </a:lnTo>
                <a:lnTo>
                  <a:pt x="62" y="11"/>
                </a:lnTo>
                <a:lnTo>
                  <a:pt x="62" y="8"/>
                </a:lnTo>
                <a:lnTo>
                  <a:pt x="63" y="8"/>
                </a:lnTo>
                <a:lnTo>
                  <a:pt x="61" y="7"/>
                </a:lnTo>
                <a:lnTo>
                  <a:pt x="61" y="5"/>
                </a:lnTo>
                <a:lnTo>
                  <a:pt x="61" y="4"/>
                </a:lnTo>
                <a:lnTo>
                  <a:pt x="63" y="4"/>
                </a:lnTo>
                <a:lnTo>
                  <a:pt x="66" y="2"/>
                </a:lnTo>
                <a:lnTo>
                  <a:pt x="73" y="4"/>
                </a:lnTo>
                <a:lnTo>
                  <a:pt x="78" y="7"/>
                </a:lnTo>
                <a:lnTo>
                  <a:pt x="79" y="7"/>
                </a:lnTo>
                <a:lnTo>
                  <a:pt x="81" y="8"/>
                </a:lnTo>
                <a:lnTo>
                  <a:pt x="83" y="8"/>
                </a:lnTo>
                <a:lnTo>
                  <a:pt x="86" y="10"/>
                </a:lnTo>
                <a:lnTo>
                  <a:pt x="85" y="11"/>
                </a:lnTo>
                <a:lnTo>
                  <a:pt x="83" y="13"/>
                </a:lnTo>
                <a:lnTo>
                  <a:pt x="82" y="13"/>
                </a:lnTo>
                <a:lnTo>
                  <a:pt x="81" y="15"/>
                </a:lnTo>
                <a:lnTo>
                  <a:pt x="81" y="16"/>
                </a:lnTo>
                <a:lnTo>
                  <a:pt x="85" y="19"/>
                </a:lnTo>
                <a:lnTo>
                  <a:pt x="89" y="21"/>
                </a:lnTo>
                <a:lnTo>
                  <a:pt x="94" y="21"/>
                </a:lnTo>
                <a:lnTo>
                  <a:pt x="99" y="22"/>
                </a:lnTo>
                <a:lnTo>
                  <a:pt x="94" y="24"/>
                </a:lnTo>
                <a:lnTo>
                  <a:pt x="86" y="22"/>
                </a:lnTo>
                <a:lnTo>
                  <a:pt x="86" y="24"/>
                </a:lnTo>
                <a:lnTo>
                  <a:pt x="83" y="24"/>
                </a:lnTo>
                <a:lnTo>
                  <a:pt x="77" y="22"/>
                </a:lnTo>
                <a:lnTo>
                  <a:pt x="78" y="22"/>
                </a:lnTo>
                <a:lnTo>
                  <a:pt x="79" y="21"/>
                </a:lnTo>
                <a:lnTo>
                  <a:pt x="77" y="21"/>
                </a:lnTo>
                <a:lnTo>
                  <a:pt x="73" y="22"/>
                </a:lnTo>
                <a:lnTo>
                  <a:pt x="65" y="22"/>
                </a:lnTo>
                <a:lnTo>
                  <a:pt x="61" y="24"/>
                </a:lnTo>
                <a:lnTo>
                  <a:pt x="58" y="24"/>
                </a:lnTo>
                <a:lnTo>
                  <a:pt x="50" y="26"/>
                </a:lnTo>
                <a:lnTo>
                  <a:pt x="47" y="26"/>
                </a:lnTo>
                <a:lnTo>
                  <a:pt x="45" y="24"/>
                </a:lnTo>
                <a:lnTo>
                  <a:pt x="47" y="26"/>
                </a:lnTo>
                <a:lnTo>
                  <a:pt x="49" y="24"/>
                </a:lnTo>
                <a:lnTo>
                  <a:pt x="46" y="24"/>
                </a:lnTo>
                <a:lnTo>
                  <a:pt x="45" y="22"/>
                </a:lnTo>
                <a:lnTo>
                  <a:pt x="43" y="21"/>
                </a:lnTo>
                <a:lnTo>
                  <a:pt x="41" y="21"/>
                </a:lnTo>
                <a:lnTo>
                  <a:pt x="39" y="24"/>
                </a:lnTo>
                <a:lnTo>
                  <a:pt x="42" y="24"/>
                </a:lnTo>
                <a:lnTo>
                  <a:pt x="41" y="24"/>
                </a:lnTo>
                <a:lnTo>
                  <a:pt x="39" y="26"/>
                </a:lnTo>
                <a:lnTo>
                  <a:pt x="38" y="27"/>
                </a:lnTo>
                <a:lnTo>
                  <a:pt x="35" y="27"/>
                </a:lnTo>
                <a:lnTo>
                  <a:pt x="30" y="27"/>
                </a:lnTo>
                <a:lnTo>
                  <a:pt x="24" y="26"/>
                </a:lnTo>
                <a:lnTo>
                  <a:pt x="18" y="26"/>
                </a:lnTo>
                <a:lnTo>
                  <a:pt x="17" y="24"/>
                </a:lnTo>
                <a:lnTo>
                  <a:pt x="14" y="21"/>
                </a:lnTo>
                <a:lnTo>
                  <a:pt x="12" y="21"/>
                </a:lnTo>
                <a:lnTo>
                  <a:pt x="4" y="19"/>
                </a:lnTo>
                <a:lnTo>
                  <a:pt x="2" y="18"/>
                </a:lnTo>
                <a:lnTo>
                  <a:pt x="0" y="16"/>
                </a:lnTo>
                <a:lnTo>
                  <a:pt x="2" y="15"/>
                </a:lnTo>
                <a:lnTo>
                  <a:pt x="5" y="16"/>
                </a:lnTo>
                <a:lnTo>
                  <a:pt x="9" y="16"/>
                </a:lnTo>
                <a:lnTo>
                  <a:pt x="8" y="15"/>
                </a:lnTo>
                <a:lnTo>
                  <a:pt x="5" y="15"/>
                </a:lnTo>
                <a:lnTo>
                  <a:pt x="4" y="15"/>
                </a:lnTo>
                <a:lnTo>
                  <a:pt x="5" y="15"/>
                </a:lnTo>
                <a:lnTo>
                  <a:pt x="6" y="15"/>
                </a:lnTo>
                <a:lnTo>
                  <a:pt x="6" y="13"/>
                </a:lnTo>
                <a:lnTo>
                  <a:pt x="4" y="13"/>
                </a:lnTo>
                <a:lnTo>
                  <a:pt x="1" y="11"/>
                </a:lnTo>
                <a:lnTo>
                  <a:pt x="2" y="11"/>
                </a:lnTo>
                <a:lnTo>
                  <a:pt x="5" y="11"/>
                </a:lnTo>
                <a:lnTo>
                  <a:pt x="6" y="11"/>
                </a:lnTo>
                <a:lnTo>
                  <a:pt x="4" y="10"/>
                </a:lnTo>
                <a:lnTo>
                  <a:pt x="4" y="8"/>
                </a:lnTo>
                <a:lnTo>
                  <a:pt x="6" y="8"/>
                </a:lnTo>
                <a:lnTo>
                  <a:pt x="10" y="8"/>
                </a:lnTo>
                <a:lnTo>
                  <a:pt x="12" y="8"/>
                </a:lnTo>
                <a:lnTo>
                  <a:pt x="10" y="7"/>
                </a:lnTo>
                <a:lnTo>
                  <a:pt x="9" y="7"/>
                </a:lnTo>
                <a:lnTo>
                  <a:pt x="8" y="7"/>
                </a:lnTo>
                <a:lnTo>
                  <a:pt x="6" y="5"/>
                </a:lnTo>
                <a:lnTo>
                  <a:pt x="8" y="5"/>
                </a:lnTo>
                <a:lnTo>
                  <a:pt x="9" y="4"/>
                </a:lnTo>
                <a:lnTo>
                  <a:pt x="10" y="5"/>
                </a:lnTo>
                <a:lnTo>
                  <a:pt x="18" y="4"/>
                </a:lnTo>
                <a:lnTo>
                  <a:pt x="21" y="2"/>
                </a:lnTo>
                <a:lnTo>
                  <a:pt x="22" y="2"/>
                </a:lnTo>
                <a:lnTo>
                  <a:pt x="28" y="0"/>
                </a:lnTo>
                <a:lnTo>
                  <a:pt x="33" y="0"/>
                </a:lnTo>
                <a:lnTo>
                  <a:pt x="31" y="2"/>
                </a:lnTo>
                <a:lnTo>
                  <a:pt x="33" y="2"/>
                </a:lnTo>
                <a:lnTo>
                  <a:pt x="39" y="5"/>
                </a:lnTo>
                <a:lnTo>
                  <a:pt x="41" y="5"/>
                </a:lnTo>
                <a:lnTo>
                  <a:pt x="43" y="5"/>
                </a:lnTo>
                <a:lnTo>
                  <a:pt x="46" y="5"/>
                </a:lnTo>
                <a:lnTo>
                  <a:pt x="45" y="7"/>
                </a:lnTo>
                <a:lnTo>
                  <a:pt x="46" y="7"/>
                </a:lnTo>
                <a:lnTo>
                  <a:pt x="49" y="7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56" name="Freeform 979"/>
          <p:cNvSpPr>
            <a:spLocks/>
          </p:cNvSpPr>
          <p:nvPr/>
        </p:nvSpPr>
        <p:spPr bwMode="auto">
          <a:xfrm>
            <a:off x="9603236" y="1655456"/>
            <a:ext cx="190984" cy="53689"/>
          </a:xfrm>
          <a:custGeom>
            <a:avLst/>
            <a:gdLst/>
            <a:ahLst/>
            <a:cxnLst>
              <a:cxn ang="0">
                <a:pos x="49" y="8"/>
              </a:cxn>
              <a:cxn ang="0">
                <a:pos x="54" y="8"/>
              </a:cxn>
              <a:cxn ang="0">
                <a:pos x="54" y="10"/>
              </a:cxn>
              <a:cxn ang="0">
                <a:pos x="54" y="11"/>
              </a:cxn>
              <a:cxn ang="0">
                <a:pos x="57" y="11"/>
              </a:cxn>
              <a:cxn ang="0">
                <a:pos x="61" y="11"/>
              </a:cxn>
              <a:cxn ang="0">
                <a:pos x="62" y="8"/>
              </a:cxn>
              <a:cxn ang="0">
                <a:pos x="61" y="7"/>
              </a:cxn>
              <a:cxn ang="0">
                <a:pos x="61" y="4"/>
              </a:cxn>
              <a:cxn ang="0">
                <a:pos x="66" y="2"/>
              </a:cxn>
              <a:cxn ang="0">
                <a:pos x="78" y="7"/>
              </a:cxn>
              <a:cxn ang="0">
                <a:pos x="81" y="8"/>
              </a:cxn>
              <a:cxn ang="0">
                <a:pos x="86" y="10"/>
              </a:cxn>
              <a:cxn ang="0">
                <a:pos x="83" y="13"/>
              </a:cxn>
              <a:cxn ang="0">
                <a:pos x="81" y="15"/>
              </a:cxn>
              <a:cxn ang="0">
                <a:pos x="85" y="19"/>
              </a:cxn>
              <a:cxn ang="0">
                <a:pos x="94" y="21"/>
              </a:cxn>
              <a:cxn ang="0">
                <a:pos x="94" y="24"/>
              </a:cxn>
              <a:cxn ang="0">
                <a:pos x="86" y="24"/>
              </a:cxn>
              <a:cxn ang="0">
                <a:pos x="77" y="22"/>
              </a:cxn>
              <a:cxn ang="0">
                <a:pos x="79" y="21"/>
              </a:cxn>
              <a:cxn ang="0">
                <a:pos x="73" y="22"/>
              </a:cxn>
              <a:cxn ang="0">
                <a:pos x="61" y="24"/>
              </a:cxn>
              <a:cxn ang="0">
                <a:pos x="50" y="26"/>
              </a:cxn>
              <a:cxn ang="0">
                <a:pos x="45" y="24"/>
              </a:cxn>
              <a:cxn ang="0">
                <a:pos x="49" y="24"/>
              </a:cxn>
              <a:cxn ang="0">
                <a:pos x="45" y="22"/>
              </a:cxn>
              <a:cxn ang="0">
                <a:pos x="41" y="21"/>
              </a:cxn>
              <a:cxn ang="0">
                <a:pos x="42" y="24"/>
              </a:cxn>
              <a:cxn ang="0">
                <a:pos x="39" y="26"/>
              </a:cxn>
              <a:cxn ang="0">
                <a:pos x="35" y="27"/>
              </a:cxn>
              <a:cxn ang="0">
                <a:pos x="24" y="26"/>
              </a:cxn>
              <a:cxn ang="0">
                <a:pos x="17" y="24"/>
              </a:cxn>
              <a:cxn ang="0">
                <a:pos x="12" y="21"/>
              </a:cxn>
              <a:cxn ang="0">
                <a:pos x="2" y="18"/>
              </a:cxn>
              <a:cxn ang="0">
                <a:pos x="2" y="15"/>
              </a:cxn>
              <a:cxn ang="0">
                <a:pos x="9" y="16"/>
              </a:cxn>
              <a:cxn ang="0">
                <a:pos x="5" y="15"/>
              </a:cxn>
              <a:cxn ang="0">
                <a:pos x="5" y="15"/>
              </a:cxn>
              <a:cxn ang="0">
                <a:pos x="6" y="13"/>
              </a:cxn>
              <a:cxn ang="0">
                <a:pos x="1" y="11"/>
              </a:cxn>
              <a:cxn ang="0">
                <a:pos x="5" y="11"/>
              </a:cxn>
              <a:cxn ang="0">
                <a:pos x="4" y="10"/>
              </a:cxn>
              <a:cxn ang="0">
                <a:pos x="6" y="8"/>
              </a:cxn>
              <a:cxn ang="0">
                <a:pos x="12" y="8"/>
              </a:cxn>
              <a:cxn ang="0">
                <a:pos x="9" y="7"/>
              </a:cxn>
              <a:cxn ang="0">
                <a:pos x="6" y="5"/>
              </a:cxn>
              <a:cxn ang="0">
                <a:pos x="9" y="4"/>
              </a:cxn>
              <a:cxn ang="0">
                <a:pos x="18" y="4"/>
              </a:cxn>
              <a:cxn ang="0">
                <a:pos x="22" y="2"/>
              </a:cxn>
              <a:cxn ang="0">
                <a:pos x="33" y="0"/>
              </a:cxn>
              <a:cxn ang="0">
                <a:pos x="33" y="2"/>
              </a:cxn>
              <a:cxn ang="0">
                <a:pos x="41" y="5"/>
              </a:cxn>
              <a:cxn ang="0">
                <a:pos x="46" y="5"/>
              </a:cxn>
              <a:cxn ang="0">
                <a:pos x="46" y="7"/>
              </a:cxn>
            </a:cxnLst>
            <a:rect l="0" t="0" r="r" b="b"/>
            <a:pathLst>
              <a:path w="99" h="27">
                <a:moveTo>
                  <a:pt x="49" y="7"/>
                </a:moveTo>
                <a:lnTo>
                  <a:pt x="49" y="8"/>
                </a:lnTo>
                <a:lnTo>
                  <a:pt x="50" y="7"/>
                </a:lnTo>
                <a:lnTo>
                  <a:pt x="54" y="8"/>
                </a:lnTo>
                <a:lnTo>
                  <a:pt x="53" y="10"/>
                </a:lnTo>
                <a:lnTo>
                  <a:pt x="54" y="10"/>
                </a:lnTo>
                <a:lnTo>
                  <a:pt x="53" y="10"/>
                </a:lnTo>
                <a:lnTo>
                  <a:pt x="54" y="11"/>
                </a:lnTo>
                <a:lnTo>
                  <a:pt x="55" y="11"/>
                </a:lnTo>
                <a:lnTo>
                  <a:pt x="57" y="11"/>
                </a:lnTo>
                <a:lnTo>
                  <a:pt x="59" y="11"/>
                </a:lnTo>
                <a:lnTo>
                  <a:pt x="61" y="11"/>
                </a:lnTo>
                <a:lnTo>
                  <a:pt x="62" y="11"/>
                </a:lnTo>
                <a:lnTo>
                  <a:pt x="62" y="8"/>
                </a:lnTo>
                <a:lnTo>
                  <a:pt x="63" y="8"/>
                </a:lnTo>
                <a:lnTo>
                  <a:pt x="61" y="7"/>
                </a:lnTo>
                <a:lnTo>
                  <a:pt x="61" y="5"/>
                </a:lnTo>
                <a:lnTo>
                  <a:pt x="61" y="4"/>
                </a:lnTo>
                <a:lnTo>
                  <a:pt x="63" y="4"/>
                </a:lnTo>
                <a:lnTo>
                  <a:pt x="66" y="2"/>
                </a:lnTo>
                <a:lnTo>
                  <a:pt x="73" y="4"/>
                </a:lnTo>
                <a:lnTo>
                  <a:pt x="78" y="7"/>
                </a:lnTo>
                <a:lnTo>
                  <a:pt x="79" y="7"/>
                </a:lnTo>
                <a:lnTo>
                  <a:pt x="81" y="8"/>
                </a:lnTo>
                <a:lnTo>
                  <a:pt x="83" y="8"/>
                </a:lnTo>
                <a:lnTo>
                  <a:pt x="86" y="10"/>
                </a:lnTo>
                <a:lnTo>
                  <a:pt x="85" y="11"/>
                </a:lnTo>
                <a:lnTo>
                  <a:pt x="83" y="13"/>
                </a:lnTo>
                <a:lnTo>
                  <a:pt x="82" y="13"/>
                </a:lnTo>
                <a:lnTo>
                  <a:pt x="81" y="15"/>
                </a:lnTo>
                <a:lnTo>
                  <a:pt x="81" y="16"/>
                </a:lnTo>
                <a:lnTo>
                  <a:pt x="85" y="19"/>
                </a:lnTo>
                <a:lnTo>
                  <a:pt x="89" y="21"/>
                </a:lnTo>
                <a:lnTo>
                  <a:pt x="94" y="21"/>
                </a:lnTo>
                <a:lnTo>
                  <a:pt x="99" y="22"/>
                </a:lnTo>
                <a:lnTo>
                  <a:pt x="94" y="24"/>
                </a:lnTo>
                <a:lnTo>
                  <a:pt x="86" y="22"/>
                </a:lnTo>
                <a:lnTo>
                  <a:pt x="86" y="24"/>
                </a:lnTo>
                <a:lnTo>
                  <a:pt x="83" y="24"/>
                </a:lnTo>
                <a:lnTo>
                  <a:pt x="77" y="22"/>
                </a:lnTo>
                <a:lnTo>
                  <a:pt x="78" y="22"/>
                </a:lnTo>
                <a:lnTo>
                  <a:pt x="79" y="21"/>
                </a:lnTo>
                <a:lnTo>
                  <a:pt x="77" y="21"/>
                </a:lnTo>
                <a:lnTo>
                  <a:pt x="73" y="22"/>
                </a:lnTo>
                <a:lnTo>
                  <a:pt x="65" y="22"/>
                </a:lnTo>
                <a:lnTo>
                  <a:pt x="61" y="24"/>
                </a:lnTo>
                <a:lnTo>
                  <a:pt x="58" y="24"/>
                </a:lnTo>
                <a:lnTo>
                  <a:pt x="50" y="26"/>
                </a:lnTo>
                <a:lnTo>
                  <a:pt x="47" y="26"/>
                </a:lnTo>
                <a:lnTo>
                  <a:pt x="45" y="24"/>
                </a:lnTo>
                <a:lnTo>
                  <a:pt x="47" y="26"/>
                </a:lnTo>
                <a:lnTo>
                  <a:pt x="49" y="24"/>
                </a:lnTo>
                <a:lnTo>
                  <a:pt x="46" y="24"/>
                </a:lnTo>
                <a:lnTo>
                  <a:pt x="45" y="22"/>
                </a:lnTo>
                <a:lnTo>
                  <a:pt x="43" y="21"/>
                </a:lnTo>
                <a:lnTo>
                  <a:pt x="41" y="21"/>
                </a:lnTo>
                <a:lnTo>
                  <a:pt x="39" y="24"/>
                </a:lnTo>
                <a:lnTo>
                  <a:pt x="42" y="24"/>
                </a:lnTo>
                <a:lnTo>
                  <a:pt x="41" y="24"/>
                </a:lnTo>
                <a:lnTo>
                  <a:pt x="39" y="26"/>
                </a:lnTo>
                <a:lnTo>
                  <a:pt x="38" y="27"/>
                </a:lnTo>
                <a:lnTo>
                  <a:pt x="35" y="27"/>
                </a:lnTo>
                <a:lnTo>
                  <a:pt x="30" y="27"/>
                </a:lnTo>
                <a:lnTo>
                  <a:pt x="24" y="26"/>
                </a:lnTo>
                <a:lnTo>
                  <a:pt x="18" y="26"/>
                </a:lnTo>
                <a:lnTo>
                  <a:pt x="17" y="24"/>
                </a:lnTo>
                <a:lnTo>
                  <a:pt x="14" y="21"/>
                </a:lnTo>
                <a:lnTo>
                  <a:pt x="12" y="21"/>
                </a:lnTo>
                <a:lnTo>
                  <a:pt x="4" y="19"/>
                </a:lnTo>
                <a:lnTo>
                  <a:pt x="2" y="18"/>
                </a:lnTo>
                <a:lnTo>
                  <a:pt x="0" y="16"/>
                </a:lnTo>
                <a:lnTo>
                  <a:pt x="2" y="15"/>
                </a:lnTo>
                <a:lnTo>
                  <a:pt x="5" y="16"/>
                </a:lnTo>
                <a:lnTo>
                  <a:pt x="9" y="16"/>
                </a:lnTo>
                <a:lnTo>
                  <a:pt x="8" y="15"/>
                </a:lnTo>
                <a:lnTo>
                  <a:pt x="5" y="15"/>
                </a:lnTo>
                <a:lnTo>
                  <a:pt x="4" y="15"/>
                </a:lnTo>
                <a:lnTo>
                  <a:pt x="5" y="15"/>
                </a:lnTo>
                <a:lnTo>
                  <a:pt x="6" y="15"/>
                </a:lnTo>
                <a:lnTo>
                  <a:pt x="6" y="13"/>
                </a:lnTo>
                <a:lnTo>
                  <a:pt x="4" y="13"/>
                </a:lnTo>
                <a:lnTo>
                  <a:pt x="1" y="11"/>
                </a:lnTo>
                <a:lnTo>
                  <a:pt x="2" y="11"/>
                </a:lnTo>
                <a:lnTo>
                  <a:pt x="5" y="11"/>
                </a:lnTo>
                <a:lnTo>
                  <a:pt x="6" y="11"/>
                </a:lnTo>
                <a:lnTo>
                  <a:pt x="4" y="10"/>
                </a:lnTo>
                <a:lnTo>
                  <a:pt x="4" y="8"/>
                </a:lnTo>
                <a:lnTo>
                  <a:pt x="6" y="8"/>
                </a:lnTo>
                <a:lnTo>
                  <a:pt x="10" y="8"/>
                </a:lnTo>
                <a:lnTo>
                  <a:pt x="12" y="8"/>
                </a:lnTo>
                <a:lnTo>
                  <a:pt x="10" y="7"/>
                </a:lnTo>
                <a:lnTo>
                  <a:pt x="9" y="7"/>
                </a:lnTo>
                <a:lnTo>
                  <a:pt x="8" y="7"/>
                </a:lnTo>
                <a:lnTo>
                  <a:pt x="6" y="5"/>
                </a:lnTo>
                <a:lnTo>
                  <a:pt x="8" y="5"/>
                </a:lnTo>
                <a:lnTo>
                  <a:pt x="9" y="4"/>
                </a:lnTo>
                <a:lnTo>
                  <a:pt x="10" y="5"/>
                </a:lnTo>
                <a:lnTo>
                  <a:pt x="18" y="4"/>
                </a:lnTo>
                <a:lnTo>
                  <a:pt x="21" y="2"/>
                </a:lnTo>
                <a:lnTo>
                  <a:pt x="22" y="2"/>
                </a:lnTo>
                <a:lnTo>
                  <a:pt x="28" y="0"/>
                </a:lnTo>
                <a:lnTo>
                  <a:pt x="33" y="0"/>
                </a:lnTo>
                <a:lnTo>
                  <a:pt x="31" y="2"/>
                </a:lnTo>
                <a:lnTo>
                  <a:pt x="33" y="2"/>
                </a:lnTo>
                <a:lnTo>
                  <a:pt x="39" y="5"/>
                </a:lnTo>
                <a:lnTo>
                  <a:pt x="41" y="5"/>
                </a:lnTo>
                <a:lnTo>
                  <a:pt x="43" y="5"/>
                </a:lnTo>
                <a:lnTo>
                  <a:pt x="46" y="5"/>
                </a:lnTo>
                <a:lnTo>
                  <a:pt x="45" y="7"/>
                </a:lnTo>
                <a:lnTo>
                  <a:pt x="46" y="7"/>
                </a:lnTo>
                <a:lnTo>
                  <a:pt x="49" y="7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57" name="Freeform 980"/>
          <p:cNvSpPr>
            <a:spLocks/>
          </p:cNvSpPr>
          <p:nvPr/>
        </p:nvSpPr>
        <p:spPr bwMode="auto">
          <a:xfrm>
            <a:off x="9737702" y="1657603"/>
            <a:ext cx="116929" cy="4080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" y="0"/>
              </a:cxn>
              <a:cxn ang="0">
                <a:pos x="8" y="2"/>
              </a:cxn>
              <a:cxn ang="0">
                <a:pos x="11" y="3"/>
              </a:cxn>
              <a:cxn ang="0">
                <a:pos x="15" y="5"/>
              </a:cxn>
              <a:cxn ang="0">
                <a:pos x="17" y="5"/>
              </a:cxn>
              <a:cxn ang="0">
                <a:pos x="24" y="5"/>
              </a:cxn>
              <a:cxn ang="0">
                <a:pos x="29" y="5"/>
              </a:cxn>
              <a:cxn ang="0">
                <a:pos x="32" y="5"/>
              </a:cxn>
              <a:cxn ang="0">
                <a:pos x="37" y="5"/>
              </a:cxn>
              <a:cxn ang="0">
                <a:pos x="41" y="6"/>
              </a:cxn>
              <a:cxn ang="0">
                <a:pos x="45" y="8"/>
              </a:cxn>
              <a:cxn ang="0">
                <a:pos x="49" y="8"/>
              </a:cxn>
              <a:cxn ang="0">
                <a:pos x="55" y="9"/>
              </a:cxn>
              <a:cxn ang="0">
                <a:pos x="59" y="11"/>
              </a:cxn>
              <a:cxn ang="0">
                <a:pos x="60" y="11"/>
              </a:cxn>
              <a:cxn ang="0">
                <a:pos x="61" y="11"/>
              </a:cxn>
              <a:cxn ang="0">
                <a:pos x="56" y="11"/>
              </a:cxn>
              <a:cxn ang="0">
                <a:pos x="53" y="11"/>
              </a:cxn>
              <a:cxn ang="0">
                <a:pos x="52" y="13"/>
              </a:cxn>
              <a:cxn ang="0">
                <a:pos x="49" y="13"/>
              </a:cxn>
              <a:cxn ang="0">
                <a:pos x="51" y="13"/>
              </a:cxn>
              <a:cxn ang="0">
                <a:pos x="49" y="13"/>
              </a:cxn>
              <a:cxn ang="0">
                <a:pos x="49" y="14"/>
              </a:cxn>
              <a:cxn ang="0">
                <a:pos x="51" y="16"/>
              </a:cxn>
              <a:cxn ang="0">
                <a:pos x="49" y="16"/>
              </a:cxn>
              <a:cxn ang="0">
                <a:pos x="49" y="17"/>
              </a:cxn>
              <a:cxn ang="0">
                <a:pos x="45" y="17"/>
              </a:cxn>
              <a:cxn ang="0">
                <a:pos x="44" y="19"/>
              </a:cxn>
              <a:cxn ang="0">
                <a:pos x="37" y="19"/>
              </a:cxn>
              <a:cxn ang="0">
                <a:pos x="35" y="19"/>
              </a:cxn>
              <a:cxn ang="0">
                <a:pos x="24" y="19"/>
              </a:cxn>
              <a:cxn ang="0">
                <a:pos x="20" y="17"/>
              </a:cxn>
              <a:cxn ang="0">
                <a:pos x="15" y="13"/>
              </a:cxn>
              <a:cxn ang="0">
                <a:pos x="15" y="11"/>
              </a:cxn>
              <a:cxn ang="0">
                <a:pos x="19" y="8"/>
              </a:cxn>
              <a:cxn ang="0">
                <a:pos x="20" y="6"/>
              </a:cxn>
              <a:cxn ang="0">
                <a:pos x="17" y="6"/>
              </a:cxn>
              <a:cxn ang="0">
                <a:pos x="16" y="5"/>
              </a:cxn>
              <a:cxn ang="0">
                <a:pos x="4" y="2"/>
              </a:cxn>
              <a:cxn ang="0">
                <a:pos x="1" y="0"/>
              </a:cxn>
              <a:cxn ang="0">
                <a:pos x="0" y="0"/>
              </a:cxn>
            </a:cxnLst>
            <a:rect l="0" t="0" r="r" b="b"/>
            <a:pathLst>
              <a:path w="61" h="19">
                <a:moveTo>
                  <a:pt x="0" y="0"/>
                </a:moveTo>
                <a:lnTo>
                  <a:pt x="4" y="0"/>
                </a:lnTo>
                <a:lnTo>
                  <a:pt x="8" y="2"/>
                </a:lnTo>
                <a:lnTo>
                  <a:pt x="11" y="3"/>
                </a:lnTo>
                <a:lnTo>
                  <a:pt x="15" y="5"/>
                </a:lnTo>
                <a:lnTo>
                  <a:pt x="17" y="5"/>
                </a:lnTo>
                <a:lnTo>
                  <a:pt x="24" y="5"/>
                </a:lnTo>
                <a:lnTo>
                  <a:pt x="29" y="5"/>
                </a:lnTo>
                <a:lnTo>
                  <a:pt x="32" y="5"/>
                </a:lnTo>
                <a:lnTo>
                  <a:pt x="37" y="5"/>
                </a:lnTo>
                <a:lnTo>
                  <a:pt x="41" y="6"/>
                </a:lnTo>
                <a:lnTo>
                  <a:pt x="45" y="8"/>
                </a:lnTo>
                <a:lnTo>
                  <a:pt x="49" y="8"/>
                </a:lnTo>
                <a:lnTo>
                  <a:pt x="55" y="9"/>
                </a:lnTo>
                <a:lnTo>
                  <a:pt x="59" y="11"/>
                </a:lnTo>
                <a:lnTo>
                  <a:pt x="60" y="11"/>
                </a:lnTo>
                <a:lnTo>
                  <a:pt x="61" y="11"/>
                </a:lnTo>
                <a:lnTo>
                  <a:pt x="56" y="11"/>
                </a:lnTo>
                <a:lnTo>
                  <a:pt x="53" y="11"/>
                </a:lnTo>
                <a:lnTo>
                  <a:pt x="52" y="13"/>
                </a:lnTo>
                <a:lnTo>
                  <a:pt x="49" y="13"/>
                </a:lnTo>
                <a:lnTo>
                  <a:pt x="51" y="13"/>
                </a:lnTo>
                <a:lnTo>
                  <a:pt x="49" y="13"/>
                </a:lnTo>
                <a:lnTo>
                  <a:pt x="49" y="14"/>
                </a:lnTo>
                <a:lnTo>
                  <a:pt x="51" y="16"/>
                </a:lnTo>
                <a:lnTo>
                  <a:pt x="49" y="16"/>
                </a:lnTo>
                <a:lnTo>
                  <a:pt x="49" y="17"/>
                </a:lnTo>
                <a:lnTo>
                  <a:pt x="45" y="17"/>
                </a:lnTo>
                <a:lnTo>
                  <a:pt x="44" y="19"/>
                </a:lnTo>
                <a:lnTo>
                  <a:pt x="37" y="19"/>
                </a:lnTo>
                <a:lnTo>
                  <a:pt x="35" y="19"/>
                </a:lnTo>
                <a:lnTo>
                  <a:pt x="24" y="19"/>
                </a:lnTo>
                <a:lnTo>
                  <a:pt x="20" y="17"/>
                </a:lnTo>
                <a:lnTo>
                  <a:pt x="15" y="13"/>
                </a:lnTo>
                <a:lnTo>
                  <a:pt x="15" y="11"/>
                </a:lnTo>
                <a:lnTo>
                  <a:pt x="19" y="8"/>
                </a:lnTo>
                <a:lnTo>
                  <a:pt x="20" y="6"/>
                </a:lnTo>
                <a:lnTo>
                  <a:pt x="17" y="6"/>
                </a:lnTo>
                <a:lnTo>
                  <a:pt x="16" y="5"/>
                </a:lnTo>
                <a:lnTo>
                  <a:pt x="4" y="2"/>
                </a:lnTo>
                <a:lnTo>
                  <a:pt x="1" y="0"/>
                </a:lnTo>
                <a:lnTo>
                  <a:pt x="0" y="0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58" name="Freeform 981"/>
          <p:cNvSpPr>
            <a:spLocks/>
          </p:cNvSpPr>
          <p:nvPr/>
        </p:nvSpPr>
        <p:spPr bwMode="auto">
          <a:xfrm>
            <a:off x="9737702" y="1657603"/>
            <a:ext cx="116929" cy="4080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" y="0"/>
              </a:cxn>
              <a:cxn ang="0">
                <a:pos x="8" y="2"/>
              </a:cxn>
              <a:cxn ang="0">
                <a:pos x="11" y="3"/>
              </a:cxn>
              <a:cxn ang="0">
                <a:pos x="15" y="5"/>
              </a:cxn>
              <a:cxn ang="0">
                <a:pos x="17" y="5"/>
              </a:cxn>
              <a:cxn ang="0">
                <a:pos x="24" y="5"/>
              </a:cxn>
              <a:cxn ang="0">
                <a:pos x="29" y="5"/>
              </a:cxn>
              <a:cxn ang="0">
                <a:pos x="32" y="5"/>
              </a:cxn>
              <a:cxn ang="0">
                <a:pos x="37" y="5"/>
              </a:cxn>
              <a:cxn ang="0">
                <a:pos x="41" y="6"/>
              </a:cxn>
              <a:cxn ang="0">
                <a:pos x="45" y="8"/>
              </a:cxn>
              <a:cxn ang="0">
                <a:pos x="49" y="8"/>
              </a:cxn>
              <a:cxn ang="0">
                <a:pos x="55" y="9"/>
              </a:cxn>
              <a:cxn ang="0">
                <a:pos x="59" y="11"/>
              </a:cxn>
              <a:cxn ang="0">
                <a:pos x="60" y="11"/>
              </a:cxn>
              <a:cxn ang="0">
                <a:pos x="61" y="11"/>
              </a:cxn>
              <a:cxn ang="0">
                <a:pos x="56" y="11"/>
              </a:cxn>
              <a:cxn ang="0">
                <a:pos x="53" y="11"/>
              </a:cxn>
              <a:cxn ang="0">
                <a:pos x="52" y="13"/>
              </a:cxn>
              <a:cxn ang="0">
                <a:pos x="49" y="13"/>
              </a:cxn>
              <a:cxn ang="0">
                <a:pos x="51" y="13"/>
              </a:cxn>
              <a:cxn ang="0">
                <a:pos x="49" y="13"/>
              </a:cxn>
              <a:cxn ang="0">
                <a:pos x="49" y="14"/>
              </a:cxn>
              <a:cxn ang="0">
                <a:pos x="51" y="16"/>
              </a:cxn>
              <a:cxn ang="0">
                <a:pos x="49" y="16"/>
              </a:cxn>
              <a:cxn ang="0">
                <a:pos x="49" y="17"/>
              </a:cxn>
              <a:cxn ang="0">
                <a:pos x="45" y="17"/>
              </a:cxn>
              <a:cxn ang="0">
                <a:pos x="44" y="19"/>
              </a:cxn>
              <a:cxn ang="0">
                <a:pos x="37" y="19"/>
              </a:cxn>
              <a:cxn ang="0">
                <a:pos x="35" y="19"/>
              </a:cxn>
              <a:cxn ang="0">
                <a:pos x="24" y="19"/>
              </a:cxn>
              <a:cxn ang="0">
                <a:pos x="20" y="17"/>
              </a:cxn>
              <a:cxn ang="0">
                <a:pos x="15" y="13"/>
              </a:cxn>
              <a:cxn ang="0">
                <a:pos x="15" y="11"/>
              </a:cxn>
              <a:cxn ang="0">
                <a:pos x="19" y="8"/>
              </a:cxn>
              <a:cxn ang="0">
                <a:pos x="20" y="6"/>
              </a:cxn>
              <a:cxn ang="0">
                <a:pos x="17" y="6"/>
              </a:cxn>
              <a:cxn ang="0">
                <a:pos x="16" y="5"/>
              </a:cxn>
              <a:cxn ang="0">
                <a:pos x="4" y="2"/>
              </a:cxn>
              <a:cxn ang="0">
                <a:pos x="1" y="0"/>
              </a:cxn>
              <a:cxn ang="0">
                <a:pos x="0" y="0"/>
              </a:cxn>
            </a:cxnLst>
            <a:rect l="0" t="0" r="r" b="b"/>
            <a:pathLst>
              <a:path w="61" h="19">
                <a:moveTo>
                  <a:pt x="0" y="0"/>
                </a:moveTo>
                <a:lnTo>
                  <a:pt x="4" y="0"/>
                </a:lnTo>
                <a:lnTo>
                  <a:pt x="8" y="2"/>
                </a:lnTo>
                <a:lnTo>
                  <a:pt x="11" y="3"/>
                </a:lnTo>
                <a:lnTo>
                  <a:pt x="15" y="5"/>
                </a:lnTo>
                <a:lnTo>
                  <a:pt x="17" y="5"/>
                </a:lnTo>
                <a:lnTo>
                  <a:pt x="24" y="5"/>
                </a:lnTo>
                <a:lnTo>
                  <a:pt x="29" y="5"/>
                </a:lnTo>
                <a:lnTo>
                  <a:pt x="32" y="5"/>
                </a:lnTo>
                <a:lnTo>
                  <a:pt x="37" y="5"/>
                </a:lnTo>
                <a:lnTo>
                  <a:pt x="41" y="6"/>
                </a:lnTo>
                <a:lnTo>
                  <a:pt x="45" y="8"/>
                </a:lnTo>
                <a:lnTo>
                  <a:pt x="49" y="8"/>
                </a:lnTo>
                <a:lnTo>
                  <a:pt x="55" y="9"/>
                </a:lnTo>
                <a:lnTo>
                  <a:pt x="59" y="11"/>
                </a:lnTo>
                <a:lnTo>
                  <a:pt x="60" y="11"/>
                </a:lnTo>
                <a:lnTo>
                  <a:pt x="61" y="11"/>
                </a:lnTo>
                <a:lnTo>
                  <a:pt x="56" y="11"/>
                </a:lnTo>
                <a:lnTo>
                  <a:pt x="53" y="11"/>
                </a:lnTo>
                <a:lnTo>
                  <a:pt x="52" y="13"/>
                </a:lnTo>
                <a:lnTo>
                  <a:pt x="49" y="13"/>
                </a:lnTo>
                <a:lnTo>
                  <a:pt x="51" y="13"/>
                </a:lnTo>
                <a:lnTo>
                  <a:pt x="49" y="13"/>
                </a:lnTo>
                <a:lnTo>
                  <a:pt x="49" y="14"/>
                </a:lnTo>
                <a:lnTo>
                  <a:pt x="51" y="16"/>
                </a:lnTo>
                <a:lnTo>
                  <a:pt x="49" y="16"/>
                </a:lnTo>
                <a:lnTo>
                  <a:pt x="49" y="17"/>
                </a:lnTo>
                <a:lnTo>
                  <a:pt x="45" y="17"/>
                </a:lnTo>
                <a:lnTo>
                  <a:pt x="44" y="19"/>
                </a:lnTo>
                <a:lnTo>
                  <a:pt x="37" y="19"/>
                </a:lnTo>
                <a:lnTo>
                  <a:pt x="35" y="19"/>
                </a:lnTo>
                <a:lnTo>
                  <a:pt x="24" y="19"/>
                </a:lnTo>
                <a:lnTo>
                  <a:pt x="20" y="17"/>
                </a:lnTo>
                <a:lnTo>
                  <a:pt x="15" y="13"/>
                </a:lnTo>
                <a:lnTo>
                  <a:pt x="15" y="11"/>
                </a:lnTo>
                <a:lnTo>
                  <a:pt x="19" y="8"/>
                </a:lnTo>
                <a:lnTo>
                  <a:pt x="20" y="6"/>
                </a:lnTo>
                <a:lnTo>
                  <a:pt x="17" y="6"/>
                </a:lnTo>
                <a:lnTo>
                  <a:pt x="16" y="5"/>
                </a:lnTo>
                <a:lnTo>
                  <a:pt x="4" y="2"/>
                </a:lnTo>
                <a:lnTo>
                  <a:pt x="1" y="0"/>
                </a:lnTo>
                <a:lnTo>
                  <a:pt x="0" y="0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59" name="Freeform 982"/>
          <p:cNvSpPr>
            <a:spLocks/>
          </p:cNvSpPr>
          <p:nvPr/>
        </p:nvSpPr>
        <p:spPr bwMode="auto">
          <a:xfrm>
            <a:off x="9878018" y="1676932"/>
            <a:ext cx="140315" cy="32213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3" y="2"/>
              </a:cxn>
              <a:cxn ang="0">
                <a:pos x="5" y="2"/>
              </a:cxn>
              <a:cxn ang="0">
                <a:pos x="7" y="2"/>
              </a:cxn>
              <a:cxn ang="0">
                <a:pos x="8" y="4"/>
              </a:cxn>
              <a:cxn ang="0">
                <a:pos x="11" y="4"/>
              </a:cxn>
              <a:cxn ang="0">
                <a:pos x="15" y="4"/>
              </a:cxn>
              <a:cxn ang="0">
                <a:pos x="19" y="4"/>
              </a:cxn>
              <a:cxn ang="0">
                <a:pos x="20" y="4"/>
              </a:cxn>
              <a:cxn ang="0">
                <a:pos x="35" y="4"/>
              </a:cxn>
              <a:cxn ang="0">
                <a:pos x="36" y="5"/>
              </a:cxn>
              <a:cxn ang="0">
                <a:pos x="33" y="5"/>
              </a:cxn>
              <a:cxn ang="0">
                <a:pos x="31" y="7"/>
              </a:cxn>
              <a:cxn ang="0">
                <a:pos x="36" y="7"/>
              </a:cxn>
              <a:cxn ang="0">
                <a:pos x="43" y="7"/>
              </a:cxn>
              <a:cxn ang="0">
                <a:pos x="45" y="7"/>
              </a:cxn>
              <a:cxn ang="0">
                <a:pos x="48" y="7"/>
              </a:cxn>
              <a:cxn ang="0">
                <a:pos x="51" y="7"/>
              </a:cxn>
              <a:cxn ang="0">
                <a:pos x="52" y="7"/>
              </a:cxn>
              <a:cxn ang="0">
                <a:pos x="57" y="7"/>
              </a:cxn>
              <a:cxn ang="0">
                <a:pos x="60" y="7"/>
              </a:cxn>
              <a:cxn ang="0">
                <a:pos x="63" y="8"/>
              </a:cxn>
              <a:cxn ang="0">
                <a:pos x="73" y="10"/>
              </a:cxn>
              <a:cxn ang="0">
                <a:pos x="71" y="10"/>
              </a:cxn>
              <a:cxn ang="0">
                <a:pos x="71" y="11"/>
              </a:cxn>
              <a:cxn ang="0">
                <a:pos x="68" y="13"/>
              </a:cxn>
              <a:cxn ang="0">
                <a:pos x="57" y="16"/>
              </a:cxn>
              <a:cxn ang="0">
                <a:pos x="55" y="16"/>
              </a:cxn>
              <a:cxn ang="0">
                <a:pos x="53" y="15"/>
              </a:cxn>
              <a:cxn ang="0">
                <a:pos x="52" y="16"/>
              </a:cxn>
              <a:cxn ang="0">
                <a:pos x="49" y="16"/>
              </a:cxn>
              <a:cxn ang="0">
                <a:pos x="48" y="15"/>
              </a:cxn>
              <a:cxn ang="0">
                <a:pos x="47" y="16"/>
              </a:cxn>
              <a:cxn ang="0">
                <a:pos x="44" y="16"/>
              </a:cxn>
              <a:cxn ang="0">
                <a:pos x="40" y="15"/>
              </a:cxn>
              <a:cxn ang="0">
                <a:pos x="37" y="15"/>
              </a:cxn>
              <a:cxn ang="0">
                <a:pos x="32" y="15"/>
              </a:cxn>
              <a:cxn ang="0">
                <a:pos x="29" y="13"/>
              </a:cxn>
              <a:cxn ang="0">
                <a:pos x="27" y="13"/>
              </a:cxn>
              <a:cxn ang="0">
                <a:pos x="24" y="11"/>
              </a:cxn>
              <a:cxn ang="0">
                <a:pos x="21" y="11"/>
              </a:cxn>
              <a:cxn ang="0">
                <a:pos x="16" y="11"/>
              </a:cxn>
              <a:cxn ang="0">
                <a:pos x="13" y="10"/>
              </a:cxn>
              <a:cxn ang="0">
                <a:pos x="12" y="8"/>
              </a:cxn>
              <a:cxn ang="0">
                <a:pos x="9" y="7"/>
              </a:cxn>
              <a:cxn ang="0">
                <a:pos x="8" y="5"/>
              </a:cxn>
              <a:cxn ang="0">
                <a:pos x="1" y="2"/>
              </a:cxn>
              <a:cxn ang="0">
                <a:pos x="0" y="0"/>
              </a:cxn>
              <a:cxn ang="0">
                <a:pos x="1" y="0"/>
              </a:cxn>
            </a:cxnLst>
            <a:rect l="0" t="0" r="r" b="b"/>
            <a:pathLst>
              <a:path w="73" h="16">
                <a:moveTo>
                  <a:pt x="1" y="0"/>
                </a:moveTo>
                <a:lnTo>
                  <a:pt x="3" y="2"/>
                </a:lnTo>
                <a:lnTo>
                  <a:pt x="5" y="2"/>
                </a:lnTo>
                <a:lnTo>
                  <a:pt x="7" y="2"/>
                </a:lnTo>
                <a:lnTo>
                  <a:pt x="8" y="4"/>
                </a:lnTo>
                <a:lnTo>
                  <a:pt x="11" y="4"/>
                </a:lnTo>
                <a:lnTo>
                  <a:pt x="15" y="4"/>
                </a:lnTo>
                <a:lnTo>
                  <a:pt x="19" y="4"/>
                </a:lnTo>
                <a:lnTo>
                  <a:pt x="20" y="4"/>
                </a:lnTo>
                <a:lnTo>
                  <a:pt x="35" y="4"/>
                </a:lnTo>
                <a:lnTo>
                  <a:pt x="36" y="5"/>
                </a:lnTo>
                <a:lnTo>
                  <a:pt x="33" y="5"/>
                </a:lnTo>
                <a:lnTo>
                  <a:pt x="31" y="7"/>
                </a:lnTo>
                <a:lnTo>
                  <a:pt x="36" y="7"/>
                </a:lnTo>
                <a:lnTo>
                  <a:pt x="43" y="7"/>
                </a:lnTo>
                <a:lnTo>
                  <a:pt x="45" y="7"/>
                </a:lnTo>
                <a:lnTo>
                  <a:pt x="48" y="7"/>
                </a:lnTo>
                <a:lnTo>
                  <a:pt x="51" y="7"/>
                </a:lnTo>
                <a:lnTo>
                  <a:pt x="52" y="7"/>
                </a:lnTo>
                <a:lnTo>
                  <a:pt x="57" y="7"/>
                </a:lnTo>
                <a:lnTo>
                  <a:pt x="60" y="7"/>
                </a:lnTo>
                <a:lnTo>
                  <a:pt x="63" y="8"/>
                </a:lnTo>
                <a:lnTo>
                  <a:pt x="73" y="10"/>
                </a:lnTo>
                <a:lnTo>
                  <a:pt x="71" y="10"/>
                </a:lnTo>
                <a:lnTo>
                  <a:pt x="71" y="11"/>
                </a:lnTo>
                <a:lnTo>
                  <a:pt x="68" y="13"/>
                </a:lnTo>
                <a:lnTo>
                  <a:pt x="57" y="16"/>
                </a:lnTo>
                <a:lnTo>
                  <a:pt x="55" y="16"/>
                </a:lnTo>
                <a:lnTo>
                  <a:pt x="53" y="15"/>
                </a:lnTo>
                <a:lnTo>
                  <a:pt x="52" y="16"/>
                </a:lnTo>
                <a:lnTo>
                  <a:pt x="49" y="16"/>
                </a:lnTo>
                <a:lnTo>
                  <a:pt x="48" y="15"/>
                </a:lnTo>
                <a:lnTo>
                  <a:pt x="47" y="16"/>
                </a:lnTo>
                <a:lnTo>
                  <a:pt x="44" y="16"/>
                </a:lnTo>
                <a:lnTo>
                  <a:pt x="40" y="15"/>
                </a:lnTo>
                <a:lnTo>
                  <a:pt x="37" y="15"/>
                </a:lnTo>
                <a:lnTo>
                  <a:pt x="32" y="15"/>
                </a:lnTo>
                <a:lnTo>
                  <a:pt x="29" y="13"/>
                </a:lnTo>
                <a:lnTo>
                  <a:pt x="27" y="13"/>
                </a:lnTo>
                <a:lnTo>
                  <a:pt x="24" y="11"/>
                </a:lnTo>
                <a:lnTo>
                  <a:pt x="21" y="11"/>
                </a:lnTo>
                <a:lnTo>
                  <a:pt x="16" y="11"/>
                </a:lnTo>
                <a:lnTo>
                  <a:pt x="13" y="10"/>
                </a:lnTo>
                <a:lnTo>
                  <a:pt x="12" y="8"/>
                </a:lnTo>
                <a:lnTo>
                  <a:pt x="9" y="7"/>
                </a:lnTo>
                <a:lnTo>
                  <a:pt x="8" y="5"/>
                </a:lnTo>
                <a:lnTo>
                  <a:pt x="1" y="2"/>
                </a:ln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60" name="Freeform 983"/>
          <p:cNvSpPr>
            <a:spLocks/>
          </p:cNvSpPr>
          <p:nvPr/>
        </p:nvSpPr>
        <p:spPr bwMode="auto">
          <a:xfrm>
            <a:off x="9878018" y="1676932"/>
            <a:ext cx="140315" cy="32213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3" y="2"/>
              </a:cxn>
              <a:cxn ang="0">
                <a:pos x="5" y="2"/>
              </a:cxn>
              <a:cxn ang="0">
                <a:pos x="7" y="2"/>
              </a:cxn>
              <a:cxn ang="0">
                <a:pos x="8" y="4"/>
              </a:cxn>
              <a:cxn ang="0">
                <a:pos x="11" y="4"/>
              </a:cxn>
              <a:cxn ang="0">
                <a:pos x="15" y="4"/>
              </a:cxn>
              <a:cxn ang="0">
                <a:pos x="19" y="4"/>
              </a:cxn>
              <a:cxn ang="0">
                <a:pos x="20" y="4"/>
              </a:cxn>
              <a:cxn ang="0">
                <a:pos x="35" y="4"/>
              </a:cxn>
              <a:cxn ang="0">
                <a:pos x="36" y="5"/>
              </a:cxn>
              <a:cxn ang="0">
                <a:pos x="33" y="5"/>
              </a:cxn>
              <a:cxn ang="0">
                <a:pos x="31" y="7"/>
              </a:cxn>
              <a:cxn ang="0">
                <a:pos x="36" y="7"/>
              </a:cxn>
              <a:cxn ang="0">
                <a:pos x="43" y="7"/>
              </a:cxn>
              <a:cxn ang="0">
                <a:pos x="45" y="7"/>
              </a:cxn>
              <a:cxn ang="0">
                <a:pos x="48" y="7"/>
              </a:cxn>
              <a:cxn ang="0">
                <a:pos x="51" y="7"/>
              </a:cxn>
              <a:cxn ang="0">
                <a:pos x="52" y="7"/>
              </a:cxn>
              <a:cxn ang="0">
                <a:pos x="57" y="7"/>
              </a:cxn>
              <a:cxn ang="0">
                <a:pos x="60" y="7"/>
              </a:cxn>
              <a:cxn ang="0">
                <a:pos x="63" y="8"/>
              </a:cxn>
              <a:cxn ang="0">
                <a:pos x="73" y="10"/>
              </a:cxn>
              <a:cxn ang="0">
                <a:pos x="71" y="10"/>
              </a:cxn>
              <a:cxn ang="0">
                <a:pos x="71" y="11"/>
              </a:cxn>
              <a:cxn ang="0">
                <a:pos x="68" y="13"/>
              </a:cxn>
              <a:cxn ang="0">
                <a:pos x="57" y="16"/>
              </a:cxn>
              <a:cxn ang="0">
                <a:pos x="55" y="16"/>
              </a:cxn>
              <a:cxn ang="0">
                <a:pos x="53" y="15"/>
              </a:cxn>
              <a:cxn ang="0">
                <a:pos x="52" y="16"/>
              </a:cxn>
              <a:cxn ang="0">
                <a:pos x="49" y="16"/>
              </a:cxn>
              <a:cxn ang="0">
                <a:pos x="48" y="15"/>
              </a:cxn>
              <a:cxn ang="0">
                <a:pos x="47" y="16"/>
              </a:cxn>
              <a:cxn ang="0">
                <a:pos x="44" y="16"/>
              </a:cxn>
              <a:cxn ang="0">
                <a:pos x="40" y="15"/>
              </a:cxn>
              <a:cxn ang="0">
                <a:pos x="37" y="15"/>
              </a:cxn>
              <a:cxn ang="0">
                <a:pos x="32" y="15"/>
              </a:cxn>
              <a:cxn ang="0">
                <a:pos x="29" y="13"/>
              </a:cxn>
              <a:cxn ang="0">
                <a:pos x="27" y="13"/>
              </a:cxn>
              <a:cxn ang="0">
                <a:pos x="24" y="11"/>
              </a:cxn>
              <a:cxn ang="0">
                <a:pos x="21" y="11"/>
              </a:cxn>
              <a:cxn ang="0">
                <a:pos x="16" y="11"/>
              </a:cxn>
              <a:cxn ang="0">
                <a:pos x="13" y="10"/>
              </a:cxn>
              <a:cxn ang="0">
                <a:pos x="12" y="8"/>
              </a:cxn>
              <a:cxn ang="0">
                <a:pos x="9" y="7"/>
              </a:cxn>
              <a:cxn ang="0">
                <a:pos x="8" y="5"/>
              </a:cxn>
              <a:cxn ang="0">
                <a:pos x="1" y="2"/>
              </a:cxn>
              <a:cxn ang="0">
                <a:pos x="0" y="0"/>
              </a:cxn>
              <a:cxn ang="0">
                <a:pos x="1" y="0"/>
              </a:cxn>
            </a:cxnLst>
            <a:rect l="0" t="0" r="r" b="b"/>
            <a:pathLst>
              <a:path w="73" h="16">
                <a:moveTo>
                  <a:pt x="1" y="0"/>
                </a:moveTo>
                <a:lnTo>
                  <a:pt x="3" y="2"/>
                </a:lnTo>
                <a:lnTo>
                  <a:pt x="5" y="2"/>
                </a:lnTo>
                <a:lnTo>
                  <a:pt x="7" y="2"/>
                </a:lnTo>
                <a:lnTo>
                  <a:pt x="8" y="4"/>
                </a:lnTo>
                <a:lnTo>
                  <a:pt x="11" y="4"/>
                </a:lnTo>
                <a:lnTo>
                  <a:pt x="15" y="4"/>
                </a:lnTo>
                <a:lnTo>
                  <a:pt x="19" y="4"/>
                </a:lnTo>
                <a:lnTo>
                  <a:pt x="20" y="4"/>
                </a:lnTo>
                <a:lnTo>
                  <a:pt x="35" y="4"/>
                </a:lnTo>
                <a:lnTo>
                  <a:pt x="36" y="5"/>
                </a:lnTo>
                <a:lnTo>
                  <a:pt x="33" y="5"/>
                </a:lnTo>
                <a:lnTo>
                  <a:pt x="31" y="7"/>
                </a:lnTo>
                <a:lnTo>
                  <a:pt x="36" y="7"/>
                </a:lnTo>
                <a:lnTo>
                  <a:pt x="43" y="7"/>
                </a:lnTo>
                <a:lnTo>
                  <a:pt x="45" y="7"/>
                </a:lnTo>
                <a:lnTo>
                  <a:pt x="48" y="7"/>
                </a:lnTo>
                <a:lnTo>
                  <a:pt x="51" y="7"/>
                </a:lnTo>
                <a:lnTo>
                  <a:pt x="52" y="7"/>
                </a:lnTo>
                <a:lnTo>
                  <a:pt x="57" y="7"/>
                </a:lnTo>
                <a:lnTo>
                  <a:pt x="60" y="7"/>
                </a:lnTo>
                <a:lnTo>
                  <a:pt x="63" y="8"/>
                </a:lnTo>
                <a:lnTo>
                  <a:pt x="73" y="10"/>
                </a:lnTo>
                <a:lnTo>
                  <a:pt x="71" y="10"/>
                </a:lnTo>
                <a:lnTo>
                  <a:pt x="71" y="11"/>
                </a:lnTo>
                <a:lnTo>
                  <a:pt x="68" y="13"/>
                </a:lnTo>
                <a:lnTo>
                  <a:pt x="57" y="16"/>
                </a:lnTo>
                <a:lnTo>
                  <a:pt x="55" y="16"/>
                </a:lnTo>
                <a:lnTo>
                  <a:pt x="53" y="15"/>
                </a:lnTo>
                <a:lnTo>
                  <a:pt x="52" y="16"/>
                </a:lnTo>
                <a:lnTo>
                  <a:pt x="49" y="16"/>
                </a:lnTo>
                <a:lnTo>
                  <a:pt x="48" y="15"/>
                </a:lnTo>
                <a:lnTo>
                  <a:pt x="47" y="16"/>
                </a:lnTo>
                <a:lnTo>
                  <a:pt x="44" y="16"/>
                </a:lnTo>
                <a:lnTo>
                  <a:pt x="40" y="15"/>
                </a:lnTo>
                <a:lnTo>
                  <a:pt x="37" y="15"/>
                </a:lnTo>
                <a:lnTo>
                  <a:pt x="32" y="15"/>
                </a:lnTo>
                <a:lnTo>
                  <a:pt x="29" y="13"/>
                </a:lnTo>
                <a:lnTo>
                  <a:pt x="27" y="13"/>
                </a:lnTo>
                <a:lnTo>
                  <a:pt x="24" y="11"/>
                </a:lnTo>
                <a:lnTo>
                  <a:pt x="21" y="11"/>
                </a:lnTo>
                <a:lnTo>
                  <a:pt x="16" y="11"/>
                </a:lnTo>
                <a:lnTo>
                  <a:pt x="13" y="10"/>
                </a:lnTo>
                <a:lnTo>
                  <a:pt x="12" y="8"/>
                </a:lnTo>
                <a:lnTo>
                  <a:pt x="9" y="7"/>
                </a:lnTo>
                <a:lnTo>
                  <a:pt x="8" y="5"/>
                </a:lnTo>
                <a:lnTo>
                  <a:pt x="1" y="2"/>
                </a:lnTo>
                <a:lnTo>
                  <a:pt x="0" y="0"/>
                </a:lnTo>
                <a:lnTo>
                  <a:pt x="1" y="0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61" name="Freeform 984"/>
          <p:cNvSpPr>
            <a:spLocks/>
          </p:cNvSpPr>
          <p:nvPr/>
        </p:nvSpPr>
        <p:spPr bwMode="auto">
          <a:xfrm>
            <a:off x="9700677" y="1722032"/>
            <a:ext cx="27284" cy="15033"/>
          </a:xfrm>
          <a:custGeom>
            <a:avLst/>
            <a:gdLst/>
            <a:ahLst/>
            <a:cxnLst>
              <a:cxn ang="0">
                <a:pos x="12" y="4"/>
              </a:cxn>
              <a:cxn ang="0">
                <a:pos x="14" y="2"/>
              </a:cxn>
              <a:cxn ang="0">
                <a:pos x="11" y="2"/>
              </a:cxn>
              <a:cxn ang="0">
                <a:pos x="7" y="0"/>
              </a:cxn>
              <a:cxn ang="0">
                <a:pos x="2" y="2"/>
              </a:cxn>
              <a:cxn ang="0">
                <a:pos x="0" y="4"/>
              </a:cxn>
              <a:cxn ang="0">
                <a:pos x="0" y="7"/>
              </a:cxn>
              <a:cxn ang="0">
                <a:pos x="0" y="8"/>
              </a:cxn>
              <a:cxn ang="0">
                <a:pos x="6" y="8"/>
              </a:cxn>
              <a:cxn ang="0">
                <a:pos x="7" y="8"/>
              </a:cxn>
              <a:cxn ang="0">
                <a:pos x="6" y="8"/>
              </a:cxn>
              <a:cxn ang="0">
                <a:pos x="4" y="8"/>
              </a:cxn>
              <a:cxn ang="0">
                <a:pos x="8" y="8"/>
              </a:cxn>
              <a:cxn ang="0">
                <a:pos x="10" y="7"/>
              </a:cxn>
              <a:cxn ang="0">
                <a:pos x="11" y="7"/>
              </a:cxn>
              <a:cxn ang="0">
                <a:pos x="14" y="5"/>
              </a:cxn>
              <a:cxn ang="0">
                <a:pos x="12" y="5"/>
              </a:cxn>
              <a:cxn ang="0">
                <a:pos x="12" y="4"/>
              </a:cxn>
            </a:cxnLst>
            <a:rect l="0" t="0" r="r" b="b"/>
            <a:pathLst>
              <a:path w="14" h="8">
                <a:moveTo>
                  <a:pt x="12" y="4"/>
                </a:moveTo>
                <a:lnTo>
                  <a:pt x="14" y="2"/>
                </a:lnTo>
                <a:lnTo>
                  <a:pt x="11" y="2"/>
                </a:lnTo>
                <a:lnTo>
                  <a:pt x="7" y="0"/>
                </a:lnTo>
                <a:lnTo>
                  <a:pt x="2" y="2"/>
                </a:lnTo>
                <a:lnTo>
                  <a:pt x="0" y="4"/>
                </a:lnTo>
                <a:lnTo>
                  <a:pt x="0" y="7"/>
                </a:lnTo>
                <a:lnTo>
                  <a:pt x="0" y="8"/>
                </a:lnTo>
                <a:lnTo>
                  <a:pt x="6" y="8"/>
                </a:lnTo>
                <a:lnTo>
                  <a:pt x="7" y="8"/>
                </a:lnTo>
                <a:lnTo>
                  <a:pt x="6" y="8"/>
                </a:lnTo>
                <a:lnTo>
                  <a:pt x="4" y="8"/>
                </a:lnTo>
                <a:lnTo>
                  <a:pt x="8" y="8"/>
                </a:lnTo>
                <a:lnTo>
                  <a:pt x="10" y="7"/>
                </a:lnTo>
                <a:lnTo>
                  <a:pt x="11" y="7"/>
                </a:lnTo>
                <a:lnTo>
                  <a:pt x="14" y="5"/>
                </a:lnTo>
                <a:lnTo>
                  <a:pt x="12" y="5"/>
                </a:lnTo>
                <a:lnTo>
                  <a:pt x="12" y="4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62" name="Freeform 985"/>
          <p:cNvSpPr>
            <a:spLocks/>
          </p:cNvSpPr>
          <p:nvPr/>
        </p:nvSpPr>
        <p:spPr bwMode="auto">
          <a:xfrm>
            <a:off x="9700677" y="1722032"/>
            <a:ext cx="27284" cy="15033"/>
          </a:xfrm>
          <a:custGeom>
            <a:avLst/>
            <a:gdLst/>
            <a:ahLst/>
            <a:cxnLst>
              <a:cxn ang="0">
                <a:pos x="12" y="4"/>
              </a:cxn>
              <a:cxn ang="0">
                <a:pos x="14" y="2"/>
              </a:cxn>
              <a:cxn ang="0">
                <a:pos x="11" y="2"/>
              </a:cxn>
              <a:cxn ang="0">
                <a:pos x="7" y="0"/>
              </a:cxn>
              <a:cxn ang="0">
                <a:pos x="2" y="2"/>
              </a:cxn>
              <a:cxn ang="0">
                <a:pos x="0" y="4"/>
              </a:cxn>
              <a:cxn ang="0">
                <a:pos x="0" y="7"/>
              </a:cxn>
              <a:cxn ang="0">
                <a:pos x="0" y="8"/>
              </a:cxn>
              <a:cxn ang="0">
                <a:pos x="6" y="8"/>
              </a:cxn>
              <a:cxn ang="0">
                <a:pos x="7" y="8"/>
              </a:cxn>
              <a:cxn ang="0">
                <a:pos x="6" y="8"/>
              </a:cxn>
              <a:cxn ang="0">
                <a:pos x="4" y="8"/>
              </a:cxn>
              <a:cxn ang="0">
                <a:pos x="8" y="8"/>
              </a:cxn>
              <a:cxn ang="0">
                <a:pos x="10" y="7"/>
              </a:cxn>
              <a:cxn ang="0">
                <a:pos x="11" y="7"/>
              </a:cxn>
              <a:cxn ang="0">
                <a:pos x="14" y="5"/>
              </a:cxn>
              <a:cxn ang="0">
                <a:pos x="12" y="5"/>
              </a:cxn>
              <a:cxn ang="0">
                <a:pos x="12" y="4"/>
              </a:cxn>
            </a:cxnLst>
            <a:rect l="0" t="0" r="r" b="b"/>
            <a:pathLst>
              <a:path w="14" h="8">
                <a:moveTo>
                  <a:pt x="12" y="4"/>
                </a:moveTo>
                <a:lnTo>
                  <a:pt x="14" y="2"/>
                </a:lnTo>
                <a:lnTo>
                  <a:pt x="11" y="2"/>
                </a:lnTo>
                <a:lnTo>
                  <a:pt x="7" y="0"/>
                </a:lnTo>
                <a:lnTo>
                  <a:pt x="2" y="2"/>
                </a:lnTo>
                <a:lnTo>
                  <a:pt x="0" y="4"/>
                </a:lnTo>
                <a:lnTo>
                  <a:pt x="0" y="7"/>
                </a:lnTo>
                <a:lnTo>
                  <a:pt x="0" y="8"/>
                </a:lnTo>
                <a:lnTo>
                  <a:pt x="6" y="8"/>
                </a:lnTo>
                <a:lnTo>
                  <a:pt x="7" y="8"/>
                </a:lnTo>
                <a:lnTo>
                  <a:pt x="6" y="8"/>
                </a:lnTo>
                <a:lnTo>
                  <a:pt x="4" y="8"/>
                </a:lnTo>
                <a:lnTo>
                  <a:pt x="8" y="8"/>
                </a:lnTo>
                <a:lnTo>
                  <a:pt x="10" y="7"/>
                </a:lnTo>
                <a:lnTo>
                  <a:pt x="11" y="7"/>
                </a:lnTo>
                <a:lnTo>
                  <a:pt x="14" y="5"/>
                </a:lnTo>
                <a:lnTo>
                  <a:pt x="12" y="5"/>
                </a:lnTo>
                <a:lnTo>
                  <a:pt x="12" y="4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63" name="Freeform 986"/>
          <p:cNvSpPr>
            <a:spLocks/>
          </p:cNvSpPr>
          <p:nvPr/>
        </p:nvSpPr>
        <p:spPr bwMode="auto">
          <a:xfrm>
            <a:off x="9690932" y="1737065"/>
            <a:ext cx="107185" cy="25772"/>
          </a:xfrm>
          <a:custGeom>
            <a:avLst/>
            <a:gdLst/>
            <a:ahLst/>
            <a:cxnLst>
              <a:cxn ang="0">
                <a:pos x="25" y="0"/>
              </a:cxn>
              <a:cxn ang="0">
                <a:pos x="29" y="0"/>
              </a:cxn>
              <a:cxn ang="0">
                <a:pos x="34" y="0"/>
              </a:cxn>
              <a:cxn ang="0">
                <a:pos x="37" y="0"/>
              </a:cxn>
              <a:cxn ang="0">
                <a:pos x="40" y="2"/>
              </a:cxn>
              <a:cxn ang="0">
                <a:pos x="42" y="2"/>
              </a:cxn>
              <a:cxn ang="0">
                <a:pos x="45" y="3"/>
              </a:cxn>
              <a:cxn ang="0">
                <a:pos x="50" y="5"/>
              </a:cxn>
              <a:cxn ang="0">
                <a:pos x="54" y="7"/>
              </a:cxn>
              <a:cxn ang="0">
                <a:pos x="56" y="8"/>
              </a:cxn>
              <a:cxn ang="0">
                <a:pos x="56" y="10"/>
              </a:cxn>
              <a:cxn ang="0">
                <a:pos x="57" y="11"/>
              </a:cxn>
              <a:cxn ang="0">
                <a:pos x="57" y="13"/>
              </a:cxn>
              <a:cxn ang="0">
                <a:pos x="54" y="13"/>
              </a:cxn>
              <a:cxn ang="0">
                <a:pos x="53" y="13"/>
              </a:cxn>
              <a:cxn ang="0">
                <a:pos x="49" y="13"/>
              </a:cxn>
              <a:cxn ang="0">
                <a:pos x="45" y="11"/>
              </a:cxn>
              <a:cxn ang="0">
                <a:pos x="37" y="11"/>
              </a:cxn>
              <a:cxn ang="0">
                <a:pos x="33" y="11"/>
              </a:cxn>
              <a:cxn ang="0">
                <a:pos x="30" y="10"/>
              </a:cxn>
              <a:cxn ang="0">
                <a:pos x="28" y="10"/>
              </a:cxn>
              <a:cxn ang="0">
                <a:pos x="22" y="10"/>
              </a:cxn>
              <a:cxn ang="0">
                <a:pos x="18" y="10"/>
              </a:cxn>
              <a:cxn ang="0">
                <a:pos x="13" y="8"/>
              </a:cxn>
              <a:cxn ang="0">
                <a:pos x="5" y="10"/>
              </a:cxn>
              <a:cxn ang="0">
                <a:pos x="2" y="10"/>
              </a:cxn>
              <a:cxn ang="0">
                <a:pos x="0" y="8"/>
              </a:cxn>
              <a:cxn ang="0">
                <a:pos x="1" y="8"/>
              </a:cxn>
              <a:cxn ang="0">
                <a:pos x="9" y="8"/>
              </a:cxn>
              <a:cxn ang="0">
                <a:pos x="10" y="7"/>
              </a:cxn>
              <a:cxn ang="0">
                <a:pos x="13" y="5"/>
              </a:cxn>
              <a:cxn ang="0">
                <a:pos x="16" y="3"/>
              </a:cxn>
              <a:cxn ang="0">
                <a:pos x="16" y="2"/>
              </a:cxn>
              <a:cxn ang="0">
                <a:pos x="17" y="0"/>
              </a:cxn>
              <a:cxn ang="0">
                <a:pos x="25" y="0"/>
              </a:cxn>
            </a:cxnLst>
            <a:rect l="0" t="0" r="r" b="b"/>
            <a:pathLst>
              <a:path w="57" h="13">
                <a:moveTo>
                  <a:pt x="25" y="0"/>
                </a:moveTo>
                <a:lnTo>
                  <a:pt x="29" y="0"/>
                </a:lnTo>
                <a:lnTo>
                  <a:pt x="34" y="0"/>
                </a:lnTo>
                <a:lnTo>
                  <a:pt x="37" y="0"/>
                </a:lnTo>
                <a:lnTo>
                  <a:pt x="40" y="2"/>
                </a:lnTo>
                <a:lnTo>
                  <a:pt x="42" y="2"/>
                </a:lnTo>
                <a:lnTo>
                  <a:pt x="45" y="3"/>
                </a:lnTo>
                <a:lnTo>
                  <a:pt x="50" y="5"/>
                </a:lnTo>
                <a:lnTo>
                  <a:pt x="54" y="7"/>
                </a:lnTo>
                <a:lnTo>
                  <a:pt x="56" y="8"/>
                </a:lnTo>
                <a:lnTo>
                  <a:pt x="56" y="10"/>
                </a:lnTo>
                <a:lnTo>
                  <a:pt x="57" y="11"/>
                </a:lnTo>
                <a:lnTo>
                  <a:pt x="57" y="13"/>
                </a:lnTo>
                <a:lnTo>
                  <a:pt x="54" y="13"/>
                </a:lnTo>
                <a:lnTo>
                  <a:pt x="53" y="13"/>
                </a:lnTo>
                <a:lnTo>
                  <a:pt x="49" y="13"/>
                </a:lnTo>
                <a:lnTo>
                  <a:pt x="45" y="11"/>
                </a:lnTo>
                <a:lnTo>
                  <a:pt x="37" y="11"/>
                </a:lnTo>
                <a:lnTo>
                  <a:pt x="33" y="11"/>
                </a:lnTo>
                <a:lnTo>
                  <a:pt x="30" y="10"/>
                </a:lnTo>
                <a:lnTo>
                  <a:pt x="28" y="10"/>
                </a:lnTo>
                <a:lnTo>
                  <a:pt x="22" y="10"/>
                </a:lnTo>
                <a:lnTo>
                  <a:pt x="18" y="10"/>
                </a:lnTo>
                <a:lnTo>
                  <a:pt x="13" y="8"/>
                </a:lnTo>
                <a:lnTo>
                  <a:pt x="5" y="10"/>
                </a:lnTo>
                <a:lnTo>
                  <a:pt x="2" y="10"/>
                </a:lnTo>
                <a:lnTo>
                  <a:pt x="0" y="8"/>
                </a:lnTo>
                <a:lnTo>
                  <a:pt x="1" y="8"/>
                </a:lnTo>
                <a:lnTo>
                  <a:pt x="9" y="8"/>
                </a:lnTo>
                <a:lnTo>
                  <a:pt x="10" y="7"/>
                </a:lnTo>
                <a:lnTo>
                  <a:pt x="13" y="5"/>
                </a:lnTo>
                <a:lnTo>
                  <a:pt x="16" y="3"/>
                </a:lnTo>
                <a:lnTo>
                  <a:pt x="16" y="2"/>
                </a:lnTo>
                <a:lnTo>
                  <a:pt x="17" y="0"/>
                </a:lnTo>
                <a:lnTo>
                  <a:pt x="25" y="0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64" name="Freeform 987"/>
          <p:cNvSpPr>
            <a:spLocks/>
          </p:cNvSpPr>
          <p:nvPr/>
        </p:nvSpPr>
        <p:spPr bwMode="auto">
          <a:xfrm>
            <a:off x="9690932" y="1737065"/>
            <a:ext cx="107185" cy="25772"/>
          </a:xfrm>
          <a:custGeom>
            <a:avLst/>
            <a:gdLst/>
            <a:ahLst/>
            <a:cxnLst>
              <a:cxn ang="0">
                <a:pos x="25" y="0"/>
              </a:cxn>
              <a:cxn ang="0">
                <a:pos x="29" y="0"/>
              </a:cxn>
              <a:cxn ang="0">
                <a:pos x="34" y="0"/>
              </a:cxn>
              <a:cxn ang="0">
                <a:pos x="37" y="0"/>
              </a:cxn>
              <a:cxn ang="0">
                <a:pos x="40" y="2"/>
              </a:cxn>
              <a:cxn ang="0">
                <a:pos x="42" y="2"/>
              </a:cxn>
              <a:cxn ang="0">
                <a:pos x="45" y="3"/>
              </a:cxn>
              <a:cxn ang="0">
                <a:pos x="50" y="5"/>
              </a:cxn>
              <a:cxn ang="0">
                <a:pos x="54" y="7"/>
              </a:cxn>
              <a:cxn ang="0">
                <a:pos x="56" y="8"/>
              </a:cxn>
              <a:cxn ang="0">
                <a:pos x="56" y="10"/>
              </a:cxn>
              <a:cxn ang="0">
                <a:pos x="57" y="11"/>
              </a:cxn>
              <a:cxn ang="0">
                <a:pos x="57" y="13"/>
              </a:cxn>
              <a:cxn ang="0">
                <a:pos x="54" y="13"/>
              </a:cxn>
              <a:cxn ang="0">
                <a:pos x="53" y="13"/>
              </a:cxn>
              <a:cxn ang="0">
                <a:pos x="49" y="13"/>
              </a:cxn>
              <a:cxn ang="0">
                <a:pos x="45" y="11"/>
              </a:cxn>
              <a:cxn ang="0">
                <a:pos x="37" y="11"/>
              </a:cxn>
              <a:cxn ang="0">
                <a:pos x="33" y="11"/>
              </a:cxn>
              <a:cxn ang="0">
                <a:pos x="30" y="10"/>
              </a:cxn>
              <a:cxn ang="0">
                <a:pos x="28" y="10"/>
              </a:cxn>
              <a:cxn ang="0">
                <a:pos x="22" y="10"/>
              </a:cxn>
              <a:cxn ang="0">
                <a:pos x="18" y="10"/>
              </a:cxn>
              <a:cxn ang="0">
                <a:pos x="13" y="8"/>
              </a:cxn>
              <a:cxn ang="0">
                <a:pos x="5" y="10"/>
              </a:cxn>
              <a:cxn ang="0">
                <a:pos x="2" y="10"/>
              </a:cxn>
              <a:cxn ang="0">
                <a:pos x="0" y="8"/>
              </a:cxn>
              <a:cxn ang="0">
                <a:pos x="1" y="8"/>
              </a:cxn>
              <a:cxn ang="0">
                <a:pos x="9" y="8"/>
              </a:cxn>
              <a:cxn ang="0">
                <a:pos x="10" y="7"/>
              </a:cxn>
              <a:cxn ang="0">
                <a:pos x="13" y="5"/>
              </a:cxn>
              <a:cxn ang="0">
                <a:pos x="16" y="3"/>
              </a:cxn>
              <a:cxn ang="0">
                <a:pos x="16" y="2"/>
              </a:cxn>
              <a:cxn ang="0">
                <a:pos x="17" y="0"/>
              </a:cxn>
              <a:cxn ang="0">
                <a:pos x="25" y="0"/>
              </a:cxn>
            </a:cxnLst>
            <a:rect l="0" t="0" r="r" b="b"/>
            <a:pathLst>
              <a:path w="57" h="13">
                <a:moveTo>
                  <a:pt x="25" y="0"/>
                </a:moveTo>
                <a:lnTo>
                  <a:pt x="29" y="0"/>
                </a:lnTo>
                <a:lnTo>
                  <a:pt x="34" y="0"/>
                </a:lnTo>
                <a:lnTo>
                  <a:pt x="37" y="0"/>
                </a:lnTo>
                <a:lnTo>
                  <a:pt x="40" y="2"/>
                </a:lnTo>
                <a:lnTo>
                  <a:pt x="42" y="2"/>
                </a:lnTo>
                <a:lnTo>
                  <a:pt x="45" y="3"/>
                </a:lnTo>
                <a:lnTo>
                  <a:pt x="50" y="5"/>
                </a:lnTo>
                <a:lnTo>
                  <a:pt x="54" y="7"/>
                </a:lnTo>
                <a:lnTo>
                  <a:pt x="56" y="8"/>
                </a:lnTo>
                <a:lnTo>
                  <a:pt x="56" y="10"/>
                </a:lnTo>
                <a:lnTo>
                  <a:pt x="57" y="11"/>
                </a:lnTo>
                <a:lnTo>
                  <a:pt x="57" y="13"/>
                </a:lnTo>
                <a:lnTo>
                  <a:pt x="54" y="13"/>
                </a:lnTo>
                <a:lnTo>
                  <a:pt x="53" y="13"/>
                </a:lnTo>
                <a:lnTo>
                  <a:pt x="49" y="13"/>
                </a:lnTo>
                <a:lnTo>
                  <a:pt x="45" y="11"/>
                </a:lnTo>
                <a:lnTo>
                  <a:pt x="37" y="11"/>
                </a:lnTo>
                <a:lnTo>
                  <a:pt x="33" y="11"/>
                </a:lnTo>
                <a:lnTo>
                  <a:pt x="30" y="10"/>
                </a:lnTo>
                <a:lnTo>
                  <a:pt x="28" y="10"/>
                </a:lnTo>
                <a:lnTo>
                  <a:pt x="22" y="10"/>
                </a:lnTo>
                <a:lnTo>
                  <a:pt x="18" y="10"/>
                </a:lnTo>
                <a:lnTo>
                  <a:pt x="13" y="8"/>
                </a:lnTo>
                <a:lnTo>
                  <a:pt x="5" y="10"/>
                </a:lnTo>
                <a:lnTo>
                  <a:pt x="2" y="10"/>
                </a:lnTo>
                <a:lnTo>
                  <a:pt x="0" y="8"/>
                </a:lnTo>
                <a:lnTo>
                  <a:pt x="1" y="8"/>
                </a:lnTo>
                <a:lnTo>
                  <a:pt x="9" y="8"/>
                </a:lnTo>
                <a:lnTo>
                  <a:pt x="10" y="7"/>
                </a:lnTo>
                <a:lnTo>
                  <a:pt x="13" y="5"/>
                </a:lnTo>
                <a:lnTo>
                  <a:pt x="16" y="3"/>
                </a:lnTo>
                <a:lnTo>
                  <a:pt x="16" y="2"/>
                </a:lnTo>
                <a:lnTo>
                  <a:pt x="17" y="0"/>
                </a:lnTo>
                <a:lnTo>
                  <a:pt x="25" y="0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65" name="Freeform 988"/>
          <p:cNvSpPr>
            <a:spLocks/>
          </p:cNvSpPr>
          <p:nvPr/>
        </p:nvSpPr>
        <p:spPr bwMode="auto">
          <a:xfrm>
            <a:off x="7153576" y="1756393"/>
            <a:ext cx="177343" cy="100938"/>
          </a:xfrm>
          <a:custGeom>
            <a:avLst/>
            <a:gdLst/>
            <a:ahLst/>
            <a:cxnLst>
              <a:cxn ang="0">
                <a:pos x="42" y="1"/>
              </a:cxn>
              <a:cxn ang="0">
                <a:pos x="54" y="0"/>
              </a:cxn>
              <a:cxn ang="0">
                <a:pos x="65" y="1"/>
              </a:cxn>
              <a:cxn ang="0">
                <a:pos x="75" y="4"/>
              </a:cxn>
              <a:cxn ang="0">
                <a:pos x="74" y="6"/>
              </a:cxn>
              <a:cxn ang="0">
                <a:pos x="64" y="7"/>
              </a:cxn>
              <a:cxn ang="0">
                <a:pos x="73" y="9"/>
              </a:cxn>
              <a:cxn ang="0">
                <a:pos x="68" y="11"/>
              </a:cxn>
              <a:cxn ang="0">
                <a:pos x="65" y="11"/>
              </a:cxn>
              <a:cxn ang="0">
                <a:pos x="64" y="15"/>
              </a:cxn>
              <a:cxn ang="0">
                <a:pos x="62" y="15"/>
              </a:cxn>
              <a:cxn ang="0">
                <a:pos x="60" y="18"/>
              </a:cxn>
              <a:cxn ang="0">
                <a:pos x="61" y="23"/>
              </a:cxn>
              <a:cxn ang="0">
                <a:pos x="61" y="26"/>
              </a:cxn>
              <a:cxn ang="0">
                <a:pos x="66" y="34"/>
              </a:cxn>
              <a:cxn ang="0">
                <a:pos x="70" y="39"/>
              </a:cxn>
              <a:cxn ang="0">
                <a:pos x="81" y="44"/>
              </a:cxn>
              <a:cxn ang="0">
                <a:pos x="90" y="47"/>
              </a:cxn>
              <a:cxn ang="0">
                <a:pos x="91" y="48"/>
              </a:cxn>
              <a:cxn ang="0">
                <a:pos x="81" y="48"/>
              </a:cxn>
              <a:cxn ang="0">
                <a:pos x="85" y="51"/>
              </a:cxn>
              <a:cxn ang="0">
                <a:pos x="77" y="48"/>
              </a:cxn>
              <a:cxn ang="0">
                <a:pos x="73" y="47"/>
              </a:cxn>
              <a:cxn ang="0">
                <a:pos x="75" y="48"/>
              </a:cxn>
              <a:cxn ang="0">
                <a:pos x="69" y="48"/>
              </a:cxn>
              <a:cxn ang="0">
                <a:pos x="66" y="50"/>
              </a:cxn>
              <a:cxn ang="0">
                <a:pos x="61" y="47"/>
              </a:cxn>
              <a:cxn ang="0">
                <a:pos x="57" y="50"/>
              </a:cxn>
              <a:cxn ang="0">
                <a:pos x="49" y="47"/>
              </a:cxn>
              <a:cxn ang="0">
                <a:pos x="41" y="47"/>
              </a:cxn>
              <a:cxn ang="0">
                <a:pos x="37" y="47"/>
              </a:cxn>
              <a:cxn ang="0">
                <a:pos x="34" y="44"/>
              </a:cxn>
              <a:cxn ang="0">
                <a:pos x="34" y="42"/>
              </a:cxn>
              <a:cxn ang="0">
                <a:pos x="37" y="40"/>
              </a:cxn>
              <a:cxn ang="0">
                <a:pos x="44" y="40"/>
              </a:cxn>
              <a:cxn ang="0">
                <a:pos x="40" y="39"/>
              </a:cxn>
              <a:cxn ang="0">
                <a:pos x="33" y="37"/>
              </a:cxn>
              <a:cxn ang="0">
                <a:pos x="34" y="34"/>
              </a:cxn>
              <a:cxn ang="0">
                <a:pos x="30" y="36"/>
              </a:cxn>
              <a:cxn ang="0">
                <a:pos x="26" y="34"/>
              </a:cxn>
              <a:cxn ang="0">
                <a:pos x="22" y="34"/>
              </a:cxn>
              <a:cxn ang="0">
                <a:pos x="20" y="31"/>
              </a:cxn>
              <a:cxn ang="0">
                <a:pos x="16" y="34"/>
              </a:cxn>
              <a:cxn ang="0">
                <a:pos x="12" y="34"/>
              </a:cxn>
              <a:cxn ang="0">
                <a:pos x="6" y="33"/>
              </a:cxn>
              <a:cxn ang="0">
                <a:pos x="1" y="29"/>
              </a:cxn>
              <a:cxn ang="0">
                <a:pos x="1" y="26"/>
              </a:cxn>
              <a:cxn ang="0">
                <a:pos x="6" y="23"/>
              </a:cxn>
              <a:cxn ang="0">
                <a:pos x="12" y="23"/>
              </a:cxn>
              <a:cxn ang="0">
                <a:pos x="14" y="22"/>
              </a:cxn>
              <a:cxn ang="0">
                <a:pos x="18" y="20"/>
              </a:cxn>
              <a:cxn ang="0">
                <a:pos x="20" y="18"/>
              </a:cxn>
              <a:cxn ang="0">
                <a:pos x="21" y="15"/>
              </a:cxn>
              <a:cxn ang="0">
                <a:pos x="21" y="15"/>
              </a:cxn>
              <a:cxn ang="0">
                <a:pos x="18" y="14"/>
              </a:cxn>
              <a:cxn ang="0">
                <a:pos x="20" y="9"/>
              </a:cxn>
              <a:cxn ang="0">
                <a:pos x="29" y="7"/>
              </a:cxn>
              <a:cxn ang="0">
                <a:pos x="26" y="7"/>
              </a:cxn>
              <a:cxn ang="0">
                <a:pos x="25" y="6"/>
              </a:cxn>
              <a:cxn ang="0">
                <a:pos x="34" y="1"/>
              </a:cxn>
            </a:cxnLst>
            <a:rect l="0" t="0" r="r" b="b"/>
            <a:pathLst>
              <a:path w="93" h="51">
                <a:moveTo>
                  <a:pt x="34" y="1"/>
                </a:moveTo>
                <a:lnTo>
                  <a:pt x="36" y="1"/>
                </a:lnTo>
                <a:lnTo>
                  <a:pt x="42" y="1"/>
                </a:lnTo>
                <a:lnTo>
                  <a:pt x="44" y="1"/>
                </a:lnTo>
                <a:lnTo>
                  <a:pt x="52" y="0"/>
                </a:lnTo>
                <a:lnTo>
                  <a:pt x="54" y="0"/>
                </a:lnTo>
                <a:lnTo>
                  <a:pt x="58" y="1"/>
                </a:lnTo>
                <a:lnTo>
                  <a:pt x="60" y="1"/>
                </a:lnTo>
                <a:lnTo>
                  <a:pt x="65" y="1"/>
                </a:lnTo>
                <a:lnTo>
                  <a:pt x="70" y="3"/>
                </a:lnTo>
                <a:lnTo>
                  <a:pt x="74" y="3"/>
                </a:lnTo>
                <a:lnTo>
                  <a:pt x="75" y="4"/>
                </a:lnTo>
                <a:lnTo>
                  <a:pt x="77" y="4"/>
                </a:lnTo>
                <a:lnTo>
                  <a:pt x="68" y="6"/>
                </a:lnTo>
                <a:lnTo>
                  <a:pt x="74" y="6"/>
                </a:lnTo>
                <a:lnTo>
                  <a:pt x="73" y="7"/>
                </a:lnTo>
                <a:lnTo>
                  <a:pt x="70" y="7"/>
                </a:lnTo>
                <a:lnTo>
                  <a:pt x="64" y="7"/>
                </a:lnTo>
                <a:lnTo>
                  <a:pt x="68" y="7"/>
                </a:lnTo>
                <a:lnTo>
                  <a:pt x="73" y="7"/>
                </a:lnTo>
                <a:lnTo>
                  <a:pt x="73" y="9"/>
                </a:lnTo>
                <a:lnTo>
                  <a:pt x="71" y="9"/>
                </a:lnTo>
                <a:lnTo>
                  <a:pt x="70" y="11"/>
                </a:lnTo>
                <a:lnTo>
                  <a:pt x="68" y="11"/>
                </a:lnTo>
                <a:lnTo>
                  <a:pt x="62" y="11"/>
                </a:lnTo>
                <a:lnTo>
                  <a:pt x="61" y="11"/>
                </a:lnTo>
                <a:lnTo>
                  <a:pt x="65" y="11"/>
                </a:lnTo>
                <a:lnTo>
                  <a:pt x="66" y="12"/>
                </a:lnTo>
                <a:lnTo>
                  <a:pt x="65" y="14"/>
                </a:lnTo>
                <a:lnTo>
                  <a:pt x="64" y="15"/>
                </a:lnTo>
                <a:lnTo>
                  <a:pt x="62" y="15"/>
                </a:lnTo>
                <a:lnTo>
                  <a:pt x="61" y="15"/>
                </a:lnTo>
                <a:lnTo>
                  <a:pt x="62" y="15"/>
                </a:lnTo>
                <a:lnTo>
                  <a:pt x="62" y="17"/>
                </a:lnTo>
                <a:lnTo>
                  <a:pt x="60" y="17"/>
                </a:lnTo>
                <a:lnTo>
                  <a:pt x="60" y="18"/>
                </a:lnTo>
                <a:lnTo>
                  <a:pt x="60" y="20"/>
                </a:lnTo>
                <a:lnTo>
                  <a:pt x="62" y="22"/>
                </a:lnTo>
                <a:lnTo>
                  <a:pt x="61" y="23"/>
                </a:lnTo>
                <a:lnTo>
                  <a:pt x="60" y="25"/>
                </a:lnTo>
                <a:lnTo>
                  <a:pt x="60" y="26"/>
                </a:lnTo>
                <a:lnTo>
                  <a:pt x="61" y="26"/>
                </a:lnTo>
                <a:lnTo>
                  <a:pt x="62" y="31"/>
                </a:lnTo>
                <a:lnTo>
                  <a:pt x="64" y="33"/>
                </a:lnTo>
                <a:lnTo>
                  <a:pt x="66" y="34"/>
                </a:lnTo>
                <a:lnTo>
                  <a:pt x="69" y="37"/>
                </a:lnTo>
                <a:lnTo>
                  <a:pt x="70" y="37"/>
                </a:lnTo>
                <a:lnTo>
                  <a:pt x="70" y="39"/>
                </a:lnTo>
                <a:lnTo>
                  <a:pt x="75" y="42"/>
                </a:lnTo>
                <a:lnTo>
                  <a:pt x="79" y="44"/>
                </a:lnTo>
                <a:lnTo>
                  <a:pt x="81" y="44"/>
                </a:lnTo>
                <a:lnTo>
                  <a:pt x="83" y="45"/>
                </a:lnTo>
                <a:lnTo>
                  <a:pt x="89" y="47"/>
                </a:lnTo>
                <a:lnTo>
                  <a:pt x="90" y="47"/>
                </a:lnTo>
                <a:lnTo>
                  <a:pt x="93" y="47"/>
                </a:lnTo>
                <a:lnTo>
                  <a:pt x="91" y="47"/>
                </a:lnTo>
                <a:lnTo>
                  <a:pt x="91" y="48"/>
                </a:lnTo>
                <a:lnTo>
                  <a:pt x="89" y="48"/>
                </a:lnTo>
                <a:lnTo>
                  <a:pt x="82" y="48"/>
                </a:lnTo>
                <a:lnTo>
                  <a:pt x="81" y="48"/>
                </a:lnTo>
                <a:lnTo>
                  <a:pt x="87" y="50"/>
                </a:lnTo>
                <a:lnTo>
                  <a:pt x="85" y="50"/>
                </a:lnTo>
                <a:lnTo>
                  <a:pt x="85" y="51"/>
                </a:lnTo>
                <a:lnTo>
                  <a:pt x="82" y="50"/>
                </a:lnTo>
                <a:lnTo>
                  <a:pt x="78" y="48"/>
                </a:lnTo>
                <a:lnTo>
                  <a:pt x="77" y="48"/>
                </a:lnTo>
                <a:lnTo>
                  <a:pt x="78" y="47"/>
                </a:lnTo>
                <a:lnTo>
                  <a:pt x="75" y="47"/>
                </a:lnTo>
                <a:lnTo>
                  <a:pt x="73" y="47"/>
                </a:lnTo>
                <a:lnTo>
                  <a:pt x="71" y="48"/>
                </a:lnTo>
                <a:lnTo>
                  <a:pt x="74" y="48"/>
                </a:lnTo>
                <a:lnTo>
                  <a:pt x="75" y="48"/>
                </a:lnTo>
                <a:lnTo>
                  <a:pt x="75" y="50"/>
                </a:lnTo>
                <a:lnTo>
                  <a:pt x="71" y="50"/>
                </a:lnTo>
                <a:lnTo>
                  <a:pt x="69" y="48"/>
                </a:lnTo>
                <a:lnTo>
                  <a:pt x="68" y="48"/>
                </a:lnTo>
                <a:lnTo>
                  <a:pt x="68" y="50"/>
                </a:lnTo>
                <a:lnTo>
                  <a:pt x="66" y="50"/>
                </a:lnTo>
                <a:lnTo>
                  <a:pt x="65" y="48"/>
                </a:lnTo>
                <a:lnTo>
                  <a:pt x="62" y="48"/>
                </a:lnTo>
                <a:lnTo>
                  <a:pt x="61" y="47"/>
                </a:lnTo>
                <a:lnTo>
                  <a:pt x="60" y="48"/>
                </a:lnTo>
                <a:lnTo>
                  <a:pt x="58" y="48"/>
                </a:lnTo>
                <a:lnTo>
                  <a:pt x="57" y="50"/>
                </a:lnTo>
                <a:lnTo>
                  <a:pt x="56" y="50"/>
                </a:lnTo>
                <a:lnTo>
                  <a:pt x="50" y="48"/>
                </a:lnTo>
                <a:lnTo>
                  <a:pt x="49" y="47"/>
                </a:lnTo>
                <a:lnTo>
                  <a:pt x="52" y="47"/>
                </a:lnTo>
                <a:lnTo>
                  <a:pt x="48" y="47"/>
                </a:lnTo>
                <a:lnTo>
                  <a:pt x="41" y="47"/>
                </a:lnTo>
                <a:lnTo>
                  <a:pt x="40" y="47"/>
                </a:lnTo>
                <a:lnTo>
                  <a:pt x="38" y="45"/>
                </a:lnTo>
                <a:lnTo>
                  <a:pt x="37" y="47"/>
                </a:lnTo>
                <a:lnTo>
                  <a:pt x="36" y="45"/>
                </a:lnTo>
                <a:lnTo>
                  <a:pt x="34" y="45"/>
                </a:lnTo>
                <a:lnTo>
                  <a:pt x="34" y="44"/>
                </a:lnTo>
                <a:lnTo>
                  <a:pt x="34" y="42"/>
                </a:lnTo>
                <a:lnTo>
                  <a:pt x="33" y="42"/>
                </a:lnTo>
                <a:lnTo>
                  <a:pt x="34" y="42"/>
                </a:lnTo>
                <a:lnTo>
                  <a:pt x="37" y="42"/>
                </a:lnTo>
                <a:lnTo>
                  <a:pt x="38" y="42"/>
                </a:lnTo>
                <a:lnTo>
                  <a:pt x="37" y="40"/>
                </a:lnTo>
                <a:lnTo>
                  <a:pt x="40" y="42"/>
                </a:lnTo>
                <a:lnTo>
                  <a:pt x="42" y="40"/>
                </a:lnTo>
                <a:lnTo>
                  <a:pt x="44" y="40"/>
                </a:lnTo>
                <a:lnTo>
                  <a:pt x="40" y="40"/>
                </a:lnTo>
                <a:lnTo>
                  <a:pt x="41" y="40"/>
                </a:lnTo>
                <a:lnTo>
                  <a:pt x="40" y="39"/>
                </a:lnTo>
                <a:lnTo>
                  <a:pt x="34" y="39"/>
                </a:lnTo>
                <a:lnTo>
                  <a:pt x="32" y="37"/>
                </a:lnTo>
                <a:lnTo>
                  <a:pt x="33" y="37"/>
                </a:lnTo>
                <a:lnTo>
                  <a:pt x="33" y="36"/>
                </a:lnTo>
                <a:lnTo>
                  <a:pt x="38" y="34"/>
                </a:lnTo>
                <a:lnTo>
                  <a:pt x="34" y="34"/>
                </a:lnTo>
                <a:lnTo>
                  <a:pt x="32" y="37"/>
                </a:lnTo>
                <a:lnTo>
                  <a:pt x="30" y="37"/>
                </a:lnTo>
                <a:lnTo>
                  <a:pt x="30" y="36"/>
                </a:lnTo>
                <a:lnTo>
                  <a:pt x="29" y="34"/>
                </a:lnTo>
                <a:lnTo>
                  <a:pt x="30" y="33"/>
                </a:lnTo>
                <a:lnTo>
                  <a:pt x="26" y="34"/>
                </a:lnTo>
                <a:lnTo>
                  <a:pt x="25" y="34"/>
                </a:lnTo>
                <a:lnTo>
                  <a:pt x="24" y="34"/>
                </a:lnTo>
                <a:lnTo>
                  <a:pt x="22" y="34"/>
                </a:lnTo>
                <a:lnTo>
                  <a:pt x="21" y="34"/>
                </a:lnTo>
                <a:lnTo>
                  <a:pt x="20" y="33"/>
                </a:lnTo>
                <a:lnTo>
                  <a:pt x="20" y="31"/>
                </a:lnTo>
                <a:lnTo>
                  <a:pt x="18" y="31"/>
                </a:lnTo>
                <a:lnTo>
                  <a:pt x="16" y="33"/>
                </a:lnTo>
                <a:lnTo>
                  <a:pt x="16" y="34"/>
                </a:lnTo>
                <a:lnTo>
                  <a:pt x="14" y="33"/>
                </a:lnTo>
                <a:lnTo>
                  <a:pt x="13" y="33"/>
                </a:lnTo>
                <a:lnTo>
                  <a:pt x="12" y="34"/>
                </a:lnTo>
                <a:lnTo>
                  <a:pt x="9" y="34"/>
                </a:lnTo>
                <a:lnTo>
                  <a:pt x="8" y="34"/>
                </a:lnTo>
                <a:lnTo>
                  <a:pt x="6" y="33"/>
                </a:lnTo>
                <a:lnTo>
                  <a:pt x="5" y="33"/>
                </a:lnTo>
                <a:lnTo>
                  <a:pt x="2" y="33"/>
                </a:lnTo>
                <a:lnTo>
                  <a:pt x="1" y="29"/>
                </a:lnTo>
                <a:lnTo>
                  <a:pt x="1" y="28"/>
                </a:lnTo>
                <a:lnTo>
                  <a:pt x="0" y="26"/>
                </a:lnTo>
                <a:lnTo>
                  <a:pt x="1" y="26"/>
                </a:lnTo>
                <a:lnTo>
                  <a:pt x="1" y="25"/>
                </a:lnTo>
                <a:lnTo>
                  <a:pt x="2" y="23"/>
                </a:lnTo>
                <a:lnTo>
                  <a:pt x="6" y="23"/>
                </a:lnTo>
                <a:lnTo>
                  <a:pt x="8" y="23"/>
                </a:lnTo>
                <a:lnTo>
                  <a:pt x="9" y="23"/>
                </a:lnTo>
                <a:lnTo>
                  <a:pt x="12" y="23"/>
                </a:lnTo>
                <a:lnTo>
                  <a:pt x="13" y="23"/>
                </a:lnTo>
                <a:lnTo>
                  <a:pt x="14" y="23"/>
                </a:lnTo>
                <a:lnTo>
                  <a:pt x="14" y="22"/>
                </a:lnTo>
                <a:lnTo>
                  <a:pt x="16" y="22"/>
                </a:lnTo>
                <a:lnTo>
                  <a:pt x="16" y="20"/>
                </a:lnTo>
                <a:lnTo>
                  <a:pt x="18" y="20"/>
                </a:lnTo>
                <a:lnTo>
                  <a:pt x="18" y="18"/>
                </a:lnTo>
                <a:lnTo>
                  <a:pt x="17" y="18"/>
                </a:lnTo>
                <a:lnTo>
                  <a:pt x="20" y="18"/>
                </a:lnTo>
                <a:lnTo>
                  <a:pt x="20" y="17"/>
                </a:lnTo>
                <a:lnTo>
                  <a:pt x="21" y="17"/>
                </a:lnTo>
                <a:lnTo>
                  <a:pt x="21" y="15"/>
                </a:lnTo>
                <a:lnTo>
                  <a:pt x="24" y="15"/>
                </a:lnTo>
                <a:lnTo>
                  <a:pt x="24" y="14"/>
                </a:lnTo>
                <a:lnTo>
                  <a:pt x="21" y="15"/>
                </a:lnTo>
                <a:lnTo>
                  <a:pt x="20" y="14"/>
                </a:lnTo>
                <a:lnTo>
                  <a:pt x="21" y="14"/>
                </a:lnTo>
                <a:lnTo>
                  <a:pt x="18" y="14"/>
                </a:lnTo>
                <a:lnTo>
                  <a:pt x="14" y="12"/>
                </a:lnTo>
                <a:lnTo>
                  <a:pt x="16" y="11"/>
                </a:lnTo>
                <a:lnTo>
                  <a:pt x="20" y="9"/>
                </a:lnTo>
                <a:lnTo>
                  <a:pt x="24" y="9"/>
                </a:lnTo>
                <a:lnTo>
                  <a:pt x="25" y="9"/>
                </a:lnTo>
                <a:lnTo>
                  <a:pt x="29" y="7"/>
                </a:lnTo>
                <a:lnTo>
                  <a:pt x="26" y="7"/>
                </a:lnTo>
                <a:lnTo>
                  <a:pt x="25" y="7"/>
                </a:lnTo>
                <a:lnTo>
                  <a:pt x="26" y="7"/>
                </a:lnTo>
                <a:lnTo>
                  <a:pt x="28" y="6"/>
                </a:lnTo>
                <a:lnTo>
                  <a:pt x="26" y="6"/>
                </a:lnTo>
                <a:lnTo>
                  <a:pt x="25" y="6"/>
                </a:lnTo>
                <a:lnTo>
                  <a:pt x="25" y="4"/>
                </a:lnTo>
                <a:lnTo>
                  <a:pt x="30" y="3"/>
                </a:lnTo>
                <a:lnTo>
                  <a:pt x="34" y="1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66" name="Freeform 989"/>
          <p:cNvSpPr>
            <a:spLocks/>
          </p:cNvSpPr>
          <p:nvPr/>
        </p:nvSpPr>
        <p:spPr bwMode="auto">
          <a:xfrm>
            <a:off x="7153576" y="1756393"/>
            <a:ext cx="177343" cy="100938"/>
          </a:xfrm>
          <a:custGeom>
            <a:avLst/>
            <a:gdLst/>
            <a:ahLst/>
            <a:cxnLst>
              <a:cxn ang="0">
                <a:pos x="42" y="1"/>
              </a:cxn>
              <a:cxn ang="0">
                <a:pos x="54" y="0"/>
              </a:cxn>
              <a:cxn ang="0">
                <a:pos x="65" y="1"/>
              </a:cxn>
              <a:cxn ang="0">
                <a:pos x="75" y="4"/>
              </a:cxn>
              <a:cxn ang="0">
                <a:pos x="74" y="6"/>
              </a:cxn>
              <a:cxn ang="0">
                <a:pos x="64" y="7"/>
              </a:cxn>
              <a:cxn ang="0">
                <a:pos x="73" y="9"/>
              </a:cxn>
              <a:cxn ang="0">
                <a:pos x="68" y="11"/>
              </a:cxn>
              <a:cxn ang="0">
                <a:pos x="65" y="11"/>
              </a:cxn>
              <a:cxn ang="0">
                <a:pos x="64" y="15"/>
              </a:cxn>
              <a:cxn ang="0">
                <a:pos x="62" y="15"/>
              </a:cxn>
              <a:cxn ang="0">
                <a:pos x="60" y="18"/>
              </a:cxn>
              <a:cxn ang="0">
                <a:pos x="61" y="23"/>
              </a:cxn>
              <a:cxn ang="0">
                <a:pos x="61" y="26"/>
              </a:cxn>
              <a:cxn ang="0">
                <a:pos x="66" y="34"/>
              </a:cxn>
              <a:cxn ang="0">
                <a:pos x="70" y="39"/>
              </a:cxn>
              <a:cxn ang="0">
                <a:pos x="81" y="44"/>
              </a:cxn>
              <a:cxn ang="0">
                <a:pos x="90" y="47"/>
              </a:cxn>
              <a:cxn ang="0">
                <a:pos x="91" y="48"/>
              </a:cxn>
              <a:cxn ang="0">
                <a:pos x="81" y="48"/>
              </a:cxn>
              <a:cxn ang="0">
                <a:pos x="85" y="51"/>
              </a:cxn>
              <a:cxn ang="0">
                <a:pos x="77" y="48"/>
              </a:cxn>
              <a:cxn ang="0">
                <a:pos x="73" y="47"/>
              </a:cxn>
              <a:cxn ang="0">
                <a:pos x="75" y="48"/>
              </a:cxn>
              <a:cxn ang="0">
                <a:pos x="69" y="48"/>
              </a:cxn>
              <a:cxn ang="0">
                <a:pos x="66" y="50"/>
              </a:cxn>
              <a:cxn ang="0">
                <a:pos x="61" y="47"/>
              </a:cxn>
              <a:cxn ang="0">
                <a:pos x="57" y="50"/>
              </a:cxn>
              <a:cxn ang="0">
                <a:pos x="49" y="47"/>
              </a:cxn>
              <a:cxn ang="0">
                <a:pos x="41" y="47"/>
              </a:cxn>
              <a:cxn ang="0">
                <a:pos x="37" y="47"/>
              </a:cxn>
              <a:cxn ang="0">
                <a:pos x="34" y="44"/>
              </a:cxn>
              <a:cxn ang="0">
                <a:pos x="34" y="42"/>
              </a:cxn>
              <a:cxn ang="0">
                <a:pos x="37" y="40"/>
              </a:cxn>
              <a:cxn ang="0">
                <a:pos x="44" y="40"/>
              </a:cxn>
              <a:cxn ang="0">
                <a:pos x="40" y="39"/>
              </a:cxn>
              <a:cxn ang="0">
                <a:pos x="33" y="37"/>
              </a:cxn>
              <a:cxn ang="0">
                <a:pos x="34" y="34"/>
              </a:cxn>
              <a:cxn ang="0">
                <a:pos x="30" y="36"/>
              </a:cxn>
              <a:cxn ang="0">
                <a:pos x="26" y="34"/>
              </a:cxn>
              <a:cxn ang="0">
                <a:pos x="22" y="34"/>
              </a:cxn>
              <a:cxn ang="0">
                <a:pos x="20" y="31"/>
              </a:cxn>
              <a:cxn ang="0">
                <a:pos x="16" y="34"/>
              </a:cxn>
              <a:cxn ang="0">
                <a:pos x="12" y="34"/>
              </a:cxn>
              <a:cxn ang="0">
                <a:pos x="6" y="33"/>
              </a:cxn>
              <a:cxn ang="0">
                <a:pos x="1" y="29"/>
              </a:cxn>
              <a:cxn ang="0">
                <a:pos x="1" y="26"/>
              </a:cxn>
              <a:cxn ang="0">
                <a:pos x="6" y="23"/>
              </a:cxn>
              <a:cxn ang="0">
                <a:pos x="12" y="23"/>
              </a:cxn>
              <a:cxn ang="0">
                <a:pos x="14" y="22"/>
              </a:cxn>
              <a:cxn ang="0">
                <a:pos x="18" y="20"/>
              </a:cxn>
              <a:cxn ang="0">
                <a:pos x="20" y="18"/>
              </a:cxn>
              <a:cxn ang="0">
                <a:pos x="21" y="15"/>
              </a:cxn>
              <a:cxn ang="0">
                <a:pos x="21" y="15"/>
              </a:cxn>
              <a:cxn ang="0">
                <a:pos x="18" y="14"/>
              </a:cxn>
              <a:cxn ang="0">
                <a:pos x="20" y="9"/>
              </a:cxn>
              <a:cxn ang="0">
                <a:pos x="29" y="7"/>
              </a:cxn>
              <a:cxn ang="0">
                <a:pos x="26" y="7"/>
              </a:cxn>
              <a:cxn ang="0">
                <a:pos x="25" y="6"/>
              </a:cxn>
              <a:cxn ang="0">
                <a:pos x="34" y="1"/>
              </a:cxn>
            </a:cxnLst>
            <a:rect l="0" t="0" r="r" b="b"/>
            <a:pathLst>
              <a:path w="93" h="51">
                <a:moveTo>
                  <a:pt x="34" y="1"/>
                </a:moveTo>
                <a:lnTo>
                  <a:pt x="36" y="1"/>
                </a:lnTo>
                <a:lnTo>
                  <a:pt x="42" y="1"/>
                </a:lnTo>
                <a:lnTo>
                  <a:pt x="44" y="1"/>
                </a:lnTo>
                <a:lnTo>
                  <a:pt x="52" y="0"/>
                </a:lnTo>
                <a:lnTo>
                  <a:pt x="54" y="0"/>
                </a:lnTo>
                <a:lnTo>
                  <a:pt x="58" y="1"/>
                </a:lnTo>
                <a:lnTo>
                  <a:pt x="60" y="1"/>
                </a:lnTo>
                <a:lnTo>
                  <a:pt x="65" y="1"/>
                </a:lnTo>
                <a:lnTo>
                  <a:pt x="70" y="3"/>
                </a:lnTo>
                <a:lnTo>
                  <a:pt x="74" y="3"/>
                </a:lnTo>
                <a:lnTo>
                  <a:pt x="75" y="4"/>
                </a:lnTo>
                <a:lnTo>
                  <a:pt x="77" y="4"/>
                </a:lnTo>
                <a:lnTo>
                  <a:pt x="68" y="6"/>
                </a:lnTo>
                <a:lnTo>
                  <a:pt x="74" y="6"/>
                </a:lnTo>
                <a:lnTo>
                  <a:pt x="73" y="7"/>
                </a:lnTo>
                <a:lnTo>
                  <a:pt x="70" y="7"/>
                </a:lnTo>
                <a:lnTo>
                  <a:pt x="64" y="7"/>
                </a:lnTo>
                <a:lnTo>
                  <a:pt x="68" y="7"/>
                </a:lnTo>
                <a:lnTo>
                  <a:pt x="73" y="7"/>
                </a:lnTo>
                <a:lnTo>
                  <a:pt x="73" y="9"/>
                </a:lnTo>
                <a:lnTo>
                  <a:pt x="71" y="9"/>
                </a:lnTo>
                <a:lnTo>
                  <a:pt x="70" y="11"/>
                </a:lnTo>
                <a:lnTo>
                  <a:pt x="68" y="11"/>
                </a:lnTo>
                <a:lnTo>
                  <a:pt x="62" y="11"/>
                </a:lnTo>
                <a:lnTo>
                  <a:pt x="61" y="11"/>
                </a:lnTo>
                <a:lnTo>
                  <a:pt x="65" y="11"/>
                </a:lnTo>
                <a:lnTo>
                  <a:pt x="66" y="12"/>
                </a:lnTo>
                <a:lnTo>
                  <a:pt x="65" y="14"/>
                </a:lnTo>
                <a:lnTo>
                  <a:pt x="64" y="15"/>
                </a:lnTo>
                <a:lnTo>
                  <a:pt x="62" y="15"/>
                </a:lnTo>
                <a:lnTo>
                  <a:pt x="61" y="15"/>
                </a:lnTo>
                <a:lnTo>
                  <a:pt x="62" y="15"/>
                </a:lnTo>
                <a:lnTo>
                  <a:pt x="62" y="17"/>
                </a:lnTo>
                <a:lnTo>
                  <a:pt x="60" y="17"/>
                </a:lnTo>
                <a:lnTo>
                  <a:pt x="60" y="18"/>
                </a:lnTo>
                <a:lnTo>
                  <a:pt x="60" y="20"/>
                </a:lnTo>
                <a:lnTo>
                  <a:pt x="62" y="22"/>
                </a:lnTo>
                <a:lnTo>
                  <a:pt x="61" y="23"/>
                </a:lnTo>
                <a:lnTo>
                  <a:pt x="60" y="25"/>
                </a:lnTo>
                <a:lnTo>
                  <a:pt x="60" y="26"/>
                </a:lnTo>
                <a:lnTo>
                  <a:pt x="61" y="26"/>
                </a:lnTo>
                <a:lnTo>
                  <a:pt x="62" y="31"/>
                </a:lnTo>
                <a:lnTo>
                  <a:pt x="64" y="33"/>
                </a:lnTo>
                <a:lnTo>
                  <a:pt x="66" y="34"/>
                </a:lnTo>
                <a:lnTo>
                  <a:pt x="69" y="37"/>
                </a:lnTo>
                <a:lnTo>
                  <a:pt x="70" y="37"/>
                </a:lnTo>
                <a:lnTo>
                  <a:pt x="70" y="39"/>
                </a:lnTo>
                <a:lnTo>
                  <a:pt x="75" y="42"/>
                </a:lnTo>
                <a:lnTo>
                  <a:pt x="79" y="44"/>
                </a:lnTo>
                <a:lnTo>
                  <a:pt x="81" y="44"/>
                </a:lnTo>
                <a:lnTo>
                  <a:pt x="83" y="45"/>
                </a:lnTo>
                <a:lnTo>
                  <a:pt x="89" y="47"/>
                </a:lnTo>
                <a:lnTo>
                  <a:pt x="90" y="47"/>
                </a:lnTo>
                <a:lnTo>
                  <a:pt x="93" y="47"/>
                </a:lnTo>
                <a:lnTo>
                  <a:pt x="91" y="47"/>
                </a:lnTo>
                <a:lnTo>
                  <a:pt x="91" y="48"/>
                </a:lnTo>
                <a:lnTo>
                  <a:pt x="89" y="48"/>
                </a:lnTo>
                <a:lnTo>
                  <a:pt x="82" y="48"/>
                </a:lnTo>
                <a:lnTo>
                  <a:pt x="81" y="48"/>
                </a:lnTo>
                <a:lnTo>
                  <a:pt x="87" y="50"/>
                </a:lnTo>
                <a:lnTo>
                  <a:pt x="85" y="50"/>
                </a:lnTo>
                <a:lnTo>
                  <a:pt x="85" y="51"/>
                </a:lnTo>
                <a:lnTo>
                  <a:pt x="82" y="50"/>
                </a:lnTo>
                <a:lnTo>
                  <a:pt x="78" y="48"/>
                </a:lnTo>
                <a:lnTo>
                  <a:pt x="77" y="48"/>
                </a:lnTo>
                <a:lnTo>
                  <a:pt x="78" y="47"/>
                </a:lnTo>
                <a:lnTo>
                  <a:pt x="75" y="47"/>
                </a:lnTo>
                <a:lnTo>
                  <a:pt x="73" y="47"/>
                </a:lnTo>
                <a:lnTo>
                  <a:pt x="71" y="48"/>
                </a:lnTo>
                <a:lnTo>
                  <a:pt x="74" y="48"/>
                </a:lnTo>
                <a:lnTo>
                  <a:pt x="75" y="48"/>
                </a:lnTo>
                <a:lnTo>
                  <a:pt x="75" y="50"/>
                </a:lnTo>
                <a:lnTo>
                  <a:pt x="71" y="50"/>
                </a:lnTo>
                <a:lnTo>
                  <a:pt x="69" y="48"/>
                </a:lnTo>
                <a:lnTo>
                  <a:pt x="68" y="48"/>
                </a:lnTo>
                <a:lnTo>
                  <a:pt x="68" y="50"/>
                </a:lnTo>
                <a:lnTo>
                  <a:pt x="66" y="50"/>
                </a:lnTo>
                <a:lnTo>
                  <a:pt x="65" y="48"/>
                </a:lnTo>
                <a:lnTo>
                  <a:pt x="62" y="48"/>
                </a:lnTo>
                <a:lnTo>
                  <a:pt x="61" y="47"/>
                </a:lnTo>
                <a:lnTo>
                  <a:pt x="60" y="48"/>
                </a:lnTo>
                <a:lnTo>
                  <a:pt x="58" y="48"/>
                </a:lnTo>
                <a:lnTo>
                  <a:pt x="57" y="50"/>
                </a:lnTo>
                <a:lnTo>
                  <a:pt x="56" y="50"/>
                </a:lnTo>
                <a:lnTo>
                  <a:pt x="50" y="48"/>
                </a:lnTo>
                <a:lnTo>
                  <a:pt x="49" y="47"/>
                </a:lnTo>
                <a:lnTo>
                  <a:pt x="52" y="47"/>
                </a:lnTo>
                <a:lnTo>
                  <a:pt x="48" y="47"/>
                </a:lnTo>
                <a:lnTo>
                  <a:pt x="41" y="47"/>
                </a:lnTo>
                <a:lnTo>
                  <a:pt x="40" y="47"/>
                </a:lnTo>
                <a:lnTo>
                  <a:pt x="38" y="45"/>
                </a:lnTo>
                <a:lnTo>
                  <a:pt x="37" y="47"/>
                </a:lnTo>
                <a:lnTo>
                  <a:pt x="36" y="45"/>
                </a:lnTo>
                <a:lnTo>
                  <a:pt x="34" y="45"/>
                </a:lnTo>
                <a:lnTo>
                  <a:pt x="34" y="44"/>
                </a:lnTo>
                <a:lnTo>
                  <a:pt x="34" y="42"/>
                </a:lnTo>
                <a:lnTo>
                  <a:pt x="33" y="42"/>
                </a:lnTo>
                <a:lnTo>
                  <a:pt x="34" y="42"/>
                </a:lnTo>
                <a:lnTo>
                  <a:pt x="37" y="42"/>
                </a:lnTo>
                <a:lnTo>
                  <a:pt x="38" y="42"/>
                </a:lnTo>
                <a:lnTo>
                  <a:pt x="37" y="40"/>
                </a:lnTo>
                <a:lnTo>
                  <a:pt x="40" y="42"/>
                </a:lnTo>
                <a:lnTo>
                  <a:pt x="42" y="40"/>
                </a:lnTo>
                <a:lnTo>
                  <a:pt x="44" y="40"/>
                </a:lnTo>
                <a:lnTo>
                  <a:pt x="40" y="40"/>
                </a:lnTo>
                <a:lnTo>
                  <a:pt x="41" y="40"/>
                </a:lnTo>
                <a:lnTo>
                  <a:pt x="40" y="39"/>
                </a:lnTo>
                <a:lnTo>
                  <a:pt x="34" y="39"/>
                </a:lnTo>
                <a:lnTo>
                  <a:pt x="32" y="37"/>
                </a:lnTo>
                <a:lnTo>
                  <a:pt x="33" y="37"/>
                </a:lnTo>
                <a:lnTo>
                  <a:pt x="33" y="36"/>
                </a:lnTo>
                <a:lnTo>
                  <a:pt x="38" y="34"/>
                </a:lnTo>
                <a:lnTo>
                  <a:pt x="34" y="34"/>
                </a:lnTo>
                <a:lnTo>
                  <a:pt x="32" y="37"/>
                </a:lnTo>
                <a:lnTo>
                  <a:pt x="30" y="37"/>
                </a:lnTo>
                <a:lnTo>
                  <a:pt x="30" y="36"/>
                </a:lnTo>
                <a:lnTo>
                  <a:pt x="29" y="34"/>
                </a:lnTo>
                <a:lnTo>
                  <a:pt x="30" y="33"/>
                </a:lnTo>
                <a:lnTo>
                  <a:pt x="26" y="34"/>
                </a:lnTo>
                <a:lnTo>
                  <a:pt x="25" y="34"/>
                </a:lnTo>
                <a:lnTo>
                  <a:pt x="24" y="34"/>
                </a:lnTo>
                <a:lnTo>
                  <a:pt x="22" y="34"/>
                </a:lnTo>
                <a:lnTo>
                  <a:pt x="21" y="34"/>
                </a:lnTo>
                <a:lnTo>
                  <a:pt x="20" y="33"/>
                </a:lnTo>
                <a:lnTo>
                  <a:pt x="20" y="31"/>
                </a:lnTo>
                <a:lnTo>
                  <a:pt x="18" y="31"/>
                </a:lnTo>
                <a:lnTo>
                  <a:pt x="16" y="33"/>
                </a:lnTo>
                <a:lnTo>
                  <a:pt x="16" y="34"/>
                </a:lnTo>
                <a:lnTo>
                  <a:pt x="14" y="33"/>
                </a:lnTo>
                <a:lnTo>
                  <a:pt x="13" y="33"/>
                </a:lnTo>
                <a:lnTo>
                  <a:pt x="12" y="34"/>
                </a:lnTo>
                <a:lnTo>
                  <a:pt x="9" y="34"/>
                </a:lnTo>
                <a:lnTo>
                  <a:pt x="8" y="34"/>
                </a:lnTo>
                <a:lnTo>
                  <a:pt x="6" y="33"/>
                </a:lnTo>
                <a:lnTo>
                  <a:pt x="5" y="33"/>
                </a:lnTo>
                <a:lnTo>
                  <a:pt x="2" y="33"/>
                </a:lnTo>
                <a:lnTo>
                  <a:pt x="1" y="29"/>
                </a:lnTo>
                <a:lnTo>
                  <a:pt x="1" y="28"/>
                </a:lnTo>
                <a:lnTo>
                  <a:pt x="0" y="26"/>
                </a:lnTo>
                <a:lnTo>
                  <a:pt x="1" y="26"/>
                </a:lnTo>
                <a:lnTo>
                  <a:pt x="1" y="25"/>
                </a:lnTo>
                <a:lnTo>
                  <a:pt x="2" y="23"/>
                </a:lnTo>
                <a:lnTo>
                  <a:pt x="6" y="23"/>
                </a:lnTo>
                <a:lnTo>
                  <a:pt x="8" y="23"/>
                </a:lnTo>
                <a:lnTo>
                  <a:pt x="9" y="23"/>
                </a:lnTo>
                <a:lnTo>
                  <a:pt x="12" y="23"/>
                </a:lnTo>
                <a:lnTo>
                  <a:pt x="13" y="23"/>
                </a:lnTo>
                <a:lnTo>
                  <a:pt x="14" y="23"/>
                </a:lnTo>
                <a:lnTo>
                  <a:pt x="14" y="22"/>
                </a:lnTo>
                <a:lnTo>
                  <a:pt x="16" y="22"/>
                </a:lnTo>
                <a:lnTo>
                  <a:pt x="16" y="20"/>
                </a:lnTo>
                <a:lnTo>
                  <a:pt x="18" y="20"/>
                </a:lnTo>
                <a:lnTo>
                  <a:pt x="18" y="18"/>
                </a:lnTo>
                <a:lnTo>
                  <a:pt x="17" y="18"/>
                </a:lnTo>
                <a:lnTo>
                  <a:pt x="20" y="18"/>
                </a:lnTo>
                <a:lnTo>
                  <a:pt x="20" y="17"/>
                </a:lnTo>
                <a:lnTo>
                  <a:pt x="21" y="17"/>
                </a:lnTo>
                <a:lnTo>
                  <a:pt x="21" y="15"/>
                </a:lnTo>
                <a:lnTo>
                  <a:pt x="24" y="15"/>
                </a:lnTo>
                <a:lnTo>
                  <a:pt x="24" y="14"/>
                </a:lnTo>
                <a:lnTo>
                  <a:pt x="21" y="15"/>
                </a:lnTo>
                <a:lnTo>
                  <a:pt x="20" y="14"/>
                </a:lnTo>
                <a:lnTo>
                  <a:pt x="21" y="14"/>
                </a:lnTo>
                <a:lnTo>
                  <a:pt x="18" y="14"/>
                </a:lnTo>
                <a:lnTo>
                  <a:pt x="14" y="12"/>
                </a:lnTo>
                <a:lnTo>
                  <a:pt x="16" y="11"/>
                </a:lnTo>
                <a:lnTo>
                  <a:pt x="20" y="9"/>
                </a:lnTo>
                <a:lnTo>
                  <a:pt x="24" y="9"/>
                </a:lnTo>
                <a:lnTo>
                  <a:pt x="25" y="9"/>
                </a:lnTo>
                <a:lnTo>
                  <a:pt x="29" y="7"/>
                </a:lnTo>
                <a:lnTo>
                  <a:pt x="26" y="7"/>
                </a:lnTo>
                <a:lnTo>
                  <a:pt x="25" y="7"/>
                </a:lnTo>
                <a:lnTo>
                  <a:pt x="26" y="7"/>
                </a:lnTo>
                <a:lnTo>
                  <a:pt x="28" y="6"/>
                </a:lnTo>
                <a:lnTo>
                  <a:pt x="26" y="6"/>
                </a:lnTo>
                <a:lnTo>
                  <a:pt x="25" y="6"/>
                </a:lnTo>
                <a:lnTo>
                  <a:pt x="25" y="4"/>
                </a:lnTo>
                <a:lnTo>
                  <a:pt x="30" y="3"/>
                </a:lnTo>
                <a:lnTo>
                  <a:pt x="34" y="1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67" name="Freeform 990"/>
          <p:cNvSpPr>
            <a:spLocks/>
          </p:cNvSpPr>
          <p:nvPr/>
        </p:nvSpPr>
        <p:spPr bwMode="auto">
          <a:xfrm>
            <a:off x="7215937" y="1631831"/>
            <a:ext cx="440432" cy="131005"/>
          </a:xfrm>
          <a:custGeom>
            <a:avLst/>
            <a:gdLst/>
            <a:ahLst/>
            <a:cxnLst>
              <a:cxn ang="0">
                <a:pos x="9" y="53"/>
              </a:cxn>
              <a:cxn ang="0">
                <a:pos x="24" y="50"/>
              </a:cxn>
              <a:cxn ang="0">
                <a:pos x="24" y="49"/>
              </a:cxn>
              <a:cxn ang="0">
                <a:pos x="23" y="45"/>
              </a:cxn>
              <a:cxn ang="0">
                <a:pos x="31" y="44"/>
              </a:cxn>
              <a:cxn ang="0">
                <a:pos x="29" y="41"/>
              </a:cxn>
              <a:cxn ang="0">
                <a:pos x="40" y="39"/>
              </a:cxn>
              <a:cxn ang="0">
                <a:pos x="32" y="38"/>
              </a:cxn>
              <a:cxn ang="0">
                <a:pos x="29" y="36"/>
              </a:cxn>
              <a:cxn ang="0">
                <a:pos x="29" y="31"/>
              </a:cxn>
              <a:cxn ang="0">
                <a:pos x="45" y="31"/>
              </a:cxn>
              <a:cxn ang="0">
                <a:pos x="64" y="27"/>
              </a:cxn>
              <a:cxn ang="0">
                <a:pos x="72" y="23"/>
              </a:cxn>
              <a:cxn ang="0">
                <a:pos x="84" y="19"/>
              </a:cxn>
              <a:cxn ang="0">
                <a:pos x="102" y="14"/>
              </a:cxn>
              <a:cxn ang="0">
                <a:pos x="106" y="16"/>
              </a:cxn>
              <a:cxn ang="0">
                <a:pos x="112" y="12"/>
              </a:cxn>
              <a:cxn ang="0">
                <a:pos x="129" y="14"/>
              </a:cxn>
              <a:cxn ang="0">
                <a:pos x="153" y="11"/>
              </a:cxn>
              <a:cxn ang="0">
                <a:pos x="162" y="11"/>
              </a:cxn>
              <a:cxn ang="0">
                <a:pos x="177" y="6"/>
              </a:cxn>
              <a:cxn ang="0">
                <a:pos x="183" y="3"/>
              </a:cxn>
              <a:cxn ang="0">
                <a:pos x="195" y="0"/>
              </a:cxn>
              <a:cxn ang="0">
                <a:pos x="226" y="1"/>
              </a:cxn>
              <a:cxn ang="0">
                <a:pos x="229" y="6"/>
              </a:cxn>
              <a:cxn ang="0">
                <a:pos x="219" y="12"/>
              </a:cxn>
              <a:cxn ang="0">
                <a:pos x="202" y="16"/>
              </a:cxn>
              <a:cxn ang="0">
                <a:pos x="178" y="19"/>
              </a:cxn>
              <a:cxn ang="0">
                <a:pos x="169" y="20"/>
              </a:cxn>
              <a:cxn ang="0">
                <a:pos x="149" y="23"/>
              </a:cxn>
              <a:cxn ang="0">
                <a:pos x="129" y="28"/>
              </a:cxn>
              <a:cxn ang="0">
                <a:pos x="108" y="33"/>
              </a:cxn>
              <a:cxn ang="0">
                <a:pos x="105" y="34"/>
              </a:cxn>
              <a:cxn ang="0">
                <a:pos x="93" y="41"/>
              </a:cxn>
              <a:cxn ang="0">
                <a:pos x="84" y="41"/>
              </a:cxn>
              <a:cxn ang="0">
                <a:pos x="81" y="42"/>
              </a:cxn>
              <a:cxn ang="0">
                <a:pos x="77" y="44"/>
              </a:cxn>
              <a:cxn ang="0">
                <a:pos x="77" y="49"/>
              </a:cxn>
              <a:cxn ang="0">
                <a:pos x="72" y="49"/>
              </a:cxn>
              <a:cxn ang="0">
                <a:pos x="69" y="52"/>
              </a:cxn>
              <a:cxn ang="0">
                <a:pos x="58" y="49"/>
              </a:cxn>
              <a:cxn ang="0">
                <a:pos x="61" y="52"/>
              </a:cxn>
              <a:cxn ang="0">
                <a:pos x="62" y="56"/>
              </a:cxn>
              <a:cxn ang="0">
                <a:pos x="46" y="55"/>
              </a:cxn>
              <a:cxn ang="0">
                <a:pos x="57" y="60"/>
              </a:cxn>
              <a:cxn ang="0">
                <a:pos x="49" y="60"/>
              </a:cxn>
              <a:cxn ang="0">
                <a:pos x="49" y="64"/>
              </a:cxn>
              <a:cxn ang="0">
                <a:pos x="37" y="64"/>
              </a:cxn>
              <a:cxn ang="0">
                <a:pos x="11" y="64"/>
              </a:cxn>
              <a:cxn ang="0">
                <a:pos x="11" y="60"/>
              </a:cxn>
              <a:cxn ang="0">
                <a:pos x="17" y="58"/>
              </a:cxn>
              <a:cxn ang="0">
                <a:pos x="1" y="56"/>
              </a:cxn>
            </a:cxnLst>
            <a:rect l="0" t="0" r="r" b="b"/>
            <a:pathLst>
              <a:path w="231" h="66">
                <a:moveTo>
                  <a:pt x="0" y="56"/>
                </a:moveTo>
                <a:lnTo>
                  <a:pt x="0" y="55"/>
                </a:lnTo>
                <a:lnTo>
                  <a:pt x="1" y="56"/>
                </a:lnTo>
                <a:lnTo>
                  <a:pt x="5" y="55"/>
                </a:lnTo>
                <a:lnTo>
                  <a:pt x="9" y="53"/>
                </a:lnTo>
                <a:lnTo>
                  <a:pt x="17" y="53"/>
                </a:lnTo>
                <a:lnTo>
                  <a:pt x="16" y="52"/>
                </a:lnTo>
                <a:lnTo>
                  <a:pt x="17" y="50"/>
                </a:lnTo>
                <a:lnTo>
                  <a:pt x="21" y="50"/>
                </a:lnTo>
                <a:lnTo>
                  <a:pt x="24" y="50"/>
                </a:lnTo>
                <a:lnTo>
                  <a:pt x="28" y="50"/>
                </a:lnTo>
                <a:lnTo>
                  <a:pt x="32" y="52"/>
                </a:lnTo>
                <a:lnTo>
                  <a:pt x="37" y="52"/>
                </a:lnTo>
                <a:lnTo>
                  <a:pt x="35" y="50"/>
                </a:lnTo>
                <a:lnTo>
                  <a:pt x="24" y="49"/>
                </a:lnTo>
                <a:lnTo>
                  <a:pt x="21" y="49"/>
                </a:lnTo>
                <a:lnTo>
                  <a:pt x="24" y="49"/>
                </a:lnTo>
                <a:lnTo>
                  <a:pt x="29" y="49"/>
                </a:lnTo>
                <a:lnTo>
                  <a:pt x="29" y="47"/>
                </a:lnTo>
                <a:lnTo>
                  <a:pt x="23" y="45"/>
                </a:lnTo>
                <a:lnTo>
                  <a:pt x="24" y="45"/>
                </a:lnTo>
                <a:lnTo>
                  <a:pt x="33" y="45"/>
                </a:lnTo>
                <a:lnTo>
                  <a:pt x="36" y="44"/>
                </a:lnTo>
                <a:lnTo>
                  <a:pt x="33" y="44"/>
                </a:lnTo>
                <a:lnTo>
                  <a:pt x="31" y="44"/>
                </a:lnTo>
                <a:lnTo>
                  <a:pt x="29" y="42"/>
                </a:lnTo>
                <a:lnTo>
                  <a:pt x="27" y="42"/>
                </a:lnTo>
                <a:lnTo>
                  <a:pt x="27" y="41"/>
                </a:lnTo>
                <a:lnTo>
                  <a:pt x="28" y="41"/>
                </a:lnTo>
                <a:lnTo>
                  <a:pt x="29" y="41"/>
                </a:lnTo>
                <a:lnTo>
                  <a:pt x="36" y="41"/>
                </a:lnTo>
                <a:lnTo>
                  <a:pt x="41" y="41"/>
                </a:lnTo>
                <a:lnTo>
                  <a:pt x="45" y="39"/>
                </a:lnTo>
                <a:lnTo>
                  <a:pt x="41" y="41"/>
                </a:lnTo>
                <a:lnTo>
                  <a:pt x="40" y="39"/>
                </a:lnTo>
                <a:lnTo>
                  <a:pt x="38" y="39"/>
                </a:lnTo>
                <a:lnTo>
                  <a:pt x="36" y="39"/>
                </a:lnTo>
                <a:lnTo>
                  <a:pt x="31" y="39"/>
                </a:lnTo>
                <a:lnTo>
                  <a:pt x="29" y="38"/>
                </a:lnTo>
                <a:lnTo>
                  <a:pt x="32" y="38"/>
                </a:lnTo>
                <a:lnTo>
                  <a:pt x="33" y="34"/>
                </a:lnTo>
                <a:lnTo>
                  <a:pt x="32" y="36"/>
                </a:lnTo>
                <a:lnTo>
                  <a:pt x="32" y="34"/>
                </a:lnTo>
                <a:lnTo>
                  <a:pt x="31" y="34"/>
                </a:lnTo>
                <a:lnTo>
                  <a:pt x="29" y="36"/>
                </a:lnTo>
                <a:lnTo>
                  <a:pt x="28" y="34"/>
                </a:lnTo>
                <a:lnTo>
                  <a:pt x="27" y="33"/>
                </a:lnTo>
                <a:lnTo>
                  <a:pt x="29" y="33"/>
                </a:lnTo>
                <a:lnTo>
                  <a:pt x="28" y="33"/>
                </a:lnTo>
                <a:lnTo>
                  <a:pt x="29" y="31"/>
                </a:lnTo>
                <a:lnTo>
                  <a:pt x="35" y="31"/>
                </a:lnTo>
                <a:lnTo>
                  <a:pt x="35" y="33"/>
                </a:lnTo>
                <a:lnTo>
                  <a:pt x="36" y="33"/>
                </a:lnTo>
                <a:lnTo>
                  <a:pt x="42" y="33"/>
                </a:lnTo>
                <a:lnTo>
                  <a:pt x="45" y="31"/>
                </a:lnTo>
                <a:lnTo>
                  <a:pt x="45" y="30"/>
                </a:lnTo>
                <a:lnTo>
                  <a:pt x="50" y="28"/>
                </a:lnTo>
                <a:lnTo>
                  <a:pt x="57" y="30"/>
                </a:lnTo>
                <a:lnTo>
                  <a:pt x="62" y="28"/>
                </a:lnTo>
                <a:lnTo>
                  <a:pt x="64" y="27"/>
                </a:lnTo>
                <a:lnTo>
                  <a:pt x="62" y="25"/>
                </a:lnTo>
                <a:lnTo>
                  <a:pt x="65" y="25"/>
                </a:lnTo>
                <a:lnTo>
                  <a:pt x="64" y="23"/>
                </a:lnTo>
                <a:lnTo>
                  <a:pt x="69" y="23"/>
                </a:lnTo>
                <a:lnTo>
                  <a:pt x="72" y="23"/>
                </a:lnTo>
                <a:lnTo>
                  <a:pt x="74" y="23"/>
                </a:lnTo>
                <a:lnTo>
                  <a:pt x="73" y="22"/>
                </a:lnTo>
                <a:lnTo>
                  <a:pt x="74" y="20"/>
                </a:lnTo>
                <a:lnTo>
                  <a:pt x="77" y="20"/>
                </a:lnTo>
                <a:lnTo>
                  <a:pt x="84" y="19"/>
                </a:lnTo>
                <a:lnTo>
                  <a:pt x="92" y="17"/>
                </a:lnTo>
                <a:lnTo>
                  <a:pt x="94" y="17"/>
                </a:lnTo>
                <a:lnTo>
                  <a:pt x="94" y="16"/>
                </a:lnTo>
                <a:lnTo>
                  <a:pt x="96" y="16"/>
                </a:lnTo>
                <a:lnTo>
                  <a:pt x="102" y="14"/>
                </a:lnTo>
                <a:lnTo>
                  <a:pt x="105" y="14"/>
                </a:lnTo>
                <a:lnTo>
                  <a:pt x="104" y="16"/>
                </a:lnTo>
                <a:lnTo>
                  <a:pt x="102" y="17"/>
                </a:lnTo>
                <a:lnTo>
                  <a:pt x="105" y="17"/>
                </a:lnTo>
                <a:lnTo>
                  <a:pt x="106" y="16"/>
                </a:lnTo>
                <a:lnTo>
                  <a:pt x="112" y="16"/>
                </a:lnTo>
                <a:lnTo>
                  <a:pt x="113" y="14"/>
                </a:lnTo>
                <a:lnTo>
                  <a:pt x="110" y="14"/>
                </a:lnTo>
                <a:lnTo>
                  <a:pt x="109" y="12"/>
                </a:lnTo>
                <a:lnTo>
                  <a:pt x="112" y="12"/>
                </a:lnTo>
                <a:lnTo>
                  <a:pt x="112" y="11"/>
                </a:lnTo>
                <a:lnTo>
                  <a:pt x="110" y="11"/>
                </a:lnTo>
                <a:lnTo>
                  <a:pt x="117" y="11"/>
                </a:lnTo>
                <a:lnTo>
                  <a:pt x="129" y="12"/>
                </a:lnTo>
                <a:lnTo>
                  <a:pt x="129" y="14"/>
                </a:lnTo>
                <a:lnTo>
                  <a:pt x="133" y="14"/>
                </a:lnTo>
                <a:lnTo>
                  <a:pt x="134" y="12"/>
                </a:lnTo>
                <a:lnTo>
                  <a:pt x="138" y="12"/>
                </a:lnTo>
                <a:lnTo>
                  <a:pt x="150" y="11"/>
                </a:lnTo>
                <a:lnTo>
                  <a:pt x="153" y="11"/>
                </a:lnTo>
                <a:lnTo>
                  <a:pt x="154" y="11"/>
                </a:lnTo>
                <a:lnTo>
                  <a:pt x="157" y="11"/>
                </a:lnTo>
                <a:lnTo>
                  <a:pt x="158" y="11"/>
                </a:lnTo>
                <a:lnTo>
                  <a:pt x="161" y="11"/>
                </a:lnTo>
                <a:lnTo>
                  <a:pt x="162" y="11"/>
                </a:lnTo>
                <a:lnTo>
                  <a:pt x="163" y="11"/>
                </a:lnTo>
                <a:lnTo>
                  <a:pt x="169" y="9"/>
                </a:lnTo>
                <a:lnTo>
                  <a:pt x="174" y="9"/>
                </a:lnTo>
                <a:lnTo>
                  <a:pt x="175" y="8"/>
                </a:lnTo>
                <a:lnTo>
                  <a:pt x="177" y="6"/>
                </a:lnTo>
                <a:lnTo>
                  <a:pt x="179" y="8"/>
                </a:lnTo>
                <a:lnTo>
                  <a:pt x="182" y="8"/>
                </a:lnTo>
                <a:lnTo>
                  <a:pt x="183" y="6"/>
                </a:lnTo>
                <a:lnTo>
                  <a:pt x="182" y="5"/>
                </a:lnTo>
                <a:lnTo>
                  <a:pt x="183" y="3"/>
                </a:lnTo>
                <a:lnTo>
                  <a:pt x="187" y="3"/>
                </a:lnTo>
                <a:lnTo>
                  <a:pt x="189" y="1"/>
                </a:lnTo>
                <a:lnTo>
                  <a:pt x="191" y="1"/>
                </a:lnTo>
                <a:lnTo>
                  <a:pt x="195" y="1"/>
                </a:lnTo>
                <a:lnTo>
                  <a:pt x="195" y="0"/>
                </a:lnTo>
                <a:lnTo>
                  <a:pt x="199" y="1"/>
                </a:lnTo>
                <a:lnTo>
                  <a:pt x="206" y="0"/>
                </a:lnTo>
                <a:lnTo>
                  <a:pt x="215" y="0"/>
                </a:lnTo>
                <a:lnTo>
                  <a:pt x="223" y="0"/>
                </a:lnTo>
                <a:lnTo>
                  <a:pt x="226" y="1"/>
                </a:lnTo>
                <a:lnTo>
                  <a:pt x="229" y="1"/>
                </a:lnTo>
                <a:lnTo>
                  <a:pt x="229" y="3"/>
                </a:lnTo>
                <a:lnTo>
                  <a:pt x="231" y="5"/>
                </a:lnTo>
                <a:lnTo>
                  <a:pt x="231" y="6"/>
                </a:lnTo>
                <a:lnTo>
                  <a:pt x="229" y="6"/>
                </a:lnTo>
                <a:lnTo>
                  <a:pt x="227" y="8"/>
                </a:lnTo>
                <a:lnTo>
                  <a:pt x="231" y="8"/>
                </a:lnTo>
                <a:lnTo>
                  <a:pt x="227" y="9"/>
                </a:lnTo>
                <a:lnTo>
                  <a:pt x="225" y="9"/>
                </a:lnTo>
                <a:lnTo>
                  <a:pt x="219" y="12"/>
                </a:lnTo>
                <a:lnTo>
                  <a:pt x="222" y="14"/>
                </a:lnTo>
                <a:lnTo>
                  <a:pt x="217" y="12"/>
                </a:lnTo>
                <a:lnTo>
                  <a:pt x="214" y="12"/>
                </a:lnTo>
                <a:lnTo>
                  <a:pt x="213" y="12"/>
                </a:lnTo>
                <a:lnTo>
                  <a:pt x="202" y="16"/>
                </a:lnTo>
                <a:lnTo>
                  <a:pt x="195" y="17"/>
                </a:lnTo>
                <a:lnTo>
                  <a:pt x="193" y="17"/>
                </a:lnTo>
                <a:lnTo>
                  <a:pt x="187" y="17"/>
                </a:lnTo>
                <a:lnTo>
                  <a:pt x="183" y="17"/>
                </a:lnTo>
                <a:lnTo>
                  <a:pt x="178" y="19"/>
                </a:lnTo>
                <a:lnTo>
                  <a:pt x="177" y="19"/>
                </a:lnTo>
                <a:lnTo>
                  <a:pt x="175" y="19"/>
                </a:lnTo>
                <a:lnTo>
                  <a:pt x="173" y="20"/>
                </a:lnTo>
                <a:lnTo>
                  <a:pt x="171" y="19"/>
                </a:lnTo>
                <a:lnTo>
                  <a:pt x="169" y="20"/>
                </a:lnTo>
                <a:lnTo>
                  <a:pt x="154" y="23"/>
                </a:lnTo>
                <a:lnTo>
                  <a:pt x="151" y="23"/>
                </a:lnTo>
                <a:lnTo>
                  <a:pt x="150" y="22"/>
                </a:lnTo>
                <a:lnTo>
                  <a:pt x="148" y="22"/>
                </a:lnTo>
                <a:lnTo>
                  <a:pt x="149" y="23"/>
                </a:lnTo>
                <a:lnTo>
                  <a:pt x="148" y="23"/>
                </a:lnTo>
                <a:lnTo>
                  <a:pt x="140" y="27"/>
                </a:lnTo>
                <a:lnTo>
                  <a:pt x="133" y="27"/>
                </a:lnTo>
                <a:lnTo>
                  <a:pt x="130" y="28"/>
                </a:lnTo>
                <a:lnTo>
                  <a:pt x="129" y="28"/>
                </a:lnTo>
                <a:lnTo>
                  <a:pt x="124" y="30"/>
                </a:lnTo>
                <a:lnTo>
                  <a:pt x="116" y="33"/>
                </a:lnTo>
                <a:lnTo>
                  <a:pt x="109" y="33"/>
                </a:lnTo>
                <a:lnTo>
                  <a:pt x="108" y="34"/>
                </a:lnTo>
                <a:lnTo>
                  <a:pt x="108" y="33"/>
                </a:lnTo>
                <a:lnTo>
                  <a:pt x="104" y="33"/>
                </a:lnTo>
                <a:lnTo>
                  <a:pt x="102" y="33"/>
                </a:lnTo>
                <a:lnTo>
                  <a:pt x="101" y="34"/>
                </a:lnTo>
                <a:lnTo>
                  <a:pt x="104" y="34"/>
                </a:lnTo>
                <a:lnTo>
                  <a:pt x="105" y="34"/>
                </a:lnTo>
                <a:lnTo>
                  <a:pt x="106" y="36"/>
                </a:lnTo>
                <a:lnTo>
                  <a:pt x="100" y="38"/>
                </a:lnTo>
                <a:lnTo>
                  <a:pt x="100" y="39"/>
                </a:lnTo>
                <a:lnTo>
                  <a:pt x="98" y="39"/>
                </a:lnTo>
                <a:lnTo>
                  <a:pt x="93" y="41"/>
                </a:lnTo>
                <a:lnTo>
                  <a:pt x="92" y="39"/>
                </a:lnTo>
                <a:lnTo>
                  <a:pt x="88" y="39"/>
                </a:lnTo>
                <a:lnTo>
                  <a:pt x="92" y="41"/>
                </a:lnTo>
                <a:lnTo>
                  <a:pt x="94" y="42"/>
                </a:lnTo>
                <a:lnTo>
                  <a:pt x="84" y="41"/>
                </a:lnTo>
                <a:lnTo>
                  <a:pt x="81" y="41"/>
                </a:lnTo>
                <a:lnTo>
                  <a:pt x="81" y="42"/>
                </a:lnTo>
                <a:lnTo>
                  <a:pt x="82" y="42"/>
                </a:lnTo>
                <a:lnTo>
                  <a:pt x="84" y="44"/>
                </a:lnTo>
                <a:lnTo>
                  <a:pt x="81" y="42"/>
                </a:lnTo>
                <a:lnTo>
                  <a:pt x="80" y="42"/>
                </a:lnTo>
                <a:lnTo>
                  <a:pt x="82" y="44"/>
                </a:lnTo>
                <a:lnTo>
                  <a:pt x="81" y="45"/>
                </a:lnTo>
                <a:lnTo>
                  <a:pt x="78" y="45"/>
                </a:lnTo>
                <a:lnTo>
                  <a:pt x="77" y="44"/>
                </a:lnTo>
                <a:lnTo>
                  <a:pt x="69" y="42"/>
                </a:lnTo>
                <a:lnTo>
                  <a:pt x="72" y="44"/>
                </a:lnTo>
                <a:lnTo>
                  <a:pt x="74" y="45"/>
                </a:lnTo>
                <a:lnTo>
                  <a:pt x="77" y="47"/>
                </a:lnTo>
                <a:lnTo>
                  <a:pt x="77" y="49"/>
                </a:lnTo>
                <a:lnTo>
                  <a:pt x="76" y="49"/>
                </a:lnTo>
                <a:lnTo>
                  <a:pt x="74" y="49"/>
                </a:lnTo>
                <a:lnTo>
                  <a:pt x="74" y="50"/>
                </a:lnTo>
                <a:lnTo>
                  <a:pt x="73" y="49"/>
                </a:lnTo>
                <a:lnTo>
                  <a:pt x="72" y="49"/>
                </a:lnTo>
                <a:lnTo>
                  <a:pt x="72" y="50"/>
                </a:lnTo>
                <a:lnTo>
                  <a:pt x="73" y="50"/>
                </a:lnTo>
                <a:lnTo>
                  <a:pt x="72" y="50"/>
                </a:lnTo>
                <a:lnTo>
                  <a:pt x="69" y="50"/>
                </a:lnTo>
                <a:lnTo>
                  <a:pt x="69" y="52"/>
                </a:lnTo>
                <a:lnTo>
                  <a:pt x="68" y="52"/>
                </a:lnTo>
                <a:lnTo>
                  <a:pt x="66" y="52"/>
                </a:lnTo>
                <a:lnTo>
                  <a:pt x="64" y="52"/>
                </a:lnTo>
                <a:lnTo>
                  <a:pt x="62" y="50"/>
                </a:lnTo>
                <a:lnTo>
                  <a:pt x="58" y="49"/>
                </a:lnTo>
                <a:lnTo>
                  <a:pt x="57" y="50"/>
                </a:lnTo>
                <a:lnTo>
                  <a:pt x="58" y="50"/>
                </a:lnTo>
                <a:lnTo>
                  <a:pt x="54" y="52"/>
                </a:lnTo>
                <a:lnTo>
                  <a:pt x="58" y="52"/>
                </a:lnTo>
                <a:lnTo>
                  <a:pt x="61" y="52"/>
                </a:lnTo>
                <a:lnTo>
                  <a:pt x="61" y="53"/>
                </a:lnTo>
                <a:lnTo>
                  <a:pt x="64" y="53"/>
                </a:lnTo>
                <a:lnTo>
                  <a:pt x="62" y="53"/>
                </a:lnTo>
                <a:lnTo>
                  <a:pt x="62" y="55"/>
                </a:lnTo>
                <a:lnTo>
                  <a:pt x="62" y="56"/>
                </a:lnTo>
                <a:lnTo>
                  <a:pt x="60" y="56"/>
                </a:lnTo>
                <a:lnTo>
                  <a:pt x="58" y="55"/>
                </a:lnTo>
                <a:lnTo>
                  <a:pt x="56" y="55"/>
                </a:lnTo>
                <a:lnTo>
                  <a:pt x="49" y="55"/>
                </a:lnTo>
                <a:lnTo>
                  <a:pt x="46" y="55"/>
                </a:lnTo>
                <a:lnTo>
                  <a:pt x="49" y="55"/>
                </a:lnTo>
                <a:lnTo>
                  <a:pt x="53" y="56"/>
                </a:lnTo>
                <a:lnTo>
                  <a:pt x="57" y="58"/>
                </a:lnTo>
                <a:lnTo>
                  <a:pt x="58" y="58"/>
                </a:lnTo>
                <a:lnTo>
                  <a:pt x="57" y="60"/>
                </a:lnTo>
                <a:lnTo>
                  <a:pt x="56" y="60"/>
                </a:lnTo>
                <a:lnTo>
                  <a:pt x="52" y="60"/>
                </a:lnTo>
                <a:lnTo>
                  <a:pt x="50" y="58"/>
                </a:lnTo>
                <a:lnTo>
                  <a:pt x="48" y="58"/>
                </a:lnTo>
                <a:lnTo>
                  <a:pt x="49" y="60"/>
                </a:lnTo>
                <a:lnTo>
                  <a:pt x="50" y="61"/>
                </a:lnTo>
                <a:lnTo>
                  <a:pt x="53" y="61"/>
                </a:lnTo>
                <a:lnTo>
                  <a:pt x="53" y="63"/>
                </a:lnTo>
                <a:lnTo>
                  <a:pt x="50" y="63"/>
                </a:lnTo>
                <a:lnTo>
                  <a:pt x="49" y="64"/>
                </a:lnTo>
                <a:lnTo>
                  <a:pt x="48" y="64"/>
                </a:lnTo>
                <a:lnTo>
                  <a:pt x="46" y="66"/>
                </a:lnTo>
                <a:lnTo>
                  <a:pt x="44" y="66"/>
                </a:lnTo>
                <a:lnTo>
                  <a:pt x="41" y="64"/>
                </a:lnTo>
                <a:lnTo>
                  <a:pt x="37" y="64"/>
                </a:lnTo>
                <a:lnTo>
                  <a:pt x="32" y="64"/>
                </a:lnTo>
                <a:lnTo>
                  <a:pt x="27" y="64"/>
                </a:lnTo>
                <a:lnTo>
                  <a:pt x="23" y="63"/>
                </a:lnTo>
                <a:lnTo>
                  <a:pt x="17" y="63"/>
                </a:lnTo>
                <a:lnTo>
                  <a:pt x="11" y="64"/>
                </a:lnTo>
                <a:lnTo>
                  <a:pt x="7" y="64"/>
                </a:lnTo>
                <a:lnTo>
                  <a:pt x="11" y="63"/>
                </a:lnTo>
                <a:lnTo>
                  <a:pt x="11" y="61"/>
                </a:lnTo>
                <a:lnTo>
                  <a:pt x="9" y="61"/>
                </a:lnTo>
                <a:lnTo>
                  <a:pt x="11" y="60"/>
                </a:lnTo>
                <a:lnTo>
                  <a:pt x="16" y="58"/>
                </a:lnTo>
                <a:lnTo>
                  <a:pt x="17" y="60"/>
                </a:lnTo>
                <a:lnTo>
                  <a:pt x="21" y="58"/>
                </a:lnTo>
                <a:lnTo>
                  <a:pt x="19" y="56"/>
                </a:lnTo>
                <a:lnTo>
                  <a:pt x="17" y="58"/>
                </a:lnTo>
                <a:lnTo>
                  <a:pt x="15" y="58"/>
                </a:lnTo>
                <a:lnTo>
                  <a:pt x="12" y="60"/>
                </a:lnTo>
                <a:lnTo>
                  <a:pt x="5" y="60"/>
                </a:lnTo>
                <a:lnTo>
                  <a:pt x="5" y="58"/>
                </a:lnTo>
                <a:lnTo>
                  <a:pt x="1" y="56"/>
                </a:lnTo>
                <a:lnTo>
                  <a:pt x="0" y="56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68" name="Freeform 991"/>
          <p:cNvSpPr>
            <a:spLocks/>
          </p:cNvSpPr>
          <p:nvPr/>
        </p:nvSpPr>
        <p:spPr bwMode="auto">
          <a:xfrm>
            <a:off x="7215937" y="1631831"/>
            <a:ext cx="440432" cy="111675"/>
          </a:xfrm>
          <a:custGeom>
            <a:avLst/>
            <a:gdLst/>
            <a:ahLst/>
            <a:cxnLst>
              <a:cxn ang="0">
                <a:pos x="5" y="55"/>
              </a:cxn>
              <a:cxn ang="0">
                <a:pos x="17" y="50"/>
              </a:cxn>
              <a:cxn ang="0">
                <a:pos x="32" y="52"/>
              </a:cxn>
              <a:cxn ang="0">
                <a:pos x="21" y="49"/>
              </a:cxn>
              <a:cxn ang="0">
                <a:pos x="23" y="45"/>
              </a:cxn>
              <a:cxn ang="0">
                <a:pos x="33" y="44"/>
              </a:cxn>
              <a:cxn ang="0">
                <a:pos x="27" y="41"/>
              </a:cxn>
              <a:cxn ang="0">
                <a:pos x="41" y="41"/>
              </a:cxn>
              <a:cxn ang="0">
                <a:pos x="38" y="39"/>
              </a:cxn>
              <a:cxn ang="0">
                <a:pos x="32" y="38"/>
              </a:cxn>
              <a:cxn ang="0">
                <a:pos x="31" y="34"/>
              </a:cxn>
              <a:cxn ang="0">
                <a:pos x="29" y="33"/>
              </a:cxn>
              <a:cxn ang="0">
                <a:pos x="35" y="33"/>
              </a:cxn>
              <a:cxn ang="0">
                <a:pos x="45" y="30"/>
              </a:cxn>
              <a:cxn ang="0">
                <a:pos x="64" y="27"/>
              </a:cxn>
              <a:cxn ang="0">
                <a:pos x="69" y="23"/>
              </a:cxn>
              <a:cxn ang="0">
                <a:pos x="74" y="20"/>
              </a:cxn>
              <a:cxn ang="0">
                <a:pos x="94" y="17"/>
              </a:cxn>
              <a:cxn ang="0">
                <a:pos x="105" y="14"/>
              </a:cxn>
              <a:cxn ang="0">
                <a:pos x="106" y="16"/>
              </a:cxn>
              <a:cxn ang="0">
                <a:pos x="109" y="12"/>
              </a:cxn>
              <a:cxn ang="0">
                <a:pos x="117" y="11"/>
              </a:cxn>
              <a:cxn ang="0">
                <a:pos x="134" y="12"/>
              </a:cxn>
              <a:cxn ang="0">
                <a:pos x="154" y="11"/>
              </a:cxn>
              <a:cxn ang="0">
                <a:pos x="162" y="11"/>
              </a:cxn>
              <a:cxn ang="0">
                <a:pos x="175" y="8"/>
              </a:cxn>
              <a:cxn ang="0">
                <a:pos x="183" y="6"/>
              </a:cxn>
              <a:cxn ang="0">
                <a:pos x="189" y="1"/>
              </a:cxn>
              <a:cxn ang="0">
                <a:pos x="199" y="1"/>
              </a:cxn>
              <a:cxn ang="0">
                <a:pos x="226" y="1"/>
              </a:cxn>
              <a:cxn ang="0">
                <a:pos x="231" y="6"/>
              </a:cxn>
              <a:cxn ang="0">
                <a:pos x="227" y="9"/>
              </a:cxn>
              <a:cxn ang="0">
                <a:pos x="217" y="12"/>
              </a:cxn>
              <a:cxn ang="0">
                <a:pos x="195" y="17"/>
              </a:cxn>
              <a:cxn ang="0">
                <a:pos x="178" y="19"/>
              </a:cxn>
              <a:cxn ang="0">
                <a:pos x="171" y="19"/>
              </a:cxn>
              <a:cxn ang="0">
                <a:pos x="150" y="22"/>
              </a:cxn>
              <a:cxn ang="0">
                <a:pos x="140" y="27"/>
              </a:cxn>
              <a:cxn ang="0">
                <a:pos x="124" y="30"/>
              </a:cxn>
              <a:cxn ang="0">
                <a:pos x="108" y="33"/>
              </a:cxn>
              <a:cxn ang="0">
                <a:pos x="104" y="34"/>
              </a:cxn>
              <a:cxn ang="0">
                <a:pos x="100" y="39"/>
              </a:cxn>
              <a:cxn ang="0">
                <a:pos x="88" y="39"/>
              </a:cxn>
              <a:cxn ang="0">
                <a:pos x="81" y="41"/>
              </a:cxn>
              <a:cxn ang="0">
                <a:pos x="81" y="42"/>
              </a:cxn>
              <a:cxn ang="0">
                <a:pos x="78" y="45"/>
              </a:cxn>
              <a:cxn ang="0">
                <a:pos x="74" y="45"/>
              </a:cxn>
              <a:cxn ang="0">
                <a:pos x="74" y="49"/>
              </a:cxn>
              <a:cxn ang="0">
                <a:pos x="72" y="50"/>
              </a:cxn>
            </a:cxnLst>
            <a:rect l="0" t="0" r="r" b="b"/>
            <a:pathLst>
              <a:path w="231" h="56">
                <a:moveTo>
                  <a:pt x="0" y="56"/>
                </a:moveTo>
                <a:lnTo>
                  <a:pt x="0" y="55"/>
                </a:lnTo>
                <a:lnTo>
                  <a:pt x="1" y="56"/>
                </a:lnTo>
                <a:lnTo>
                  <a:pt x="5" y="55"/>
                </a:lnTo>
                <a:lnTo>
                  <a:pt x="9" y="53"/>
                </a:lnTo>
                <a:lnTo>
                  <a:pt x="17" y="53"/>
                </a:lnTo>
                <a:lnTo>
                  <a:pt x="16" y="52"/>
                </a:lnTo>
                <a:lnTo>
                  <a:pt x="17" y="50"/>
                </a:lnTo>
                <a:lnTo>
                  <a:pt x="21" y="50"/>
                </a:lnTo>
                <a:lnTo>
                  <a:pt x="24" y="50"/>
                </a:lnTo>
                <a:lnTo>
                  <a:pt x="28" y="50"/>
                </a:lnTo>
                <a:lnTo>
                  <a:pt x="32" y="52"/>
                </a:lnTo>
                <a:lnTo>
                  <a:pt x="37" y="52"/>
                </a:lnTo>
                <a:lnTo>
                  <a:pt x="35" y="50"/>
                </a:lnTo>
                <a:lnTo>
                  <a:pt x="24" y="49"/>
                </a:lnTo>
                <a:lnTo>
                  <a:pt x="21" y="49"/>
                </a:lnTo>
                <a:lnTo>
                  <a:pt x="24" y="49"/>
                </a:lnTo>
                <a:lnTo>
                  <a:pt x="29" y="49"/>
                </a:lnTo>
                <a:lnTo>
                  <a:pt x="29" y="47"/>
                </a:lnTo>
                <a:lnTo>
                  <a:pt x="23" y="45"/>
                </a:lnTo>
                <a:lnTo>
                  <a:pt x="24" y="45"/>
                </a:lnTo>
                <a:lnTo>
                  <a:pt x="33" y="45"/>
                </a:lnTo>
                <a:lnTo>
                  <a:pt x="36" y="44"/>
                </a:lnTo>
                <a:lnTo>
                  <a:pt x="33" y="44"/>
                </a:lnTo>
                <a:lnTo>
                  <a:pt x="31" y="44"/>
                </a:lnTo>
                <a:lnTo>
                  <a:pt x="29" y="42"/>
                </a:lnTo>
                <a:lnTo>
                  <a:pt x="27" y="42"/>
                </a:lnTo>
                <a:lnTo>
                  <a:pt x="27" y="41"/>
                </a:lnTo>
                <a:lnTo>
                  <a:pt x="28" y="41"/>
                </a:lnTo>
                <a:lnTo>
                  <a:pt x="29" y="41"/>
                </a:lnTo>
                <a:lnTo>
                  <a:pt x="36" y="41"/>
                </a:lnTo>
                <a:lnTo>
                  <a:pt x="41" y="41"/>
                </a:lnTo>
                <a:lnTo>
                  <a:pt x="45" y="39"/>
                </a:lnTo>
                <a:lnTo>
                  <a:pt x="41" y="41"/>
                </a:lnTo>
                <a:lnTo>
                  <a:pt x="40" y="39"/>
                </a:lnTo>
                <a:lnTo>
                  <a:pt x="38" y="39"/>
                </a:lnTo>
                <a:lnTo>
                  <a:pt x="36" y="39"/>
                </a:lnTo>
                <a:lnTo>
                  <a:pt x="31" y="39"/>
                </a:lnTo>
                <a:lnTo>
                  <a:pt x="29" y="38"/>
                </a:lnTo>
                <a:lnTo>
                  <a:pt x="32" y="38"/>
                </a:lnTo>
                <a:lnTo>
                  <a:pt x="33" y="34"/>
                </a:lnTo>
                <a:lnTo>
                  <a:pt x="32" y="36"/>
                </a:lnTo>
                <a:lnTo>
                  <a:pt x="32" y="34"/>
                </a:lnTo>
                <a:lnTo>
                  <a:pt x="31" y="34"/>
                </a:lnTo>
                <a:lnTo>
                  <a:pt x="29" y="36"/>
                </a:lnTo>
                <a:lnTo>
                  <a:pt x="28" y="34"/>
                </a:lnTo>
                <a:lnTo>
                  <a:pt x="27" y="33"/>
                </a:lnTo>
                <a:lnTo>
                  <a:pt x="29" y="33"/>
                </a:lnTo>
                <a:lnTo>
                  <a:pt x="28" y="33"/>
                </a:lnTo>
                <a:lnTo>
                  <a:pt x="29" y="31"/>
                </a:lnTo>
                <a:lnTo>
                  <a:pt x="35" y="31"/>
                </a:lnTo>
                <a:lnTo>
                  <a:pt x="35" y="33"/>
                </a:lnTo>
                <a:lnTo>
                  <a:pt x="36" y="33"/>
                </a:lnTo>
                <a:lnTo>
                  <a:pt x="42" y="33"/>
                </a:lnTo>
                <a:lnTo>
                  <a:pt x="45" y="31"/>
                </a:lnTo>
                <a:lnTo>
                  <a:pt x="45" y="30"/>
                </a:lnTo>
                <a:lnTo>
                  <a:pt x="50" y="28"/>
                </a:lnTo>
                <a:lnTo>
                  <a:pt x="57" y="30"/>
                </a:lnTo>
                <a:lnTo>
                  <a:pt x="62" y="28"/>
                </a:lnTo>
                <a:lnTo>
                  <a:pt x="64" y="27"/>
                </a:lnTo>
                <a:lnTo>
                  <a:pt x="62" y="25"/>
                </a:lnTo>
                <a:lnTo>
                  <a:pt x="65" y="25"/>
                </a:lnTo>
                <a:lnTo>
                  <a:pt x="64" y="23"/>
                </a:lnTo>
                <a:lnTo>
                  <a:pt x="69" y="23"/>
                </a:lnTo>
                <a:lnTo>
                  <a:pt x="72" y="23"/>
                </a:lnTo>
                <a:lnTo>
                  <a:pt x="74" y="23"/>
                </a:lnTo>
                <a:lnTo>
                  <a:pt x="73" y="22"/>
                </a:lnTo>
                <a:lnTo>
                  <a:pt x="74" y="20"/>
                </a:lnTo>
                <a:lnTo>
                  <a:pt x="77" y="20"/>
                </a:lnTo>
                <a:lnTo>
                  <a:pt x="84" y="19"/>
                </a:lnTo>
                <a:lnTo>
                  <a:pt x="92" y="17"/>
                </a:lnTo>
                <a:lnTo>
                  <a:pt x="94" y="17"/>
                </a:lnTo>
                <a:lnTo>
                  <a:pt x="94" y="16"/>
                </a:lnTo>
                <a:lnTo>
                  <a:pt x="96" y="16"/>
                </a:lnTo>
                <a:lnTo>
                  <a:pt x="102" y="14"/>
                </a:lnTo>
                <a:lnTo>
                  <a:pt x="105" y="14"/>
                </a:lnTo>
                <a:lnTo>
                  <a:pt x="104" y="16"/>
                </a:lnTo>
                <a:lnTo>
                  <a:pt x="102" y="17"/>
                </a:lnTo>
                <a:lnTo>
                  <a:pt x="105" y="17"/>
                </a:lnTo>
                <a:lnTo>
                  <a:pt x="106" y="16"/>
                </a:lnTo>
                <a:lnTo>
                  <a:pt x="112" y="16"/>
                </a:lnTo>
                <a:lnTo>
                  <a:pt x="113" y="14"/>
                </a:lnTo>
                <a:lnTo>
                  <a:pt x="110" y="14"/>
                </a:lnTo>
                <a:lnTo>
                  <a:pt x="109" y="12"/>
                </a:lnTo>
                <a:lnTo>
                  <a:pt x="112" y="12"/>
                </a:lnTo>
                <a:lnTo>
                  <a:pt x="112" y="11"/>
                </a:lnTo>
                <a:lnTo>
                  <a:pt x="110" y="11"/>
                </a:lnTo>
                <a:lnTo>
                  <a:pt x="117" y="11"/>
                </a:lnTo>
                <a:lnTo>
                  <a:pt x="129" y="12"/>
                </a:lnTo>
                <a:lnTo>
                  <a:pt x="129" y="14"/>
                </a:lnTo>
                <a:lnTo>
                  <a:pt x="133" y="14"/>
                </a:lnTo>
                <a:lnTo>
                  <a:pt x="134" y="12"/>
                </a:lnTo>
                <a:lnTo>
                  <a:pt x="138" y="12"/>
                </a:lnTo>
                <a:lnTo>
                  <a:pt x="150" y="11"/>
                </a:lnTo>
                <a:lnTo>
                  <a:pt x="153" y="11"/>
                </a:lnTo>
                <a:lnTo>
                  <a:pt x="154" y="11"/>
                </a:lnTo>
                <a:lnTo>
                  <a:pt x="157" y="11"/>
                </a:lnTo>
                <a:lnTo>
                  <a:pt x="158" y="11"/>
                </a:lnTo>
                <a:lnTo>
                  <a:pt x="161" y="11"/>
                </a:lnTo>
                <a:lnTo>
                  <a:pt x="162" y="11"/>
                </a:lnTo>
                <a:lnTo>
                  <a:pt x="163" y="11"/>
                </a:lnTo>
                <a:lnTo>
                  <a:pt x="169" y="9"/>
                </a:lnTo>
                <a:lnTo>
                  <a:pt x="174" y="9"/>
                </a:lnTo>
                <a:lnTo>
                  <a:pt x="175" y="8"/>
                </a:lnTo>
                <a:lnTo>
                  <a:pt x="177" y="6"/>
                </a:lnTo>
                <a:lnTo>
                  <a:pt x="179" y="8"/>
                </a:lnTo>
                <a:lnTo>
                  <a:pt x="182" y="8"/>
                </a:lnTo>
                <a:lnTo>
                  <a:pt x="183" y="6"/>
                </a:lnTo>
                <a:lnTo>
                  <a:pt x="182" y="5"/>
                </a:lnTo>
                <a:lnTo>
                  <a:pt x="183" y="3"/>
                </a:lnTo>
                <a:lnTo>
                  <a:pt x="187" y="3"/>
                </a:lnTo>
                <a:lnTo>
                  <a:pt x="189" y="1"/>
                </a:lnTo>
                <a:lnTo>
                  <a:pt x="191" y="1"/>
                </a:lnTo>
                <a:lnTo>
                  <a:pt x="195" y="1"/>
                </a:lnTo>
                <a:lnTo>
                  <a:pt x="195" y="0"/>
                </a:lnTo>
                <a:lnTo>
                  <a:pt x="199" y="1"/>
                </a:lnTo>
                <a:lnTo>
                  <a:pt x="206" y="0"/>
                </a:lnTo>
                <a:lnTo>
                  <a:pt x="215" y="0"/>
                </a:lnTo>
                <a:lnTo>
                  <a:pt x="223" y="0"/>
                </a:lnTo>
                <a:lnTo>
                  <a:pt x="226" y="1"/>
                </a:lnTo>
                <a:lnTo>
                  <a:pt x="229" y="1"/>
                </a:lnTo>
                <a:lnTo>
                  <a:pt x="229" y="3"/>
                </a:lnTo>
                <a:lnTo>
                  <a:pt x="231" y="5"/>
                </a:lnTo>
                <a:lnTo>
                  <a:pt x="231" y="6"/>
                </a:lnTo>
                <a:lnTo>
                  <a:pt x="229" y="6"/>
                </a:lnTo>
                <a:lnTo>
                  <a:pt x="227" y="8"/>
                </a:lnTo>
                <a:lnTo>
                  <a:pt x="231" y="8"/>
                </a:lnTo>
                <a:lnTo>
                  <a:pt x="227" y="9"/>
                </a:lnTo>
                <a:lnTo>
                  <a:pt x="225" y="9"/>
                </a:lnTo>
                <a:lnTo>
                  <a:pt x="219" y="12"/>
                </a:lnTo>
                <a:lnTo>
                  <a:pt x="222" y="14"/>
                </a:lnTo>
                <a:lnTo>
                  <a:pt x="217" y="12"/>
                </a:lnTo>
                <a:lnTo>
                  <a:pt x="214" y="12"/>
                </a:lnTo>
                <a:lnTo>
                  <a:pt x="213" y="12"/>
                </a:lnTo>
                <a:lnTo>
                  <a:pt x="202" y="16"/>
                </a:lnTo>
                <a:lnTo>
                  <a:pt x="195" y="17"/>
                </a:lnTo>
                <a:lnTo>
                  <a:pt x="193" y="17"/>
                </a:lnTo>
                <a:lnTo>
                  <a:pt x="187" y="17"/>
                </a:lnTo>
                <a:lnTo>
                  <a:pt x="183" y="17"/>
                </a:lnTo>
                <a:lnTo>
                  <a:pt x="178" y="19"/>
                </a:lnTo>
                <a:lnTo>
                  <a:pt x="177" y="19"/>
                </a:lnTo>
                <a:lnTo>
                  <a:pt x="175" y="19"/>
                </a:lnTo>
                <a:lnTo>
                  <a:pt x="173" y="20"/>
                </a:lnTo>
                <a:lnTo>
                  <a:pt x="171" y="19"/>
                </a:lnTo>
                <a:lnTo>
                  <a:pt x="169" y="20"/>
                </a:lnTo>
                <a:lnTo>
                  <a:pt x="154" y="23"/>
                </a:lnTo>
                <a:lnTo>
                  <a:pt x="151" y="23"/>
                </a:lnTo>
                <a:lnTo>
                  <a:pt x="150" y="22"/>
                </a:lnTo>
                <a:lnTo>
                  <a:pt x="148" y="22"/>
                </a:lnTo>
                <a:lnTo>
                  <a:pt x="149" y="23"/>
                </a:lnTo>
                <a:lnTo>
                  <a:pt x="148" y="23"/>
                </a:lnTo>
                <a:lnTo>
                  <a:pt x="140" y="27"/>
                </a:lnTo>
                <a:lnTo>
                  <a:pt x="133" y="27"/>
                </a:lnTo>
                <a:lnTo>
                  <a:pt x="130" y="28"/>
                </a:lnTo>
                <a:lnTo>
                  <a:pt x="129" y="28"/>
                </a:lnTo>
                <a:lnTo>
                  <a:pt x="124" y="30"/>
                </a:lnTo>
                <a:lnTo>
                  <a:pt x="116" y="33"/>
                </a:lnTo>
                <a:lnTo>
                  <a:pt x="109" y="33"/>
                </a:lnTo>
                <a:lnTo>
                  <a:pt x="108" y="34"/>
                </a:lnTo>
                <a:lnTo>
                  <a:pt x="108" y="33"/>
                </a:lnTo>
                <a:lnTo>
                  <a:pt x="104" y="33"/>
                </a:lnTo>
                <a:lnTo>
                  <a:pt x="102" y="33"/>
                </a:lnTo>
                <a:lnTo>
                  <a:pt x="101" y="34"/>
                </a:lnTo>
                <a:lnTo>
                  <a:pt x="104" y="34"/>
                </a:lnTo>
                <a:lnTo>
                  <a:pt x="105" y="34"/>
                </a:lnTo>
                <a:lnTo>
                  <a:pt x="106" y="36"/>
                </a:lnTo>
                <a:lnTo>
                  <a:pt x="100" y="38"/>
                </a:lnTo>
                <a:lnTo>
                  <a:pt x="100" y="39"/>
                </a:lnTo>
                <a:lnTo>
                  <a:pt x="98" y="39"/>
                </a:lnTo>
                <a:lnTo>
                  <a:pt x="93" y="41"/>
                </a:lnTo>
                <a:lnTo>
                  <a:pt x="92" y="39"/>
                </a:lnTo>
                <a:lnTo>
                  <a:pt x="88" y="39"/>
                </a:lnTo>
                <a:lnTo>
                  <a:pt x="92" y="41"/>
                </a:lnTo>
                <a:lnTo>
                  <a:pt x="94" y="42"/>
                </a:lnTo>
                <a:lnTo>
                  <a:pt x="84" y="41"/>
                </a:lnTo>
                <a:lnTo>
                  <a:pt x="81" y="41"/>
                </a:lnTo>
                <a:lnTo>
                  <a:pt x="81" y="42"/>
                </a:lnTo>
                <a:lnTo>
                  <a:pt x="82" y="42"/>
                </a:lnTo>
                <a:lnTo>
                  <a:pt x="84" y="44"/>
                </a:lnTo>
                <a:lnTo>
                  <a:pt x="81" y="42"/>
                </a:lnTo>
                <a:lnTo>
                  <a:pt x="80" y="42"/>
                </a:lnTo>
                <a:lnTo>
                  <a:pt x="82" y="44"/>
                </a:lnTo>
                <a:lnTo>
                  <a:pt x="81" y="45"/>
                </a:lnTo>
                <a:lnTo>
                  <a:pt x="78" y="45"/>
                </a:lnTo>
                <a:lnTo>
                  <a:pt x="77" y="44"/>
                </a:lnTo>
                <a:lnTo>
                  <a:pt x="69" y="42"/>
                </a:lnTo>
                <a:lnTo>
                  <a:pt x="72" y="44"/>
                </a:lnTo>
                <a:lnTo>
                  <a:pt x="74" y="45"/>
                </a:lnTo>
                <a:lnTo>
                  <a:pt x="77" y="47"/>
                </a:lnTo>
                <a:lnTo>
                  <a:pt x="77" y="49"/>
                </a:lnTo>
                <a:lnTo>
                  <a:pt x="76" y="49"/>
                </a:lnTo>
                <a:lnTo>
                  <a:pt x="74" y="49"/>
                </a:lnTo>
                <a:lnTo>
                  <a:pt x="74" y="50"/>
                </a:lnTo>
                <a:lnTo>
                  <a:pt x="73" y="49"/>
                </a:lnTo>
                <a:lnTo>
                  <a:pt x="72" y="49"/>
                </a:lnTo>
                <a:lnTo>
                  <a:pt x="72" y="50"/>
                </a:lnTo>
                <a:lnTo>
                  <a:pt x="73" y="50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69" name="Freeform 992"/>
          <p:cNvSpPr>
            <a:spLocks/>
          </p:cNvSpPr>
          <p:nvPr/>
        </p:nvSpPr>
        <p:spPr bwMode="auto">
          <a:xfrm>
            <a:off x="7178911" y="1829413"/>
            <a:ext cx="25333" cy="12885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0" y="0"/>
              </a:cxn>
              <a:cxn ang="0">
                <a:pos x="4" y="0"/>
              </a:cxn>
              <a:cxn ang="0">
                <a:pos x="7" y="0"/>
              </a:cxn>
              <a:cxn ang="0">
                <a:pos x="9" y="1"/>
              </a:cxn>
              <a:cxn ang="0">
                <a:pos x="13" y="3"/>
              </a:cxn>
              <a:cxn ang="0">
                <a:pos x="13" y="4"/>
              </a:cxn>
              <a:cxn ang="0">
                <a:pos x="12" y="6"/>
              </a:cxn>
              <a:cxn ang="0">
                <a:pos x="13" y="8"/>
              </a:cxn>
              <a:cxn ang="0">
                <a:pos x="12" y="8"/>
              </a:cxn>
              <a:cxn ang="0">
                <a:pos x="11" y="6"/>
              </a:cxn>
              <a:cxn ang="0">
                <a:pos x="8" y="4"/>
              </a:cxn>
              <a:cxn ang="0">
                <a:pos x="7" y="3"/>
              </a:cxn>
              <a:cxn ang="0">
                <a:pos x="1" y="1"/>
              </a:cxn>
              <a:cxn ang="0">
                <a:pos x="0" y="1"/>
              </a:cxn>
            </a:cxnLst>
            <a:rect l="0" t="0" r="r" b="b"/>
            <a:pathLst>
              <a:path w="13" h="8">
                <a:moveTo>
                  <a:pt x="0" y="1"/>
                </a:moveTo>
                <a:lnTo>
                  <a:pt x="0" y="0"/>
                </a:lnTo>
                <a:lnTo>
                  <a:pt x="4" y="0"/>
                </a:lnTo>
                <a:lnTo>
                  <a:pt x="7" y="0"/>
                </a:lnTo>
                <a:lnTo>
                  <a:pt x="9" y="1"/>
                </a:lnTo>
                <a:lnTo>
                  <a:pt x="13" y="3"/>
                </a:lnTo>
                <a:lnTo>
                  <a:pt x="13" y="4"/>
                </a:lnTo>
                <a:lnTo>
                  <a:pt x="12" y="6"/>
                </a:lnTo>
                <a:lnTo>
                  <a:pt x="13" y="8"/>
                </a:lnTo>
                <a:lnTo>
                  <a:pt x="12" y="8"/>
                </a:lnTo>
                <a:lnTo>
                  <a:pt x="11" y="6"/>
                </a:lnTo>
                <a:lnTo>
                  <a:pt x="8" y="4"/>
                </a:lnTo>
                <a:lnTo>
                  <a:pt x="7" y="3"/>
                </a:lnTo>
                <a:lnTo>
                  <a:pt x="1" y="1"/>
                </a:lnTo>
                <a:lnTo>
                  <a:pt x="0" y="1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70" name="Freeform 993"/>
          <p:cNvSpPr>
            <a:spLocks/>
          </p:cNvSpPr>
          <p:nvPr/>
        </p:nvSpPr>
        <p:spPr bwMode="auto">
          <a:xfrm>
            <a:off x="7178911" y="1829413"/>
            <a:ext cx="25333" cy="12885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0" y="0"/>
              </a:cxn>
              <a:cxn ang="0">
                <a:pos x="4" y="0"/>
              </a:cxn>
              <a:cxn ang="0">
                <a:pos x="7" y="0"/>
              </a:cxn>
              <a:cxn ang="0">
                <a:pos x="9" y="1"/>
              </a:cxn>
              <a:cxn ang="0">
                <a:pos x="13" y="3"/>
              </a:cxn>
              <a:cxn ang="0">
                <a:pos x="13" y="4"/>
              </a:cxn>
              <a:cxn ang="0">
                <a:pos x="12" y="6"/>
              </a:cxn>
              <a:cxn ang="0">
                <a:pos x="13" y="8"/>
              </a:cxn>
              <a:cxn ang="0">
                <a:pos x="12" y="8"/>
              </a:cxn>
              <a:cxn ang="0">
                <a:pos x="11" y="6"/>
              </a:cxn>
              <a:cxn ang="0">
                <a:pos x="8" y="4"/>
              </a:cxn>
              <a:cxn ang="0">
                <a:pos x="7" y="3"/>
              </a:cxn>
              <a:cxn ang="0">
                <a:pos x="1" y="1"/>
              </a:cxn>
              <a:cxn ang="0">
                <a:pos x="0" y="1"/>
              </a:cxn>
            </a:cxnLst>
            <a:rect l="0" t="0" r="r" b="b"/>
            <a:pathLst>
              <a:path w="13" h="8">
                <a:moveTo>
                  <a:pt x="0" y="1"/>
                </a:moveTo>
                <a:lnTo>
                  <a:pt x="0" y="0"/>
                </a:lnTo>
                <a:lnTo>
                  <a:pt x="4" y="0"/>
                </a:lnTo>
                <a:lnTo>
                  <a:pt x="7" y="0"/>
                </a:lnTo>
                <a:lnTo>
                  <a:pt x="9" y="1"/>
                </a:lnTo>
                <a:lnTo>
                  <a:pt x="13" y="3"/>
                </a:lnTo>
                <a:lnTo>
                  <a:pt x="13" y="4"/>
                </a:lnTo>
                <a:lnTo>
                  <a:pt x="12" y="6"/>
                </a:lnTo>
                <a:lnTo>
                  <a:pt x="13" y="8"/>
                </a:lnTo>
                <a:lnTo>
                  <a:pt x="12" y="8"/>
                </a:lnTo>
                <a:lnTo>
                  <a:pt x="11" y="6"/>
                </a:lnTo>
                <a:lnTo>
                  <a:pt x="8" y="4"/>
                </a:lnTo>
                <a:lnTo>
                  <a:pt x="7" y="3"/>
                </a:lnTo>
                <a:lnTo>
                  <a:pt x="1" y="1"/>
                </a:lnTo>
                <a:lnTo>
                  <a:pt x="0" y="1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71" name="Freeform 994"/>
          <p:cNvSpPr>
            <a:spLocks/>
          </p:cNvSpPr>
          <p:nvPr/>
        </p:nvSpPr>
        <p:spPr bwMode="auto">
          <a:xfrm>
            <a:off x="8412509" y="1653308"/>
            <a:ext cx="38977" cy="4295"/>
          </a:xfrm>
          <a:custGeom>
            <a:avLst/>
            <a:gdLst/>
            <a:ahLst/>
            <a:cxnLst>
              <a:cxn ang="0">
                <a:pos x="16" y="0"/>
              </a:cxn>
              <a:cxn ang="0">
                <a:pos x="16" y="1"/>
              </a:cxn>
              <a:cxn ang="0">
                <a:pos x="16" y="3"/>
              </a:cxn>
              <a:cxn ang="0">
                <a:pos x="8" y="3"/>
              </a:cxn>
              <a:cxn ang="0">
                <a:pos x="4" y="1"/>
              </a:cxn>
              <a:cxn ang="0">
                <a:pos x="1" y="1"/>
              </a:cxn>
              <a:cxn ang="0">
                <a:pos x="0" y="0"/>
              </a:cxn>
              <a:cxn ang="0">
                <a:pos x="1" y="0"/>
              </a:cxn>
              <a:cxn ang="0">
                <a:pos x="3" y="1"/>
              </a:cxn>
              <a:cxn ang="0">
                <a:pos x="4" y="1"/>
              </a:cxn>
              <a:cxn ang="0">
                <a:pos x="5" y="0"/>
              </a:cxn>
              <a:cxn ang="0">
                <a:pos x="7" y="0"/>
              </a:cxn>
              <a:cxn ang="0">
                <a:pos x="12" y="1"/>
              </a:cxn>
              <a:cxn ang="0">
                <a:pos x="16" y="0"/>
              </a:cxn>
              <a:cxn ang="0">
                <a:pos x="17" y="0"/>
              </a:cxn>
              <a:cxn ang="0">
                <a:pos x="20" y="1"/>
              </a:cxn>
              <a:cxn ang="0">
                <a:pos x="20" y="3"/>
              </a:cxn>
              <a:cxn ang="0">
                <a:pos x="19" y="1"/>
              </a:cxn>
              <a:cxn ang="0">
                <a:pos x="16" y="0"/>
              </a:cxn>
            </a:cxnLst>
            <a:rect l="0" t="0" r="r" b="b"/>
            <a:pathLst>
              <a:path w="20" h="3">
                <a:moveTo>
                  <a:pt x="16" y="0"/>
                </a:moveTo>
                <a:lnTo>
                  <a:pt x="16" y="1"/>
                </a:lnTo>
                <a:lnTo>
                  <a:pt x="16" y="3"/>
                </a:lnTo>
                <a:lnTo>
                  <a:pt x="8" y="3"/>
                </a:lnTo>
                <a:lnTo>
                  <a:pt x="4" y="1"/>
                </a:lnTo>
                <a:lnTo>
                  <a:pt x="1" y="1"/>
                </a:lnTo>
                <a:lnTo>
                  <a:pt x="0" y="0"/>
                </a:lnTo>
                <a:lnTo>
                  <a:pt x="1" y="0"/>
                </a:lnTo>
                <a:lnTo>
                  <a:pt x="3" y="1"/>
                </a:lnTo>
                <a:lnTo>
                  <a:pt x="4" y="1"/>
                </a:lnTo>
                <a:lnTo>
                  <a:pt x="5" y="0"/>
                </a:lnTo>
                <a:lnTo>
                  <a:pt x="7" y="0"/>
                </a:lnTo>
                <a:lnTo>
                  <a:pt x="12" y="1"/>
                </a:lnTo>
                <a:lnTo>
                  <a:pt x="16" y="0"/>
                </a:lnTo>
                <a:lnTo>
                  <a:pt x="17" y="0"/>
                </a:lnTo>
                <a:lnTo>
                  <a:pt x="20" y="1"/>
                </a:lnTo>
                <a:lnTo>
                  <a:pt x="20" y="3"/>
                </a:lnTo>
                <a:lnTo>
                  <a:pt x="19" y="1"/>
                </a:lnTo>
                <a:lnTo>
                  <a:pt x="16" y="0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72" name="Freeform 995"/>
          <p:cNvSpPr>
            <a:spLocks/>
          </p:cNvSpPr>
          <p:nvPr/>
        </p:nvSpPr>
        <p:spPr bwMode="auto">
          <a:xfrm>
            <a:off x="8412509" y="1653308"/>
            <a:ext cx="38977" cy="4295"/>
          </a:xfrm>
          <a:custGeom>
            <a:avLst/>
            <a:gdLst/>
            <a:ahLst/>
            <a:cxnLst>
              <a:cxn ang="0">
                <a:pos x="16" y="0"/>
              </a:cxn>
              <a:cxn ang="0">
                <a:pos x="16" y="1"/>
              </a:cxn>
              <a:cxn ang="0">
                <a:pos x="16" y="3"/>
              </a:cxn>
              <a:cxn ang="0">
                <a:pos x="8" y="3"/>
              </a:cxn>
              <a:cxn ang="0">
                <a:pos x="4" y="1"/>
              </a:cxn>
              <a:cxn ang="0">
                <a:pos x="1" y="1"/>
              </a:cxn>
              <a:cxn ang="0">
                <a:pos x="0" y="0"/>
              </a:cxn>
              <a:cxn ang="0">
                <a:pos x="1" y="0"/>
              </a:cxn>
              <a:cxn ang="0">
                <a:pos x="3" y="1"/>
              </a:cxn>
              <a:cxn ang="0">
                <a:pos x="4" y="1"/>
              </a:cxn>
              <a:cxn ang="0">
                <a:pos x="5" y="0"/>
              </a:cxn>
              <a:cxn ang="0">
                <a:pos x="7" y="0"/>
              </a:cxn>
              <a:cxn ang="0">
                <a:pos x="12" y="1"/>
              </a:cxn>
              <a:cxn ang="0">
                <a:pos x="16" y="0"/>
              </a:cxn>
              <a:cxn ang="0">
                <a:pos x="17" y="0"/>
              </a:cxn>
              <a:cxn ang="0">
                <a:pos x="20" y="1"/>
              </a:cxn>
              <a:cxn ang="0">
                <a:pos x="20" y="3"/>
              </a:cxn>
              <a:cxn ang="0">
                <a:pos x="19" y="1"/>
              </a:cxn>
              <a:cxn ang="0">
                <a:pos x="16" y="0"/>
              </a:cxn>
            </a:cxnLst>
            <a:rect l="0" t="0" r="r" b="b"/>
            <a:pathLst>
              <a:path w="20" h="3">
                <a:moveTo>
                  <a:pt x="16" y="0"/>
                </a:moveTo>
                <a:lnTo>
                  <a:pt x="16" y="1"/>
                </a:lnTo>
                <a:lnTo>
                  <a:pt x="16" y="3"/>
                </a:lnTo>
                <a:lnTo>
                  <a:pt x="8" y="3"/>
                </a:lnTo>
                <a:lnTo>
                  <a:pt x="4" y="1"/>
                </a:lnTo>
                <a:lnTo>
                  <a:pt x="1" y="1"/>
                </a:lnTo>
                <a:lnTo>
                  <a:pt x="0" y="0"/>
                </a:lnTo>
                <a:lnTo>
                  <a:pt x="1" y="0"/>
                </a:lnTo>
                <a:lnTo>
                  <a:pt x="3" y="1"/>
                </a:lnTo>
                <a:lnTo>
                  <a:pt x="4" y="1"/>
                </a:lnTo>
                <a:lnTo>
                  <a:pt x="5" y="0"/>
                </a:lnTo>
                <a:lnTo>
                  <a:pt x="7" y="0"/>
                </a:lnTo>
                <a:lnTo>
                  <a:pt x="12" y="1"/>
                </a:lnTo>
                <a:lnTo>
                  <a:pt x="16" y="0"/>
                </a:lnTo>
                <a:lnTo>
                  <a:pt x="17" y="0"/>
                </a:lnTo>
                <a:lnTo>
                  <a:pt x="20" y="1"/>
                </a:lnTo>
                <a:lnTo>
                  <a:pt x="20" y="3"/>
                </a:lnTo>
                <a:lnTo>
                  <a:pt x="19" y="1"/>
                </a:lnTo>
                <a:lnTo>
                  <a:pt x="16" y="0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73" name="Freeform 996"/>
          <p:cNvSpPr>
            <a:spLocks/>
          </p:cNvSpPr>
          <p:nvPr/>
        </p:nvSpPr>
        <p:spPr bwMode="auto">
          <a:xfrm>
            <a:off x="8410561" y="1621095"/>
            <a:ext cx="33130" cy="12885"/>
          </a:xfrm>
          <a:custGeom>
            <a:avLst/>
            <a:gdLst/>
            <a:ahLst/>
            <a:cxnLst>
              <a:cxn ang="0">
                <a:pos x="17" y="3"/>
              </a:cxn>
              <a:cxn ang="0">
                <a:pos x="12" y="5"/>
              </a:cxn>
              <a:cxn ang="0">
                <a:pos x="9" y="6"/>
              </a:cxn>
              <a:cxn ang="0">
                <a:pos x="8" y="6"/>
              </a:cxn>
              <a:cxn ang="0">
                <a:pos x="8" y="5"/>
              </a:cxn>
              <a:cxn ang="0">
                <a:pos x="9" y="5"/>
              </a:cxn>
              <a:cxn ang="0">
                <a:pos x="10" y="5"/>
              </a:cxn>
              <a:cxn ang="0">
                <a:pos x="6" y="5"/>
              </a:cxn>
              <a:cxn ang="0">
                <a:pos x="1" y="5"/>
              </a:cxn>
              <a:cxn ang="0">
                <a:pos x="0" y="5"/>
              </a:cxn>
              <a:cxn ang="0">
                <a:pos x="5" y="3"/>
              </a:cxn>
              <a:cxn ang="0">
                <a:pos x="6" y="3"/>
              </a:cxn>
              <a:cxn ang="0">
                <a:pos x="13" y="2"/>
              </a:cxn>
              <a:cxn ang="0">
                <a:pos x="17" y="0"/>
              </a:cxn>
              <a:cxn ang="0">
                <a:pos x="18" y="2"/>
              </a:cxn>
              <a:cxn ang="0">
                <a:pos x="18" y="3"/>
              </a:cxn>
              <a:cxn ang="0">
                <a:pos x="17" y="3"/>
              </a:cxn>
            </a:cxnLst>
            <a:rect l="0" t="0" r="r" b="b"/>
            <a:pathLst>
              <a:path w="18" h="6">
                <a:moveTo>
                  <a:pt x="17" y="3"/>
                </a:moveTo>
                <a:lnTo>
                  <a:pt x="12" y="5"/>
                </a:lnTo>
                <a:lnTo>
                  <a:pt x="9" y="6"/>
                </a:lnTo>
                <a:lnTo>
                  <a:pt x="8" y="6"/>
                </a:lnTo>
                <a:lnTo>
                  <a:pt x="8" y="5"/>
                </a:lnTo>
                <a:lnTo>
                  <a:pt x="9" y="5"/>
                </a:lnTo>
                <a:lnTo>
                  <a:pt x="10" y="5"/>
                </a:lnTo>
                <a:lnTo>
                  <a:pt x="6" y="5"/>
                </a:lnTo>
                <a:lnTo>
                  <a:pt x="1" y="5"/>
                </a:lnTo>
                <a:lnTo>
                  <a:pt x="0" y="5"/>
                </a:lnTo>
                <a:lnTo>
                  <a:pt x="5" y="3"/>
                </a:lnTo>
                <a:lnTo>
                  <a:pt x="6" y="3"/>
                </a:lnTo>
                <a:lnTo>
                  <a:pt x="13" y="2"/>
                </a:lnTo>
                <a:lnTo>
                  <a:pt x="17" y="0"/>
                </a:lnTo>
                <a:lnTo>
                  <a:pt x="18" y="2"/>
                </a:lnTo>
                <a:lnTo>
                  <a:pt x="18" y="3"/>
                </a:lnTo>
                <a:lnTo>
                  <a:pt x="17" y="3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74" name="Freeform 997"/>
          <p:cNvSpPr>
            <a:spLocks/>
          </p:cNvSpPr>
          <p:nvPr/>
        </p:nvSpPr>
        <p:spPr bwMode="auto">
          <a:xfrm>
            <a:off x="8410561" y="1621095"/>
            <a:ext cx="33130" cy="12885"/>
          </a:xfrm>
          <a:custGeom>
            <a:avLst/>
            <a:gdLst/>
            <a:ahLst/>
            <a:cxnLst>
              <a:cxn ang="0">
                <a:pos x="17" y="3"/>
              </a:cxn>
              <a:cxn ang="0">
                <a:pos x="12" y="5"/>
              </a:cxn>
              <a:cxn ang="0">
                <a:pos x="9" y="6"/>
              </a:cxn>
              <a:cxn ang="0">
                <a:pos x="8" y="6"/>
              </a:cxn>
              <a:cxn ang="0">
                <a:pos x="8" y="5"/>
              </a:cxn>
              <a:cxn ang="0">
                <a:pos x="9" y="5"/>
              </a:cxn>
              <a:cxn ang="0">
                <a:pos x="10" y="5"/>
              </a:cxn>
              <a:cxn ang="0">
                <a:pos x="6" y="5"/>
              </a:cxn>
              <a:cxn ang="0">
                <a:pos x="1" y="5"/>
              </a:cxn>
              <a:cxn ang="0">
                <a:pos x="0" y="5"/>
              </a:cxn>
              <a:cxn ang="0">
                <a:pos x="5" y="3"/>
              </a:cxn>
              <a:cxn ang="0">
                <a:pos x="6" y="3"/>
              </a:cxn>
              <a:cxn ang="0">
                <a:pos x="13" y="2"/>
              </a:cxn>
              <a:cxn ang="0">
                <a:pos x="17" y="0"/>
              </a:cxn>
              <a:cxn ang="0">
                <a:pos x="18" y="2"/>
              </a:cxn>
              <a:cxn ang="0">
                <a:pos x="18" y="3"/>
              </a:cxn>
              <a:cxn ang="0">
                <a:pos x="17" y="3"/>
              </a:cxn>
            </a:cxnLst>
            <a:rect l="0" t="0" r="r" b="b"/>
            <a:pathLst>
              <a:path w="18" h="6">
                <a:moveTo>
                  <a:pt x="17" y="3"/>
                </a:moveTo>
                <a:lnTo>
                  <a:pt x="12" y="5"/>
                </a:lnTo>
                <a:lnTo>
                  <a:pt x="9" y="6"/>
                </a:lnTo>
                <a:lnTo>
                  <a:pt x="8" y="6"/>
                </a:lnTo>
                <a:lnTo>
                  <a:pt x="8" y="5"/>
                </a:lnTo>
                <a:lnTo>
                  <a:pt x="9" y="5"/>
                </a:lnTo>
                <a:lnTo>
                  <a:pt x="10" y="5"/>
                </a:lnTo>
                <a:lnTo>
                  <a:pt x="6" y="5"/>
                </a:lnTo>
                <a:lnTo>
                  <a:pt x="1" y="5"/>
                </a:lnTo>
                <a:lnTo>
                  <a:pt x="0" y="5"/>
                </a:lnTo>
                <a:lnTo>
                  <a:pt x="5" y="3"/>
                </a:lnTo>
                <a:lnTo>
                  <a:pt x="6" y="3"/>
                </a:lnTo>
                <a:lnTo>
                  <a:pt x="13" y="2"/>
                </a:lnTo>
                <a:lnTo>
                  <a:pt x="17" y="0"/>
                </a:lnTo>
                <a:lnTo>
                  <a:pt x="18" y="2"/>
                </a:lnTo>
                <a:lnTo>
                  <a:pt x="18" y="3"/>
                </a:lnTo>
                <a:lnTo>
                  <a:pt x="17" y="3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75" name="Freeform 998"/>
          <p:cNvSpPr>
            <a:spLocks/>
          </p:cNvSpPr>
          <p:nvPr/>
        </p:nvSpPr>
        <p:spPr bwMode="auto">
          <a:xfrm>
            <a:off x="9605185" y="1818675"/>
            <a:ext cx="37028" cy="4295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7" y="2"/>
              </a:cxn>
              <a:cxn ang="0">
                <a:pos x="8" y="2"/>
              </a:cxn>
              <a:cxn ang="0">
                <a:pos x="9" y="0"/>
              </a:cxn>
              <a:cxn ang="0">
                <a:pos x="17" y="2"/>
              </a:cxn>
              <a:cxn ang="0">
                <a:pos x="19" y="2"/>
              </a:cxn>
              <a:cxn ang="0">
                <a:pos x="15" y="3"/>
              </a:cxn>
              <a:cxn ang="0">
                <a:pos x="13" y="3"/>
              </a:cxn>
              <a:cxn ang="0">
                <a:pos x="11" y="3"/>
              </a:cxn>
              <a:cxn ang="0">
                <a:pos x="0" y="2"/>
              </a:cxn>
              <a:cxn ang="0">
                <a:pos x="3" y="0"/>
              </a:cxn>
              <a:cxn ang="0">
                <a:pos x="4" y="0"/>
              </a:cxn>
            </a:cxnLst>
            <a:rect l="0" t="0" r="r" b="b"/>
            <a:pathLst>
              <a:path w="19" h="3">
                <a:moveTo>
                  <a:pt x="4" y="0"/>
                </a:moveTo>
                <a:lnTo>
                  <a:pt x="7" y="2"/>
                </a:lnTo>
                <a:lnTo>
                  <a:pt x="8" y="2"/>
                </a:lnTo>
                <a:lnTo>
                  <a:pt x="9" y="0"/>
                </a:lnTo>
                <a:lnTo>
                  <a:pt x="17" y="2"/>
                </a:lnTo>
                <a:lnTo>
                  <a:pt x="19" y="2"/>
                </a:lnTo>
                <a:lnTo>
                  <a:pt x="15" y="3"/>
                </a:lnTo>
                <a:lnTo>
                  <a:pt x="13" y="3"/>
                </a:lnTo>
                <a:lnTo>
                  <a:pt x="11" y="3"/>
                </a:lnTo>
                <a:lnTo>
                  <a:pt x="0" y="2"/>
                </a:lnTo>
                <a:lnTo>
                  <a:pt x="3" y="0"/>
                </a:lnTo>
                <a:lnTo>
                  <a:pt x="4" y="0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76" name="Freeform 999"/>
          <p:cNvSpPr>
            <a:spLocks/>
          </p:cNvSpPr>
          <p:nvPr/>
        </p:nvSpPr>
        <p:spPr bwMode="auto">
          <a:xfrm>
            <a:off x="9605185" y="1818675"/>
            <a:ext cx="37028" cy="4295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7" y="2"/>
              </a:cxn>
              <a:cxn ang="0">
                <a:pos x="8" y="2"/>
              </a:cxn>
              <a:cxn ang="0">
                <a:pos x="9" y="0"/>
              </a:cxn>
              <a:cxn ang="0">
                <a:pos x="17" y="2"/>
              </a:cxn>
              <a:cxn ang="0">
                <a:pos x="19" y="2"/>
              </a:cxn>
              <a:cxn ang="0">
                <a:pos x="15" y="3"/>
              </a:cxn>
              <a:cxn ang="0">
                <a:pos x="13" y="3"/>
              </a:cxn>
              <a:cxn ang="0">
                <a:pos x="11" y="3"/>
              </a:cxn>
              <a:cxn ang="0">
                <a:pos x="0" y="2"/>
              </a:cxn>
              <a:cxn ang="0">
                <a:pos x="3" y="0"/>
              </a:cxn>
              <a:cxn ang="0">
                <a:pos x="4" y="0"/>
              </a:cxn>
            </a:cxnLst>
            <a:rect l="0" t="0" r="r" b="b"/>
            <a:pathLst>
              <a:path w="19" h="3">
                <a:moveTo>
                  <a:pt x="4" y="0"/>
                </a:moveTo>
                <a:lnTo>
                  <a:pt x="7" y="2"/>
                </a:lnTo>
                <a:lnTo>
                  <a:pt x="8" y="2"/>
                </a:lnTo>
                <a:lnTo>
                  <a:pt x="9" y="0"/>
                </a:lnTo>
                <a:lnTo>
                  <a:pt x="17" y="2"/>
                </a:lnTo>
                <a:lnTo>
                  <a:pt x="19" y="2"/>
                </a:lnTo>
                <a:lnTo>
                  <a:pt x="15" y="3"/>
                </a:lnTo>
                <a:lnTo>
                  <a:pt x="13" y="3"/>
                </a:lnTo>
                <a:lnTo>
                  <a:pt x="11" y="3"/>
                </a:lnTo>
                <a:lnTo>
                  <a:pt x="0" y="2"/>
                </a:lnTo>
                <a:lnTo>
                  <a:pt x="3" y="0"/>
                </a:lnTo>
                <a:lnTo>
                  <a:pt x="4" y="0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77" name="Freeform 1000"/>
          <p:cNvSpPr>
            <a:spLocks/>
          </p:cNvSpPr>
          <p:nvPr/>
        </p:nvSpPr>
        <p:spPr bwMode="auto">
          <a:xfrm>
            <a:off x="9636366" y="1818674"/>
            <a:ext cx="33130" cy="10737"/>
          </a:xfrm>
          <a:custGeom>
            <a:avLst/>
            <a:gdLst/>
            <a:ahLst/>
            <a:cxnLst>
              <a:cxn ang="0">
                <a:pos x="3" y="2"/>
              </a:cxn>
              <a:cxn ang="0">
                <a:pos x="7" y="0"/>
              </a:cxn>
              <a:cxn ang="0">
                <a:pos x="8" y="0"/>
              </a:cxn>
              <a:cxn ang="0">
                <a:pos x="9" y="2"/>
              </a:cxn>
              <a:cxn ang="0">
                <a:pos x="11" y="0"/>
              </a:cxn>
              <a:cxn ang="0">
                <a:pos x="12" y="0"/>
              </a:cxn>
              <a:cxn ang="0">
                <a:pos x="14" y="0"/>
              </a:cxn>
              <a:cxn ang="0">
                <a:pos x="17" y="2"/>
              </a:cxn>
              <a:cxn ang="0">
                <a:pos x="17" y="3"/>
              </a:cxn>
              <a:cxn ang="0">
                <a:pos x="16" y="3"/>
              </a:cxn>
              <a:cxn ang="0">
                <a:pos x="11" y="5"/>
              </a:cxn>
              <a:cxn ang="0">
                <a:pos x="8" y="5"/>
              </a:cxn>
              <a:cxn ang="0">
                <a:pos x="4" y="5"/>
              </a:cxn>
              <a:cxn ang="0">
                <a:pos x="3" y="5"/>
              </a:cxn>
              <a:cxn ang="0">
                <a:pos x="1" y="5"/>
              </a:cxn>
              <a:cxn ang="0">
                <a:pos x="0" y="3"/>
              </a:cxn>
              <a:cxn ang="0">
                <a:pos x="4" y="3"/>
              </a:cxn>
              <a:cxn ang="0">
                <a:pos x="3" y="2"/>
              </a:cxn>
            </a:cxnLst>
            <a:rect l="0" t="0" r="r" b="b"/>
            <a:pathLst>
              <a:path w="17" h="5">
                <a:moveTo>
                  <a:pt x="3" y="2"/>
                </a:moveTo>
                <a:lnTo>
                  <a:pt x="7" y="0"/>
                </a:lnTo>
                <a:lnTo>
                  <a:pt x="8" y="0"/>
                </a:lnTo>
                <a:lnTo>
                  <a:pt x="9" y="2"/>
                </a:lnTo>
                <a:lnTo>
                  <a:pt x="11" y="0"/>
                </a:lnTo>
                <a:lnTo>
                  <a:pt x="12" y="0"/>
                </a:lnTo>
                <a:lnTo>
                  <a:pt x="14" y="0"/>
                </a:lnTo>
                <a:lnTo>
                  <a:pt x="17" y="2"/>
                </a:lnTo>
                <a:lnTo>
                  <a:pt x="17" y="3"/>
                </a:lnTo>
                <a:lnTo>
                  <a:pt x="16" y="3"/>
                </a:lnTo>
                <a:lnTo>
                  <a:pt x="11" y="5"/>
                </a:lnTo>
                <a:lnTo>
                  <a:pt x="8" y="5"/>
                </a:lnTo>
                <a:lnTo>
                  <a:pt x="4" y="5"/>
                </a:lnTo>
                <a:lnTo>
                  <a:pt x="3" y="5"/>
                </a:lnTo>
                <a:lnTo>
                  <a:pt x="1" y="5"/>
                </a:lnTo>
                <a:lnTo>
                  <a:pt x="0" y="3"/>
                </a:lnTo>
                <a:lnTo>
                  <a:pt x="4" y="3"/>
                </a:lnTo>
                <a:lnTo>
                  <a:pt x="3" y="2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78" name="Freeform 1001"/>
          <p:cNvSpPr>
            <a:spLocks/>
          </p:cNvSpPr>
          <p:nvPr/>
        </p:nvSpPr>
        <p:spPr bwMode="auto">
          <a:xfrm>
            <a:off x="9636366" y="1818674"/>
            <a:ext cx="33130" cy="10737"/>
          </a:xfrm>
          <a:custGeom>
            <a:avLst/>
            <a:gdLst/>
            <a:ahLst/>
            <a:cxnLst>
              <a:cxn ang="0">
                <a:pos x="3" y="2"/>
              </a:cxn>
              <a:cxn ang="0">
                <a:pos x="7" y="0"/>
              </a:cxn>
              <a:cxn ang="0">
                <a:pos x="8" y="0"/>
              </a:cxn>
              <a:cxn ang="0">
                <a:pos x="9" y="2"/>
              </a:cxn>
              <a:cxn ang="0">
                <a:pos x="11" y="0"/>
              </a:cxn>
              <a:cxn ang="0">
                <a:pos x="12" y="0"/>
              </a:cxn>
              <a:cxn ang="0">
                <a:pos x="14" y="0"/>
              </a:cxn>
              <a:cxn ang="0">
                <a:pos x="17" y="2"/>
              </a:cxn>
              <a:cxn ang="0">
                <a:pos x="17" y="3"/>
              </a:cxn>
              <a:cxn ang="0">
                <a:pos x="16" y="3"/>
              </a:cxn>
              <a:cxn ang="0">
                <a:pos x="11" y="5"/>
              </a:cxn>
              <a:cxn ang="0">
                <a:pos x="8" y="5"/>
              </a:cxn>
              <a:cxn ang="0">
                <a:pos x="4" y="5"/>
              </a:cxn>
              <a:cxn ang="0">
                <a:pos x="3" y="5"/>
              </a:cxn>
              <a:cxn ang="0">
                <a:pos x="1" y="5"/>
              </a:cxn>
              <a:cxn ang="0">
                <a:pos x="0" y="3"/>
              </a:cxn>
              <a:cxn ang="0">
                <a:pos x="4" y="3"/>
              </a:cxn>
              <a:cxn ang="0">
                <a:pos x="3" y="2"/>
              </a:cxn>
            </a:cxnLst>
            <a:rect l="0" t="0" r="r" b="b"/>
            <a:pathLst>
              <a:path w="17" h="5">
                <a:moveTo>
                  <a:pt x="3" y="2"/>
                </a:moveTo>
                <a:lnTo>
                  <a:pt x="7" y="0"/>
                </a:lnTo>
                <a:lnTo>
                  <a:pt x="8" y="0"/>
                </a:lnTo>
                <a:lnTo>
                  <a:pt x="9" y="2"/>
                </a:lnTo>
                <a:lnTo>
                  <a:pt x="11" y="0"/>
                </a:lnTo>
                <a:lnTo>
                  <a:pt x="12" y="0"/>
                </a:lnTo>
                <a:lnTo>
                  <a:pt x="14" y="0"/>
                </a:lnTo>
                <a:lnTo>
                  <a:pt x="17" y="2"/>
                </a:lnTo>
                <a:lnTo>
                  <a:pt x="17" y="3"/>
                </a:lnTo>
                <a:lnTo>
                  <a:pt x="16" y="3"/>
                </a:lnTo>
                <a:lnTo>
                  <a:pt x="11" y="5"/>
                </a:lnTo>
                <a:lnTo>
                  <a:pt x="8" y="5"/>
                </a:lnTo>
                <a:lnTo>
                  <a:pt x="4" y="5"/>
                </a:lnTo>
                <a:lnTo>
                  <a:pt x="3" y="5"/>
                </a:lnTo>
                <a:lnTo>
                  <a:pt x="1" y="5"/>
                </a:lnTo>
                <a:lnTo>
                  <a:pt x="0" y="3"/>
                </a:lnTo>
                <a:lnTo>
                  <a:pt x="4" y="3"/>
                </a:lnTo>
                <a:lnTo>
                  <a:pt x="3" y="2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79" name="Freeform 1002"/>
          <p:cNvSpPr>
            <a:spLocks/>
          </p:cNvSpPr>
          <p:nvPr/>
        </p:nvSpPr>
        <p:spPr bwMode="auto">
          <a:xfrm>
            <a:off x="9675341" y="1786459"/>
            <a:ext cx="46772" cy="12885"/>
          </a:xfrm>
          <a:custGeom>
            <a:avLst/>
            <a:gdLst/>
            <a:ahLst/>
            <a:cxnLst>
              <a:cxn ang="0">
                <a:pos x="12" y="0"/>
              </a:cxn>
              <a:cxn ang="0">
                <a:pos x="16" y="0"/>
              </a:cxn>
              <a:cxn ang="0">
                <a:pos x="22" y="0"/>
              </a:cxn>
              <a:cxn ang="0">
                <a:pos x="24" y="0"/>
              </a:cxn>
              <a:cxn ang="0">
                <a:pos x="22" y="2"/>
              </a:cxn>
              <a:cxn ang="0">
                <a:pos x="21" y="3"/>
              </a:cxn>
              <a:cxn ang="0">
                <a:pos x="20" y="5"/>
              </a:cxn>
              <a:cxn ang="0">
                <a:pos x="20" y="3"/>
              </a:cxn>
              <a:cxn ang="0">
                <a:pos x="17" y="5"/>
              </a:cxn>
              <a:cxn ang="0">
                <a:pos x="14" y="5"/>
              </a:cxn>
              <a:cxn ang="0">
                <a:pos x="12" y="3"/>
              </a:cxn>
              <a:cxn ang="0">
                <a:pos x="9" y="5"/>
              </a:cxn>
              <a:cxn ang="0">
                <a:pos x="5" y="5"/>
              </a:cxn>
              <a:cxn ang="0">
                <a:pos x="4" y="7"/>
              </a:cxn>
              <a:cxn ang="0">
                <a:pos x="0" y="5"/>
              </a:cxn>
              <a:cxn ang="0">
                <a:pos x="1" y="3"/>
              </a:cxn>
              <a:cxn ang="0">
                <a:pos x="2" y="3"/>
              </a:cxn>
              <a:cxn ang="0">
                <a:pos x="4" y="2"/>
              </a:cxn>
              <a:cxn ang="0">
                <a:pos x="5" y="2"/>
              </a:cxn>
              <a:cxn ang="0">
                <a:pos x="5" y="0"/>
              </a:cxn>
              <a:cxn ang="0">
                <a:pos x="6" y="0"/>
              </a:cxn>
              <a:cxn ang="0">
                <a:pos x="10" y="0"/>
              </a:cxn>
              <a:cxn ang="0">
                <a:pos x="12" y="0"/>
              </a:cxn>
            </a:cxnLst>
            <a:rect l="0" t="0" r="r" b="b"/>
            <a:pathLst>
              <a:path w="24" h="7">
                <a:moveTo>
                  <a:pt x="12" y="0"/>
                </a:moveTo>
                <a:lnTo>
                  <a:pt x="16" y="0"/>
                </a:lnTo>
                <a:lnTo>
                  <a:pt x="22" y="0"/>
                </a:lnTo>
                <a:lnTo>
                  <a:pt x="24" y="0"/>
                </a:lnTo>
                <a:lnTo>
                  <a:pt x="22" y="2"/>
                </a:lnTo>
                <a:lnTo>
                  <a:pt x="21" y="3"/>
                </a:lnTo>
                <a:lnTo>
                  <a:pt x="20" y="5"/>
                </a:lnTo>
                <a:lnTo>
                  <a:pt x="20" y="3"/>
                </a:lnTo>
                <a:lnTo>
                  <a:pt x="17" y="5"/>
                </a:lnTo>
                <a:lnTo>
                  <a:pt x="14" y="5"/>
                </a:lnTo>
                <a:lnTo>
                  <a:pt x="12" y="3"/>
                </a:lnTo>
                <a:lnTo>
                  <a:pt x="9" y="5"/>
                </a:lnTo>
                <a:lnTo>
                  <a:pt x="5" y="5"/>
                </a:lnTo>
                <a:lnTo>
                  <a:pt x="4" y="7"/>
                </a:lnTo>
                <a:lnTo>
                  <a:pt x="0" y="5"/>
                </a:lnTo>
                <a:lnTo>
                  <a:pt x="1" y="3"/>
                </a:lnTo>
                <a:lnTo>
                  <a:pt x="2" y="3"/>
                </a:lnTo>
                <a:lnTo>
                  <a:pt x="4" y="2"/>
                </a:lnTo>
                <a:lnTo>
                  <a:pt x="5" y="2"/>
                </a:lnTo>
                <a:lnTo>
                  <a:pt x="5" y="0"/>
                </a:lnTo>
                <a:lnTo>
                  <a:pt x="6" y="0"/>
                </a:lnTo>
                <a:lnTo>
                  <a:pt x="10" y="0"/>
                </a:lnTo>
                <a:lnTo>
                  <a:pt x="12" y="0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80" name="Freeform 1003"/>
          <p:cNvSpPr>
            <a:spLocks/>
          </p:cNvSpPr>
          <p:nvPr/>
        </p:nvSpPr>
        <p:spPr bwMode="auto">
          <a:xfrm>
            <a:off x="9675341" y="1786459"/>
            <a:ext cx="46772" cy="12885"/>
          </a:xfrm>
          <a:custGeom>
            <a:avLst/>
            <a:gdLst/>
            <a:ahLst/>
            <a:cxnLst>
              <a:cxn ang="0">
                <a:pos x="12" y="0"/>
              </a:cxn>
              <a:cxn ang="0">
                <a:pos x="16" y="0"/>
              </a:cxn>
              <a:cxn ang="0">
                <a:pos x="22" y="0"/>
              </a:cxn>
              <a:cxn ang="0">
                <a:pos x="24" y="0"/>
              </a:cxn>
              <a:cxn ang="0">
                <a:pos x="22" y="2"/>
              </a:cxn>
              <a:cxn ang="0">
                <a:pos x="21" y="3"/>
              </a:cxn>
              <a:cxn ang="0">
                <a:pos x="20" y="5"/>
              </a:cxn>
              <a:cxn ang="0">
                <a:pos x="20" y="3"/>
              </a:cxn>
              <a:cxn ang="0">
                <a:pos x="17" y="5"/>
              </a:cxn>
              <a:cxn ang="0">
                <a:pos x="14" y="5"/>
              </a:cxn>
              <a:cxn ang="0">
                <a:pos x="12" y="3"/>
              </a:cxn>
              <a:cxn ang="0">
                <a:pos x="9" y="5"/>
              </a:cxn>
              <a:cxn ang="0">
                <a:pos x="5" y="5"/>
              </a:cxn>
              <a:cxn ang="0">
                <a:pos x="4" y="7"/>
              </a:cxn>
              <a:cxn ang="0">
                <a:pos x="0" y="5"/>
              </a:cxn>
              <a:cxn ang="0">
                <a:pos x="1" y="3"/>
              </a:cxn>
              <a:cxn ang="0">
                <a:pos x="2" y="3"/>
              </a:cxn>
              <a:cxn ang="0">
                <a:pos x="4" y="2"/>
              </a:cxn>
              <a:cxn ang="0">
                <a:pos x="5" y="2"/>
              </a:cxn>
              <a:cxn ang="0">
                <a:pos x="5" y="0"/>
              </a:cxn>
              <a:cxn ang="0">
                <a:pos x="6" y="0"/>
              </a:cxn>
              <a:cxn ang="0">
                <a:pos x="10" y="0"/>
              </a:cxn>
              <a:cxn ang="0">
                <a:pos x="12" y="0"/>
              </a:cxn>
            </a:cxnLst>
            <a:rect l="0" t="0" r="r" b="b"/>
            <a:pathLst>
              <a:path w="24" h="7">
                <a:moveTo>
                  <a:pt x="12" y="0"/>
                </a:moveTo>
                <a:lnTo>
                  <a:pt x="16" y="0"/>
                </a:lnTo>
                <a:lnTo>
                  <a:pt x="22" y="0"/>
                </a:lnTo>
                <a:lnTo>
                  <a:pt x="24" y="0"/>
                </a:lnTo>
                <a:lnTo>
                  <a:pt x="22" y="2"/>
                </a:lnTo>
                <a:lnTo>
                  <a:pt x="21" y="3"/>
                </a:lnTo>
                <a:lnTo>
                  <a:pt x="20" y="5"/>
                </a:lnTo>
                <a:lnTo>
                  <a:pt x="20" y="3"/>
                </a:lnTo>
                <a:lnTo>
                  <a:pt x="17" y="5"/>
                </a:lnTo>
                <a:lnTo>
                  <a:pt x="14" y="5"/>
                </a:lnTo>
                <a:lnTo>
                  <a:pt x="12" y="3"/>
                </a:lnTo>
                <a:lnTo>
                  <a:pt x="9" y="5"/>
                </a:lnTo>
                <a:lnTo>
                  <a:pt x="5" y="5"/>
                </a:lnTo>
                <a:lnTo>
                  <a:pt x="4" y="7"/>
                </a:lnTo>
                <a:lnTo>
                  <a:pt x="0" y="5"/>
                </a:lnTo>
                <a:lnTo>
                  <a:pt x="1" y="3"/>
                </a:lnTo>
                <a:lnTo>
                  <a:pt x="2" y="3"/>
                </a:lnTo>
                <a:lnTo>
                  <a:pt x="4" y="2"/>
                </a:lnTo>
                <a:lnTo>
                  <a:pt x="5" y="2"/>
                </a:lnTo>
                <a:lnTo>
                  <a:pt x="5" y="0"/>
                </a:lnTo>
                <a:lnTo>
                  <a:pt x="6" y="0"/>
                </a:lnTo>
                <a:lnTo>
                  <a:pt x="10" y="0"/>
                </a:lnTo>
                <a:lnTo>
                  <a:pt x="12" y="0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81" name="Freeform 1004"/>
          <p:cNvSpPr>
            <a:spLocks/>
          </p:cNvSpPr>
          <p:nvPr/>
        </p:nvSpPr>
        <p:spPr bwMode="auto">
          <a:xfrm>
            <a:off x="10501638" y="1874512"/>
            <a:ext cx="40926" cy="12885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7" y="0"/>
              </a:cxn>
              <a:cxn ang="0">
                <a:pos x="9" y="0"/>
              </a:cxn>
              <a:cxn ang="0">
                <a:pos x="12" y="2"/>
              </a:cxn>
              <a:cxn ang="0">
                <a:pos x="21" y="3"/>
              </a:cxn>
              <a:cxn ang="0">
                <a:pos x="22" y="5"/>
              </a:cxn>
              <a:cxn ang="0">
                <a:pos x="21" y="7"/>
              </a:cxn>
              <a:cxn ang="0">
                <a:pos x="21" y="8"/>
              </a:cxn>
              <a:cxn ang="0">
                <a:pos x="20" y="8"/>
              </a:cxn>
              <a:cxn ang="0">
                <a:pos x="17" y="8"/>
              </a:cxn>
              <a:cxn ang="0">
                <a:pos x="11" y="8"/>
              </a:cxn>
              <a:cxn ang="0">
                <a:pos x="8" y="7"/>
              </a:cxn>
              <a:cxn ang="0">
                <a:pos x="5" y="7"/>
              </a:cxn>
              <a:cxn ang="0">
                <a:pos x="4" y="5"/>
              </a:cxn>
              <a:cxn ang="0">
                <a:pos x="1" y="3"/>
              </a:cxn>
              <a:cxn ang="0">
                <a:pos x="0" y="3"/>
              </a:cxn>
              <a:cxn ang="0">
                <a:pos x="0" y="2"/>
              </a:cxn>
              <a:cxn ang="0">
                <a:pos x="4" y="0"/>
              </a:cxn>
            </a:cxnLst>
            <a:rect l="0" t="0" r="r" b="b"/>
            <a:pathLst>
              <a:path w="22" h="8">
                <a:moveTo>
                  <a:pt x="4" y="0"/>
                </a:moveTo>
                <a:lnTo>
                  <a:pt x="7" y="0"/>
                </a:lnTo>
                <a:lnTo>
                  <a:pt x="9" y="0"/>
                </a:lnTo>
                <a:lnTo>
                  <a:pt x="12" y="2"/>
                </a:lnTo>
                <a:lnTo>
                  <a:pt x="21" y="3"/>
                </a:lnTo>
                <a:lnTo>
                  <a:pt x="22" y="5"/>
                </a:lnTo>
                <a:lnTo>
                  <a:pt x="21" y="7"/>
                </a:lnTo>
                <a:lnTo>
                  <a:pt x="21" y="8"/>
                </a:lnTo>
                <a:lnTo>
                  <a:pt x="20" y="8"/>
                </a:lnTo>
                <a:lnTo>
                  <a:pt x="17" y="8"/>
                </a:lnTo>
                <a:lnTo>
                  <a:pt x="11" y="8"/>
                </a:lnTo>
                <a:lnTo>
                  <a:pt x="8" y="7"/>
                </a:lnTo>
                <a:lnTo>
                  <a:pt x="5" y="7"/>
                </a:lnTo>
                <a:lnTo>
                  <a:pt x="4" y="5"/>
                </a:lnTo>
                <a:lnTo>
                  <a:pt x="1" y="3"/>
                </a:lnTo>
                <a:lnTo>
                  <a:pt x="0" y="3"/>
                </a:lnTo>
                <a:lnTo>
                  <a:pt x="0" y="2"/>
                </a:lnTo>
                <a:lnTo>
                  <a:pt x="4" y="0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82" name="Freeform 1005"/>
          <p:cNvSpPr>
            <a:spLocks/>
          </p:cNvSpPr>
          <p:nvPr/>
        </p:nvSpPr>
        <p:spPr bwMode="auto">
          <a:xfrm>
            <a:off x="10501638" y="1874512"/>
            <a:ext cx="40926" cy="12885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7" y="0"/>
              </a:cxn>
              <a:cxn ang="0">
                <a:pos x="9" y="0"/>
              </a:cxn>
              <a:cxn ang="0">
                <a:pos x="12" y="2"/>
              </a:cxn>
              <a:cxn ang="0">
                <a:pos x="21" y="3"/>
              </a:cxn>
              <a:cxn ang="0">
                <a:pos x="22" y="5"/>
              </a:cxn>
              <a:cxn ang="0">
                <a:pos x="21" y="7"/>
              </a:cxn>
              <a:cxn ang="0">
                <a:pos x="21" y="8"/>
              </a:cxn>
              <a:cxn ang="0">
                <a:pos x="20" y="8"/>
              </a:cxn>
              <a:cxn ang="0">
                <a:pos x="17" y="8"/>
              </a:cxn>
              <a:cxn ang="0">
                <a:pos x="11" y="8"/>
              </a:cxn>
              <a:cxn ang="0">
                <a:pos x="8" y="7"/>
              </a:cxn>
              <a:cxn ang="0">
                <a:pos x="5" y="7"/>
              </a:cxn>
              <a:cxn ang="0">
                <a:pos x="4" y="5"/>
              </a:cxn>
              <a:cxn ang="0">
                <a:pos x="1" y="3"/>
              </a:cxn>
              <a:cxn ang="0">
                <a:pos x="0" y="3"/>
              </a:cxn>
              <a:cxn ang="0">
                <a:pos x="0" y="2"/>
              </a:cxn>
              <a:cxn ang="0">
                <a:pos x="4" y="0"/>
              </a:cxn>
            </a:cxnLst>
            <a:rect l="0" t="0" r="r" b="b"/>
            <a:pathLst>
              <a:path w="22" h="8">
                <a:moveTo>
                  <a:pt x="4" y="0"/>
                </a:moveTo>
                <a:lnTo>
                  <a:pt x="7" y="0"/>
                </a:lnTo>
                <a:lnTo>
                  <a:pt x="9" y="0"/>
                </a:lnTo>
                <a:lnTo>
                  <a:pt x="12" y="2"/>
                </a:lnTo>
                <a:lnTo>
                  <a:pt x="21" y="3"/>
                </a:lnTo>
                <a:lnTo>
                  <a:pt x="22" y="5"/>
                </a:lnTo>
                <a:lnTo>
                  <a:pt x="21" y="7"/>
                </a:lnTo>
                <a:lnTo>
                  <a:pt x="21" y="8"/>
                </a:lnTo>
                <a:lnTo>
                  <a:pt x="20" y="8"/>
                </a:lnTo>
                <a:lnTo>
                  <a:pt x="17" y="8"/>
                </a:lnTo>
                <a:lnTo>
                  <a:pt x="11" y="8"/>
                </a:lnTo>
                <a:lnTo>
                  <a:pt x="8" y="7"/>
                </a:lnTo>
                <a:lnTo>
                  <a:pt x="5" y="7"/>
                </a:lnTo>
                <a:lnTo>
                  <a:pt x="4" y="5"/>
                </a:lnTo>
                <a:lnTo>
                  <a:pt x="1" y="3"/>
                </a:lnTo>
                <a:lnTo>
                  <a:pt x="0" y="3"/>
                </a:lnTo>
                <a:lnTo>
                  <a:pt x="0" y="2"/>
                </a:lnTo>
                <a:lnTo>
                  <a:pt x="4" y="0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83" name="Freeform 1006"/>
          <p:cNvSpPr>
            <a:spLocks/>
          </p:cNvSpPr>
          <p:nvPr/>
        </p:nvSpPr>
        <p:spPr bwMode="auto">
          <a:xfrm>
            <a:off x="7060033" y="1893838"/>
            <a:ext cx="58465" cy="27920"/>
          </a:xfrm>
          <a:custGeom>
            <a:avLst/>
            <a:gdLst/>
            <a:ahLst/>
            <a:cxnLst>
              <a:cxn ang="0">
                <a:pos x="6" y="1"/>
              </a:cxn>
              <a:cxn ang="0">
                <a:pos x="7" y="0"/>
              </a:cxn>
              <a:cxn ang="0">
                <a:pos x="9" y="0"/>
              </a:cxn>
              <a:cxn ang="0">
                <a:pos x="10" y="0"/>
              </a:cxn>
              <a:cxn ang="0">
                <a:pos x="13" y="0"/>
              </a:cxn>
              <a:cxn ang="0">
                <a:pos x="14" y="0"/>
              </a:cxn>
              <a:cxn ang="0">
                <a:pos x="25" y="4"/>
              </a:cxn>
              <a:cxn ang="0">
                <a:pos x="27" y="6"/>
              </a:cxn>
              <a:cxn ang="0">
                <a:pos x="29" y="6"/>
              </a:cxn>
              <a:cxn ang="0">
                <a:pos x="29" y="3"/>
              </a:cxn>
              <a:cxn ang="0">
                <a:pos x="30" y="6"/>
              </a:cxn>
              <a:cxn ang="0">
                <a:pos x="31" y="8"/>
              </a:cxn>
              <a:cxn ang="0">
                <a:pos x="31" y="9"/>
              </a:cxn>
              <a:cxn ang="0">
                <a:pos x="29" y="8"/>
              </a:cxn>
              <a:cxn ang="0">
                <a:pos x="26" y="9"/>
              </a:cxn>
              <a:cxn ang="0">
                <a:pos x="21" y="12"/>
              </a:cxn>
              <a:cxn ang="0">
                <a:pos x="17" y="12"/>
              </a:cxn>
              <a:cxn ang="0">
                <a:pos x="14" y="12"/>
              </a:cxn>
              <a:cxn ang="0">
                <a:pos x="11" y="14"/>
              </a:cxn>
              <a:cxn ang="0">
                <a:pos x="9" y="14"/>
              </a:cxn>
              <a:cxn ang="0">
                <a:pos x="7" y="14"/>
              </a:cxn>
              <a:cxn ang="0">
                <a:pos x="5" y="14"/>
              </a:cxn>
              <a:cxn ang="0">
                <a:pos x="4" y="12"/>
              </a:cxn>
              <a:cxn ang="0">
                <a:pos x="1" y="12"/>
              </a:cxn>
              <a:cxn ang="0">
                <a:pos x="1" y="14"/>
              </a:cxn>
              <a:cxn ang="0">
                <a:pos x="2" y="14"/>
              </a:cxn>
              <a:cxn ang="0">
                <a:pos x="0" y="12"/>
              </a:cxn>
              <a:cxn ang="0">
                <a:pos x="0" y="11"/>
              </a:cxn>
              <a:cxn ang="0">
                <a:pos x="1" y="6"/>
              </a:cxn>
              <a:cxn ang="0">
                <a:pos x="1" y="4"/>
              </a:cxn>
              <a:cxn ang="0">
                <a:pos x="5" y="1"/>
              </a:cxn>
              <a:cxn ang="0">
                <a:pos x="6" y="1"/>
              </a:cxn>
            </a:cxnLst>
            <a:rect l="0" t="0" r="r" b="b"/>
            <a:pathLst>
              <a:path w="31" h="14">
                <a:moveTo>
                  <a:pt x="6" y="1"/>
                </a:moveTo>
                <a:lnTo>
                  <a:pt x="7" y="0"/>
                </a:lnTo>
                <a:lnTo>
                  <a:pt x="9" y="0"/>
                </a:lnTo>
                <a:lnTo>
                  <a:pt x="10" y="0"/>
                </a:lnTo>
                <a:lnTo>
                  <a:pt x="13" y="0"/>
                </a:lnTo>
                <a:lnTo>
                  <a:pt x="14" y="0"/>
                </a:lnTo>
                <a:lnTo>
                  <a:pt x="25" y="4"/>
                </a:lnTo>
                <a:lnTo>
                  <a:pt x="27" y="6"/>
                </a:lnTo>
                <a:lnTo>
                  <a:pt x="29" y="6"/>
                </a:lnTo>
                <a:lnTo>
                  <a:pt x="29" y="3"/>
                </a:lnTo>
                <a:lnTo>
                  <a:pt x="30" y="6"/>
                </a:lnTo>
                <a:lnTo>
                  <a:pt x="31" y="8"/>
                </a:lnTo>
                <a:lnTo>
                  <a:pt x="31" y="9"/>
                </a:lnTo>
                <a:lnTo>
                  <a:pt x="29" y="8"/>
                </a:lnTo>
                <a:lnTo>
                  <a:pt x="26" y="9"/>
                </a:lnTo>
                <a:lnTo>
                  <a:pt x="21" y="12"/>
                </a:lnTo>
                <a:lnTo>
                  <a:pt x="17" y="12"/>
                </a:lnTo>
                <a:lnTo>
                  <a:pt x="14" y="12"/>
                </a:lnTo>
                <a:lnTo>
                  <a:pt x="11" y="14"/>
                </a:lnTo>
                <a:lnTo>
                  <a:pt x="9" y="14"/>
                </a:lnTo>
                <a:lnTo>
                  <a:pt x="7" y="14"/>
                </a:lnTo>
                <a:lnTo>
                  <a:pt x="5" y="14"/>
                </a:lnTo>
                <a:lnTo>
                  <a:pt x="4" y="12"/>
                </a:lnTo>
                <a:lnTo>
                  <a:pt x="1" y="12"/>
                </a:lnTo>
                <a:lnTo>
                  <a:pt x="1" y="14"/>
                </a:lnTo>
                <a:lnTo>
                  <a:pt x="2" y="14"/>
                </a:lnTo>
                <a:lnTo>
                  <a:pt x="0" y="12"/>
                </a:lnTo>
                <a:lnTo>
                  <a:pt x="0" y="11"/>
                </a:lnTo>
                <a:lnTo>
                  <a:pt x="1" y="6"/>
                </a:lnTo>
                <a:lnTo>
                  <a:pt x="1" y="4"/>
                </a:lnTo>
                <a:lnTo>
                  <a:pt x="5" y="1"/>
                </a:lnTo>
                <a:lnTo>
                  <a:pt x="6" y="1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84" name="Freeform 1007"/>
          <p:cNvSpPr>
            <a:spLocks/>
          </p:cNvSpPr>
          <p:nvPr/>
        </p:nvSpPr>
        <p:spPr bwMode="auto">
          <a:xfrm>
            <a:off x="7060033" y="1893838"/>
            <a:ext cx="58465" cy="27920"/>
          </a:xfrm>
          <a:custGeom>
            <a:avLst/>
            <a:gdLst/>
            <a:ahLst/>
            <a:cxnLst>
              <a:cxn ang="0">
                <a:pos x="6" y="1"/>
              </a:cxn>
              <a:cxn ang="0">
                <a:pos x="7" y="0"/>
              </a:cxn>
              <a:cxn ang="0">
                <a:pos x="9" y="0"/>
              </a:cxn>
              <a:cxn ang="0">
                <a:pos x="10" y="0"/>
              </a:cxn>
              <a:cxn ang="0">
                <a:pos x="13" y="0"/>
              </a:cxn>
              <a:cxn ang="0">
                <a:pos x="14" y="0"/>
              </a:cxn>
              <a:cxn ang="0">
                <a:pos x="25" y="4"/>
              </a:cxn>
              <a:cxn ang="0">
                <a:pos x="27" y="6"/>
              </a:cxn>
              <a:cxn ang="0">
                <a:pos x="29" y="6"/>
              </a:cxn>
              <a:cxn ang="0">
                <a:pos x="29" y="3"/>
              </a:cxn>
              <a:cxn ang="0">
                <a:pos x="30" y="6"/>
              </a:cxn>
              <a:cxn ang="0">
                <a:pos x="31" y="8"/>
              </a:cxn>
              <a:cxn ang="0">
                <a:pos x="31" y="9"/>
              </a:cxn>
              <a:cxn ang="0">
                <a:pos x="29" y="8"/>
              </a:cxn>
              <a:cxn ang="0">
                <a:pos x="26" y="9"/>
              </a:cxn>
              <a:cxn ang="0">
                <a:pos x="21" y="12"/>
              </a:cxn>
              <a:cxn ang="0">
                <a:pos x="17" y="12"/>
              </a:cxn>
              <a:cxn ang="0">
                <a:pos x="14" y="12"/>
              </a:cxn>
              <a:cxn ang="0">
                <a:pos x="11" y="14"/>
              </a:cxn>
              <a:cxn ang="0">
                <a:pos x="9" y="14"/>
              </a:cxn>
              <a:cxn ang="0">
                <a:pos x="7" y="14"/>
              </a:cxn>
              <a:cxn ang="0">
                <a:pos x="5" y="14"/>
              </a:cxn>
              <a:cxn ang="0">
                <a:pos x="4" y="12"/>
              </a:cxn>
              <a:cxn ang="0">
                <a:pos x="1" y="12"/>
              </a:cxn>
              <a:cxn ang="0">
                <a:pos x="1" y="14"/>
              </a:cxn>
              <a:cxn ang="0">
                <a:pos x="2" y="14"/>
              </a:cxn>
              <a:cxn ang="0">
                <a:pos x="0" y="12"/>
              </a:cxn>
              <a:cxn ang="0">
                <a:pos x="0" y="11"/>
              </a:cxn>
              <a:cxn ang="0">
                <a:pos x="1" y="6"/>
              </a:cxn>
              <a:cxn ang="0">
                <a:pos x="1" y="4"/>
              </a:cxn>
              <a:cxn ang="0">
                <a:pos x="5" y="1"/>
              </a:cxn>
              <a:cxn ang="0">
                <a:pos x="6" y="1"/>
              </a:cxn>
            </a:cxnLst>
            <a:rect l="0" t="0" r="r" b="b"/>
            <a:pathLst>
              <a:path w="31" h="14">
                <a:moveTo>
                  <a:pt x="6" y="1"/>
                </a:moveTo>
                <a:lnTo>
                  <a:pt x="7" y="0"/>
                </a:lnTo>
                <a:lnTo>
                  <a:pt x="9" y="0"/>
                </a:lnTo>
                <a:lnTo>
                  <a:pt x="10" y="0"/>
                </a:lnTo>
                <a:lnTo>
                  <a:pt x="13" y="0"/>
                </a:lnTo>
                <a:lnTo>
                  <a:pt x="14" y="0"/>
                </a:lnTo>
                <a:lnTo>
                  <a:pt x="25" y="4"/>
                </a:lnTo>
                <a:lnTo>
                  <a:pt x="27" y="6"/>
                </a:lnTo>
                <a:lnTo>
                  <a:pt x="29" y="6"/>
                </a:lnTo>
                <a:lnTo>
                  <a:pt x="29" y="3"/>
                </a:lnTo>
                <a:lnTo>
                  <a:pt x="30" y="6"/>
                </a:lnTo>
                <a:lnTo>
                  <a:pt x="31" y="8"/>
                </a:lnTo>
                <a:lnTo>
                  <a:pt x="31" y="9"/>
                </a:lnTo>
                <a:lnTo>
                  <a:pt x="29" y="8"/>
                </a:lnTo>
                <a:lnTo>
                  <a:pt x="26" y="9"/>
                </a:lnTo>
                <a:lnTo>
                  <a:pt x="21" y="12"/>
                </a:lnTo>
                <a:lnTo>
                  <a:pt x="17" y="12"/>
                </a:lnTo>
                <a:lnTo>
                  <a:pt x="14" y="12"/>
                </a:lnTo>
                <a:lnTo>
                  <a:pt x="11" y="14"/>
                </a:lnTo>
                <a:lnTo>
                  <a:pt x="9" y="14"/>
                </a:lnTo>
                <a:lnTo>
                  <a:pt x="7" y="14"/>
                </a:lnTo>
                <a:lnTo>
                  <a:pt x="5" y="14"/>
                </a:lnTo>
                <a:lnTo>
                  <a:pt x="4" y="12"/>
                </a:lnTo>
                <a:lnTo>
                  <a:pt x="1" y="12"/>
                </a:lnTo>
                <a:lnTo>
                  <a:pt x="1" y="14"/>
                </a:lnTo>
                <a:lnTo>
                  <a:pt x="2" y="14"/>
                </a:lnTo>
                <a:lnTo>
                  <a:pt x="0" y="12"/>
                </a:lnTo>
                <a:lnTo>
                  <a:pt x="0" y="11"/>
                </a:lnTo>
                <a:lnTo>
                  <a:pt x="1" y="6"/>
                </a:lnTo>
                <a:lnTo>
                  <a:pt x="1" y="4"/>
                </a:lnTo>
                <a:lnTo>
                  <a:pt x="5" y="1"/>
                </a:lnTo>
                <a:lnTo>
                  <a:pt x="6" y="1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85" name="Freeform 1008"/>
          <p:cNvSpPr>
            <a:spLocks/>
          </p:cNvSpPr>
          <p:nvPr/>
        </p:nvSpPr>
        <p:spPr bwMode="auto">
          <a:xfrm>
            <a:off x="7356253" y="1857331"/>
            <a:ext cx="58465" cy="30067"/>
          </a:xfrm>
          <a:custGeom>
            <a:avLst/>
            <a:gdLst/>
            <a:ahLst/>
            <a:cxnLst>
              <a:cxn ang="0">
                <a:pos x="4" y="10"/>
              </a:cxn>
              <a:cxn ang="0">
                <a:pos x="3" y="7"/>
              </a:cxn>
              <a:cxn ang="0">
                <a:pos x="1" y="7"/>
              </a:cxn>
              <a:cxn ang="0">
                <a:pos x="0" y="5"/>
              </a:cxn>
              <a:cxn ang="0">
                <a:pos x="3" y="5"/>
              </a:cxn>
              <a:cxn ang="0">
                <a:pos x="5" y="5"/>
              </a:cxn>
              <a:cxn ang="0">
                <a:pos x="1" y="4"/>
              </a:cxn>
              <a:cxn ang="0">
                <a:pos x="3" y="4"/>
              </a:cxn>
              <a:cxn ang="0">
                <a:pos x="4" y="2"/>
              </a:cxn>
              <a:cxn ang="0">
                <a:pos x="5" y="2"/>
              </a:cxn>
              <a:cxn ang="0">
                <a:pos x="8" y="0"/>
              </a:cxn>
              <a:cxn ang="0">
                <a:pos x="11" y="4"/>
              </a:cxn>
              <a:cxn ang="0">
                <a:pos x="13" y="4"/>
              </a:cxn>
              <a:cxn ang="0">
                <a:pos x="15" y="5"/>
              </a:cxn>
              <a:cxn ang="0">
                <a:pos x="19" y="7"/>
              </a:cxn>
              <a:cxn ang="0">
                <a:pos x="23" y="8"/>
              </a:cxn>
              <a:cxn ang="0">
                <a:pos x="31" y="11"/>
              </a:cxn>
              <a:cxn ang="0">
                <a:pos x="31" y="13"/>
              </a:cxn>
              <a:cxn ang="0">
                <a:pos x="29" y="15"/>
              </a:cxn>
              <a:cxn ang="0">
                <a:pos x="27" y="15"/>
              </a:cxn>
              <a:cxn ang="0">
                <a:pos x="25" y="15"/>
              </a:cxn>
              <a:cxn ang="0">
                <a:pos x="24" y="15"/>
              </a:cxn>
              <a:cxn ang="0">
                <a:pos x="20" y="15"/>
              </a:cxn>
              <a:cxn ang="0">
                <a:pos x="17" y="13"/>
              </a:cxn>
              <a:cxn ang="0">
                <a:pos x="15" y="11"/>
              </a:cxn>
              <a:cxn ang="0">
                <a:pos x="12" y="11"/>
              </a:cxn>
              <a:cxn ang="0">
                <a:pos x="8" y="10"/>
              </a:cxn>
              <a:cxn ang="0">
                <a:pos x="9" y="11"/>
              </a:cxn>
              <a:cxn ang="0">
                <a:pos x="11" y="13"/>
              </a:cxn>
              <a:cxn ang="0">
                <a:pos x="8" y="11"/>
              </a:cxn>
              <a:cxn ang="0">
                <a:pos x="4" y="10"/>
              </a:cxn>
            </a:cxnLst>
            <a:rect l="0" t="0" r="r" b="b"/>
            <a:pathLst>
              <a:path w="31" h="15">
                <a:moveTo>
                  <a:pt x="4" y="10"/>
                </a:moveTo>
                <a:lnTo>
                  <a:pt x="3" y="7"/>
                </a:lnTo>
                <a:lnTo>
                  <a:pt x="1" y="7"/>
                </a:lnTo>
                <a:lnTo>
                  <a:pt x="0" y="5"/>
                </a:lnTo>
                <a:lnTo>
                  <a:pt x="3" y="5"/>
                </a:lnTo>
                <a:lnTo>
                  <a:pt x="5" y="5"/>
                </a:lnTo>
                <a:lnTo>
                  <a:pt x="1" y="4"/>
                </a:lnTo>
                <a:lnTo>
                  <a:pt x="3" y="4"/>
                </a:lnTo>
                <a:lnTo>
                  <a:pt x="4" y="2"/>
                </a:lnTo>
                <a:lnTo>
                  <a:pt x="5" y="2"/>
                </a:lnTo>
                <a:lnTo>
                  <a:pt x="8" y="0"/>
                </a:lnTo>
                <a:lnTo>
                  <a:pt x="11" y="4"/>
                </a:lnTo>
                <a:lnTo>
                  <a:pt x="13" y="4"/>
                </a:lnTo>
                <a:lnTo>
                  <a:pt x="15" y="5"/>
                </a:lnTo>
                <a:lnTo>
                  <a:pt x="19" y="7"/>
                </a:lnTo>
                <a:lnTo>
                  <a:pt x="23" y="8"/>
                </a:lnTo>
                <a:lnTo>
                  <a:pt x="31" y="11"/>
                </a:lnTo>
                <a:lnTo>
                  <a:pt x="31" y="13"/>
                </a:lnTo>
                <a:lnTo>
                  <a:pt x="29" y="15"/>
                </a:lnTo>
                <a:lnTo>
                  <a:pt x="27" y="15"/>
                </a:lnTo>
                <a:lnTo>
                  <a:pt x="25" y="15"/>
                </a:lnTo>
                <a:lnTo>
                  <a:pt x="24" y="15"/>
                </a:lnTo>
                <a:lnTo>
                  <a:pt x="20" y="15"/>
                </a:lnTo>
                <a:lnTo>
                  <a:pt x="17" y="13"/>
                </a:lnTo>
                <a:lnTo>
                  <a:pt x="15" y="11"/>
                </a:lnTo>
                <a:lnTo>
                  <a:pt x="12" y="11"/>
                </a:lnTo>
                <a:lnTo>
                  <a:pt x="8" y="10"/>
                </a:lnTo>
                <a:lnTo>
                  <a:pt x="9" y="11"/>
                </a:lnTo>
                <a:lnTo>
                  <a:pt x="11" y="13"/>
                </a:lnTo>
                <a:lnTo>
                  <a:pt x="8" y="11"/>
                </a:lnTo>
                <a:lnTo>
                  <a:pt x="4" y="10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86" name="Freeform 1009"/>
          <p:cNvSpPr>
            <a:spLocks/>
          </p:cNvSpPr>
          <p:nvPr/>
        </p:nvSpPr>
        <p:spPr bwMode="auto">
          <a:xfrm>
            <a:off x="7356253" y="1857331"/>
            <a:ext cx="58465" cy="30067"/>
          </a:xfrm>
          <a:custGeom>
            <a:avLst/>
            <a:gdLst/>
            <a:ahLst/>
            <a:cxnLst>
              <a:cxn ang="0">
                <a:pos x="4" y="10"/>
              </a:cxn>
              <a:cxn ang="0">
                <a:pos x="3" y="7"/>
              </a:cxn>
              <a:cxn ang="0">
                <a:pos x="1" y="7"/>
              </a:cxn>
              <a:cxn ang="0">
                <a:pos x="0" y="5"/>
              </a:cxn>
              <a:cxn ang="0">
                <a:pos x="3" y="5"/>
              </a:cxn>
              <a:cxn ang="0">
                <a:pos x="5" y="5"/>
              </a:cxn>
              <a:cxn ang="0">
                <a:pos x="1" y="4"/>
              </a:cxn>
              <a:cxn ang="0">
                <a:pos x="3" y="4"/>
              </a:cxn>
              <a:cxn ang="0">
                <a:pos x="4" y="2"/>
              </a:cxn>
              <a:cxn ang="0">
                <a:pos x="5" y="2"/>
              </a:cxn>
              <a:cxn ang="0">
                <a:pos x="8" y="0"/>
              </a:cxn>
              <a:cxn ang="0">
                <a:pos x="11" y="4"/>
              </a:cxn>
              <a:cxn ang="0">
                <a:pos x="13" y="4"/>
              </a:cxn>
              <a:cxn ang="0">
                <a:pos x="15" y="5"/>
              </a:cxn>
              <a:cxn ang="0">
                <a:pos x="19" y="7"/>
              </a:cxn>
              <a:cxn ang="0">
                <a:pos x="23" y="8"/>
              </a:cxn>
              <a:cxn ang="0">
                <a:pos x="31" y="11"/>
              </a:cxn>
              <a:cxn ang="0">
                <a:pos x="31" y="13"/>
              </a:cxn>
              <a:cxn ang="0">
                <a:pos x="29" y="15"/>
              </a:cxn>
              <a:cxn ang="0">
                <a:pos x="27" y="15"/>
              </a:cxn>
              <a:cxn ang="0">
                <a:pos x="25" y="15"/>
              </a:cxn>
              <a:cxn ang="0">
                <a:pos x="24" y="15"/>
              </a:cxn>
              <a:cxn ang="0">
                <a:pos x="20" y="15"/>
              </a:cxn>
              <a:cxn ang="0">
                <a:pos x="17" y="13"/>
              </a:cxn>
              <a:cxn ang="0">
                <a:pos x="15" y="11"/>
              </a:cxn>
              <a:cxn ang="0">
                <a:pos x="12" y="11"/>
              </a:cxn>
              <a:cxn ang="0">
                <a:pos x="8" y="10"/>
              </a:cxn>
              <a:cxn ang="0">
                <a:pos x="9" y="11"/>
              </a:cxn>
              <a:cxn ang="0">
                <a:pos x="11" y="13"/>
              </a:cxn>
              <a:cxn ang="0">
                <a:pos x="8" y="11"/>
              </a:cxn>
              <a:cxn ang="0">
                <a:pos x="4" y="10"/>
              </a:cxn>
            </a:cxnLst>
            <a:rect l="0" t="0" r="r" b="b"/>
            <a:pathLst>
              <a:path w="31" h="15">
                <a:moveTo>
                  <a:pt x="4" y="10"/>
                </a:moveTo>
                <a:lnTo>
                  <a:pt x="3" y="7"/>
                </a:lnTo>
                <a:lnTo>
                  <a:pt x="1" y="7"/>
                </a:lnTo>
                <a:lnTo>
                  <a:pt x="0" y="5"/>
                </a:lnTo>
                <a:lnTo>
                  <a:pt x="3" y="5"/>
                </a:lnTo>
                <a:lnTo>
                  <a:pt x="5" y="5"/>
                </a:lnTo>
                <a:lnTo>
                  <a:pt x="1" y="4"/>
                </a:lnTo>
                <a:lnTo>
                  <a:pt x="3" y="4"/>
                </a:lnTo>
                <a:lnTo>
                  <a:pt x="4" y="2"/>
                </a:lnTo>
                <a:lnTo>
                  <a:pt x="5" y="2"/>
                </a:lnTo>
                <a:lnTo>
                  <a:pt x="8" y="0"/>
                </a:lnTo>
                <a:lnTo>
                  <a:pt x="11" y="4"/>
                </a:lnTo>
                <a:lnTo>
                  <a:pt x="13" y="4"/>
                </a:lnTo>
                <a:lnTo>
                  <a:pt x="15" y="5"/>
                </a:lnTo>
                <a:lnTo>
                  <a:pt x="19" y="7"/>
                </a:lnTo>
                <a:lnTo>
                  <a:pt x="23" y="8"/>
                </a:lnTo>
                <a:lnTo>
                  <a:pt x="31" y="11"/>
                </a:lnTo>
                <a:lnTo>
                  <a:pt x="31" y="13"/>
                </a:lnTo>
                <a:lnTo>
                  <a:pt x="29" y="15"/>
                </a:lnTo>
                <a:lnTo>
                  <a:pt x="27" y="15"/>
                </a:lnTo>
                <a:lnTo>
                  <a:pt x="25" y="15"/>
                </a:lnTo>
                <a:lnTo>
                  <a:pt x="24" y="15"/>
                </a:lnTo>
                <a:lnTo>
                  <a:pt x="20" y="15"/>
                </a:lnTo>
                <a:lnTo>
                  <a:pt x="17" y="13"/>
                </a:lnTo>
                <a:lnTo>
                  <a:pt x="15" y="11"/>
                </a:lnTo>
                <a:lnTo>
                  <a:pt x="12" y="11"/>
                </a:lnTo>
                <a:lnTo>
                  <a:pt x="8" y="10"/>
                </a:lnTo>
                <a:lnTo>
                  <a:pt x="9" y="11"/>
                </a:lnTo>
                <a:lnTo>
                  <a:pt x="11" y="13"/>
                </a:lnTo>
                <a:lnTo>
                  <a:pt x="8" y="11"/>
                </a:lnTo>
                <a:lnTo>
                  <a:pt x="4" y="10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87" name="Freeform 1010"/>
          <p:cNvSpPr>
            <a:spLocks/>
          </p:cNvSpPr>
          <p:nvPr/>
        </p:nvSpPr>
        <p:spPr bwMode="auto">
          <a:xfrm>
            <a:off x="7693397" y="1752098"/>
            <a:ext cx="38977" cy="15033"/>
          </a:xfrm>
          <a:custGeom>
            <a:avLst/>
            <a:gdLst/>
            <a:ahLst/>
            <a:cxnLst>
              <a:cxn ang="0">
                <a:pos x="1" y="8"/>
              </a:cxn>
              <a:cxn ang="0">
                <a:pos x="0" y="8"/>
              </a:cxn>
              <a:cxn ang="0">
                <a:pos x="1" y="6"/>
              </a:cxn>
              <a:cxn ang="0">
                <a:pos x="1" y="5"/>
              </a:cxn>
              <a:cxn ang="0">
                <a:pos x="1" y="3"/>
              </a:cxn>
              <a:cxn ang="0">
                <a:pos x="4" y="0"/>
              </a:cxn>
              <a:cxn ang="0">
                <a:pos x="9" y="0"/>
              </a:cxn>
              <a:cxn ang="0">
                <a:pos x="13" y="0"/>
              </a:cxn>
              <a:cxn ang="0">
                <a:pos x="15" y="2"/>
              </a:cxn>
              <a:cxn ang="0">
                <a:pos x="13" y="5"/>
              </a:cxn>
              <a:cxn ang="0">
                <a:pos x="19" y="5"/>
              </a:cxn>
              <a:cxn ang="0">
                <a:pos x="21" y="5"/>
              </a:cxn>
              <a:cxn ang="0">
                <a:pos x="17" y="6"/>
              </a:cxn>
              <a:cxn ang="0">
                <a:pos x="14" y="6"/>
              </a:cxn>
              <a:cxn ang="0">
                <a:pos x="10" y="6"/>
              </a:cxn>
              <a:cxn ang="0">
                <a:pos x="5" y="8"/>
              </a:cxn>
              <a:cxn ang="0">
                <a:pos x="4" y="6"/>
              </a:cxn>
              <a:cxn ang="0">
                <a:pos x="2" y="8"/>
              </a:cxn>
              <a:cxn ang="0">
                <a:pos x="1" y="8"/>
              </a:cxn>
            </a:cxnLst>
            <a:rect l="0" t="0" r="r" b="b"/>
            <a:pathLst>
              <a:path w="21" h="8">
                <a:moveTo>
                  <a:pt x="1" y="8"/>
                </a:moveTo>
                <a:lnTo>
                  <a:pt x="0" y="8"/>
                </a:lnTo>
                <a:lnTo>
                  <a:pt x="1" y="6"/>
                </a:lnTo>
                <a:lnTo>
                  <a:pt x="1" y="5"/>
                </a:lnTo>
                <a:lnTo>
                  <a:pt x="1" y="3"/>
                </a:lnTo>
                <a:lnTo>
                  <a:pt x="4" y="0"/>
                </a:lnTo>
                <a:lnTo>
                  <a:pt x="9" y="0"/>
                </a:lnTo>
                <a:lnTo>
                  <a:pt x="13" y="0"/>
                </a:lnTo>
                <a:lnTo>
                  <a:pt x="15" y="2"/>
                </a:lnTo>
                <a:lnTo>
                  <a:pt x="13" y="5"/>
                </a:lnTo>
                <a:lnTo>
                  <a:pt x="19" y="5"/>
                </a:lnTo>
                <a:lnTo>
                  <a:pt x="21" y="5"/>
                </a:lnTo>
                <a:lnTo>
                  <a:pt x="17" y="6"/>
                </a:lnTo>
                <a:lnTo>
                  <a:pt x="14" y="6"/>
                </a:lnTo>
                <a:lnTo>
                  <a:pt x="10" y="6"/>
                </a:lnTo>
                <a:lnTo>
                  <a:pt x="5" y="8"/>
                </a:lnTo>
                <a:lnTo>
                  <a:pt x="4" y="6"/>
                </a:lnTo>
                <a:lnTo>
                  <a:pt x="2" y="8"/>
                </a:lnTo>
                <a:lnTo>
                  <a:pt x="1" y="8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88" name="Freeform 1011"/>
          <p:cNvSpPr>
            <a:spLocks/>
          </p:cNvSpPr>
          <p:nvPr/>
        </p:nvSpPr>
        <p:spPr bwMode="auto">
          <a:xfrm>
            <a:off x="7693397" y="1752098"/>
            <a:ext cx="38977" cy="15033"/>
          </a:xfrm>
          <a:custGeom>
            <a:avLst/>
            <a:gdLst/>
            <a:ahLst/>
            <a:cxnLst>
              <a:cxn ang="0">
                <a:pos x="1" y="8"/>
              </a:cxn>
              <a:cxn ang="0">
                <a:pos x="0" y="8"/>
              </a:cxn>
              <a:cxn ang="0">
                <a:pos x="1" y="6"/>
              </a:cxn>
              <a:cxn ang="0">
                <a:pos x="1" y="5"/>
              </a:cxn>
              <a:cxn ang="0">
                <a:pos x="1" y="3"/>
              </a:cxn>
              <a:cxn ang="0">
                <a:pos x="4" y="0"/>
              </a:cxn>
              <a:cxn ang="0">
                <a:pos x="9" y="0"/>
              </a:cxn>
              <a:cxn ang="0">
                <a:pos x="13" y="0"/>
              </a:cxn>
              <a:cxn ang="0">
                <a:pos x="15" y="2"/>
              </a:cxn>
              <a:cxn ang="0">
                <a:pos x="13" y="5"/>
              </a:cxn>
              <a:cxn ang="0">
                <a:pos x="19" y="5"/>
              </a:cxn>
              <a:cxn ang="0">
                <a:pos x="21" y="5"/>
              </a:cxn>
              <a:cxn ang="0">
                <a:pos x="17" y="6"/>
              </a:cxn>
              <a:cxn ang="0">
                <a:pos x="14" y="6"/>
              </a:cxn>
              <a:cxn ang="0">
                <a:pos x="10" y="6"/>
              </a:cxn>
              <a:cxn ang="0">
                <a:pos x="5" y="8"/>
              </a:cxn>
              <a:cxn ang="0">
                <a:pos x="4" y="6"/>
              </a:cxn>
              <a:cxn ang="0">
                <a:pos x="2" y="8"/>
              </a:cxn>
              <a:cxn ang="0">
                <a:pos x="1" y="8"/>
              </a:cxn>
            </a:cxnLst>
            <a:rect l="0" t="0" r="r" b="b"/>
            <a:pathLst>
              <a:path w="21" h="8">
                <a:moveTo>
                  <a:pt x="1" y="8"/>
                </a:moveTo>
                <a:lnTo>
                  <a:pt x="0" y="8"/>
                </a:lnTo>
                <a:lnTo>
                  <a:pt x="1" y="6"/>
                </a:lnTo>
                <a:lnTo>
                  <a:pt x="1" y="5"/>
                </a:lnTo>
                <a:lnTo>
                  <a:pt x="1" y="3"/>
                </a:lnTo>
                <a:lnTo>
                  <a:pt x="4" y="0"/>
                </a:lnTo>
                <a:lnTo>
                  <a:pt x="9" y="0"/>
                </a:lnTo>
                <a:lnTo>
                  <a:pt x="13" y="0"/>
                </a:lnTo>
                <a:lnTo>
                  <a:pt x="15" y="2"/>
                </a:lnTo>
                <a:lnTo>
                  <a:pt x="13" y="5"/>
                </a:lnTo>
                <a:lnTo>
                  <a:pt x="19" y="5"/>
                </a:lnTo>
                <a:lnTo>
                  <a:pt x="21" y="5"/>
                </a:lnTo>
                <a:lnTo>
                  <a:pt x="17" y="6"/>
                </a:lnTo>
                <a:lnTo>
                  <a:pt x="14" y="6"/>
                </a:lnTo>
                <a:lnTo>
                  <a:pt x="10" y="6"/>
                </a:lnTo>
                <a:lnTo>
                  <a:pt x="5" y="8"/>
                </a:lnTo>
                <a:lnTo>
                  <a:pt x="4" y="6"/>
                </a:lnTo>
                <a:lnTo>
                  <a:pt x="2" y="8"/>
                </a:lnTo>
                <a:lnTo>
                  <a:pt x="1" y="8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89" name="Freeform 1012"/>
          <p:cNvSpPr>
            <a:spLocks/>
          </p:cNvSpPr>
          <p:nvPr/>
        </p:nvSpPr>
        <p:spPr bwMode="auto">
          <a:xfrm>
            <a:off x="7808377" y="1764983"/>
            <a:ext cx="17540" cy="8591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0"/>
              </a:cxn>
              <a:cxn ang="0">
                <a:pos x="9" y="2"/>
              </a:cxn>
              <a:cxn ang="0">
                <a:pos x="8" y="2"/>
              </a:cxn>
              <a:cxn ang="0">
                <a:pos x="6" y="3"/>
              </a:cxn>
              <a:cxn ang="0">
                <a:pos x="6" y="5"/>
              </a:cxn>
              <a:cxn ang="0">
                <a:pos x="0" y="3"/>
              </a:cxn>
              <a:cxn ang="0">
                <a:pos x="0" y="2"/>
              </a:cxn>
            </a:cxnLst>
            <a:rect l="0" t="0" r="r" b="b"/>
            <a:pathLst>
              <a:path w="9" h="5">
                <a:moveTo>
                  <a:pt x="0" y="2"/>
                </a:moveTo>
                <a:lnTo>
                  <a:pt x="2" y="0"/>
                </a:lnTo>
                <a:lnTo>
                  <a:pt x="9" y="2"/>
                </a:lnTo>
                <a:lnTo>
                  <a:pt x="8" y="2"/>
                </a:lnTo>
                <a:lnTo>
                  <a:pt x="6" y="3"/>
                </a:lnTo>
                <a:lnTo>
                  <a:pt x="6" y="5"/>
                </a:lnTo>
                <a:lnTo>
                  <a:pt x="0" y="3"/>
                </a:lnTo>
                <a:lnTo>
                  <a:pt x="0" y="2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90" name="Freeform 1013"/>
          <p:cNvSpPr>
            <a:spLocks/>
          </p:cNvSpPr>
          <p:nvPr/>
        </p:nvSpPr>
        <p:spPr bwMode="auto">
          <a:xfrm>
            <a:off x="7808377" y="1764983"/>
            <a:ext cx="17540" cy="8591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0"/>
              </a:cxn>
              <a:cxn ang="0">
                <a:pos x="9" y="2"/>
              </a:cxn>
              <a:cxn ang="0">
                <a:pos x="8" y="2"/>
              </a:cxn>
              <a:cxn ang="0">
                <a:pos x="6" y="3"/>
              </a:cxn>
              <a:cxn ang="0">
                <a:pos x="6" y="5"/>
              </a:cxn>
              <a:cxn ang="0">
                <a:pos x="0" y="3"/>
              </a:cxn>
              <a:cxn ang="0">
                <a:pos x="0" y="2"/>
              </a:cxn>
            </a:cxnLst>
            <a:rect l="0" t="0" r="r" b="b"/>
            <a:pathLst>
              <a:path w="9" h="5">
                <a:moveTo>
                  <a:pt x="0" y="2"/>
                </a:moveTo>
                <a:lnTo>
                  <a:pt x="2" y="0"/>
                </a:lnTo>
                <a:lnTo>
                  <a:pt x="9" y="2"/>
                </a:lnTo>
                <a:lnTo>
                  <a:pt x="8" y="2"/>
                </a:lnTo>
                <a:lnTo>
                  <a:pt x="6" y="3"/>
                </a:lnTo>
                <a:lnTo>
                  <a:pt x="6" y="5"/>
                </a:lnTo>
                <a:lnTo>
                  <a:pt x="0" y="3"/>
                </a:lnTo>
                <a:lnTo>
                  <a:pt x="0" y="2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91" name="Freeform 1014"/>
          <p:cNvSpPr>
            <a:spLocks/>
          </p:cNvSpPr>
          <p:nvPr/>
        </p:nvSpPr>
        <p:spPr bwMode="auto">
          <a:xfrm>
            <a:off x="7695346" y="1986188"/>
            <a:ext cx="37028" cy="10737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6" y="3"/>
              </a:cxn>
              <a:cxn ang="0">
                <a:pos x="11" y="1"/>
              </a:cxn>
              <a:cxn ang="0">
                <a:pos x="16" y="0"/>
              </a:cxn>
              <a:cxn ang="0">
                <a:pos x="17" y="0"/>
              </a:cxn>
              <a:cxn ang="0">
                <a:pos x="19" y="3"/>
              </a:cxn>
              <a:cxn ang="0">
                <a:pos x="15" y="3"/>
              </a:cxn>
              <a:cxn ang="0">
                <a:pos x="13" y="5"/>
              </a:cxn>
              <a:cxn ang="0">
                <a:pos x="7" y="6"/>
              </a:cxn>
              <a:cxn ang="0">
                <a:pos x="4" y="6"/>
              </a:cxn>
              <a:cxn ang="0">
                <a:pos x="2" y="5"/>
              </a:cxn>
              <a:cxn ang="0">
                <a:pos x="0" y="3"/>
              </a:cxn>
            </a:cxnLst>
            <a:rect l="0" t="0" r="r" b="b"/>
            <a:pathLst>
              <a:path w="19" h="6">
                <a:moveTo>
                  <a:pt x="0" y="3"/>
                </a:moveTo>
                <a:lnTo>
                  <a:pt x="6" y="3"/>
                </a:lnTo>
                <a:lnTo>
                  <a:pt x="11" y="1"/>
                </a:lnTo>
                <a:lnTo>
                  <a:pt x="16" y="0"/>
                </a:lnTo>
                <a:lnTo>
                  <a:pt x="17" y="0"/>
                </a:lnTo>
                <a:lnTo>
                  <a:pt x="19" y="3"/>
                </a:lnTo>
                <a:lnTo>
                  <a:pt x="15" y="3"/>
                </a:lnTo>
                <a:lnTo>
                  <a:pt x="13" y="5"/>
                </a:lnTo>
                <a:lnTo>
                  <a:pt x="7" y="6"/>
                </a:lnTo>
                <a:lnTo>
                  <a:pt x="4" y="6"/>
                </a:lnTo>
                <a:lnTo>
                  <a:pt x="2" y="5"/>
                </a:lnTo>
                <a:lnTo>
                  <a:pt x="0" y="3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92" name="Freeform 1015"/>
          <p:cNvSpPr>
            <a:spLocks/>
          </p:cNvSpPr>
          <p:nvPr/>
        </p:nvSpPr>
        <p:spPr bwMode="auto">
          <a:xfrm>
            <a:off x="7695346" y="1986188"/>
            <a:ext cx="37028" cy="10737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6" y="3"/>
              </a:cxn>
              <a:cxn ang="0">
                <a:pos x="11" y="1"/>
              </a:cxn>
              <a:cxn ang="0">
                <a:pos x="16" y="0"/>
              </a:cxn>
              <a:cxn ang="0">
                <a:pos x="17" y="0"/>
              </a:cxn>
              <a:cxn ang="0">
                <a:pos x="19" y="3"/>
              </a:cxn>
              <a:cxn ang="0">
                <a:pos x="15" y="3"/>
              </a:cxn>
              <a:cxn ang="0">
                <a:pos x="13" y="5"/>
              </a:cxn>
              <a:cxn ang="0">
                <a:pos x="7" y="6"/>
              </a:cxn>
              <a:cxn ang="0">
                <a:pos x="4" y="6"/>
              </a:cxn>
              <a:cxn ang="0">
                <a:pos x="2" y="5"/>
              </a:cxn>
              <a:cxn ang="0">
                <a:pos x="0" y="3"/>
              </a:cxn>
            </a:cxnLst>
            <a:rect l="0" t="0" r="r" b="b"/>
            <a:pathLst>
              <a:path w="19" h="6">
                <a:moveTo>
                  <a:pt x="0" y="3"/>
                </a:moveTo>
                <a:lnTo>
                  <a:pt x="6" y="3"/>
                </a:lnTo>
                <a:lnTo>
                  <a:pt x="11" y="1"/>
                </a:lnTo>
                <a:lnTo>
                  <a:pt x="16" y="0"/>
                </a:lnTo>
                <a:lnTo>
                  <a:pt x="17" y="0"/>
                </a:lnTo>
                <a:lnTo>
                  <a:pt x="19" y="3"/>
                </a:lnTo>
                <a:lnTo>
                  <a:pt x="15" y="3"/>
                </a:lnTo>
                <a:lnTo>
                  <a:pt x="13" y="5"/>
                </a:lnTo>
                <a:lnTo>
                  <a:pt x="7" y="6"/>
                </a:lnTo>
                <a:lnTo>
                  <a:pt x="4" y="6"/>
                </a:lnTo>
                <a:lnTo>
                  <a:pt x="2" y="5"/>
                </a:lnTo>
                <a:lnTo>
                  <a:pt x="0" y="3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93" name="Freeform 1016"/>
          <p:cNvSpPr>
            <a:spLocks/>
          </p:cNvSpPr>
          <p:nvPr/>
        </p:nvSpPr>
        <p:spPr bwMode="auto">
          <a:xfrm>
            <a:off x="8040285" y="1855183"/>
            <a:ext cx="15591" cy="12885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1"/>
              </a:cxn>
              <a:cxn ang="0">
                <a:pos x="1" y="0"/>
              </a:cxn>
              <a:cxn ang="0">
                <a:pos x="3" y="0"/>
              </a:cxn>
              <a:cxn ang="0">
                <a:pos x="5" y="3"/>
              </a:cxn>
              <a:cxn ang="0">
                <a:pos x="7" y="6"/>
              </a:cxn>
              <a:cxn ang="0">
                <a:pos x="4" y="6"/>
              </a:cxn>
              <a:cxn ang="0">
                <a:pos x="3" y="6"/>
              </a:cxn>
              <a:cxn ang="0">
                <a:pos x="1" y="6"/>
              </a:cxn>
              <a:cxn ang="0">
                <a:pos x="0" y="5"/>
              </a:cxn>
              <a:cxn ang="0">
                <a:pos x="0" y="3"/>
              </a:cxn>
            </a:cxnLst>
            <a:rect l="0" t="0" r="r" b="b"/>
            <a:pathLst>
              <a:path w="7" h="6">
                <a:moveTo>
                  <a:pt x="0" y="3"/>
                </a:moveTo>
                <a:lnTo>
                  <a:pt x="0" y="1"/>
                </a:lnTo>
                <a:lnTo>
                  <a:pt x="1" y="0"/>
                </a:lnTo>
                <a:lnTo>
                  <a:pt x="3" y="0"/>
                </a:lnTo>
                <a:lnTo>
                  <a:pt x="5" y="3"/>
                </a:lnTo>
                <a:lnTo>
                  <a:pt x="7" y="6"/>
                </a:lnTo>
                <a:lnTo>
                  <a:pt x="4" y="6"/>
                </a:lnTo>
                <a:lnTo>
                  <a:pt x="3" y="6"/>
                </a:lnTo>
                <a:lnTo>
                  <a:pt x="1" y="6"/>
                </a:lnTo>
                <a:lnTo>
                  <a:pt x="0" y="5"/>
                </a:lnTo>
                <a:lnTo>
                  <a:pt x="0" y="3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94" name="Freeform 1017"/>
          <p:cNvSpPr>
            <a:spLocks/>
          </p:cNvSpPr>
          <p:nvPr/>
        </p:nvSpPr>
        <p:spPr bwMode="auto">
          <a:xfrm>
            <a:off x="8040285" y="1855183"/>
            <a:ext cx="15591" cy="12885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1"/>
              </a:cxn>
              <a:cxn ang="0">
                <a:pos x="1" y="0"/>
              </a:cxn>
              <a:cxn ang="0">
                <a:pos x="3" y="0"/>
              </a:cxn>
              <a:cxn ang="0">
                <a:pos x="5" y="3"/>
              </a:cxn>
              <a:cxn ang="0">
                <a:pos x="7" y="6"/>
              </a:cxn>
              <a:cxn ang="0">
                <a:pos x="4" y="6"/>
              </a:cxn>
              <a:cxn ang="0">
                <a:pos x="3" y="6"/>
              </a:cxn>
              <a:cxn ang="0">
                <a:pos x="1" y="6"/>
              </a:cxn>
              <a:cxn ang="0">
                <a:pos x="0" y="5"/>
              </a:cxn>
              <a:cxn ang="0">
                <a:pos x="0" y="3"/>
              </a:cxn>
            </a:cxnLst>
            <a:rect l="0" t="0" r="r" b="b"/>
            <a:pathLst>
              <a:path w="7" h="6">
                <a:moveTo>
                  <a:pt x="0" y="3"/>
                </a:moveTo>
                <a:lnTo>
                  <a:pt x="0" y="1"/>
                </a:lnTo>
                <a:lnTo>
                  <a:pt x="1" y="0"/>
                </a:lnTo>
                <a:lnTo>
                  <a:pt x="3" y="0"/>
                </a:lnTo>
                <a:lnTo>
                  <a:pt x="5" y="3"/>
                </a:lnTo>
                <a:lnTo>
                  <a:pt x="7" y="6"/>
                </a:lnTo>
                <a:lnTo>
                  <a:pt x="4" y="6"/>
                </a:lnTo>
                <a:lnTo>
                  <a:pt x="3" y="6"/>
                </a:lnTo>
                <a:lnTo>
                  <a:pt x="1" y="6"/>
                </a:lnTo>
                <a:lnTo>
                  <a:pt x="0" y="5"/>
                </a:lnTo>
                <a:lnTo>
                  <a:pt x="0" y="3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95" name="Freeform 1018"/>
          <p:cNvSpPr>
            <a:spLocks/>
          </p:cNvSpPr>
          <p:nvPr/>
        </p:nvSpPr>
        <p:spPr bwMode="auto">
          <a:xfrm>
            <a:off x="5376256" y="2398528"/>
            <a:ext cx="126673" cy="128857"/>
          </a:xfrm>
          <a:custGeom>
            <a:avLst/>
            <a:gdLst/>
            <a:ahLst/>
            <a:cxnLst>
              <a:cxn ang="0">
                <a:pos x="63" y="17"/>
              </a:cxn>
              <a:cxn ang="0">
                <a:pos x="50" y="16"/>
              </a:cxn>
              <a:cxn ang="0">
                <a:pos x="42" y="19"/>
              </a:cxn>
              <a:cxn ang="0">
                <a:pos x="39" y="11"/>
              </a:cxn>
              <a:cxn ang="0">
                <a:pos x="43" y="6"/>
              </a:cxn>
              <a:cxn ang="0">
                <a:pos x="43" y="0"/>
              </a:cxn>
              <a:cxn ang="0">
                <a:pos x="34" y="2"/>
              </a:cxn>
              <a:cxn ang="0">
                <a:pos x="30" y="5"/>
              </a:cxn>
              <a:cxn ang="0">
                <a:pos x="28" y="8"/>
              </a:cxn>
              <a:cxn ang="0">
                <a:pos x="28" y="11"/>
              </a:cxn>
              <a:cxn ang="0">
                <a:pos x="34" y="11"/>
              </a:cxn>
              <a:cxn ang="0">
                <a:pos x="28" y="17"/>
              </a:cxn>
              <a:cxn ang="0">
                <a:pos x="18" y="16"/>
              </a:cxn>
              <a:cxn ang="0">
                <a:pos x="8" y="19"/>
              </a:cxn>
              <a:cxn ang="0">
                <a:pos x="4" y="22"/>
              </a:cxn>
              <a:cxn ang="0">
                <a:pos x="14" y="25"/>
              </a:cxn>
              <a:cxn ang="0">
                <a:pos x="6" y="30"/>
              </a:cxn>
              <a:cxn ang="0">
                <a:pos x="8" y="33"/>
              </a:cxn>
              <a:cxn ang="0">
                <a:pos x="22" y="35"/>
              </a:cxn>
              <a:cxn ang="0">
                <a:pos x="18" y="38"/>
              </a:cxn>
              <a:cxn ang="0">
                <a:pos x="14" y="44"/>
              </a:cxn>
              <a:cxn ang="0">
                <a:pos x="23" y="43"/>
              </a:cxn>
              <a:cxn ang="0">
                <a:pos x="16" y="47"/>
              </a:cxn>
              <a:cxn ang="0">
                <a:pos x="10" y="52"/>
              </a:cxn>
              <a:cxn ang="0">
                <a:pos x="4" y="54"/>
              </a:cxn>
              <a:cxn ang="0">
                <a:pos x="0" y="55"/>
              </a:cxn>
              <a:cxn ang="0">
                <a:pos x="4" y="57"/>
              </a:cxn>
              <a:cxn ang="0">
                <a:pos x="4" y="61"/>
              </a:cxn>
              <a:cxn ang="0">
                <a:pos x="11" y="61"/>
              </a:cxn>
              <a:cxn ang="0">
                <a:pos x="7" y="65"/>
              </a:cxn>
              <a:cxn ang="0">
                <a:pos x="11" y="65"/>
              </a:cxn>
              <a:cxn ang="0">
                <a:pos x="12" y="66"/>
              </a:cxn>
              <a:cxn ang="0">
                <a:pos x="18" y="66"/>
              </a:cxn>
              <a:cxn ang="0">
                <a:pos x="28" y="63"/>
              </a:cxn>
              <a:cxn ang="0">
                <a:pos x="32" y="60"/>
              </a:cxn>
              <a:cxn ang="0">
                <a:pos x="38" y="58"/>
              </a:cxn>
              <a:cxn ang="0">
                <a:pos x="43" y="57"/>
              </a:cxn>
              <a:cxn ang="0">
                <a:pos x="52" y="54"/>
              </a:cxn>
              <a:cxn ang="0">
                <a:pos x="60" y="54"/>
              </a:cxn>
              <a:cxn ang="0">
                <a:pos x="62" y="47"/>
              </a:cxn>
              <a:cxn ang="0">
                <a:pos x="66" y="41"/>
              </a:cxn>
              <a:cxn ang="0">
                <a:pos x="64" y="33"/>
              </a:cxn>
              <a:cxn ang="0">
                <a:pos x="62" y="22"/>
              </a:cxn>
            </a:cxnLst>
            <a:rect l="0" t="0" r="r" b="b"/>
            <a:pathLst>
              <a:path w="66" h="66">
                <a:moveTo>
                  <a:pt x="63" y="22"/>
                </a:moveTo>
                <a:lnTo>
                  <a:pt x="63" y="21"/>
                </a:lnTo>
                <a:lnTo>
                  <a:pt x="63" y="17"/>
                </a:lnTo>
                <a:lnTo>
                  <a:pt x="62" y="16"/>
                </a:lnTo>
                <a:lnTo>
                  <a:pt x="58" y="14"/>
                </a:lnTo>
                <a:lnTo>
                  <a:pt x="50" y="16"/>
                </a:lnTo>
                <a:lnTo>
                  <a:pt x="48" y="17"/>
                </a:lnTo>
                <a:lnTo>
                  <a:pt x="44" y="19"/>
                </a:lnTo>
                <a:lnTo>
                  <a:pt x="42" y="19"/>
                </a:lnTo>
                <a:lnTo>
                  <a:pt x="40" y="14"/>
                </a:lnTo>
                <a:lnTo>
                  <a:pt x="35" y="13"/>
                </a:lnTo>
                <a:lnTo>
                  <a:pt x="39" y="11"/>
                </a:lnTo>
                <a:lnTo>
                  <a:pt x="39" y="10"/>
                </a:lnTo>
                <a:lnTo>
                  <a:pt x="42" y="8"/>
                </a:lnTo>
                <a:lnTo>
                  <a:pt x="43" y="6"/>
                </a:lnTo>
                <a:lnTo>
                  <a:pt x="43" y="5"/>
                </a:lnTo>
                <a:lnTo>
                  <a:pt x="43" y="3"/>
                </a:lnTo>
                <a:lnTo>
                  <a:pt x="43" y="0"/>
                </a:lnTo>
                <a:lnTo>
                  <a:pt x="40" y="0"/>
                </a:lnTo>
                <a:lnTo>
                  <a:pt x="38" y="0"/>
                </a:lnTo>
                <a:lnTo>
                  <a:pt x="34" y="2"/>
                </a:lnTo>
                <a:lnTo>
                  <a:pt x="32" y="3"/>
                </a:lnTo>
                <a:lnTo>
                  <a:pt x="31" y="3"/>
                </a:lnTo>
                <a:lnTo>
                  <a:pt x="30" y="5"/>
                </a:lnTo>
                <a:lnTo>
                  <a:pt x="31" y="6"/>
                </a:lnTo>
                <a:lnTo>
                  <a:pt x="30" y="6"/>
                </a:lnTo>
                <a:lnTo>
                  <a:pt x="28" y="8"/>
                </a:lnTo>
                <a:lnTo>
                  <a:pt x="26" y="10"/>
                </a:lnTo>
                <a:lnTo>
                  <a:pt x="26" y="11"/>
                </a:lnTo>
                <a:lnTo>
                  <a:pt x="28" y="11"/>
                </a:lnTo>
                <a:lnTo>
                  <a:pt x="30" y="11"/>
                </a:lnTo>
                <a:lnTo>
                  <a:pt x="31" y="11"/>
                </a:lnTo>
                <a:lnTo>
                  <a:pt x="34" y="11"/>
                </a:lnTo>
                <a:lnTo>
                  <a:pt x="32" y="13"/>
                </a:lnTo>
                <a:lnTo>
                  <a:pt x="28" y="16"/>
                </a:lnTo>
                <a:lnTo>
                  <a:pt x="28" y="17"/>
                </a:lnTo>
                <a:lnTo>
                  <a:pt x="24" y="17"/>
                </a:lnTo>
                <a:lnTo>
                  <a:pt x="19" y="17"/>
                </a:lnTo>
                <a:lnTo>
                  <a:pt x="18" y="16"/>
                </a:lnTo>
                <a:lnTo>
                  <a:pt x="11" y="16"/>
                </a:lnTo>
                <a:lnTo>
                  <a:pt x="10" y="17"/>
                </a:lnTo>
                <a:lnTo>
                  <a:pt x="8" y="19"/>
                </a:lnTo>
                <a:lnTo>
                  <a:pt x="8" y="22"/>
                </a:lnTo>
                <a:lnTo>
                  <a:pt x="7" y="22"/>
                </a:lnTo>
                <a:lnTo>
                  <a:pt x="4" y="22"/>
                </a:lnTo>
                <a:lnTo>
                  <a:pt x="7" y="24"/>
                </a:lnTo>
                <a:lnTo>
                  <a:pt x="12" y="24"/>
                </a:lnTo>
                <a:lnTo>
                  <a:pt x="14" y="25"/>
                </a:lnTo>
                <a:lnTo>
                  <a:pt x="8" y="27"/>
                </a:lnTo>
                <a:lnTo>
                  <a:pt x="8" y="28"/>
                </a:lnTo>
                <a:lnTo>
                  <a:pt x="6" y="30"/>
                </a:lnTo>
                <a:lnTo>
                  <a:pt x="6" y="32"/>
                </a:lnTo>
                <a:lnTo>
                  <a:pt x="7" y="33"/>
                </a:lnTo>
                <a:lnTo>
                  <a:pt x="8" y="33"/>
                </a:lnTo>
                <a:lnTo>
                  <a:pt x="12" y="33"/>
                </a:lnTo>
                <a:lnTo>
                  <a:pt x="12" y="35"/>
                </a:lnTo>
                <a:lnTo>
                  <a:pt x="22" y="35"/>
                </a:lnTo>
                <a:lnTo>
                  <a:pt x="23" y="36"/>
                </a:lnTo>
                <a:lnTo>
                  <a:pt x="22" y="36"/>
                </a:lnTo>
                <a:lnTo>
                  <a:pt x="18" y="38"/>
                </a:lnTo>
                <a:lnTo>
                  <a:pt x="16" y="39"/>
                </a:lnTo>
                <a:lnTo>
                  <a:pt x="15" y="43"/>
                </a:lnTo>
                <a:lnTo>
                  <a:pt x="14" y="44"/>
                </a:lnTo>
                <a:lnTo>
                  <a:pt x="10" y="47"/>
                </a:lnTo>
                <a:lnTo>
                  <a:pt x="19" y="46"/>
                </a:lnTo>
                <a:lnTo>
                  <a:pt x="23" y="43"/>
                </a:lnTo>
                <a:lnTo>
                  <a:pt x="23" y="46"/>
                </a:lnTo>
                <a:lnTo>
                  <a:pt x="26" y="46"/>
                </a:lnTo>
                <a:lnTo>
                  <a:pt x="16" y="47"/>
                </a:lnTo>
                <a:lnTo>
                  <a:pt x="12" y="47"/>
                </a:lnTo>
                <a:lnTo>
                  <a:pt x="10" y="50"/>
                </a:lnTo>
                <a:lnTo>
                  <a:pt x="10" y="52"/>
                </a:lnTo>
                <a:lnTo>
                  <a:pt x="8" y="54"/>
                </a:lnTo>
                <a:lnTo>
                  <a:pt x="7" y="52"/>
                </a:lnTo>
                <a:lnTo>
                  <a:pt x="4" y="54"/>
                </a:lnTo>
                <a:lnTo>
                  <a:pt x="3" y="54"/>
                </a:lnTo>
                <a:lnTo>
                  <a:pt x="2" y="54"/>
                </a:lnTo>
                <a:lnTo>
                  <a:pt x="0" y="55"/>
                </a:lnTo>
                <a:lnTo>
                  <a:pt x="7" y="55"/>
                </a:lnTo>
                <a:lnTo>
                  <a:pt x="8" y="57"/>
                </a:lnTo>
                <a:lnTo>
                  <a:pt x="4" y="57"/>
                </a:lnTo>
                <a:lnTo>
                  <a:pt x="2" y="60"/>
                </a:lnTo>
                <a:lnTo>
                  <a:pt x="4" y="60"/>
                </a:lnTo>
                <a:lnTo>
                  <a:pt x="4" y="61"/>
                </a:lnTo>
                <a:lnTo>
                  <a:pt x="6" y="61"/>
                </a:lnTo>
                <a:lnTo>
                  <a:pt x="11" y="60"/>
                </a:lnTo>
                <a:lnTo>
                  <a:pt x="11" y="61"/>
                </a:lnTo>
                <a:lnTo>
                  <a:pt x="8" y="61"/>
                </a:lnTo>
                <a:lnTo>
                  <a:pt x="6" y="65"/>
                </a:lnTo>
                <a:lnTo>
                  <a:pt x="7" y="65"/>
                </a:lnTo>
                <a:lnTo>
                  <a:pt x="14" y="63"/>
                </a:lnTo>
                <a:lnTo>
                  <a:pt x="14" y="65"/>
                </a:lnTo>
                <a:lnTo>
                  <a:pt x="11" y="65"/>
                </a:lnTo>
                <a:lnTo>
                  <a:pt x="10" y="65"/>
                </a:lnTo>
                <a:lnTo>
                  <a:pt x="11" y="66"/>
                </a:lnTo>
                <a:lnTo>
                  <a:pt x="12" y="66"/>
                </a:lnTo>
                <a:lnTo>
                  <a:pt x="15" y="66"/>
                </a:lnTo>
                <a:lnTo>
                  <a:pt x="16" y="66"/>
                </a:lnTo>
                <a:lnTo>
                  <a:pt x="18" y="66"/>
                </a:lnTo>
                <a:lnTo>
                  <a:pt x="19" y="65"/>
                </a:lnTo>
                <a:lnTo>
                  <a:pt x="22" y="65"/>
                </a:lnTo>
                <a:lnTo>
                  <a:pt x="28" y="63"/>
                </a:lnTo>
                <a:lnTo>
                  <a:pt x="31" y="61"/>
                </a:lnTo>
                <a:lnTo>
                  <a:pt x="31" y="60"/>
                </a:lnTo>
                <a:lnTo>
                  <a:pt x="32" y="60"/>
                </a:lnTo>
                <a:lnTo>
                  <a:pt x="34" y="61"/>
                </a:lnTo>
                <a:lnTo>
                  <a:pt x="38" y="60"/>
                </a:lnTo>
                <a:lnTo>
                  <a:pt x="38" y="58"/>
                </a:lnTo>
                <a:lnTo>
                  <a:pt x="40" y="58"/>
                </a:lnTo>
                <a:lnTo>
                  <a:pt x="42" y="58"/>
                </a:lnTo>
                <a:lnTo>
                  <a:pt x="43" y="57"/>
                </a:lnTo>
                <a:lnTo>
                  <a:pt x="43" y="55"/>
                </a:lnTo>
                <a:lnTo>
                  <a:pt x="50" y="55"/>
                </a:lnTo>
                <a:lnTo>
                  <a:pt x="52" y="54"/>
                </a:lnTo>
                <a:lnTo>
                  <a:pt x="56" y="54"/>
                </a:lnTo>
                <a:lnTo>
                  <a:pt x="59" y="54"/>
                </a:lnTo>
                <a:lnTo>
                  <a:pt x="60" y="54"/>
                </a:lnTo>
                <a:lnTo>
                  <a:pt x="62" y="54"/>
                </a:lnTo>
                <a:lnTo>
                  <a:pt x="60" y="50"/>
                </a:lnTo>
                <a:lnTo>
                  <a:pt x="62" y="47"/>
                </a:lnTo>
                <a:lnTo>
                  <a:pt x="63" y="44"/>
                </a:lnTo>
                <a:lnTo>
                  <a:pt x="64" y="43"/>
                </a:lnTo>
                <a:lnTo>
                  <a:pt x="66" y="41"/>
                </a:lnTo>
                <a:lnTo>
                  <a:pt x="64" y="36"/>
                </a:lnTo>
                <a:lnTo>
                  <a:pt x="63" y="33"/>
                </a:lnTo>
                <a:lnTo>
                  <a:pt x="64" y="33"/>
                </a:lnTo>
                <a:lnTo>
                  <a:pt x="66" y="30"/>
                </a:lnTo>
                <a:lnTo>
                  <a:pt x="62" y="24"/>
                </a:lnTo>
                <a:lnTo>
                  <a:pt x="62" y="22"/>
                </a:lnTo>
                <a:lnTo>
                  <a:pt x="63" y="22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96" name="Freeform 1019"/>
          <p:cNvSpPr>
            <a:spLocks/>
          </p:cNvSpPr>
          <p:nvPr/>
        </p:nvSpPr>
        <p:spPr bwMode="auto">
          <a:xfrm>
            <a:off x="5988184" y="1908873"/>
            <a:ext cx="378071" cy="481064"/>
          </a:xfrm>
          <a:custGeom>
            <a:avLst/>
            <a:gdLst/>
            <a:ahLst/>
            <a:cxnLst>
              <a:cxn ang="0">
                <a:pos x="4" y="191"/>
              </a:cxn>
              <a:cxn ang="0">
                <a:pos x="5" y="194"/>
              </a:cxn>
              <a:cxn ang="0">
                <a:pos x="12" y="205"/>
              </a:cxn>
              <a:cxn ang="0">
                <a:pos x="22" y="219"/>
              </a:cxn>
              <a:cxn ang="0">
                <a:pos x="21" y="227"/>
              </a:cxn>
              <a:cxn ang="0">
                <a:pos x="29" y="241"/>
              </a:cxn>
              <a:cxn ang="0">
                <a:pos x="46" y="235"/>
              </a:cxn>
              <a:cxn ang="0">
                <a:pos x="62" y="229"/>
              </a:cxn>
              <a:cxn ang="0">
                <a:pos x="80" y="215"/>
              </a:cxn>
              <a:cxn ang="0">
                <a:pos x="82" y="201"/>
              </a:cxn>
              <a:cxn ang="0">
                <a:pos x="84" y="194"/>
              </a:cxn>
              <a:cxn ang="0">
                <a:pos x="86" y="186"/>
              </a:cxn>
              <a:cxn ang="0">
                <a:pos x="92" y="182"/>
              </a:cxn>
              <a:cxn ang="0">
                <a:pos x="104" y="177"/>
              </a:cxn>
              <a:cxn ang="0">
                <a:pos x="112" y="171"/>
              </a:cxn>
              <a:cxn ang="0">
                <a:pos x="80" y="171"/>
              </a:cxn>
              <a:cxn ang="0">
                <a:pos x="92" y="169"/>
              </a:cxn>
              <a:cxn ang="0">
                <a:pos x="100" y="171"/>
              </a:cxn>
              <a:cxn ang="0">
                <a:pos x="112" y="158"/>
              </a:cxn>
              <a:cxn ang="0">
                <a:pos x="98" y="150"/>
              </a:cxn>
              <a:cxn ang="0">
                <a:pos x="86" y="157"/>
              </a:cxn>
              <a:cxn ang="0">
                <a:pos x="85" y="155"/>
              </a:cxn>
              <a:cxn ang="0">
                <a:pos x="92" y="144"/>
              </a:cxn>
              <a:cxn ang="0">
                <a:pos x="94" y="131"/>
              </a:cxn>
              <a:cxn ang="0">
                <a:pos x="94" y="116"/>
              </a:cxn>
              <a:cxn ang="0">
                <a:pos x="101" y="108"/>
              </a:cxn>
              <a:cxn ang="0">
                <a:pos x="106" y="106"/>
              </a:cxn>
              <a:cxn ang="0">
                <a:pos x="117" y="102"/>
              </a:cxn>
              <a:cxn ang="0">
                <a:pos x="133" y="95"/>
              </a:cxn>
              <a:cxn ang="0">
                <a:pos x="147" y="89"/>
              </a:cxn>
              <a:cxn ang="0">
                <a:pos x="155" y="84"/>
              </a:cxn>
              <a:cxn ang="0">
                <a:pos x="154" y="77"/>
              </a:cxn>
              <a:cxn ang="0">
                <a:pos x="159" y="69"/>
              </a:cxn>
              <a:cxn ang="0">
                <a:pos x="166" y="62"/>
              </a:cxn>
              <a:cxn ang="0">
                <a:pos x="170" y="59"/>
              </a:cxn>
              <a:cxn ang="0">
                <a:pos x="178" y="56"/>
              </a:cxn>
              <a:cxn ang="0">
                <a:pos x="194" y="58"/>
              </a:cxn>
              <a:cxn ang="0">
                <a:pos x="194" y="44"/>
              </a:cxn>
              <a:cxn ang="0">
                <a:pos x="189" y="28"/>
              </a:cxn>
              <a:cxn ang="0">
                <a:pos x="175" y="11"/>
              </a:cxn>
              <a:cxn ang="0">
                <a:pos x="137" y="1"/>
              </a:cxn>
              <a:cxn ang="0">
                <a:pos x="134" y="9"/>
              </a:cxn>
              <a:cxn ang="0">
                <a:pos x="109" y="9"/>
              </a:cxn>
              <a:cxn ang="0">
                <a:pos x="100" y="17"/>
              </a:cxn>
              <a:cxn ang="0">
                <a:pos x="82" y="26"/>
              </a:cxn>
              <a:cxn ang="0">
                <a:pos x="76" y="39"/>
              </a:cxn>
              <a:cxn ang="0">
                <a:pos x="56" y="51"/>
              </a:cxn>
              <a:cxn ang="0">
                <a:pos x="41" y="78"/>
              </a:cxn>
              <a:cxn ang="0">
                <a:pos x="40" y="89"/>
              </a:cxn>
              <a:cxn ang="0">
                <a:pos x="16" y="103"/>
              </a:cxn>
              <a:cxn ang="0">
                <a:pos x="14" y="114"/>
              </a:cxn>
              <a:cxn ang="0">
                <a:pos x="25" y="133"/>
              </a:cxn>
              <a:cxn ang="0">
                <a:pos x="20" y="155"/>
              </a:cxn>
              <a:cxn ang="0">
                <a:pos x="8" y="171"/>
              </a:cxn>
            </a:cxnLst>
            <a:rect l="0" t="0" r="r" b="b"/>
            <a:pathLst>
              <a:path w="197" h="243">
                <a:moveTo>
                  <a:pt x="2" y="177"/>
                </a:moveTo>
                <a:lnTo>
                  <a:pt x="0" y="179"/>
                </a:lnTo>
                <a:lnTo>
                  <a:pt x="0" y="180"/>
                </a:lnTo>
                <a:lnTo>
                  <a:pt x="2" y="188"/>
                </a:lnTo>
                <a:lnTo>
                  <a:pt x="4" y="188"/>
                </a:lnTo>
                <a:lnTo>
                  <a:pt x="4" y="190"/>
                </a:lnTo>
                <a:lnTo>
                  <a:pt x="4" y="191"/>
                </a:lnTo>
                <a:lnTo>
                  <a:pt x="5" y="190"/>
                </a:lnTo>
                <a:lnTo>
                  <a:pt x="6" y="188"/>
                </a:lnTo>
                <a:lnTo>
                  <a:pt x="8" y="190"/>
                </a:lnTo>
                <a:lnTo>
                  <a:pt x="6" y="191"/>
                </a:lnTo>
                <a:lnTo>
                  <a:pt x="8" y="191"/>
                </a:lnTo>
                <a:lnTo>
                  <a:pt x="6" y="193"/>
                </a:lnTo>
                <a:lnTo>
                  <a:pt x="5" y="194"/>
                </a:lnTo>
                <a:lnTo>
                  <a:pt x="9" y="194"/>
                </a:lnTo>
                <a:lnTo>
                  <a:pt x="10" y="196"/>
                </a:lnTo>
                <a:lnTo>
                  <a:pt x="9" y="199"/>
                </a:lnTo>
                <a:lnTo>
                  <a:pt x="12" y="199"/>
                </a:lnTo>
                <a:lnTo>
                  <a:pt x="13" y="201"/>
                </a:lnTo>
                <a:lnTo>
                  <a:pt x="12" y="202"/>
                </a:lnTo>
                <a:lnTo>
                  <a:pt x="12" y="205"/>
                </a:lnTo>
                <a:lnTo>
                  <a:pt x="12" y="207"/>
                </a:lnTo>
                <a:lnTo>
                  <a:pt x="14" y="207"/>
                </a:lnTo>
                <a:lnTo>
                  <a:pt x="16" y="210"/>
                </a:lnTo>
                <a:lnTo>
                  <a:pt x="16" y="212"/>
                </a:lnTo>
                <a:lnTo>
                  <a:pt x="17" y="215"/>
                </a:lnTo>
                <a:lnTo>
                  <a:pt x="21" y="216"/>
                </a:lnTo>
                <a:lnTo>
                  <a:pt x="22" y="219"/>
                </a:lnTo>
                <a:lnTo>
                  <a:pt x="25" y="219"/>
                </a:lnTo>
                <a:lnTo>
                  <a:pt x="28" y="223"/>
                </a:lnTo>
                <a:lnTo>
                  <a:pt x="25" y="224"/>
                </a:lnTo>
                <a:lnTo>
                  <a:pt x="24" y="224"/>
                </a:lnTo>
                <a:lnTo>
                  <a:pt x="25" y="227"/>
                </a:lnTo>
                <a:lnTo>
                  <a:pt x="22" y="227"/>
                </a:lnTo>
                <a:lnTo>
                  <a:pt x="21" y="227"/>
                </a:lnTo>
                <a:lnTo>
                  <a:pt x="25" y="234"/>
                </a:lnTo>
                <a:lnTo>
                  <a:pt x="28" y="237"/>
                </a:lnTo>
                <a:lnTo>
                  <a:pt x="29" y="238"/>
                </a:lnTo>
                <a:lnTo>
                  <a:pt x="28" y="238"/>
                </a:lnTo>
                <a:lnTo>
                  <a:pt x="28" y="241"/>
                </a:lnTo>
                <a:lnTo>
                  <a:pt x="26" y="241"/>
                </a:lnTo>
                <a:lnTo>
                  <a:pt x="29" y="241"/>
                </a:lnTo>
                <a:lnTo>
                  <a:pt x="33" y="243"/>
                </a:lnTo>
                <a:lnTo>
                  <a:pt x="38" y="241"/>
                </a:lnTo>
                <a:lnTo>
                  <a:pt x="42" y="241"/>
                </a:lnTo>
                <a:lnTo>
                  <a:pt x="45" y="241"/>
                </a:lnTo>
                <a:lnTo>
                  <a:pt x="46" y="241"/>
                </a:lnTo>
                <a:lnTo>
                  <a:pt x="48" y="238"/>
                </a:lnTo>
                <a:lnTo>
                  <a:pt x="46" y="235"/>
                </a:lnTo>
                <a:lnTo>
                  <a:pt x="48" y="232"/>
                </a:lnTo>
                <a:lnTo>
                  <a:pt x="50" y="230"/>
                </a:lnTo>
                <a:lnTo>
                  <a:pt x="53" y="230"/>
                </a:lnTo>
                <a:lnTo>
                  <a:pt x="54" y="229"/>
                </a:lnTo>
                <a:lnTo>
                  <a:pt x="57" y="227"/>
                </a:lnTo>
                <a:lnTo>
                  <a:pt x="61" y="227"/>
                </a:lnTo>
                <a:lnTo>
                  <a:pt x="62" y="229"/>
                </a:lnTo>
                <a:lnTo>
                  <a:pt x="66" y="229"/>
                </a:lnTo>
                <a:lnTo>
                  <a:pt x="69" y="229"/>
                </a:lnTo>
                <a:lnTo>
                  <a:pt x="73" y="229"/>
                </a:lnTo>
                <a:lnTo>
                  <a:pt x="74" y="226"/>
                </a:lnTo>
                <a:lnTo>
                  <a:pt x="76" y="221"/>
                </a:lnTo>
                <a:lnTo>
                  <a:pt x="78" y="218"/>
                </a:lnTo>
                <a:lnTo>
                  <a:pt x="80" y="215"/>
                </a:lnTo>
                <a:lnTo>
                  <a:pt x="80" y="212"/>
                </a:lnTo>
                <a:lnTo>
                  <a:pt x="80" y="210"/>
                </a:lnTo>
                <a:lnTo>
                  <a:pt x="81" y="207"/>
                </a:lnTo>
                <a:lnTo>
                  <a:pt x="82" y="205"/>
                </a:lnTo>
                <a:lnTo>
                  <a:pt x="82" y="204"/>
                </a:lnTo>
                <a:lnTo>
                  <a:pt x="81" y="202"/>
                </a:lnTo>
                <a:lnTo>
                  <a:pt x="82" y="201"/>
                </a:lnTo>
                <a:lnTo>
                  <a:pt x="82" y="199"/>
                </a:lnTo>
                <a:lnTo>
                  <a:pt x="81" y="197"/>
                </a:lnTo>
                <a:lnTo>
                  <a:pt x="81" y="196"/>
                </a:lnTo>
                <a:lnTo>
                  <a:pt x="82" y="197"/>
                </a:lnTo>
                <a:lnTo>
                  <a:pt x="84" y="197"/>
                </a:lnTo>
                <a:lnTo>
                  <a:pt x="84" y="196"/>
                </a:lnTo>
                <a:lnTo>
                  <a:pt x="84" y="194"/>
                </a:lnTo>
                <a:lnTo>
                  <a:pt x="84" y="193"/>
                </a:lnTo>
                <a:lnTo>
                  <a:pt x="85" y="190"/>
                </a:lnTo>
                <a:lnTo>
                  <a:pt x="82" y="188"/>
                </a:lnTo>
                <a:lnTo>
                  <a:pt x="80" y="188"/>
                </a:lnTo>
                <a:lnTo>
                  <a:pt x="82" y="188"/>
                </a:lnTo>
                <a:lnTo>
                  <a:pt x="85" y="188"/>
                </a:lnTo>
                <a:lnTo>
                  <a:pt x="86" y="186"/>
                </a:lnTo>
                <a:lnTo>
                  <a:pt x="84" y="185"/>
                </a:lnTo>
                <a:lnTo>
                  <a:pt x="76" y="185"/>
                </a:lnTo>
                <a:lnTo>
                  <a:pt x="82" y="183"/>
                </a:lnTo>
                <a:lnTo>
                  <a:pt x="86" y="185"/>
                </a:lnTo>
                <a:lnTo>
                  <a:pt x="88" y="183"/>
                </a:lnTo>
                <a:lnTo>
                  <a:pt x="89" y="182"/>
                </a:lnTo>
                <a:lnTo>
                  <a:pt x="92" y="182"/>
                </a:lnTo>
                <a:lnTo>
                  <a:pt x="96" y="180"/>
                </a:lnTo>
                <a:lnTo>
                  <a:pt x="97" y="179"/>
                </a:lnTo>
                <a:lnTo>
                  <a:pt x="97" y="177"/>
                </a:lnTo>
                <a:lnTo>
                  <a:pt x="98" y="177"/>
                </a:lnTo>
                <a:lnTo>
                  <a:pt x="98" y="180"/>
                </a:lnTo>
                <a:lnTo>
                  <a:pt x="102" y="179"/>
                </a:lnTo>
                <a:lnTo>
                  <a:pt x="104" y="177"/>
                </a:lnTo>
                <a:lnTo>
                  <a:pt x="108" y="175"/>
                </a:lnTo>
                <a:lnTo>
                  <a:pt x="108" y="172"/>
                </a:lnTo>
                <a:lnTo>
                  <a:pt x="109" y="174"/>
                </a:lnTo>
                <a:lnTo>
                  <a:pt x="110" y="174"/>
                </a:lnTo>
                <a:lnTo>
                  <a:pt x="110" y="172"/>
                </a:lnTo>
                <a:lnTo>
                  <a:pt x="112" y="172"/>
                </a:lnTo>
                <a:lnTo>
                  <a:pt x="112" y="171"/>
                </a:lnTo>
                <a:lnTo>
                  <a:pt x="97" y="174"/>
                </a:lnTo>
                <a:lnTo>
                  <a:pt x="94" y="172"/>
                </a:lnTo>
                <a:lnTo>
                  <a:pt x="93" y="174"/>
                </a:lnTo>
                <a:lnTo>
                  <a:pt x="92" y="172"/>
                </a:lnTo>
                <a:lnTo>
                  <a:pt x="90" y="171"/>
                </a:lnTo>
                <a:lnTo>
                  <a:pt x="84" y="169"/>
                </a:lnTo>
                <a:lnTo>
                  <a:pt x="80" y="171"/>
                </a:lnTo>
                <a:lnTo>
                  <a:pt x="78" y="169"/>
                </a:lnTo>
                <a:lnTo>
                  <a:pt x="80" y="169"/>
                </a:lnTo>
                <a:lnTo>
                  <a:pt x="81" y="168"/>
                </a:lnTo>
                <a:lnTo>
                  <a:pt x="82" y="168"/>
                </a:lnTo>
                <a:lnTo>
                  <a:pt x="85" y="168"/>
                </a:lnTo>
                <a:lnTo>
                  <a:pt x="89" y="168"/>
                </a:lnTo>
                <a:lnTo>
                  <a:pt x="92" y="169"/>
                </a:lnTo>
                <a:lnTo>
                  <a:pt x="93" y="169"/>
                </a:lnTo>
                <a:lnTo>
                  <a:pt x="93" y="168"/>
                </a:lnTo>
                <a:lnTo>
                  <a:pt x="96" y="169"/>
                </a:lnTo>
                <a:lnTo>
                  <a:pt x="97" y="169"/>
                </a:lnTo>
                <a:lnTo>
                  <a:pt x="98" y="169"/>
                </a:lnTo>
                <a:lnTo>
                  <a:pt x="100" y="169"/>
                </a:lnTo>
                <a:lnTo>
                  <a:pt x="100" y="171"/>
                </a:lnTo>
                <a:lnTo>
                  <a:pt x="102" y="171"/>
                </a:lnTo>
                <a:lnTo>
                  <a:pt x="112" y="169"/>
                </a:lnTo>
                <a:lnTo>
                  <a:pt x="114" y="166"/>
                </a:lnTo>
                <a:lnTo>
                  <a:pt x="115" y="164"/>
                </a:lnTo>
                <a:lnTo>
                  <a:pt x="117" y="161"/>
                </a:lnTo>
                <a:lnTo>
                  <a:pt x="114" y="160"/>
                </a:lnTo>
                <a:lnTo>
                  <a:pt x="112" y="158"/>
                </a:lnTo>
                <a:lnTo>
                  <a:pt x="109" y="155"/>
                </a:lnTo>
                <a:lnTo>
                  <a:pt x="112" y="155"/>
                </a:lnTo>
                <a:lnTo>
                  <a:pt x="110" y="155"/>
                </a:lnTo>
                <a:lnTo>
                  <a:pt x="105" y="153"/>
                </a:lnTo>
                <a:lnTo>
                  <a:pt x="105" y="152"/>
                </a:lnTo>
                <a:lnTo>
                  <a:pt x="104" y="150"/>
                </a:lnTo>
                <a:lnTo>
                  <a:pt x="98" y="150"/>
                </a:lnTo>
                <a:lnTo>
                  <a:pt x="97" y="150"/>
                </a:lnTo>
                <a:lnTo>
                  <a:pt x="97" y="149"/>
                </a:lnTo>
                <a:lnTo>
                  <a:pt x="96" y="149"/>
                </a:lnTo>
                <a:lnTo>
                  <a:pt x="96" y="150"/>
                </a:lnTo>
                <a:lnTo>
                  <a:pt x="94" y="152"/>
                </a:lnTo>
                <a:lnTo>
                  <a:pt x="92" y="155"/>
                </a:lnTo>
                <a:lnTo>
                  <a:pt x="86" y="157"/>
                </a:lnTo>
                <a:lnTo>
                  <a:pt x="85" y="158"/>
                </a:lnTo>
                <a:lnTo>
                  <a:pt x="82" y="158"/>
                </a:lnTo>
                <a:lnTo>
                  <a:pt x="80" y="158"/>
                </a:lnTo>
                <a:lnTo>
                  <a:pt x="77" y="158"/>
                </a:lnTo>
                <a:lnTo>
                  <a:pt x="80" y="157"/>
                </a:lnTo>
                <a:lnTo>
                  <a:pt x="82" y="157"/>
                </a:lnTo>
                <a:lnTo>
                  <a:pt x="85" y="155"/>
                </a:lnTo>
                <a:lnTo>
                  <a:pt x="88" y="153"/>
                </a:lnTo>
                <a:lnTo>
                  <a:pt x="93" y="152"/>
                </a:lnTo>
                <a:lnTo>
                  <a:pt x="93" y="150"/>
                </a:lnTo>
                <a:lnTo>
                  <a:pt x="93" y="149"/>
                </a:lnTo>
                <a:lnTo>
                  <a:pt x="92" y="147"/>
                </a:lnTo>
                <a:lnTo>
                  <a:pt x="93" y="146"/>
                </a:lnTo>
                <a:lnTo>
                  <a:pt x="92" y="144"/>
                </a:lnTo>
                <a:lnTo>
                  <a:pt x="90" y="139"/>
                </a:lnTo>
                <a:lnTo>
                  <a:pt x="90" y="136"/>
                </a:lnTo>
                <a:lnTo>
                  <a:pt x="90" y="133"/>
                </a:lnTo>
                <a:lnTo>
                  <a:pt x="90" y="131"/>
                </a:lnTo>
                <a:lnTo>
                  <a:pt x="92" y="130"/>
                </a:lnTo>
                <a:lnTo>
                  <a:pt x="90" y="130"/>
                </a:lnTo>
                <a:lnTo>
                  <a:pt x="94" y="131"/>
                </a:lnTo>
                <a:lnTo>
                  <a:pt x="96" y="130"/>
                </a:lnTo>
                <a:lnTo>
                  <a:pt x="94" y="127"/>
                </a:lnTo>
                <a:lnTo>
                  <a:pt x="96" y="124"/>
                </a:lnTo>
                <a:lnTo>
                  <a:pt x="97" y="121"/>
                </a:lnTo>
                <a:lnTo>
                  <a:pt x="94" y="119"/>
                </a:lnTo>
                <a:lnTo>
                  <a:pt x="94" y="117"/>
                </a:lnTo>
                <a:lnTo>
                  <a:pt x="94" y="116"/>
                </a:lnTo>
                <a:lnTo>
                  <a:pt x="98" y="117"/>
                </a:lnTo>
                <a:lnTo>
                  <a:pt x="98" y="116"/>
                </a:lnTo>
                <a:lnTo>
                  <a:pt x="100" y="116"/>
                </a:lnTo>
                <a:lnTo>
                  <a:pt x="101" y="114"/>
                </a:lnTo>
                <a:lnTo>
                  <a:pt x="102" y="111"/>
                </a:lnTo>
                <a:lnTo>
                  <a:pt x="101" y="110"/>
                </a:lnTo>
                <a:lnTo>
                  <a:pt x="101" y="108"/>
                </a:lnTo>
                <a:lnTo>
                  <a:pt x="101" y="110"/>
                </a:lnTo>
                <a:lnTo>
                  <a:pt x="104" y="111"/>
                </a:lnTo>
                <a:lnTo>
                  <a:pt x="105" y="111"/>
                </a:lnTo>
                <a:lnTo>
                  <a:pt x="106" y="110"/>
                </a:lnTo>
                <a:lnTo>
                  <a:pt x="109" y="110"/>
                </a:lnTo>
                <a:lnTo>
                  <a:pt x="110" y="108"/>
                </a:lnTo>
                <a:lnTo>
                  <a:pt x="106" y="106"/>
                </a:lnTo>
                <a:lnTo>
                  <a:pt x="109" y="108"/>
                </a:lnTo>
                <a:lnTo>
                  <a:pt x="112" y="106"/>
                </a:lnTo>
                <a:lnTo>
                  <a:pt x="113" y="105"/>
                </a:lnTo>
                <a:lnTo>
                  <a:pt x="113" y="103"/>
                </a:lnTo>
                <a:lnTo>
                  <a:pt x="115" y="103"/>
                </a:lnTo>
                <a:lnTo>
                  <a:pt x="115" y="102"/>
                </a:lnTo>
                <a:lnTo>
                  <a:pt x="117" y="102"/>
                </a:lnTo>
                <a:lnTo>
                  <a:pt x="119" y="102"/>
                </a:lnTo>
                <a:lnTo>
                  <a:pt x="123" y="100"/>
                </a:lnTo>
                <a:lnTo>
                  <a:pt x="123" y="99"/>
                </a:lnTo>
                <a:lnTo>
                  <a:pt x="127" y="97"/>
                </a:lnTo>
                <a:lnTo>
                  <a:pt x="130" y="99"/>
                </a:lnTo>
                <a:lnTo>
                  <a:pt x="133" y="97"/>
                </a:lnTo>
                <a:lnTo>
                  <a:pt x="133" y="95"/>
                </a:lnTo>
                <a:lnTo>
                  <a:pt x="135" y="95"/>
                </a:lnTo>
                <a:lnTo>
                  <a:pt x="138" y="95"/>
                </a:lnTo>
                <a:lnTo>
                  <a:pt x="138" y="94"/>
                </a:lnTo>
                <a:lnTo>
                  <a:pt x="142" y="94"/>
                </a:lnTo>
                <a:lnTo>
                  <a:pt x="143" y="92"/>
                </a:lnTo>
                <a:lnTo>
                  <a:pt x="145" y="92"/>
                </a:lnTo>
                <a:lnTo>
                  <a:pt x="147" y="89"/>
                </a:lnTo>
                <a:lnTo>
                  <a:pt x="149" y="88"/>
                </a:lnTo>
                <a:lnTo>
                  <a:pt x="151" y="86"/>
                </a:lnTo>
                <a:lnTo>
                  <a:pt x="153" y="84"/>
                </a:lnTo>
                <a:lnTo>
                  <a:pt x="155" y="83"/>
                </a:lnTo>
                <a:lnTo>
                  <a:pt x="155" y="81"/>
                </a:lnTo>
                <a:lnTo>
                  <a:pt x="157" y="83"/>
                </a:lnTo>
                <a:lnTo>
                  <a:pt x="155" y="84"/>
                </a:lnTo>
                <a:lnTo>
                  <a:pt x="158" y="83"/>
                </a:lnTo>
                <a:lnTo>
                  <a:pt x="159" y="81"/>
                </a:lnTo>
                <a:lnTo>
                  <a:pt x="158" y="81"/>
                </a:lnTo>
                <a:lnTo>
                  <a:pt x="157" y="80"/>
                </a:lnTo>
                <a:lnTo>
                  <a:pt x="153" y="78"/>
                </a:lnTo>
                <a:lnTo>
                  <a:pt x="153" y="77"/>
                </a:lnTo>
                <a:lnTo>
                  <a:pt x="154" y="77"/>
                </a:lnTo>
                <a:lnTo>
                  <a:pt x="153" y="77"/>
                </a:lnTo>
                <a:lnTo>
                  <a:pt x="151" y="75"/>
                </a:lnTo>
                <a:lnTo>
                  <a:pt x="153" y="73"/>
                </a:lnTo>
                <a:lnTo>
                  <a:pt x="154" y="73"/>
                </a:lnTo>
                <a:lnTo>
                  <a:pt x="155" y="72"/>
                </a:lnTo>
                <a:lnTo>
                  <a:pt x="158" y="69"/>
                </a:lnTo>
                <a:lnTo>
                  <a:pt x="159" y="69"/>
                </a:lnTo>
                <a:lnTo>
                  <a:pt x="157" y="66"/>
                </a:lnTo>
                <a:lnTo>
                  <a:pt x="159" y="64"/>
                </a:lnTo>
                <a:lnTo>
                  <a:pt x="161" y="64"/>
                </a:lnTo>
                <a:lnTo>
                  <a:pt x="163" y="64"/>
                </a:lnTo>
                <a:lnTo>
                  <a:pt x="165" y="62"/>
                </a:lnTo>
                <a:lnTo>
                  <a:pt x="163" y="62"/>
                </a:lnTo>
                <a:lnTo>
                  <a:pt x="166" y="62"/>
                </a:lnTo>
                <a:lnTo>
                  <a:pt x="166" y="61"/>
                </a:lnTo>
                <a:lnTo>
                  <a:pt x="163" y="59"/>
                </a:lnTo>
                <a:lnTo>
                  <a:pt x="166" y="59"/>
                </a:lnTo>
                <a:lnTo>
                  <a:pt x="167" y="61"/>
                </a:lnTo>
                <a:lnTo>
                  <a:pt x="169" y="61"/>
                </a:lnTo>
                <a:lnTo>
                  <a:pt x="169" y="59"/>
                </a:lnTo>
                <a:lnTo>
                  <a:pt x="170" y="59"/>
                </a:lnTo>
                <a:lnTo>
                  <a:pt x="170" y="56"/>
                </a:lnTo>
                <a:lnTo>
                  <a:pt x="171" y="56"/>
                </a:lnTo>
                <a:lnTo>
                  <a:pt x="173" y="56"/>
                </a:lnTo>
                <a:lnTo>
                  <a:pt x="174" y="58"/>
                </a:lnTo>
                <a:lnTo>
                  <a:pt x="175" y="58"/>
                </a:lnTo>
                <a:lnTo>
                  <a:pt x="177" y="56"/>
                </a:lnTo>
                <a:lnTo>
                  <a:pt x="178" y="56"/>
                </a:lnTo>
                <a:lnTo>
                  <a:pt x="179" y="58"/>
                </a:lnTo>
                <a:lnTo>
                  <a:pt x="181" y="58"/>
                </a:lnTo>
                <a:lnTo>
                  <a:pt x="182" y="58"/>
                </a:lnTo>
                <a:lnTo>
                  <a:pt x="183" y="56"/>
                </a:lnTo>
                <a:lnTo>
                  <a:pt x="190" y="56"/>
                </a:lnTo>
                <a:lnTo>
                  <a:pt x="193" y="58"/>
                </a:lnTo>
                <a:lnTo>
                  <a:pt x="194" y="58"/>
                </a:lnTo>
                <a:lnTo>
                  <a:pt x="195" y="58"/>
                </a:lnTo>
                <a:lnTo>
                  <a:pt x="197" y="56"/>
                </a:lnTo>
                <a:lnTo>
                  <a:pt x="197" y="55"/>
                </a:lnTo>
                <a:lnTo>
                  <a:pt x="191" y="51"/>
                </a:lnTo>
                <a:lnTo>
                  <a:pt x="191" y="48"/>
                </a:lnTo>
                <a:lnTo>
                  <a:pt x="193" y="45"/>
                </a:lnTo>
                <a:lnTo>
                  <a:pt x="194" y="44"/>
                </a:lnTo>
                <a:lnTo>
                  <a:pt x="195" y="42"/>
                </a:lnTo>
                <a:lnTo>
                  <a:pt x="195" y="40"/>
                </a:lnTo>
                <a:lnTo>
                  <a:pt x="189" y="36"/>
                </a:lnTo>
                <a:lnTo>
                  <a:pt x="189" y="33"/>
                </a:lnTo>
                <a:lnTo>
                  <a:pt x="190" y="31"/>
                </a:lnTo>
                <a:lnTo>
                  <a:pt x="190" y="29"/>
                </a:lnTo>
                <a:lnTo>
                  <a:pt x="189" y="28"/>
                </a:lnTo>
                <a:lnTo>
                  <a:pt x="187" y="26"/>
                </a:lnTo>
                <a:lnTo>
                  <a:pt x="187" y="23"/>
                </a:lnTo>
                <a:lnTo>
                  <a:pt x="189" y="22"/>
                </a:lnTo>
                <a:lnTo>
                  <a:pt x="190" y="20"/>
                </a:lnTo>
                <a:lnTo>
                  <a:pt x="189" y="18"/>
                </a:lnTo>
                <a:lnTo>
                  <a:pt x="179" y="12"/>
                </a:lnTo>
                <a:lnTo>
                  <a:pt x="175" y="11"/>
                </a:lnTo>
                <a:lnTo>
                  <a:pt x="165" y="9"/>
                </a:lnTo>
                <a:lnTo>
                  <a:pt x="157" y="6"/>
                </a:lnTo>
                <a:lnTo>
                  <a:pt x="145" y="0"/>
                </a:lnTo>
                <a:lnTo>
                  <a:pt x="143" y="0"/>
                </a:lnTo>
                <a:lnTo>
                  <a:pt x="138" y="0"/>
                </a:lnTo>
                <a:lnTo>
                  <a:pt x="137" y="0"/>
                </a:lnTo>
                <a:lnTo>
                  <a:pt x="137" y="1"/>
                </a:lnTo>
                <a:lnTo>
                  <a:pt x="138" y="1"/>
                </a:lnTo>
                <a:lnTo>
                  <a:pt x="138" y="3"/>
                </a:lnTo>
                <a:lnTo>
                  <a:pt x="138" y="4"/>
                </a:lnTo>
                <a:lnTo>
                  <a:pt x="137" y="4"/>
                </a:lnTo>
                <a:lnTo>
                  <a:pt x="135" y="6"/>
                </a:lnTo>
                <a:lnTo>
                  <a:pt x="134" y="7"/>
                </a:lnTo>
                <a:lnTo>
                  <a:pt x="134" y="9"/>
                </a:lnTo>
                <a:lnTo>
                  <a:pt x="137" y="9"/>
                </a:lnTo>
                <a:lnTo>
                  <a:pt x="135" y="11"/>
                </a:lnTo>
                <a:lnTo>
                  <a:pt x="133" y="11"/>
                </a:lnTo>
                <a:lnTo>
                  <a:pt x="121" y="9"/>
                </a:lnTo>
                <a:lnTo>
                  <a:pt x="113" y="9"/>
                </a:lnTo>
                <a:lnTo>
                  <a:pt x="110" y="9"/>
                </a:lnTo>
                <a:lnTo>
                  <a:pt x="109" y="9"/>
                </a:lnTo>
                <a:lnTo>
                  <a:pt x="108" y="11"/>
                </a:lnTo>
                <a:lnTo>
                  <a:pt x="108" y="14"/>
                </a:lnTo>
                <a:lnTo>
                  <a:pt x="108" y="15"/>
                </a:lnTo>
                <a:lnTo>
                  <a:pt x="105" y="17"/>
                </a:lnTo>
                <a:lnTo>
                  <a:pt x="104" y="18"/>
                </a:lnTo>
                <a:lnTo>
                  <a:pt x="102" y="18"/>
                </a:lnTo>
                <a:lnTo>
                  <a:pt x="100" y="17"/>
                </a:lnTo>
                <a:lnTo>
                  <a:pt x="96" y="17"/>
                </a:lnTo>
                <a:lnTo>
                  <a:pt x="93" y="17"/>
                </a:lnTo>
                <a:lnTo>
                  <a:pt x="88" y="20"/>
                </a:lnTo>
                <a:lnTo>
                  <a:pt x="85" y="20"/>
                </a:lnTo>
                <a:lnTo>
                  <a:pt x="84" y="23"/>
                </a:lnTo>
                <a:lnTo>
                  <a:pt x="84" y="25"/>
                </a:lnTo>
                <a:lnTo>
                  <a:pt x="82" y="26"/>
                </a:lnTo>
                <a:lnTo>
                  <a:pt x="78" y="28"/>
                </a:lnTo>
                <a:lnTo>
                  <a:pt x="77" y="29"/>
                </a:lnTo>
                <a:lnTo>
                  <a:pt x="81" y="33"/>
                </a:lnTo>
                <a:lnTo>
                  <a:pt x="81" y="34"/>
                </a:lnTo>
                <a:lnTo>
                  <a:pt x="81" y="36"/>
                </a:lnTo>
                <a:lnTo>
                  <a:pt x="78" y="37"/>
                </a:lnTo>
                <a:lnTo>
                  <a:pt x="76" y="39"/>
                </a:lnTo>
                <a:lnTo>
                  <a:pt x="73" y="40"/>
                </a:lnTo>
                <a:lnTo>
                  <a:pt x="66" y="44"/>
                </a:lnTo>
                <a:lnTo>
                  <a:pt x="65" y="47"/>
                </a:lnTo>
                <a:lnTo>
                  <a:pt x="65" y="48"/>
                </a:lnTo>
                <a:lnTo>
                  <a:pt x="64" y="50"/>
                </a:lnTo>
                <a:lnTo>
                  <a:pt x="58" y="51"/>
                </a:lnTo>
                <a:lnTo>
                  <a:pt x="56" y="51"/>
                </a:lnTo>
                <a:lnTo>
                  <a:pt x="53" y="53"/>
                </a:lnTo>
                <a:lnTo>
                  <a:pt x="54" y="55"/>
                </a:lnTo>
                <a:lnTo>
                  <a:pt x="54" y="58"/>
                </a:lnTo>
                <a:lnTo>
                  <a:pt x="53" y="61"/>
                </a:lnTo>
                <a:lnTo>
                  <a:pt x="50" y="69"/>
                </a:lnTo>
                <a:lnTo>
                  <a:pt x="46" y="73"/>
                </a:lnTo>
                <a:lnTo>
                  <a:pt x="41" y="78"/>
                </a:lnTo>
                <a:lnTo>
                  <a:pt x="41" y="80"/>
                </a:lnTo>
                <a:lnTo>
                  <a:pt x="45" y="81"/>
                </a:lnTo>
                <a:lnTo>
                  <a:pt x="48" y="83"/>
                </a:lnTo>
                <a:lnTo>
                  <a:pt x="46" y="86"/>
                </a:lnTo>
                <a:lnTo>
                  <a:pt x="46" y="88"/>
                </a:lnTo>
                <a:lnTo>
                  <a:pt x="44" y="89"/>
                </a:lnTo>
                <a:lnTo>
                  <a:pt x="40" y="89"/>
                </a:lnTo>
                <a:lnTo>
                  <a:pt x="34" y="88"/>
                </a:lnTo>
                <a:lnTo>
                  <a:pt x="29" y="89"/>
                </a:lnTo>
                <a:lnTo>
                  <a:pt x="24" y="91"/>
                </a:lnTo>
                <a:lnTo>
                  <a:pt x="17" y="95"/>
                </a:lnTo>
                <a:lnTo>
                  <a:pt x="16" y="97"/>
                </a:lnTo>
                <a:lnTo>
                  <a:pt x="14" y="100"/>
                </a:lnTo>
                <a:lnTo>
                  <a:pt x="16" y="103"/>
                </a:lnTo>
                <a:lnTo>
                  <a:pt x="17" y="105"/>
                </a:lnTo>
                <a:lnTo>
                  <a:pt x="18" y="105"/>
                </a:lnTo>
                <a:lnTo>
                  <a:pt x="17" y="106"/>
                </a:lnTo>
                <a:lnTo>
                  <a:pt x="17" y="110"/>
                </a:lnTo>
                <a:lnTo>
                  <a:pt x="16" y="110"/>
                </a:lnTo>
                <a:lnTo>
                  <a:pt x="16" y="113"/>
                </a:lnTo>
                <a:lnTo>
                  <a:pt x="14" y="114"/>
                </a:lnTo>
                <a:lnTo>
                  <a:pt x="14" y="116"/>
                </a:lnTo>
                <a:lnTo>
                  <a:pt x="16" y="117"/>
                </a:lnTo>
                <a:lnTo>
                  <a:pt x="17" y="119"/>
                </a:lnTo>
                <a:lnTo>
                  <a:pt x="17" y="125"/>
                </a:lnTo>
                <a:lnTo>
                  <a:pt x="17" y="128"/>
                </a:lnTo>
                <a:lnTo>
                  <a:pt x="20" y="131"/>
                </a:lnTo>
                <a:lnTo>
                  <a:pt x="25" y="133"/>
                </a:lnTo>
                <a:lnTo>
                  <a:pt x="26" y="136"/>
                </a:lnTo>
                <a:lnTo>
                  <a:pt x="24" y="139"/>
                </a:lnTo>
                <a:lnTo>
                  <a:pt x="21" y="141"/>
                </a:lnTo>
                <a:lnTo>
                  <a:pt x="17" y="142"/>
                </a:lnTo>
                <a:lnTo>
                  <a:pt x="20" y="146"/>
                </a:lnTo>
                <a:lnTo>
                  <a:pt x="21" y="150"/>
                </a:lnTo>
                <a:lnTo>
                  <a:pt x="20" y="155"/>
                </a:lnTo>
                <a:lnTo>
                  <a:pt x="21" y="157"/>
                </a:lnTo>
                <a:lnTo>
                  <a:pt x="20" y="160"/>
                </a:lnTo>
                <a:lnTo>
                  <a:pt x="18" y="161"/>
                </a:lnTo>
                <a:lnTo>
                  <a:pt x="12" y="163"/>
                </a:lnTo>
                <a:lnTo>
                  <a:pt x="12" y="164"/>
                </a:lnTo>
                <a:lnTo>
                  <a:pt x="8" y="168"/>
                </a:lnTo>
                <a:lnTo>
                  <a:pt x="8" y="171"/>
                </a:lnTo>
                <a:lnTo>
                  <a:pt x="9" y="172"/>
                </a:lnTo>
                <a:lnTo>
                  <a:pt x="6" y="179"/>
                </a:lnTo>
                <a:lnTo>
                  <a:pt x="5" y="180"/>
                </a:lnTo>
                <a:lnTo>
                  <a:pt x="4" y="179"/>
                </a:lnTo>
                <a:lnTo>
                  <a:pt x="2" y="182"/>
                </a:lnTo>
                <a:lnTo>
                  <a:pt x="2" y="177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97" name="Freeform 1020"/>
          <p:cNvSpPr>
            <a:spLocks/>
          </p:cNvSpPr>
          <p:nvPr/>
        </p:nvSpPr>
        <p:spPr bwMode="auto">
          <a:xfrm>
            <a:off x="5988184" y="2112895"/>
            <a:ext cx="228011" cy="277043"/>
          </a:xfrm>
          <a:custGeom>
            <a:avLst/>
            <a:gdLst/>
            <a:ahLst/>
            <a:cxnLst>
              <a:cxn ang="0">
                <a:pos x="2" y="86"/>
              </a:cxn>
              <a:cxn ang="0">
                <a:pos x="5" y="88"/>
              </a:cxn>
              <a:cxn ang="0">
                <a:pos x="8" y="89"/>
              </a:cxn>
              <a:cxn ang="0">
                <a:pos x="10" y="94"/>
              </a:cxn>
              <a:cxn ang="0">
                <a:pos x="12" y="100"/>
              </a:cxn>
              <a:cxn ang="0">
                <a:pos x="16" y="108"/>
              </a:cxn>
              <a:cxn ang="0">
                <a:pos x="22" y="117"/>
              </a:cxn>
              <a:cxn ang="0">
                <a:pos x="24" y="122"/>
              </a:cxn>
              <a:cxn ang="0">
                <a:pos x="25" y="132"/>
              </a:cxn>
              <a:cxn ang="0">
                <a:pos x="28" y="139"/>
              </a:cxn>
              <a:cxn ang="0">
                <a:pos x="38" y="139"/>
              </a:cxn>
              <a:cxn ang="0">
                <a:pos x="48" y="136"/>
              </a:cxn>
              <a:cxn ang="0">
                <a:pos x="53" y="128"/>
              </a:cxn>
              <a:cxn ang="0">
                <a:pos x="62" y="127"/>
              </a:cxn>
              <a:cxn ang="0">
                <a:pos x="74" y="124"/>
              </a:cxn>
              <a:cxn ang="0">
                <a:pos x="80" y="110"/>
              </a:cxn>
              <a:cxn ang="0">
                <a:pos x="82" y="102"/>
              </a:cxn>
              <a:cxn ang="0">
                <a:pos x="81" y="95"/>
              </a:cxn>
              <a:cxn ang="0">
                <a:pos x="84" y="94"/>
              </a:cxn>
              <a:cxn ang="0">
                <a:pos x="82" y="86"/>
              </a:cxn>
              <a:cxn ang="0">
                <a:pos x="86" y="84"/>
              </a:cxn>
              <a:cxn ang="0">
                <a:pos x="86" y="83"/>
              </a:cxn>
              <a:cxn ang="0">
                <a:pos x="96" y="78"/>
              </a:cxn>
              <a:cxn ang="0">
                <a:pos x="98" y="78"/>
              </a:cxn>
              <a:cxn ang="0">
                <a:pos x="108" y="70"/>
              </a:cxn>
              <a:cxn ang="0">
                <a:pos x="112" y="70"/>
              </a:cxn>
              <a:cxn ang="0">
                <a:pos x="93" y="72"/>
              </a:cxn>
              <a:cxn ang="0">
                <a:pos x="80" y="69"/>
              </a:cxn>
              <a:cxn ang="0">
                <a:pos x="82" y="66"/>
              </a:cxn>
              <a:cxn ang="0">
                <a:pos x="93" y="67"/>
              </a:cxn>
              <a:cxn ang="0">
                <a:pos x="98" y="67"/>
              </a:cxn>
              <a:cxn ang="0">
                <a:pos x="112" y="67"/>
              </a:cxn>
              <a:cxn ang="0">
                <a:pos x="114" y="58"/>
              </a:cxn>
              <a:cxn ang="0">
                <a:pos x="110" y="53"/>
              </a:cxn>
              <a:cxn ang="0">
                <a:pos x="98" y="48"/>
              </a:cxn>
              <a:cxn ang="0">
                <a:pos x="96" y="48"/>
              </a:cxn>
              <a:cxn ang="0">
                <a:pos x="85" y="56"/>
              </a:cxn>
              <a:cxn ang="0">
                <a:pos x="80" y="55"/>
              </a:cxn>
              <a:cxn ang="0">
                <a:pos x="93" y="50"/>
              </a:cxn>
              <a:cxn ang="0">
                <a:pos x="93" y="44"/>
              </a:cxn>
              <a:cxn ang="0">
                <a:pos x="90" y="31"/>
              </a:cxn>
              <a:cxn ang="0">
                <a:pos x="94" y="29"/>
              </a:cxn>
              <a:cxn ang="0">
                <a:pos x="97" y="19"/>
              </a:cxn>
              <a:cxn ang="0">
                <a:pos x="98" y="15"/>
              </a:cxn>
              <a:cxn ang="0">
                <a:pos x="102" y="9"/>
              </a:cxn>
              <a:cxn ang="0">
                <a:pos x="104" y="9"/>
              </a:cxn>
              <a:cxn ang="0">
                <a:pos x="110" y="6"/>
              </a:cxn>
              <a:cxn ang="0">
                <a:pos x="113" y="3"/>
              </a:cxn>
              <a:cxn ang="0">
                <a:pos x="117" y="0"/>
              </a:cxn>
            </a:cxnLst>
            <a:rect l="0" t="0" r="r" b="b"/>
            <a:pathLst>
              <a:path w="119" h="141">
                <a:moveTo>
                  <a:pt x="2" y="75"/>
                </a:moveTo>
                <a:lnTo>
                  <a:pt x="0" y="77"/>
                </a:lnTo>
                <a:lnTo>
                  <a:pt x="0" y="78"/>
                </a:lnTo>
                <a:lnTo>
                  <a:pt x="2" y="86"/>
                </a:lnTo>
                <a:lnTo>
                  <a:pt x="4" y="86"/>
                </a:lnTo>
                <a:lnTo>
                  <a:pt x="4" y="88"/>
                </a:lnTo>
                <a:lnTo>
                  <a:pt x="4" y="89"/>
                </a:lnTo>
                <a:lnTo>
                  <a:pt x="5" y="88"/>
                </a:lnTo>
                <a:lnTo>
                  <a:pt x="6" y="86"/>
                </a:lnTo>
                <a:lnTo>
                  <a:pt x="8" y="88"/>
                </a:lnTo>
                <a:lnTo>
                  <a:pt x="6" y="89"/>
                </a:lnTo>
                <a:lnTo>
                  <a:pt x="8" y="89"/>
                </a:lnTo>
                <a:lnTo>
                  <a:pt x="6" y="91"/>
                </a:lnTo>
                <a:lnTo>
                  <a:pt x="5" y="92"/>
                </a:lnTo>
                <a:lnTo>
                  <a:pt x="9" y="92"/>
                </a:lnTo>
                <a:lnTo>
                  <a:pt x="10" y="94"/>
                </a:lnTo>
                <a:lnTo>
                  <a:pt x="9" y="97"/>
                </a:lnTo>
                <a:lnTo>
                  <a:pt x="12" y="97"/>
                </a:lnTo>
                <a:lnTo>
                  <a:pt x="13" y="99"/>
                </a:lnTo>
                <a:lnTo>
                  <a:pt x="12" y="100"/>
                </a:lnTo>
                <a:lnTo>
                  <a:pt x="12" y="103"/>
                </a:lnTo>
                <a:lnTo>
                  <a:pt x="12" y="105"/>
                </a:lnTo>
                <a:lnTo>
                  <a:pt x="14" y="105"/>
                </a:lnTo>
                <a:lnTo>
                  <a:pt x="16" y="108"/>
                </a:lnTo>
                <a:lnTo>
                  <a:pt x="16" y="110"/>
                </a:lnTo>
                <a:lnTo>
                  <a:pt x="17" y="113"/>
                </a:lnTo>
                <a:lnTo>
                  <a:pt x="21" y="114"/>
                </a:lnTo>
                <a:lnTo>
                  <a:pt x="22" y="117"/>
                </a:lnTo>
                <a:lnTo>
                  <a:pt x="25" y="117"/>
                </a:lnTo>
                <a:lnTo>
                  <a:pt x="28" y="121"/>
                </a:lnTo>
                <a:lnTo>
                  <a:pt x="25" y="122"/>
                </a:lnTo>
                <a:lnTo>
                  <a:pt x="24" y="122"/>
                </a:lnTo>
                <a:lnTo>
                  <a:pt x="25" y="125"/>
                </a:lnTo>
                <a:lnTo>
                  <a:pt x="22" y="125"/>
                </a:lnTo>
                <a:lnTo>
                  <a:pt x="21" y="125"/>
                </a:lnTo>
                <a:lnTo>
                  <a:pt x="25" y="132"/>
                </a:lnTo>
                <a:lnTo>
                  <a:pt x="28" y="135"/>
                </a:lnTo>
                <a:lnTo>
                  <a:pt x="29" y="136"/>
                </a:lnTo>
                <a:lnTo>
                  <a:pt x="28" y="136"/>
                </a:lnTo>
                <a:lnTo>
                  <a:pt x="28" y="139"/>
                </a:lnTo>
                <a:lnTo>
                  <a:pt x="26" y="139"/>
                </a:lnTo>
                <a:lnTo>
                  <a:pt x="29" y="139"/>
                </a:lnTo>
                <a:lnTo>
                  <a:pt x="33" y="141"/>
                </a:lnTo>
                <a:lnTo>
                  <a:pt x="38" y="139"/>
                </a:lnTo>
                <a:lnTo>
                  <a:pt x="42" y="139"/>
                </a:lnTo>
                <a:lnTo>
                  <a:pt x="45" y="139"/>
                </a:lnTo>
                <a:lnTo>
                  <a:pt x="46" y="139"/>
                </a:lnTo>
                <a:lnTo>
                  <a:pt x="48" y="136"/>
                </a:lnTo>
                <a:lnTo>
                  <a:pt x="46" y="133"/>
                </a:lnTo>
                <a:lnTo>
                  <a:pt x="48" y="130"/>
                </a:lnTo>
                <a:lnTo>
                  <a:pt x="50" y="128"/>
                </a:lnTo>
                <a:lnTo>
                  <a:pt x="53" y="128"/>
                </a:lnTo>
                <a:lnTo>
                  <a:pt x="54" y="127"/>
                </a:lnTo>
                <a:lnTo>
                  <a:pt x="57" y="125"/>
                </a:lnTo>
                <a:lnTo>
                  <a:pt x="61" y="125"/>
                </a:lnTo>
                <a:lnTo>
                  <a:pt x="62" y="127"/>
                </a:lnTo>
                <a:lnTo>
                  <a:pt x="66" y="127"/>
                </a:lnTo>
                <a:lnTo>
                  <a:pt x="69" y="127"/>
                </a:lnTo>
                <a:lnTo>
                  <a:pt x="73" y="127"/>
                </a:lnTo>
                <a:lnTo>
                  <a:pt x="74" y="124"/>
                </a:lnTo>
                <a:lnTo>
                  <a:pt x="76" y="119"/>
                </a:lnTo>
                <a:lnTo>
                  <a:pt x="78" y="116"/>
                </a:lnTo>
                <a:lnTo>
                  <a:pt x="80" y="113"/>
                </a:lnTo>
                <a:lnTo>
                  <a:pt x="80" y="110"/>
                </a:lnTo>
                <a:lnTo>
                  <a:pt x="80" y="108"/>
                </a:lnTo>
                <a:lnTo>
                  <a:pt x="81" y="105"/>
                </a:lnTo>
                <a:lnTo>
                  <a:pt x="82" y="103"/>
                </a:lnTo>
                <a:lnTo>
                  <a:pt x="82" y="102"/>
                </a:lnTo>
                <a:lnTo>
                  <a:pt x="81" y="100"/>
                </a:lnTo>
                <a:lnTo>
                  <a:pt x="82" y="99"/>
                </a:lnTo>
                <a:lnTo>
                  <a:pt x="82" y="97"/>
                </a:lnTo>
                <a:lnTo>
                  <a:pt x="81" y="95"/>
                </a:lnTo>
                <a:lnTo>
                  <a:pt x="81" y="94"/>
                </a:lnTo>
                <a:lnTo>
                  <a:pt x="82" y="95"/>
                </a:lnTo>
                <a:lnTo>
                  <a:pt x="84" y="95"/>
                </a:lnTo>
                <a:lnTo>
                  <a:pt x="84" y="94"/>
                </a:lnTo>
                <a:lnTo>
                  <a:pt x="84" y="92"/>
                </a:lnTo>
                <a:lnTo>
                  <a:pt x="84" y="91"/>
                </a:lnTo>
                <a:lnTo>
                  <a:pt x="85" y="88"/>
                </a:lnTo>
                <a:lnTo>
                  <a:pt x="82" y="86"/>
                </a:lnTo>
                <a:lnTo>
                  <a:pt x="80" y="86"/>
                </a:lnTo>
                <a:lnTo>
                  <a:pt x="82" y="86"/>
                </a:lnTo>
                <a:lnTo>
                  <a:pt x="85" y="86"/>
                </a:lnTo>
                <a:lnTo>
                  <a:pt x="86" y="84"/>
                </a:lnTo>
                <a:lnTo>
                  <a:pt x="84" y="83"/>
                </a:lnTo>
                <a:lnTo>
                  <a:pt x="76" y="83"/>
                </a:lnTo>
                <a:lnTo>
                  <a:pt x="82" y="81"/>
                </a:lnTo>
                <a:lnTo>
                  <a:pt x="86" y="83"/>
                </a:lnTo>
                <a:lnTo>
                  <a:pt x="88" y="81"/>
                </a:lnTo>
                <a:lnTo>
                  <a:pt x="89" y="80"/>
                </a:lnTo>
                <a:lnTo>
                  <a:pt x="92" y="80"/>
                </a:lnTo>
                <a:lnTo>
                  <a:pt x="96" y="78"/>
                </a:lnTo>
                <a:lnTo>
                  <a:pt x="97" y="77"/>
                </a:lnTo>
                <a:lnTo>
                  <a:pt x="97" y="75"/>
                </a:lnTo>
                <a:lnTo>
                  <a:pt x="98" y="75"/>
                </a:lnTo>
                <a:lnTo>
                  <a:pt x="98" y="78"/>
                </a:lnTo>
                <a:lnTo>
                  <a:pt x="102" y="77"/>
                </a:lnTo>
                <a:lnTo>
                  <a:pt x="104" y="75"/>
                </a:lnTo>
                <a:lnTo>
                  <a:pt x="108" y="73"/>
                </a:lnTo>
                <a:lnTo>
                  <a:pt x="108" y="70"/>
                </a:lnTo>
                <a:lnTo>
                  <a:pt x="109" y="72"/>
                </a:lnTo>
                <a:lnTo>
                  <a:pt x="110" y="72"/>
                </a:lnTo>
                <a:lnTo>
                  <a:pt x="110" y="70"/>
                </a:lnTo>
                <a:lnTo>
                  <a:pt x="112" y="70"/>
                </a:lnTo>
                <a:lnTo>
                  <a:pt x="112" y="69"/>
                </a:lnTo>
                <a:lnTo>
                  <a:pt x="97" y="72"/>
                </a:lnTo>
                <a:lnTo>
                  <a:pt x="94" y="70"/>
                </a:lnTo>
                <a:lnTo>
                  <a:pt x="93" y="72"/>
                </a:lnTo>
                <a:lnTo>
                  <a:pt x="92" y="70"/>
                </a:lnTo>
                <a:lnTo>
                  <a:pt x="90" y="69"/>
                </a:lnTo>
                <a:lnTo>
                  <a:pt x="84" y="67"/>
                </a:lnTo>
                <a:lnTo>
                  <a:pt x="80" y="69"/>
                </a:lnTo>
                <a:lnTo>
                  <a:pt x="78" y="67"/>
                </a:lnTo>
                <a:lnTo>
                  <a:pt x="80" y="67"/>
                </a:lnTo>
                <a:lnTo>
                  <a:pt x="81" y="66"/>
                </a:lnTo>
                <a:lnTo>
                  <a:pt x="82" y="66"/>
                </a:lnTo>
                <a:lnTo>
                  <a:pt x="85" y="66"/>
                </a:lnTo>
                <a:lnTo>
                  <a:pt x="89" y="66"/>
                </a:lnTo>
                <a:lnTo>
                  <a:pt x="92" y="67"/>
                </a:lnTo>
                <a:lnTo>
                  <a:pt x="93" y="67"/>
                </a:lnTo>
                <a:lnTo>
                  <a:pt x="93" y="66"/>
                </a:lnTo>
                <a:lnTo>
                  <a:pt x="96" y="67"/>
                </a:lnTo>
                <a:lnTo>
                  <a:pt x="97" y="67"/>
                </a:lnTo>
                <a:lnTo>
                  <a:pt x="98" y="67"/>
                </a:lnTo>
                <a:lnTo>
                  <a:pt x="100" y="67"/>
                </a:lnTo>
                <a:lnTo>
                  <a:pt x="100" y="69"/>
                </a:lnTo>
                <a:lnTo>
                  <a:pt x="102" y="69"/>
                </a:lnTo>
                <a:lnTo>
                  <a:pt x="112" y="67"/>
                </a:lnTo>
                <a:lnTo>
                  <a:pt x="114" y="64"/>
                </a:lnTo>
                <a:lnTo>
                  <a:pt x="115" y="62"/>
                </a:lnTo>
                <a:lnTo>
                  <a:pt x="117" y="59"/>
                </a:lnTo>
                <a:lnTo>
                  <a:pt x="114" y="58"/>
                </a:lnTo>
                <a:lnTo>
                  <a:pt x="112" y="56"/>
                </a:lnTo>
                <a:lnTo>
                  <a:pt x="109" y="53"/>
                </a:lnTo>
                <a:lnTo>
                  <a:pt x="112" y="53"/>
                </a:lnTo>
                <a:lnTo>
                  <a:pt x="110" y="53"/>
                </a:lnTo>
                <a:lnTo>
                  <a:pt x="105" y="51"/>
                </a:lnTo>
                <a:lnTo>
                  <a:pt x="105" y="50"/>
                </a:lnTo>
                <a:lnTo>
                  <a:pt x="104" y="48"/>
                </a:lnTo>
                <a:lnTo>
                  <a:pt x="98" y="48"/>
                </a:lnTo>
                <a:lnTo>
                  <a:pt x="97" y="48"/>
                </a:lnTo>
                <a:lnTo>
                  <a:pt x="97" y="47"/>
                </a:lnTo>
                <a:lnTo>
                  <a:pt x="96" y="47"/>
                </a:lnTo>
                <a:lnTo>
                  <a:pt x="96" y="48"/>
                </a:lnTo>
                <a:lnTo>
                  <a:pt x="94" y="50"/>
                </a:lnTo>
                <a:lnTo>
                  <a:pt x="92" y="53"/>
                </a:lnTo>
                <a:lnTo>
                  <a:pt x="86" y="55"/>
                </a:lnTo>
                <a:lnTo>
                  <a:pt x="85" y="56"/>
                </a:lnTo>
                <a:lnTo>
                  <a:pt x="82" y="56"/>
                </a:lnTo>
                <a:lnTo>
                  <a:pt x="80" y="56"/>
                </a:lnTo>
                <a:lnTo>
                  <a:pt x="77" y="56"/>
                </a:lnTo>
                <a:lnTo>
                  <a:pt x="80" y="55"/>
                </a:lnTo>
                <a:lnTo>
                  <a:pt x="82" y="55"/>
                </a:lnTo>
                <a:lnTo>
                  <a:pt x="85" y="53"/>
                </a:lnTo>
                <a:lnTo>
                  <a:pt x="88" y="51"/>
                </a:lnTo>
                <a:lnTo>
                  <a:pt x="93" y="50"/>
                </a:lnTo>
                <a:lnTo>
                  <a:pt x="93" y="48"/>
                </a:lnTo>
                <a:lnTo>
                  <a:pt x="93" y="47"/>
                </a:lnTo>
                <a:lnTo>
                  <a:pt x="92" y="45"/>
                </a:lnTo>
                <a:lnTo>
                  <a:pt x="93" y="44"/>
                </a:lnTo>
                <a:lnTo>
                  <a:pt x="92" y="42"/>
                </a:lnTo>
                <a:lnTo>
                  <a:pt x="90" y="37"/>
                </a:lnTo>
                <a:lnTo>
                  <a:pt x="90" y="34"/>
                </a:lnTo>
                <a:lnTo>
                  <a:pt x="90" y="31"/>
                </a:lnTo>
                <a:lnTo>
                  <a:pt x="90" y="29"/>
                </a:lnTo>
                <a:lnTo>
                  <a:pt x="92" y="28"/>
                </a:lnTo>
                <a:lnTo>
                  <a:pt x="90" y="28"/>
                </a:lnTo>
                <a:lnTo>
                  <a:pt x="94" y="29"/>
                </a:lnTo>
                <a:lnTo>
                  <a:pt x="96" y="28"/>
                </a:lnTo>
                <a:lnTo>
                  <a:pt x="94" y="25"/>
                </a:lnTo>
                <a:lnTo>
                  <a:pt x="96" y="22"/>
                </a:lnTo>
                <a:lnTo>
                  <a:pt x="97" y="19"/>
                </a:lnTo>
                <a:lnTo>
                  <a:pt x="94" y="17"/>
                </a:lnTo>
                <a:lnTo>
                  <a:pt x="94" y="15"/>
                </a:lnTo>
                <a:lnTo>
                  <a:pt x="94" y="14"/>
                </a:lnTo>
                <a:lnTo>
                  <a:pt x="98" y="15"/>
                </a:lnTo>
                <a:lnTo>
                  <a:pt x="98" y="14"/>
                </a:lnTo>
                <a:lnTo>
                  <a:pt x="100" y="14"/>
                </a:lnTo>
                <a:lnTo>
                  <a:pt x="101" y="12"/>
                </a:lnTo>
                <a:lnTo>
                  <a:pt x="102" y="9"/>
                </a:lnTo>
                <a:lnTo>
                  <a:pt x="101" y="8"/>
                </a:lnTo>
                <a:lnTo>
                  <a:pt x="101" y="6"/>
                </a:lnTo>
                <a:lnTo>
                  <a:pt x="101" y="8"/>
                </a:lnTo>
                <a:lnTo>
                  <a:pt x="104" y="9"/>
                </a:lnTo>
                <a:lnTo>
                  <a:pt x="105" y="9"/>
                </a:lnTo>
                <a:lnTo>
                  <a:pt x="106" y="8"/>
                </a:lnTo>
                <a:lnTo>
                  <a:pt x="109" y="8"/>
                </a:lnTo>
                <a:lnTo>
                  <a:pt x="110" y="6"/>
                </a:lnTo>
                <a:lnTo>
                  <a:pt x="106" y="4"/>
                </a:lnTo>
                <a:lnTo>
                  <a:pt x="109" y="6"/>
                </a:lnTo>
                <a:lnTo>
                  <a:pt x="112" y="4"/>
                </a:lnTo>
                <a:lnTo>
                  <a:pt x="113" y="3"/>
                </a:lnTo>
                <a:lnTo>
                  <a:pt x="113" y="1"/>
                </a:lnTo>
                <a:lnTo>
                  <a:pt x="115" y="1"/>
                </a:lnTo>
                <a:lnTo>
                  <a:pt x="115" y="0"/>
                </a:lnTo>
                <a:lnTo>
                  <a:pt x="117" y="0"/>
                </a:lnTo>
                <a:lnTo>
                  <a:pt x="119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98" name="Freeform 1021"/>
          <p:cNvSpPr>
            <a:spLocks/>
          </p:cNvSpPr>
          <p:nvPr/>
        </p:nvSpPr>
        <p:spPr bwMode="auto">
          <a:xfrm>
            <a:off x="5994031" y="1908873"/>
            <a:ext cx="372223" cy="360798"/>
          </a:xfrm>
          <a:custGeom>
            <a:avLst/>
            <a:gdLst/>
            <a:ahLst/>
            <a:cxnLst>
              <a:cxn ang="0">
                <a:pos x="121" y="99"/>
              </a:cxn>
              <a:cxn ang="0">
                <a:pos x="131" y="97"/>
              </a:cxn>
              <a:cxn ang="0">
                <a:pos x="136" y="95"/>
              </a:cxn>
              <a:cxn ang="0">
                <a:pos x="141" y="92"/>
              </a:cxn>
              <a:cxn ang="0">
                <a:pos x="147" y="88"/>
              </a:cxn>
              <a:cxn ang="0">
                <a:pos x="153" y="83"/>
              </a:cxn>
              <a:cxn ang="0">
                <a:pos x="153" y="84"/>
              </a:cxn>
              <a:cxn ang="0">
                <a:pos x="156" y="81"/>
              </a:cxn>
              <a:cxn ang="0">
                <a:pos x="151" y="77"/>
              </a:cxn>
              <a:cxn ang="0">
                <a:pos x="149" y="75"/>
              </a:cxn>
              <a:cxn ang="0">
                <a:pos x="153" y="72"/>
              </a:cxn>
              <a:cxn ang="0">
                <a:pos x="155" y="66"/>
              </a:cxn>
              <a:cxn ang="0">
                <a:pos x="161" y="64"/>
              </a:cxn>
              <a:cxn ang="0">
                <a:pos x="164" y="62"/>
              </a:cxn>
              <a:cxn ang="0">
                <a:pos x="164" y="59"/>
              </a:cxn>
              <a:cxn ang="0">
                <a:pos x="167" y="59"/>
              </a:cxn>
              <a:cxn ang="0">
                <a:pos x="169" y="56"/>
              </a:cxn>
              <a:cxn ang="0">
                <a:pos x="173" y="58"/>
              </a:cxn>
              <a:cxn ang="0">
                <a:pos x="177" y="58"/>
              </a:cxn>
              <a:cxn ang="0">
                <a:pos x="181" y="56"/>
              </a:cxn>
              <a:cxn ang="0">
                <a:pos x="192" y="58"/>
              </a:cxn>
              <a:cxn ang="0">
                <a:pos x="195" y="55"/>
              </a:cxn>
              <a:cxn ang="0">
                <a:pos x="191" y="45"/>
              </a:cxn>
              <a:cxn ang="0">
                <a:pos x="193" y="40"/>
              </a:cxn>
              <a:cxn ang="0">
                <a:pos x="188" y="31"/>
              </a:cxn>
              <a:cxn ang="0">
                <a:pos x="185" y="26"/>
              </a:cxn>
              <a:cxn ang="0">
                <a:pos x="188" y="20"/>
              </a:cxn>
              <a:cxn ang="0">
                <a:pos x="173" y="11"/>
              </a:cxn>
              <a:cxn ang="0">
                <a:pos x="143" y="0"/>
              </a:cxn>
              <a:cxn ang="0">
                <a:pos x="135" y="0"/>
              </a:cxn>
              <a:cxn ang="0">
                <a:pos x="136" y="3"/>
              </a:cxn>
              <a:cxn ang="0">
                <a:pos x="133" y="6"/>
              </a:cxn>
              <a:cxn ang="0">
                <a:pos x="135" y="9"/>
              </a:cxn>
              <a:cxn ang="0">
                <a:pos x="119" y="9"/>
              </a:cxn>
              <a:cxn ang="0">
                <a:pos x="107" y="9"/>
              </a:cxn>
              <a:cxn ang="0">
                <a:pos x="106" y="15"/>
              </a:cxn>
              <a:cxn ang="0">
                <a:pos x="100" y="18"/>
              </a:cxn>
              <a:cxn ang="0">
                <a:pos x="91" y="17"/>
              </a:cxn>
              <a:cxn ang="0">
                <a:pos x="82" y="23"/>
              </a:cxn>
              <a:cxn ang="0">
                <a:pos x="76" y="28"/>
              </a:cxn>
              <a:cxn ang="0">
                <a:pos x="79" y="34"/>
              </a:cxn>
              <a:cxn ang="0">
                <a:pos x="74" y="39"/>
              </a:cxn>
              <a:cxn ang="0">
                <a:pos x="63" y="47"/>
              </a:cxn>
              <a:cxn ang="0">
                <a:pos x="56" y="51"/>
              </a:cxn>
              <a:cxn ang="0">
                <a:pos x="52" y="55"/>
              </a:cxn>
              <a:cxn ang="0">
                <a:pos x="48" y="69"/>
              </a:cxn>
              <a:cxn ang="0">
                <a:pos x="39" y="80"/>
              </a:cxn>
              <a:cxn ang="0">
                <a:pos x="44" y="86"/>
              </a:cxn>
              <a:cxn ang="0">
                <a:pos x="38" y="89"/>
              </a:cxn>
              <a:cxn ang="0">
                <a:pos x="22" y="91"/>
              </a:cxn>
              <a:cxn ang="0">
                <a:pos x="12" y="100"/>
              </a:cxn>
              <a:cxn ang="0">
                <a:pos x="16" y="105"/>
              </a:cxn>
              <a:cxn ang="0">
                <a:pos x="14" y="110"/>
              </a:cxn>
              <a:cxn ang="0">
                <a:pos x="12" y="116"/>
              </a:cxn>
              <a:cxn ang="0">
                <a:pos x="15" y="125"/>
              </a:cxn>
              <a:cxn ang="0">
                <a:pos x="23" y="133"/>
              </a:cxn>
              <a:cxn ang="0">
                <a:pos x="19" y="141"/>
              </a:cxn>
              <a:cxn ang="0">
                <a:pos x="19" y="150"/>
              </a:cxn>
              <a:cxn ang="0">
                <a:pos x="18" y="160"/>
              </a:cxn>
              <a:cxn ang="0">
                <a:pos x="10" y="164"/>
              </a:cxn>
              <a:cxn ang="0">
                <a:pos x="7" y="172"/>
              </a:cxn>
              <a:cxn ang="0">
                <a:pos x="2" y="179"/>
              </a:cxn>
            </a:cxnLst>
            <a:rect l="0" t="0" r="r" b="b"/>
            <a:pathLst>
              <a:path w="195" h="182">
                <a:moveTo>
                  <a:pt x="117" y="102"/>
                </a:moveTo>
                <a:lnTo>
                  <a:pt x="121" y="100"/>
                </a:lnTo>
                <a:lnTo>
                  <a:pt x="121" y="99"/>
                </a:lnTo>
                <a:lnTo>
                  <a:pt x="125" y="97"/>
                </a:lnTo>
                <a:lnTo>
                  <a:pt x="128" y="99"/>
                </a:lnTo>
                <a:lnTo>
                  <a:pt x="131" y="97"/>
                </a:lnTo>
                <a:lnTo>
                  <a:pt x="131" y="95"/>
                </a:lnTo>
                <a:lnTo>
                  <a:pt x="133" y="95"/>
                </a:lnTo>
                <a:lnTo>
                  <a:pt x="136" y="95"/>
                </a:lnTo>
                <a:lnTo>
                  <a:pt x="136" y="94"/>
                </a:lnTo>
                <a:lnTo>
                  <a:pt x="140" y="94"/>
                </a:lnTo>
                <a:lnTo>
                  <a:pt x="141" y="92"/>
                </a:lnTo>
                <a:lnTo>
                  <a:pt x="143" y="92"/>
                </a:lnTo>
                <a:lnTo>
                  <a:pt x="145" y="89"/>
                </a:lnTo>
                <a:lnTo>
                  <a:pt x="147" y="88"/>
                </a:lnTo>
                <a:lnTo>
                  <a:pt x="149" y="86"/>
                </a:lnTo>
                <a:lnTo>
                  <a:pt x="151" y="84"/>
                </a:lnTo>
                <a:lnTo>
                  <a:pt x="153" y="83"/>
                </a:lnTo>
                <a:lnTo>
                  <a:pt x="153" y="81"/>
                </a:lnTo>
                <a:lnTo>
                  <a:pt x="155" y="83"/>
                </a:lnTo>
                <a:lnTo>
                  <a:pt x="153" y="84"/>
                </a:lnTo>
                <a:lnTo>
                  <a:pt x="156" y="83"/>
                </a:lnTo>
                <a:lnTo>
                  <a:pt x="157" y="81"/>
                </a:lnTo>
                <a:lnTo>
                  <a:pt x="156" y="81"/>
                </a:lnTo>
                <a:lnTo>
                  <a:pt x="155" y="80"/>
                </a:lnTo>
                <a:lnTo>
                  <a:pt x="151" y="78"/>
                </a:lnTo>
                <a:lnTo>
                  <a:pt x="151" y="77"/>
                </a:lnTo>
                <a:lnTo>
                  <a:pt x="152" y="77"/>
                </a:lnTo>
                <a:lnTo>
                  <a:pt x="151" y="77"/>
                </a:lnTo>
                <a:lnTo>
                  <a:pt x="149" y="75"/>
                </a:lnTo>
                <a:lnTo>
                  <a:pt x="151" y="73"/>
                </a:lnTo>
                <a:lnTo>
                  <a:pt x="152" y="73"/>
                </a:lnTo>
                <a:lnTo>
                  <a:pt x="153" y="72"/>
                </a:lnTo>
                <a:lnTo>
                  <a:pt x="156" y="69"/>
                </a:lnTo>
                <a:lnTo>
                  <a:pt x="157" y="69"/>
                </a:lnTo>
                <a:lnTo>
                  <a:pt x="155" y="66"/>
                </a:lnTo>
                <a:lnTo>
                  <a:pt x="157" y="64"/>
                </a:lnTo>
                <a:lnTo>
                  <a:pt x="159" y="64"/>
                </a:lnTo>
                <a:lnTo>
                  <a:pt x="161" y="64"/>
                </a:lnTo>
                <a:lnTo>
                  <a:pt x="163" y="62"/>
                </a:lnTo>
                <a:lnTo>
                  <a:pt x="161" y="62"/>
                </a:lnTo>
                <a:lnTo>
                  <a:pt x="164" y="62"/>
                </a:lnTo>
                <a:lnTo>
                  <a:pt x="164" y="61"/>
                </a:lnTo>
                <a:lnTo>
                  <a:pt x="161" y="59"/>
                </a:lnTo>
                <a:lnTo>
                  <a:pt x="164" y="59"/>
                </a:lnTo>
                <a:lnTo>
                  <a:pt x="165" y="61"/>
                </a:lnTo>
                <a:lnTo>
                  <a:pt x="167" y="61"/>
                </a:lnTo>
                <a:lnTo>
                  <a:pt x="167" y="59"/>
                </a:lnTo>
                <a:lnTo>
                  <a:pt x="168" y="59"/>
                </a:lnTo>
                <a:lnTo>
                  <a:pt x="168" y="56"/>
                </a:lnTo>
                <a:lnTo>
                  <a:pt x="169" y="56"/>
                </a:lnTo>
                <a:lnTo>
                  <a:pt x="171" y="56"/>
                </a:lnTo>
                <a:lnTo>
                  <a:pt x="172" y="58"/>
                </a:lnTo>
                <a:lnTo>
                  <a:pt x="173" y="58"/>
                </a:lnTo>
                <a:lnTo>
                  <a:pt x="175" y="56"/>
                </a:lnTo>
                <a:lnTo>
                  <a:pt x="176" y="56"/>
                </a:lnTo>
                <a:lnTo>
                  <a:pt x="177" y="58"/>
                </a:lnTo>
                <a:lnTo>
                  <a:pt x="179" y="58"/>
                </a:lnTo>
                <a:lnTo>
                  <a:pt x="180" y="58"/>
                </a:lnTo>
                <a:lnTo>
                  <a:pt x="181" y="56"/>
                </a:lnTo>
                <a:lnTo>
                  <a:pt x="188" y="56"/>
                </a:lnTo>
                <a:lnTo>
                  <a:pt x="191" y="58"/>
                </a:lnTo>
                <a:lnTo>
                  <a:pt x="192" y="58"/>
                </a:lnTo>
                <a:lnTo>
                  <a:pt x="193" y="58"/>
                </a:lnTo>
                <a:lnTo>
                  <a:pt x="195" y="56"/>
                </a:lnTo>
                <a:lnTo>
                  <a:pt x="195" y="55"/>
                </a:lnTo>
                <a:lnTo>
                  <a:pt x="189" y="51"/>
                </a:lnTo>
                <a:lnTo>
                  <a:pt x="189" y="48"/>
                </a:lnTo>
                <a:lnTo>
                  <a:pt x="191" y="45"/>
                </a:lnTo>
                <a:lnTo>
                  <a:pt x="192" y="44"/>
                </a:lnTo>
                <a:lnTo>
                  <a:pt x="193" y="42"/>
                </a:lnTo>
                <a:lnTo>
                  <a:pt x="193" y="40"/>
                </a:lnTo>
                <a:lnTo>
                  <a:pt x="187" y="36"/>
                </a:lnTo>
                <a:lnTo>
                  <a:pt x="187" y="33"/>
                </a:lnTo>
                <a:lnTo>
                  <a:pt x="188" y="31"/>
                </a:lnTo>
                <a:lnTo>
                  <a:pt x="188" y="29"/>
                </a:lnTo>
                <a:lnTo>
                  <a:pt x="187" y="28"/>
                </a:lnTo>
                <a:lnTo>
                  <a:pt x="185" y="26"/>
                </a:lnTo>
                <a:lnTo>
                  <a:pt x="185" y="23"/>
                </a:lnTo>
                <a:lnTo>
                  <a:pt x="187" y="22"/>
                </a:lnTo>
                <a:lnTo>
                  <a:pt x="188" y="20"/>
                </a:lnTo>
                <a:lnTo>
                  <a:pt x="187" y="18"/>
                </a:lnTo>
                <a:lnTo>
                  <a:pt x="177" y="12"/>
                </a:lnTo>
                <a:lnTo>
                  <a:pt x="173" y="11"/>
                </a:lnTo>
                <a:lnTo>
                  <a:pt x="163" y="9"/>
                </a:lnTo>
                <a:lnTo>
                  <a:pt x="155" y="6"/>
                </a:lnTo>
                <a:lnTo>
                  <a:pt x="143" y="0"/>
                </a:lnTo>
                <a:lnTo>
                  <a:pt x="141" y="0"/>
                </a:lnTo>
                <a:lnTo>
                  <a:pt x="136" y="0"/>
                </a:lnTo>
                <a:lnTo>
                  <a:pt x="135" y="0"/>
                </a:lnTo>
                <a:lnTo>
                  <a:pt x="135" y="1"/>
                </a:lnTo>
                <a:lnTo>
                  <a:pt x="136" y="1"/>
                </a:lnTo>
                <a:lnTo>
                  <a:pt x="136" y="3"/>
                </a:lnTo>
                <a:lnTo>
                  <a:pt x="136" y="4"/>
                </a:lnTo>
                <a:lnTo>
                  <a:pt x="135" y="4"/>
                </a:lnTo>
                <a:lnTo>
                  <a:pt x="133" y="6"/>
                </a:lnTo>
                <a:lnTo>
                  <a:pt x="132" y="7"/>
                </a:lnTo>
                <a:lnTo>
                  <a:pt x="132" y="9"/>
                </a:lnTo>
                <a:lnTo>
                  <a:pt x="135" y="9"/>
                </a:lnTo>
                <a:lnTo>
                  <a:pt x="133" y="11"/>
                </a:lnTo>
                <a:lnTo>
                  <a:pt x="131" y="11"/>
                </a:lnTo>
                <a:lnTo>
                  <a:pt x="119" y="9"/>
                </a:lnTo>
                <a:lnTo>
                  <a:pt x="111" y="9"/>
                </a:lnTo>
                <a:lnTo>
                  <a:pt x="108" y="9"/>
                </a:lnTo>
                <a:lnTo>
                  <a:pt x="107" y="9"/>
                </a:lnTo>
                <a:lnTo>
                  <a:pt x="106" y="11"/>
                </a:lnTo>
                <a:lnTo>
                  <a:pt x="106" y="14"/>
                </a:lnTo>
                <a:lnTo>
                  <a:pt x="106" y="15"/>
                </a:lnTo>
                <a:lnTo>
                  <a:pt x="103" y="17"/>
                </a:lnTo>
                <a:lnTo>
                  <a:pt x="102" y="18"/>
                </a:lnTo>
                <a:lnTo>
                  <a:pt x="100" y="18"/>
                </a:lnTo>
                <a:lnTo>
                  <a:pt x="98" y="17"/>
                </a:lnTo>
                <a:lnTo>
                  <a:pt x="94" y="17"/>
                </a:lnTo>
                <a:lnTo>
                  <a:pt x="91" y="17"/>
                </a:lnTo>
                <a:lnTo>
                  <a:pt x="86" y="20"/>
                </a:lnTo>
                <a:lnTo>
                  <a:pt x="83" y="20"/>
                </a:lnTo>
                <a:lnTo>
                  <a:pt x="82" y="23"/>
                </a:lnTo>
                <a:lnTo>
                  <a:pt x="82" y="25"/>
                </a:lnTo>
                <a:lnTo>
                  <a:pt x="80" y="26"/>
                </a:lnTo>
                <a:lnTo>
                  <a:pt x="76" y="28"/>
                </a:lnTo>
                <a:lnTo>
                  <a:pt x="75" y="29"/>
                </a:lnTo>
                <a:lnTo>
                  <a:pt x="79" y="33"/>
                </a:lnTo>
                <a:lnTo>
                  <a:pt x="79" y="34"/>
                </a:lnTo>
                <a:lnTo>
                  <a:pt x="79" y="36"/>
                </a:lnTo>
                <a:lnTo>
                  <a:pt x="76" y="37"/>
                </a:lnTo>
                <a:lnTo>
                  <a:pt x="74" y="39"/>
                </a:lnTo>
                <a:lnTo>
                  <a:pt x="71" y="40"/>
                </a:lnTo>
                <a:lnTo>
                  <a:pt x="64" y="44"/>
                </a:lnTo>
                <a:lnTo>
                  <a:pt x="63" y="47"/>
                </a:lnTo>
                <a:lnTo>
                  <a:pt x="63" y="48"/>
                </a:lnTo>
                <a:lnTo>
                  <a:pt x="62" y="50"/>
                </a:lnTo>
                <a:lnTo>
                  <a:pt x="56" y="51"/>
                </a:lnTo>
                <a:lnTo>
                  <a:pt x="54" y="51"/>
                </a:lnTo>
                <a:lnTo>
                  <a:pt x="51" y="53"/>
                </a:lnTo>
                <a:lnTo>
                  <a:pt x="52" y="55"/>
                </a:lnTo>
                <a:lnTo>
                  <a:pt x="52" y="58"/>
                </a:lnTo>
                <a:lnTo>
                  <a:pt x="51" y="61"/>
                </a:lnTo>
                <a:lnTo>
                  <a:pt x="48" y="69"/>
                </a:lnTo>
                <a:lnTo>
                  <a:pt x="44" y="73"/>
                </a:lnTo>
                <a:lnTo>
                  <a:pt x="39" y="78"/>
                </a:lnTo>
                <a:lnTo>
                  <a:pt x="39" y="80"/>
                </a:lnTo>
                <a:lnTo>
                  <a:pt x="43" y="81"/>
                </a:lnTo>
                <a:lnTo>
                  <a:pt x="46" y="83"/>
                </a:lnTo>
                <a:lnTo>
                  <a:pt x="44" y="86"/>
                </a:lnTo>
                <a:lnTo>
                  <a:pt x="44" y="88"/>
                </a:lnTo>
                <a:lnTo>
                  <a:pt x="42" y="89"/>
                </a:lnTo>
                <a:lnTo>
                  <a:pt x="38" y="89"/>
                </a:lnTo>
                <a:lnTo>
                  <a:pt x="32" y="88"/>
                </a:lnTo>
                <a:lnTo>
                  <a:pt x="27" y="89"/>
                </a:lnTo>
                <a:lnTo>
                  <a:pt x="22" y="91"/>
                </a:lnTo>
                <a:lnTo>
                  <a:pt x="15" y="95"/>
                </a:lnTo>
                <a:lnTo>
                  <a:pt x="14" y="97"/>
                </a:lnTo>
                <a:lnTo>
                  <a:pt x="12" y="100"/>
                </a:lnTo>
                <a:lnTo>
                  <a:pt x="14" y="103"/>
                </a:lnTo>
                <a:lnTo>
                  <a:pt x="15" y="105"/>
                </a:lnTo>
                <a:lnTo>
                  <a:pt x="16" y="105"/>
                </a:lnTo>
                <a:lnTo>
                  <a:pt x="15" y="106"/>
                </a:lnTo>
                <a:lnTo>
                  <a:pt x="15" y="110"/>
                </a:lnTo>
                <a:lnTo>
                  <a:pt x="14" y="110"/>
                </a:lnTo>
                <a:lnTo>
                  <a:pt x="14" y="113"/>
                </a:lnTo>
                <a:lnTo>
                  <a:pt x="12" y="114"/>
                </a:lnTo>
                <a:lnTo>
                  <a:pt x="12" y="116"/>
                </a:lnTo>
                <a:lnTo>
                  <a:pt x="14" y="117"/>
                </a:lnTo>
                <a:lnTo>
                  <a:pt x="15" y="119"/>
                </a:lnTo>
                <a:lnTo>
                  <a:pt x="15" y="125"/>
                </a:lnTo>
                <a:lnTo>
                  <a:pt x="15" y="128"/>
                </a:lnTo>
                <a:lnTo>
                  <a:pt x="18" y="131"/>
                </a:lnTo>
                <a:lnTo>
                  <a:pt x="23" y="133"/>
                </a:lnTo>
                <a:lnTo>
                  <a:pt x="24" y="136"/>
                </a:lnTo>
                <a:lnTo>
                  <a:pt x="22" y="139"/>
                </a:lnTo>
                <a:lnTo>
                  <a:pt x="19" y="141"/>
                </a:lnTo>
                <a:lnTo>
                  <a:pt x="15" y="142"/>
                </a:lnTo>
                <a:lnTo>
                  <a:pt x="18" y="146"/>
                </a:lnTo>
                <a:lnTo>
                  <a:pt x="19" y="150"/>
                </a:lnTo>
                <a:lnTo>
                  <a:pt x="18" y="155"/>
                </a:lnTo>
                <a:lnTo>
                  <a:pt x="19" y="157"/>
                </a:lnTo>
                <a:lnTo>
                  <a:pt x="18" y="160"/>
                </a:lnTo>
                <a:lnTo>
                  <a:pt x="16" y="161"/>
                </a:lnTo>
                <a:lnTo>
                  <a:pt x="10" y="163"/>
                </a:lnTo>
                <a:lnTo>
                  <a:pt x="10" y="164"/>
                </a:lnTo>
                <a:lnTo>
                  <a:pt x="6" y="168"/>
                </a:lnTo>
                <a:lnTo>
                  <a:pt x="6" y="171"/>
                </a:lnTo>
                <a:lnTo>
                  <a:pt x="7" y="172"/>
                </a:lnTo>
                <a:lnTo>
                  <a:pt x="4" y="179"/>
                </a:lnTo>
                <a:lnTo>
                  <a:pt x="3" y="180"/>
                </a:lnTo>
                <a:lnTo>
                  <a:pt x="2" y="179"/>
                </a:lnTo>
                <a:lnTo>
                  <a:pt x="0" y="182"/>
                </a:lnTo>
                <a:lnTo>
                  <a:pt x="0" y="177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099" name="Freeform 1022"/>
          <p:cNvSpPr>
            <a:spLocks/>
          </p:cNvSpPr>
          <p:nvPr/>
        </p:nvSpPr>
        <p:spPr bwMode="auto">
          <a:xfrm>
            <a:off x="6440309" y="2632616"/>
            <a:ext cx="95493" cy="103085"/>
          </a:xfrm>
          <a:custGeom>
            <a:avLst/>
            <a:gdLst/>
            <a:ahLst/>
            <a:cxnLst>
              <a:cxn ang="0">
                <a:pos x="24" y="52"/>
              </a:cxn>
              <a:cxn ang="0">
                <a:pos x="24" y="49"/>
              </a:cxn>
              <a:cxn ang="0">
                <a:pos x="23" y="48"/>
              </a:cxn>
              <a:cxn ang="0">
                <a:pos x="23" y="44"/>
              </a:cxn>
              <a:cxn ang="0">
                <a:pos x="23" y="40"/>
              </a:cxn>
              <a:cxn ang="0">
                <a:pos x="23" y="37"/>
              </a:cxn>
              <a:cxn ang="0">
                <a:pos x="21" y="29"/>
              </a:cxn>
              <a:cxn ang="0">
                <a:pos x="19" y="26"/>
              </a:cxn>
              <a:cxn ang="0">
                <a:pos x="15" y="21"/>
              </a:cxn>
              <a:cxn ang="0">
                <a:pos x="12" y="16"/>
              </a:cxn>
              <a:cxn ang="0">
                <a:pos x="11" y="11"/>
              </a:cxn>
              <a:cxn ang="0">
                <a:pos x="8" y="10"/>
              </a:cxn>
              <a:cxn ang="0">
                <a:pos x="5" y="7"/>
              </a:cxn>
              <a:cxn ang="0">
                <a:pos x="1" y="4"/>
              </a:cxn>
              <a:cxn ang="0">
                <a:pos x="0" y="4"/>
              </a:cxn>
              <a:cxn ang="0">
                <a:pos x="1" y="2"/>
              </a:cxn>
              <a:cxn ang="0">
                <a:pos x="3" y="0"/>
              </a:cxn>
              <a:cxn ang="0">
                <a:pos x="5" y="0"/>
              </a:cxn>
              <a:cxn ang="0">
                <a:pos x="8" y="0"/>
              </a:cxn>
              <a:cxn ang="0">
                <a:pos x="12" y="0"/>
              </a:cxn>
              <a:cxn ang="0">
                <a:pos x="16" y="0"/>
              </a:cxn>
              <a:cxn ang="0">
                <a:pos x="19" y="2"/>
              </a:cxn>
              <a:cxn ang="0">
                <a:pos x="24" y="5"/>
              </a:cxn>
              <a:cxn ang="0">
                <a:pos x="25" y="5"/>
              </a:cxn>
              <a:cxn ang="0">
                <a:pos x="29" y="5"/>
              </a:cxn>
              <a:cxn ang="0">
                <a:pos x="32" y="5"/>
              </a:cxn>
              <a:cxn ang="0">
                <a:pos x="35" y="8"/>
              </a:cxn>
              <a:cxn ang="0">
                <a:pos x="37" y="8"/>
              </a:cxn>
              <a:cxn ang="0">
                <a:pos x="39" y="10"/>
              </a:cxn>
              <a:cxn ang="0">
                <a:pos x="39" y="11"/>
              </a:cxn>
              <a:cxn ang="0">
                <a:pos x="39" y="13"/>
              </a:cxn>
              <a:cxn ang="0">
                <a:pos x="37" y="16"/>
              </a:cxn>
              <a:cxn ang="0">
                <a:pos x="40" y="18"/>
              </a:cxn>
              <a:cxn ang="0">
                <a:pos x="40" y="19"/>
              </a:cxn>
              <a:cxn ang="0">
                <a:pos x="43" y="19"/>
              </a:cxn>
              <a:cxn ang="0">
                <a:pos x="44" y="21"/>
              </a:cxn>
              <a:cxn ang="0">
                <a:pos x="43" y="22"/>
              </a:cxn>
              <a:cxn ang="0">
                <a:pos x="45" y="26"/>
              </a:cxn>
              <a:cxn ang="0">
                <a:pos x="49" y="27"/>
              </a:cxn>
              <a:cxn ang="0">
                <a:pos x="49" y="29"/>
              </a:cxn>
              <a:cxn ang="0">
                <a:pos x="51" y="30"/>
              </a:cxn>
              <a:cxn ang="0">
                <a:pos x="49" y="33"/>
              </a:cxn>
              <a:cxn ang="0">
                <a:pos x="51" y="35"/>
              </a:cxn>
              <a:cxn ang="0">
                <a:pos x="49" y="37"/>
              </a:cxn>
              <a:cxn ang="0">
                <a:pos x="48" y="37"/>
              </a:cxn>
              <a:cxn ang="0">
                <a:pos x="41" y="35"/>
              </a:cxn>
              <a:cxn ang="0">
                <a:pos x="40" y="37"/>
              </a:cxn>
              <a:cxn ang="0">
                <a:pos x="39" y="35"/>
              </a:cxn>
              <a:cxn ang="0">
                <a:pos x="36" y="37"/>
              </a:cxn>
              <a:cxn ang="0">
                <a:pos x="35" y="38"/>
              </a:cxn>
              <a:cxn ang="0">
                <a:pos x="35" y="43"/>
              </a:cxn>
              <a:cxn ang="0">
                <a:pos x="32" y="44"/>
              </a:cxn>
              <a:cxn ang="0">
                <a:pos x="31" y="46"/>
              </a:cxn>
              <a:cxn ang="0">
                <a:pos x="31" y="48"/>
              </a:cxn>
              <a:cxn ang="0">
                <a:pos x="28" y="48"/>
              </a:cxn>
              <a:cxn ang="0">
                <a:pos x="28" y="49"/>
              </a:cxn>
              <a:cxn ang="0">
                <a:pos x="28" y="52"/>
              </a:cxn>
              <a:cxn ang="0">
                <a:pos x="27" y="52"/>
              </a:cxn>
              <a:cxn ang="0">
                <a:pos x="24" y="52"/>
              </a:cxn>
            </a:cxnLst>
            <a:rect l="0" t="0" r="r" b="b"/>
            <a:pathLst>
              <a:path w="51" h="52">
                <a:moveTo>
                  <a:pt x="24" y="52"/>
                </a:moveTo>
                <a:lnTo>
                  <a:pt x="24" y="49"/>
                </a:lnTo>
                <a:lnTo>
                  <a:pt x="23" y="48"/>
                </a:lnTo>
                <a:lnTo>
                  <a:pt x="23" y="44"/>
                </a:lnTo>
                <a:lnTo>
                  <a:pt x="23" y="40"/>
                </a:lnTo>
                <a:lnTo>
                  <a:pt x="23" y="37"/>
                </a:lnTo>
                <a:lnTo>
                  <a:pt x="21" y="29"/>
                </a:lnTo>
                <a:lnTo>
                  <a:pt x="19" y="26"/>
                </a:lnTo>
                <a:lnTo>
                  <a:pt x="15" y="21"/>
                </a:lnTo>
                <a:lnTo>
                  <a:pt x="12" y="16"/>
                </a:lnTo>
                <a:lnTo>
                  <a:pt x="11" y="11"/>
                </a:lnTo>
                <a:lnTo>
                  <a:pt x="8" y="10"/>
                </a:lnTo>
                <a:lnTo>
                  <a:pt x="5" y="7"/>
                </a:lnTo>
                <a:lnTo>
                  <a:pt x="1" y="4"/>
                </a:lnTo>
                <a:lnTo>
                  <a:pt x="0" y="4"/>
                </a:lnTo>
                <a:lnTo>
                  <a:pt x="1" y="2"/>
                </a:lnTo>
                <a:lnTo>
                  <a:pt x="3" y="0"/>
                </a:lnTo>
                <a:lnTo>
                  <a:pt x="5" y="0"/>
                </a:lnTo>
                <a:lnTo>
                  <a:pt x="8" y="0"/>
                </a:lnTo>
                <a:lnTo>
                  <a:pt x="12" y="0"/>
                </a:lnTo>
                <a:lnTo>
                  <a:pt x="16" y="0"/>
                </a:lnTo>
                <a:lnTo>
                  <a:pt x="19" y="2"/>
                </a:lnTo>
                <a:lnTo>
                  <a:pt x="24" y="5"/>
                </a:lnTo>
                <a:lnTo>
                  <a:pt x="25" y="5"/>
                </a:lnTo>
                <a:lnTo>
                  <a:pt x="29" y="5"/>
                </a:lnTo>
                <a:lnTo>
                  <a:pt x="32" y="5"/>
                </a:lnTo>
                <a:lnTo>
                  <a:pt x="35" y="8"/>
                </a:lnTo>
                <a:lnTo>
                  <a:pt x="37" y="8"/>
                </a:lnTo>
                <a:lnTo>
                  <a:pt x="39" y="10"/>
                </a:lnTo>
                <a:lnTo>
                  <a:pt x="39" y="11"/>
                </a:lnTo>
                <a:lnTo>
                  <a:pt x="39" y="13"/>
                </a:lnTo>
                <a:lnTo>
                  <a:pt x="37" y="16"/>
                </a:lnTo>
                <a:lnTo>
                  <a:pt x="40" y="18"/>
                </a:lnTo>
                <a:lnTo>
                  <a:pt x="40" y="19"/>
                </a:lnTo>
                <a:lnTo>
                  <a:pt x="43" y="19"/>
                </a:lnTo>
                <a:lnTo>
                  <a:pt x="44" y="21"/>
                </a:lnTo>
                <a:lnTo>
                  <a:pt x="43" y="22"/>
                </a:lnTo>
                <a:lnTo>
                  <a:pt x="45" y="26"/>
                </a:lnTo>
                <a:lnTo>
                  <a:pt x="49" y="27"/>
                </a:lnTo>
                <a:lnTo>
                  <a:pt x="49" y="29"/>
                </a:lnTo>
                <a:lnTo>
                  <a:pt x="51" y="30"/>
                </a:lnTo>
                <a:lnTo>
                  <a:pt x="49" y="33"/>
                </a:lnTo>
                <a:lnTo>
                  <a:pt x="51" y="35"/>
                </a:lnTo>
                <a:lnTo>
                  <a:pt x="49" y="37"/>
                </a:lnTo>
                <a:lnTo>
                  <a:pt x="48" y="37"/>
                </a:lnTo>
                <a:lnTo>
                  <a:pt x="41" y="35"/>
                </a:lnTo>
                <a:lnTo>
                  <a:pt x="40" y="37"/>
                </a:lnTo>
                <a:lnTo>
                  <a:pt x="39" y="35"/>
                </a:lnTo>
                <a:lnTo>
                  <a:pt x="36" y="37"/>
                </a:lnTo>
                <a:lnTo>
                  <a:pt x="35" y="38"/>
                </a:lnTo>
                <a:lnTo>
                  <a:pt x="35" y="43"/>
                </a:lnTo>
                <a:lnTo>
                  <a:pt x="32" y="44"/>
                </a:lnTo>
                <a:lnTo>
                  <a:pt x="31" y="46"/>
                </a:lnTo>
                <a:lnTo>
                  <a:pt x="31" y="48"/>
                </a:lnTo>
                <a:lnTo>
                  <a:pt x="28" y="48"/>
                </a:lnTo>
                <a:lnTo>
                  <a:pt x="28" y="49"/>
                </a:lnTo>
                <a:lnTo>
                  <a:pt x="28" y="52"/>
                </a:lnTo>
                <a:lnTo>
                  <a:pt x="27" y="52"/>
                </a:lnTo>
                <a:lnTo>
                  <a:pt x="24" y="5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00" name="Freeform 1023"/>
          <p:cNvSpPr>
            <a:spLocks/>
          </p:cNvSpPr>
          <p:nvPr/>
        </p:nvSpPr>
        <p:spPr bwMode="auto">
          <a:xfrm>
            <a:off x="6440309" y="2632616"/>
            <a:ext cx="95493" cy="103085"/>
          </a:xfrm>
          <a:custGeom>
            <a:avLst/>
            <a:gdLst/>
            <a:ahLst/>
            <a:cxnLst>
              <a:cxn ang="0">
                <a:pos x="24" y="52"/>
              </a:cxn>
              <a:cxn ang="0">
                <a:pos x="24" y="49"/>
              </a:cxn>
              <a:cxn ang="0">
                <a:pos x="23" y="48"/>
              </a:cxn>
              <a:cxn ang="0">
                <a:pos x="23" y="44"/>
              </a:cxn>
              <a:cxn ang="0">
                <a:pos x="23" y="40"/>
              </a:cxn>
              <a:cxn ang="0">
                <a:pos x="23" y="37"/>
              </a:cxn>
              <a:cxn ang="0">
                <a:pos x="21" y="29"/>
              </a:cxn>
              <a:cxn ang="0">
                <a:pos x="19" y="26"/>
              </a:cxn>
              <a:cxn ang="0">
                <a:pos x="15" y="21"/>
              </a:cxn>
              <a:cxn ang="0">
                <a:pos x="12" y="16"/>
              </a:cxn>
              <a:cxn ang="0">
                <a:pos x="11" y="11"/>
              </a:cxn>
              <a:cxn ang="0">
                <a:pos x="8" y="10"/>
              </a:cxn>
              <a:cxn ang="0">
                <a:pos x="5" y="7"/>
              </a:cxn>
              <a:cxn ang="0">
                <a:pos x="1" y="4"/>
              </a:cxn>
              <a:cxn ang="0">
                <a:pos x="0" y="4"/>
              </a:cxn>
              <a:cxn ang="0">
                <a:pos x="1" y="2"/>
              </a:cxn>
              <a:cxn ang="0">
                <a:pos x="3" y="0"/>
              </a:cxn>
              <a:cxn ang="0">
                <a:pos x="5" y="0"/>
              </a:cxn>
              <a:cxn ang="0">
                <a:pos x="8" y="0"/>
              </a:cxn>
              <a:cxn ang="0">
                <a:pos x="12" y="0"/>
              </a:cxn>
              <a:cxn ang="0">
                <a:pos x="16" y="0"/>
              </a:cxn>
              <a:cxn ang="0">
                <a:pos x="19" y="2"/>
              </a:cxn>
              <a:cxn ang="0">
                <a:pos x="24" y="5"/>
              </a:cxn>
              <a:cxn ang="0">
                <a:pos x="25" y="5"/>
              </a:cxn>
              <a:cxn ang="0">
                <a:pos x="29" y="5"/>
              </a:cxn>
              <a:cxn ang="0">
                <a:pos x="32" y="5"/>
              </a:cxn>
              <a:cxn ang="0">
                <a:pos x="35" y="8"/>
              </a:cxn>
              <a:cxn ang="0">
                <a:pos x="37" y="8"/>
              </a:cxn>
              <a:cxn ang="0">
                <a:pos x="39" y="10"/>
              </a:cxn>
              <a:cxn ang="0">
                <a:pos x="39" y="11"/>
              </a:cxn>
              <a:cxn ang="0">
                <a:pos x="39" y="13"/>
              </a:cxn>
              <a:cxn ang="0">
                <a:pos x="37" y="16"/>
              </a:cxn>
              <a:cxn ang="0">
                <a:pos x="40" y="18"/>
              </a:cxn>
              <a:cxn ang="0">
                <a:pos x="40" y="19"/>
              </a:cxn>
              <a:cxn ang="0">
                <a:pos x="43" y="19"/>
              </a:cxn>
              <a:cxn ang="0">
                <a:pos x="44" y="21"/>
              </a:cxn>
              <a:cxn ang="0">
                <a:pos x="43" y="22"/>
              </a:cxn>
              <a:cxn ang="0">
                <a:pos x="45" y="26"/>
              </a:cxn>
              <a:cxn ang="0">
                <a:pos x="49" y="27"/>
              </a:cxn>
              <a:cxn ang="0">
                <a:pos x="49" y="29"/>
              </a:cxn>
              <a:cxn ang="0">
                <a:pos x="51" y="30"/>
              </a:cxn>
              <a:cxn ang="0">
                <a:pos x="49" y="33"/>
              </a:cxn>
              <a:cxn ang="0">
                <a:pos x="51" y="35"/>
              </a:cxn>
              <a:cxn ang="0">
                <a:pos x="49" y="37"/>
              </a:cxn>
              <a:cxn ang="0">
                <a:pos x="48" y="37"/>
              </a:cxn>
              <a:cxn ang="0">
                <a:pos x="41" y="35"/>
              </a:cxn>
              <a:cxn ang="0">
                <a:pos x="40" y="37"/>
              </a:cxn>
              <a:cxn ang="0">
                <a:pos x="39" y="35"/>
              </a:cxn>
              <a:cxn ang="0">
                <a:pos x="36" y="37"/>
              </a:cxn>
              <a:cxn ang="0">
                <a:pos x="35" y="38"/>
              </a:cxn>
              <a:cxn ang="0">
                <a:pos x="35" y="43"/>
              </a:cxn>
              <a:cxn ang="0">
                <a:pos x="32" y="44"/>
              </a:cxn>
              <a:cxn ang="0">
                <a:pos x="31" y="46"/>
              </a:cxn>
              <a:cxn ang="0">
                <a:pos x="31" y="48"/>
              </a:cxn>
              <a:cxn ang="0">
                <a:pos x="28" y="48"/>
              </a:cxn>
              <a:cxn ang="0">
                <a:pos x="28" y="49"/>
              </a:cxn>
              <a:cxn ang="0">
                <a:pos x="28" y="52"/>
              </a:cxn>
              <a:cxn ang="0">
                <a:pos x="27" y="52"/>
              </a:cxn>
              <a:cxn ang="0">
                <a:pos x="24" y="52"/>
              </a:cxn>
            </a:cxnLst>
            <a:rect l="0" t="0" r="r" b="b"/>
            <a:pathLst>
              <a:path w="51" h="52">
                <a:moveTo>
                  <a:pt x="24" y="52"/>
                </a:moveTo>
                <a:lnTo>
                  <a:pt x="24" y="49"/>
                </a:lnTo>
                <a:lnTo>
                  <a:pt x="23" y="48"/>
                </a:lnTo>
                <a:lnTo>
                  <a:pt x="23" y="44"/>
                </a:lnTo>
                <a:lnTo>
                  <a:pt x="23" y="40"/>
                </a:lnTo>
                <a:lnTo>
                  <a:pt x="23" y="37"/>
                </a:lnTo>
                <a:lnTo>
                  <a:pt x="21" y="29"/>
                </a:lnTo>
                <a:lnTo>
                  <a:pt x="19" y="26"/>
                </a:lnTo>
                <a:lnTo>
                  <a:pt x="15" y="21"/>
                </a:lnTo>
                <a:lnTo>
                  <a:pt x="12" y="16"/>
                </a:lnTo>
                <a:lnTo>
                  <a:pt x="11" y="11"/>
                </a:lnTo>
                <a:lnTo>
                  <a:pt x="8" y="10"/>
                </a:lnTo>
                <a:lnTo>
                  <a:pt x="5" y="7"/>
                </a:lnTo>
                <a:lnTo>
                  <a:pt x="1" y="4"/>
                </a:lnTo>
                <a:lnTo>
                  <a:pt x="0" y="4"/>
                </a:lnTo>
                <a:lnTo>
                  <a:pt x="1" y="2"/>
                </a:lnTo>
                <a:lnTo>
                  <a:pt x="3" y="0"/>
                </a:lnTo>
                <a:lnTo>
                  <a:pt x="5" y="0"/>
                </a:lnTo>
                <a:lnTo>
                  <a:pt x="8" y="0"/>
                </a:lnTo>
                <a:lnTo>
                  <a:pt x="12" y="0"/>
                </a:lnTo>
                <a:lnTo>
                  <a:pt x="16" y="0"/>
                </a:lnTo>
                <a:lnTo>
                  <a:pt x="19" y="2"/>
                </a:lnTo>
                <a:lnTo>
                  <a:pt x="24" y="5"/>
                </a:lnTo>
                <a:lnTo>
                  <a:pt x="25" y="5"/>
                </a:lnTo>
                <a:lnTo>
                  <a:pt x="29" y="5"/>
                </a:lnTo>
                <a:lnTo>
                  <a:pt x="32" y="5"/>
                </a:lnTo>
                <a:lnTo>
                  <a:pt x="35" y="8"/>
                </a:lnTo>
                <a:lnTo>
                  <a:pt x="37" y="8"/>
                </a:lnTo>
                <a:lnTo>
                  <a:pt x="39" y="10"/>
                </a:lnTo>
                <a:lnTo>
                  <a:pt x="39" y="11"/>
                </a:lnTo>
                <a:lnTo>
                  <a:pt x="39" y="13"/>
                </a:lnTo>
                <a:lnTo>
                  <a:pt x="37" y="16"/>
                </a:lnTo>
                <a:lnTo>
                  <a:pt x="40" y="18"/>
                </a:lnTo>
                <a:lnTo>
                  <a:pt x="40" y="19"/>
                </a:lnTo>
                <a:lnTo>
                  <a:pt x="43" y="19"/>
                </a:lnTo>
                <a:lnTo>
                  <a:pt x="44" y="21"/>
                </a:lnTo>
                <a:lnTo>
                  <a:pt x="43" y="22"/>
                </a:lnTo>
                <a:lnTo>
                  <a:pt x="45" y="26"/>
                </a:lnTo>
                <a:lnTo>
                  <a:pt x="49" y="27"/>
                </a:lnTo>
                <a:lnTo>
                  <a:pt x="49" y="29"/>
                </a:lnTo>
                <a:lnTo>
                  <a:pt x="51" y="30"/>
                </a:lnTo>
                <a:lnTo>
                  <a:pt x="49" y="33"/>
                </a:lnTo>
                <a:lnTo>
                  <a:pt x="51" y="35"/>
                </a:lnTo>
                <a:lnTo>
                  <a:pt x="49" y="37"/>
                </a:lnTo>
                <a:lnTo>
                  <a:pt x="48" y="37"/>
                </a:lnTo>
                <a:lnTo>
                  <a:pt x="41" y="35"/>
                </a:lnTo>
                <a:lnTo>
                  <a:pt x="40" y="37"/>
                </a:lnTo>
                <a:lnTo>
                  <a:pt x="39" y="35"/>
                </a:lnTo>
                <a:lnTo>
                  <a:pt x="36" y="37"/>
                </a:lnTo>
                <a:lnTo>
                  <a:pt x="35" y="38"/>
                </a:lnTo>
                <a:lnTo>
                  <a:pt x="35" y="43"/>
                </a:lnTo>
                <a:lnTo>
                  <a:pt x="32" y="44"/>
                </a:lnTo>
                <a:lnTo>
                  <a:pt x="31" y="46"/>
                </a:lnTo>
                <a:lnTo>
                  <a:pt x="31" y="48"/>
                </a:lnTo>
                <a:lnTo>
                  <a:pt x="28" y="48"/>
                </a:lnTo>
                <a:lnTo>
                  <a:pt x="28" y="49"/>
                </a:lnTo>
                <a:lnTo>
                  <a:pt x="28" y="52"/>
                </a:lnTo>
                <a:lnTo>
                  <a:pt x="27" y="52"/>
                </a:lnTo>
                <a:lnTo>
                  <a:pt x="24" y="52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01" name="Freeform 1024"/>
          <p:cNvSpPr>
            <a:spLocks/>
          </p:cNvSpPr>
          <p:nvPr/>
        </p:nvSpPr>
        <p:spPr bwMode="auto">
          <a:xfrm>
            <a:off x="5943363" y="2615436"/>
            <a:ext cx="222164" cy="92348"/>
          </a:xfrm>
          <a:custGeom>
            <a:avLst/>
            <a:gdLst/>
            <a:ahLst/>
            <a:cxnLst>
              <a:cxn ang="0">
                <a:pos x="65" y="6"/>
              </a:cxn>
              <a:cxn ang="0">
                <a:pos x="60" y="9"/>
              </a:cxn>
              <a:cxn ang="0">
                <a:pos x="52" y="14"/>
              </a:cxn>
              <a:cxn ang="0">
                <a:pos x="52" y="19"/>
              </a:cxn>
              <a:cxn ang="0">
                <a:pos x="53" y="25"/>
              </a:cxn>
              <a:cxn ang="0">
                <a:pos x="50" y="24"/>
              </a:cxn>
              <a:cxn ang="0">
                <a:pos x="42" y="24"/>
              </a:cxn>
              <a:cxn ang="0">
                <a:pos x="32" y="25"/>
              </a:cxn>
              <a:cxn ang="0">
                <a:pos x="24" y="28"/>
              </a:cxn>
              <a:cxn ang="0">
                <a:pos x="17" y="25"/>
              </a:cxn>
              <a:cxn ang="0">
                <a:pos x="15" y="28"/>
              </a:cxn>
              <a:cxn ang="0">
                <a:pos x="9" y="28"/>
              </a:cxn>
              <a:cxn ang="0">
                <a:pos x="7" y="25"/>
              </a:cxn>
              <a:cxn ang="0">
                <a:pos x="0" y="27"/>
              </a:cxn>
              <a:cxn ang="0">
                <a:pos x="5" y="30"/>
              </a:cxn>
              <a:cxn ang="0">
                <a:pos x="5" y="33"/>
              </a:cxn>
              <a:cxn ang="0">
                <a:pos x="5" y="36"/>
              </a:cxn>
              <a:cxn ang="0">
                <a:pos x="11" y="38"/>
              </a:cxn>
              <a:cxn ang="0">
                <a:pos x="15" y="38"/>
              </a:cxn>
              <a:cxn ang="0">
                <a:pos x="20" y="39"/>
              </a:cxn>
              <a:cxn ang="0">
                <a:pos x="29" y="36"/>
              </a:cxn>
              <a:cxn ang="0">
                <a:pos x="37" y="35"/>
              </a:cxn>
              <a:cxn ang="0">
                <a:pos x="40" y="35"/>
              </a:cxn>
              <a:cxn ang="0">
                <a:pos x="41" y="36"/>
              </a:cxn>
              <a:cxn ang="0">
                <a:pos x="42" y="39"/>
              </a:cxn>
              <a:cxn ang="0">
                <a:pos x="46" y="41"/>
              </a:cxn>
              <a:cxn ang="0">
                <a:pos x="57" y="44"/>
              </a:cxn>
              <a:cxn ang="0">
                <a:pos x="64" y="44"/>
              </a:cxn>
              <a:cxn ang="0">
                <a:pos x="76" y="46"/>
              </a:cxn>
              <a:cxn ang="0">
                <a:pos x="81" y="41"/>
              </a:cxn>
              <a:cxn ang="0">
                <a:pos x="90" y="42"/>
              </a:cxn>
              <a:cxn ang="0">
                <a:pos x="97" y="41"/>
              </a:cxn>
              <a:cxn ang="0">
                <a:pos x="100" y="38"/>
              </a:cxn>
              <a:cxn ang="0">
                <a:pos x="106" y="35"/>
              </a:cxn>
              <a:cxn ang="0">
                <a:pos x="105" y="30"/>
              </a:cxn>
              <a:cxn ang="0">
                <a:pos x="106" y="24"/>
              </a:cxn>
              <a:cxn ang="0">
                <a:pos x="114" y="22"/>
              </a:cxn>
              <a:cxn ang="0">
                <a:pos x="116" y="16"/>
              </a:cxn>
              <a:cxn ang="0">
                <a:pos x="112" y="8"/>
              </a:cxn>
              <a:cxn ang="0">
                <a:pos x="110" y="3"/>
              </a:cxn>
              <a:cxn ang="0">
                <a:pos x="96" y="2"/>
              </a:cxn>
              <a:cxn ang="0">
                <a:pos x="85" y="0"/>
              </a:cxn>
              <a:cxn ang="0">
                <a:pos x="82" y="5"/>
              </a:cxn>
              <a:cxn ang="0">
                <a:pos x="77" y="6"/>
              </a:cxn>
              <a:cxn ang="0">
                <a:pos x="70" y="6"/>
              </a:cxn>
              <a:cxn ang="0">
                <a:pos x="65" y="5"/>
              </a:cxn>
            </a:cxnLst>
            <a:rect l="0" t="0" r="r" b="b"/>
            <a:pathLst>
              <a:path w="116" h="46">
                <a:moveTo>
                  <a:pt x="65" y="5"/>
                </a:moveTo>
                <a:lnTo>
                  <a:pt x="65" y="6"/>
                </a:lnTo>
                <a:lnTo>
                  <a:pt x="60" y="8"/>
                </a:lnTo>
                <a:lnTo>
                  <a:pt x="60" y="9"/>
                </a:lnTo>
                <a:lnTo>
                  <a:pt x="58" y="11"/>
                </a:lnTo>
                <a:lnTo>
                  <a:pt x="52" y="14"/>
                </a:lnTo>
                <a:lnTo>
                  <a:pt x="50" y="16"/>
                </a:lnTo>
                <a:lnTo>
                  <a:pt x="52" y="19"/>
                </a:lnTo>
                <a:lnTo>
                  <a:pt x="53" y="24"/>
                </a:lnTo>
                <a:lnTo>
                  <a:pt x="53" y="25"/>
                </a:lnTo>
                <a:lnTo>
                  <a:pt x="50" y="25"/>
                </a:lnTo>
                <a:lnTo>
                  <a:pt x="50" y="24"/>
                </a:lnTo>
                <a:lnTo>
                  <a:pt x="46" y="24"/>
                </a:lnTo>
                <a:lnTo>
                  <a:pt x="42" y="24"/>
                </a:lnTo>
                <a:lnTo>
                  <a:pt x="41" y="24"/>
                </a:lnTo>
                <a:lnTo>
                  <a:pt x="32" y="25"/>
                </a:lnTo>
                <a:lnTo>
                  <a:pt x="26" y="28"/>
                </a:lnTo>
                <a:lnTo>
                  <a:pt x="24" y="28"/>
                </a:lnTo>
                <a:lnTo>
                  <a:pt x="20" y="25"/>
                </a:lnTo>
                <a:lnTo>
                  <a:pt x="17" y="25"/>
                </a:lnTo>
                <a:lnTo>
                  <a:pt x="15" y="27"/>
                </a:lnTo>
                <a:lnTo>
                  <a:pt x="15" y="28"/>
                </a:lnTo>
                <a:lnTo>
                  <a:pt x="12" y="30"/>
                </a:lnTo>
                <a:lnTo>
                  <a:pt x="9" y="28"/>
                </a:lnTo>
                <a:lnTo>
                  <a:pt x="8" y="27"/>
                </a:lnTo>
                <a:lnTo>
                  <a:pt x="7" y="25"/>
                </a:lnTo>
                <a:lnTo>
                  <a:pt x="4" y="25"/>
                </a:lnTo>
                <a:lnTo>
                  <a:pt x="0" y="27"/>
                </a:lnTo>
                <a:lnTo>
                  <a:pt x="3" y="28"/>
                </a:lnTo>
                <a:lnTo>
                  <a:pt x="5" y="30"/>
                </a:lnTo>
                <a:lnTo>
                  <a:pt x="5" y="31"/>
                </a:lnTo>
                <a:lnTo>
                  <a:pt x="5" y="33"/>
                </a:lnTo>
                <a:lnTo>
                  <a:pt x="4" y="36"/>
                </a:lnTo>
                <a:lnTo>
                  <a:pt x="5" y="36"/>
                </a:lnTo>
                <a:lnTo>
                  <a:pt x="8" y="38"/>
                </a:lnTo>
                <a:lnTo>
                  <a:pt x="11" y="38"/>
                </a:lnTo>
                <a:lnTo>
                  <a:pt x="13" y="36"/>
                </a:lnTo>
                <a:lnTo>
                  <a:pt x="15" y="38"/>
                </a:lnTo>
                <a:lnTo>
                  <a:pt x="19" y="39"/>
                </a:lnTo>
                <a:lnTo>
                  <a:pt x="20" y="39"/>
                </a:lnTo>
                <a:lnTo>
                  <a:pt x="24" y="38"/>
                </a:lnTo>
                <a:lnTo>
                  <a:pt x="29" y="36"/>
                </a:lnTo>
                <a:lnTo>
                  <a:pt x="34" y="36"/>
                </a:lnTo>
                <a:lnTo>
                  <a:pt x="37" y="35"/>
                </a:lnTo>
                <a:lnTo>
                  <a:pt x="38" y="35"/>
                </a:lnTo>
                <a:lnTo>
                  <a:pt x="40" y="35"/>
                </a:lnTo>
                <a:lnTo>
                  <a:pt x="41" y="35"/>
                </a:lnTo>
                <a:lnTo>
                  <a:pt x="41" y="36"/>
                </a:lnTo>
                <a:lnTo>
                  <a:pt x="41" y="38"/>
                </a:lnTo>
                <a:lnTo>
                  <a:pt x="42" y="39"/>
                </a:lnTo>
                <a:lnTo>
                  <a:pt x="45" y="41"/>
                </a:lnTo>
                <a:lnTo>
                  <a:pt x="46" y="41"/>
                </a:lnTo>
                <a:lnTo>
                  <a:pt x="49" y="42"/>
                </a:lnTo>
                <a:lnTo>
                  <a:pt x="57" y="44"/>
                </a:lnTo>
                <a:lnTo>
                  <a:pt x="61" y="44"/>
                </a:lnTo>
                <a:lnTo>
                  <a:pt x="64" y="44"/>
                </a:lnTo>
                <a:lnTo>
                  <a:pt x="68" y="44"/>
                </a:lnTo>
                <a:lnTo>
                  <a:pt x="76" y="46"/>
                </a:lnTo>
                <a:lnTo>
                  <a:pt x="78" y="44"/>
                </a:lnTo>
                <a:lnTo>
                  <a:pt x="81" y="41"/>
                </a:lnTo>
                <a:lnTo>
                  <a:pt x="85" y="41"/>
                </a:lnTo>
                <a:lnTo>
                  <a:pt x="90" y="42"/>
                </a:lnTo>
                <a:lnTo>
                  <a:pt x="92" y="39"/>
                </a:lnTo>
                <a:lnTo>
                  <a:pt x="97" y="41"/>
                </a:lnTo>
                <a:lnTo>
                  <a:pt x="97" y="38"/>
                </a:lnTo>
                <a:lnTo>
                  <a:pt x="100" y="38"/>
                </a:lnTo>
                <a:lnTo>
                  <a:pt x="102" y="35"/>
                </a:lnTo>
                <a:lnTo>
                  <a:pt x="106" y="35"/>
                </a:lnTo>
                <a:lnTo>
                  <a:pt x="105" y="31"/>
                </a:lnTo>
                <a:lnTo>
                  <a:pt x="105" y="30"/>
                </a:lnTo>
                <a:lnTo>
                  <a:pt x="108" y="27"/>
                </a:lnTo>
                <a:lnTo>
                  <a:pt x="106" y="24"/>
                </a:lnTo>
                <a:lnTo>
                  <a:pt x="108" y="22"/>
                </a:lnTo>
                <a:lnTo>
                  <a:pt x="114" y="22"/>
                </a:lnTo>
                <a:lnTo>
                  <a:pt x="116" y="20"/>
                </a:lnTo>
                <a:lnTo>
                  <a:pt x="116" y="16"/>
                </a:lnTo>
                <a:lnTo>
                  <a:pt x="114" y="13"/>
                </a:lnTo>
                <a:lnTo>
                  <a:pt x="112" y="8"/>
                </a:lnTo>
                <a:lnTo>
                  <a:pt x="112" y="6"/>
                </a:lnTo>
                <a:lnTo>
                  <a:pt x="110" y="3"/>
                </a:lnTo>
                <a:lnTo>
                  <a:pt x="100" y="5"/>
                </a:lnTo>
                <a:lnTo>
                  <a:pt x="96" y="2"/>
                </a:lnTo>
                <a:lnTo>
                  <a:pt x="94" y="0"/>
                </a:lnTo>
                <a:lnTo>
                  <a:pt x="85" y="0"/>
                </a:lnTo>
                <a:lnTo>
                  <a:pt x="82" y="2"/>
                </a:lnTo>
                <a:lnTo>
                  <a:pt x="82" y="5"/>
                </a:lnTo>
                <a:lnTo>
                  <a:pt x="80" y="6"/>
                </a:lnTo>
                <a:lnTo>
                  <a:pt x="77" y="6"/>
                </a:lnTo>
                <a:lnTo>
                  <a:pt x="74" y="6"/>
                </a:lnTo>
                <a:lnTo>
                  <a:pt x="70" y="6"/>
                </a:lnTo>
                <a:lnTo>
                  <a:pt x="69" y="5"/>
                </a:lnTo>
                <a:lnTo>
                  <a:pt x="65" y="5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02" name="Freeform 1025"/>
          <p:cNvSpPr>
            <a:spLocks/>
          </p:cNvSpPr>
          <p:nvPr/>
        </p:nvSpPr>
        <p:spPr bwMode="auto">
          <a:xfrm>
            <a:off x="5943363" y="2615436"/>
            <a:ext cx="222164" cy="92348"/>
          </a:xfrm>
          <a:custGeom>
            <a:avLst/>
            <a:gdLst/>
            <a:ahLst/>
            <a:cxnLst>
              <a:cxn ang="0">
                <a:pos x="65" y="6"/>
              </a:cxn>
              <a:cxn ang="0">
                <a:pos x="60" y="9"/>
              </a:cxn>
              <a:cxn ang="0">
                <a:pos x="52" y="14"/>
              </a:cxn>
              <a:cxn ang="0">
                <a:pos x="52" y="19"/>
              </a:cxn>
              <a:cxn ang="0">
                <a:pos x="53" y="25"/>
              </a:cxn>
              <a:cxn ang="0">
                <a:pos x="50" y="24"/>
              </a:cxn>
              <a:cxn ang="0">
                <a:pos x="42" y="24"/>
              </a:cxn>
              <a:cxn ang="0">
                <a:pos x="32" y="25"/>
              </a:cxn>
              <a:cxn ang="0">
                <a:pos x="24" y="28"/>
              </a:cxn>
              <a:cxn ang="0">
                <a:pos x="17" y="25"/>
              </a:cxn>
              <a:cxn ang="0">
                <a:pos x="15" y="28"/>
              </a:cxn>
              <a:cxn ang="0">
                <a:pos x="9" y="28"/>
              </a:cxn>
              <a:cxn ang="0">
                <a:pos x="7" y="25"/>
              </a:cxn>
              <a:cxn ang="0">
                <a:pos x="0" y="27"/>
              </a:cxn>
              <a:cxn ang="0">
                <a:pos x="5" y="30"/>
              </a:cxn>
              <a:cxn ang="0">
                <a:pos x="5" y="33"/>
              </a:cxn>
              <a:cxn ang="0">
                <a:pos x="5" y="36"/>
              </a:cxn>
              <a:cxn ang="0">
                <a:pos x="11" y="38"/>
              </a:cxn>
              <a:cxn ang="0">
                <a:pos x="15" y="38"/>
              </a:cxn>
              <a:cxn ang="0">
                <a:pos x="20" y="39"/>
              </a:cxn>
              <a:cxn ang="0">
                <a:pos x="29" y="36"/>
              </a:cxn>
              <a:cxn ang="0">
                <a:pos x="37" y="35"/>
              </a:cxn>
              <a:cxn ang="0">
                <a:pos x="40" y="35"/>
              </a:cxn>
              <a:cxn ang="0">
                <a:pos x="41" y="36"/>
              </a:cxn>
              <a:cxn ang="0">
                <a:pos x="42" y="39"/>
              </a:cxn>
              <a:cxn ang="0">
                <a:pos x="46" y="41"/>
              </a:cxn>
              <a:cxn ang="0">
                <a:pos x="57" y="44"/>
              </a:cxn>
              <a:cxn ang="0">
                <a:pos x="64" y="44"/>
              </a:cxn>
              <a:cxn ang="0">
                <a:pos x="76" y="46"/>
              </a:cxn>
              <a:cxn ang="0">
                <a:pos x="81" y="41"/>
              </a:cxn>
              <a:cxn ang="0">
                <a:pos x="90" y="42"/>
              </a:cxn>
              <a:cxn ang="0">
                <a:pos x="97" y="41"/>
              </a:cxn>
              <a:cxn ang="0">
                <a:pos x="100" y="38"/>
              </a:cxn>
              <a:cxn ang="0">
                <a:pos x="106" y="35"/>
              </a:cxn>
              <a:cxn ang="0">
                <a:pos x="105" y="30"/>
              </a:cxn>
              <a:cxn ang="0">
                <a:pos x="106" y="24"/>
              </a:cxn>
              <a:cxn ang="0">
                <a:pos x="114" y="22"/>
              </a:cxn>
              <a:cxn ang="0">
                <a:pos x="116" y="16"/>
              </a:cxn>
              <a:cxn ang="0">
                <a:pos x="112" y="8"/>
              </a:cxn>
              <a:cxn ang="0">
                <a:pos x="110" y="3"/>
              </a:cxn>
              <a:cxn ang="0">
                <a:pos x="96" y="2"/>
              </a:cxn>
              <a:cxn ang="0">
                <a:pos x="85" y="0"/>
              </a:cxn>
              <a:cxn ang="0">
                <a:pos x="82" y="5"/>
              </a:cxn>
              <a:cxn ang="0">
                <a:pos x="77" y="6"/>
              </a:cxn>
              <a:cxn ang="0">
                <a:pos x="70" y="6"/>
              </a:cxn>
              <a:cxn ang="0">
                <a:pos x="65" y="5"/>
              </a:cxn>
            </a:cxnLst>
            <a:rect l="0" t="0" r="r" b="b"/>
            <a:pathLst>
              <a:path w="116" h="46">
                <a:moveTo>
                  <a:pt x="65" y="5"/>
                </a:moveTo>
                <a:lnTo>
                  <a:pt x="65" y="6"/>
                </a:lnTo>
                <a:lnTo>
                  <a:pt x="60" y="8"/>
                </a:lnTo>
                <a:lnTo>
                  <a:pt x="60" y="9"/>
                </a:lnTo>
                <a:lnTo>
                  <a:pt x="58" y="11"/>
                </a:lnTo>
                <a:lnTo>
                  <a:pt x="52" y="14"/>
                </a:lnTo>
                <a:lnTo>
                  <a:pt x="50" y="16"/>
                </a:lnTo>
                <a:lnTo>
                  <a:pt x="52" y="19"/>
                </a:lnTo>
                <a:lnTo>
                  <a:pt x="53" y="24"/>
                </a:lnTo>
                <a:lnTo>
                  <a:pt x="53" y="25"/>
                </a:lnTo>
                <a:lnTo>
                  <a:pt x="50" y="25"/>
                </a:lnTo>
                <a:lnTo>
                  <a:pt x="50" y="24"/>
                </a:lnTo>
                <a:lnTo>
                  <a:pt x="46" y="24"/>
                </a:lnTo>
                <a:lnTo>
                  <a:pt x="42" y="24"/>
                </a:lnTo>
                <a:lnTo>
                  <a:pt x="41" y="24"/>
                </a:lnTo>
                <a:lnTo>
                  <a:pt x="32" y="25"/>
                </a:lnTo>
                <a:lnTo>
                  <a:pt x="26" y="28"/>
                </a:lnTo>
                <a:lnTo>
                  <a:pt x="24" y="28"/>
                </a:lnTo>
                <a:lnTo>
                  <a:pt x="20" y="25"/>
                </a:lnTo>
                <a:lnTo>
                  <a:pt x="17" y="25"/>
                </a:lnTo>
                <a:lnTo>
                  <a:pt x="15" y="27"/>
                </a:lnTo>
                <a:lnTo>
                  <a:pt x="15" y="28"/>
                </a:lnTo>
                <a:lnTo>
                  <a:pt x="12" y="30"/>
                </a:lnTo>
                <a:lnTo>
                  <a:pt x="9" y="28"/>
                </a:lnTo>
                <a:lnTo>
                  <a:pt x="8" y="27"/>
                </a:lnTo>
                <a:lnTo>
                  <a:pt x="7" y="25"/>
                </a:lnTo>
                <a:lnTo>
                  <a:pt x="4" y="25"/>
                </a:lnTo>
                <a:lnTo>
                  <a:pt x="0" y="27"/>
                </a:lnTo>
                <a:lnTo>
                  <a:pt x="3" y="28"/>
                </a:lnTo>
                <a:lnTo>
                  <a:pt x="5" y="30"/>
                </a:lnTo>
                <a:lnTo>
                  <a:pt x="5" y="31"/>
                </a:lnTo>
                <a:lnTo>
                  <a:pt x="5" y="33"/>
                </a:lnTo>
                <a:lnTo>
                  <a:pt x="4" y="36"/>
                </a:lnTo>
                <a:lnTo>
                  <a:pt x="5" y="36"/>
                </a:lnTo>
                <a:lnTo>
                  <a:pt x="8" y="38"/>
                </a:lnTo>
                <a:lnTo>
                  <a:pt x="11" y="38"/>
                </a:lnTo>
                <a:lnTo>
                  <a:pt x="13" y="36"/>
                </a:lnTo>
                <a:lnTo>
                  <a:pt x="15" y="38"/>
                </a:lnTo>
                <a:lnTo>
                  <a:pt x="19" y="39"/>
                </a:lnTo>
                <a:lnTo>
                  <a:pt x="20" y="39"/>
                </a:lnTo>
                <a:lnTo>
                  <a:pt x="24" y="38"/>
                </a:lnTo>
                <a:lnTo>
                  <a:pt x="29" y="36"/>
                </a:lnTo>
                <a:lnTo>
                  <a:pt x="34" y="36"/>
                </a:lnTo>
                <a:lnTo>
                  <a:pt x="37" y="35"/>
                </a:lnTo>
                <a:lnTo>
                  <a:pt x="38" y="35"/>
                </a:lnTo>
                <a:lnTo>
                  <a:pt x="40" y="35"/>
                </a:lnTo>
                <a:lnTo>
                  <a:pt x="41" y="35"/>
                </a:lnTo>
                <a:lnTo>
                  <a:pt x="41" y="36"/>
                </a:lnTo>
                <a:lnTo>
                  <a:pt x="41" y="38"/>
                </a:lnTo>
                <a:lnTo>
                  <a:pt x="42" y="39"/>
                </a:lnTo>
                <a:lnTo>
                  <a:pt x="45" y="41"/>
                </a:lnTo>
                <a:lnTo>
                  <a:pt x="46" y="41"/>
                </a:lnTo>
                <a:lnTo>
                  <a:pt x="49" y="42"/>
                </a:lnTo>
                <a:lnTo>
                  <a:pt x="57" y="44"/>
                </a:lnTo>
                <a:lnTo>
                  <a:pt x="61" y="44"/>
                </a:lnTo>
                <a:lnTo>
                  <a:pt x="64" y="44"/>
                </a:lnTo>
                <a:lnTo>
                  <a:pt x="68" y="44"/>
                </a:lnTo>
                <a:lnTo>
                  <a:pt x="76" y="46"/>
                </a:lnTo>
                <a:lnTo>
                  <a:pt x="78" y="44"/>
                </a:lnTo>
                <a:lnTo>
                  <a:pt x="81" y="41"/>
                </a:lnTo>
                <a:lnTo>
                  <a:pt x="85" y="41"/>
                </a:lnTo>
                <a:lnTo>
                  <a:pt x="90" y="42"/>
                </a:lnTo>
                <a:lnTo>
                  <a:pt x="92" y="39"/>
                </a:lnTo>
                <a:lnTo>
                  <a:pt x="97" y="41"/>
                </a:lnTo>
                <a:lnTo>
                  <a:pt x="97" y="38"/>
                </a:lnTo>
                <a:lnTo>
                  <a:pt x="100" y="38"/>
                </a:lnTo>
                <a:lnTo>
                  <a:pt x="102" y="35"/>
                </a:lnTo>
                <a:lnTo>
                  <a:pt x="106" y="35"/>
                </a:lnTo>
                <a:lnTo>
                  <a:pt x="105" y="31"/>
                </a:lnTo>
                <a:lnTo>
                  <a:pt x="105" y="30"/>
                </a:lnTo>
                <a:lnTo>
                  <a:pt x="108" y="27"/>
                </a:lnTo>
                <a:lnTo>
                  <a:pt x="106" y="24"/>
                </a:lnTo>
                <a:lnTo>
                  <a:pt x="108" y="22"/>
                </a:lnTo>
                <a:lnTo>
                  <a:pt x="114" y="22"/>
                </a:lnTo>
                <a:lnTo>
                  <a:pt x="116" y="20"/>
                </a:lnTo>
                <a:lnTo>
                  <a:pt x="116" y="16"/>
                </a:lnTo>
                <a:lnTo>
                  <a:pt x="114" y="13"/>
                </a:lnTo>
                <a:lnTo>
                  <a:pt x="112" y="8"/>
                </a:lnTo>
                <a:lnTo>
                  <a:pt x="112" y="6"/>
                </a:lnTo>
                <a:lnTo>
                  <a:pt x="110" y="3"/>
                </a:lnTo>
                <a:lnTo>
                  <a:pt x="100" y="5"/>
                </a:lnTo>
                <a:lnTo>
                  <a:pt x="96" y="2"/>
                </a:lnTo>
                <a:lnTo>
                  <a:pt x="94" y="0"/>
                </a:lnTo>
                <a:lnTo>
                  <a:pt x="85" y="0"/>
                </a:lnTo>
                <a:lnTo>
                  <a:pt x="82" y="2"/>
                </a:lnTo>
                <a:lnTo>
                  <a:pt x="82" y="5"/>
                </a:lnTo>
                <a:lnTo>
                  <a:pt x="80" y="6"/>
                </a:lnTo>
                <a:lnTo>
                  <a:pt x="77" y="6"/>
                </a:lnTo>
                <a:lnTo>
                  <a:pt x="74" y="6"/>
                </a:lnTo>
                <a:lnTo>
                  <a:pt x="70" y="6"/>
                </a:lnTo>
                <a:lnTo>
                  <a:pt x="69" y="5"/>
                </a:lnTo>
                <a:lnTo>
                  <a:pt x="65" y="5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03" name="Freeform 1026"/>
          <p:cNvSpPr>
            <a:spLocks/>
          </p:cNvSpPr>
          <p:nvPr/>
        </p:nvSpPr>
        <p:spPr bwMode="auto">
          <a:xfrm>
            <a:off x="5775763" y="2458661"/>
            <a:ext cx="101338" cy="94494"/>
          </a:xfrm>
          <a:custGeom>
            <a:avLst/>
            <a:gdLst/>
            <a:ahLst/>
            <a:cxnLst>
              <a:cxn ang="0">
                <a:pos x="33" y="47"/>
              </a:cxn>
              <a:cxn ang="0">
                <a:pos x="31" y="44"/>
              </a:cxn>
              <a:cxn ang="0">
                <a:pos x="31" y="39"/>
              </a:cxn>
              <a:cxn ang="0">
                <a:pos x="27" y="39"/>
              </a:cxn>
              <a:cxn ang="0">
                <a:pos x="24" y="36"/>
              </a:cxn>
              <a:cxn ang="0">
                <a:pos x="21" y="34"/>
              </a:cxn>
              <a:cxn ang="0">
                <a:pos x="13" y="36"/>
              </a:cxn>
              <a:cxn ang="0">
                <a:pos x="4" y="39"/>
              </a:cxn>
              <a:cxn ang="0">
                <a:pos x="0" y="36"/>
              </a:cxn>
              <a:cxn ang="0">
                <a:pos x="5" y="37"/>
              </a:cxn>
              <a:cxn ang="0">
                <a:pos x="9" y="36"/>
              </a:cxn>
              <a:cxn ang="0">
                <a:pos x="9" y="36"/>
              </a:cxn>
              <a:cxn ang="0">
                <a:pos x="4" y="36"/>
              </a:cxn>
              <a:cxn ang="0">
                <a:pos x="11" y="33"/>
              </a:cxn>
              <a:cxn ang="0">
                <a:pos x="19" y="31"/>
              </a:cxn>
              <a:cxn ang="0">
                <a:pos x="16" y="31"/>
              </a:cxn>
              <a:cxn ang="0">
                <a:pos x="12" y="29"/>
              </a:cxn>
              <a:cxn ang="0">
                <a:pos x="9" y="26"/>
              </a:cxn>
              <a:cxn ang="0">
                <a:pos x="16" y="20"/>
              </a:cxn>
              <a:cxn ang="0">
                <a:pos x="20" y="9"/>
              </a:cxn>
              <a:cxn ang="0">
                <a:pos x="23" y="11"/>
              </a:cxn>
              <a:cxn ang="0">
                <a:pos x="23" y="14"/>
              </a:cxn>
              <a:cxn ang="0">
                <a:pos x="23" y="17"/>
              </a:cxn>
              <a:cxn ang="0">
                <a:pos x="24" y="18"/>
              </a:cxn>
              <a:cxn ang="0">
                <a:pos x="28" y="20"/>
              </a:cxn>
              <a:cxn ang="0">
                <a:pos x="27" y="17"/>
              </a:cxn>
              <a:cxn ang="0">
                <a:pos x="28" y="15"/>
              </a:cxn>
              <a:cxn ang="0">
                <a:pos x="29" y="12"/>
              </a:cxn>
              <a:cxn ang="0">
                <a:pos x="28" y="9"/>
              </a:cxn>
              <a:cxn ang="0">
                <a:pos x="28" y="4"/>
              </a:cxn>
              <a:cxn ang="0">
                <a:pos x="32" y="1"/>
              </a:cxn>
              <a:cxn ang="0">
                <a:pos x="37" y="0"/>
              </a:cxn>
              <a:cxn ang="0">
                <a:pos x="44" y="0"/>
              </a:cxn>
              <a:cxn ang="0">
                <a:pos x="49" y="0"/>
              </a:cxn>
              <a:cxn ang="0">
                <a:pos x="53" y="3"/>
              </a:cxn>
              <a:cxn ang="0">
                <a:pos x="47" y="14"/>
              </a:cxn>
              <a:cxn ang="0">
                <a:pos x="52" y="17"/>
              </a:cxn>
              <a:cxn ang="0">
                <a:pos x="49" y="22"/>
              </a:cxn>
              <a:cxn ang="0">
                <a:pos x="47" y="25"/>
              </a:cxn>
              <a:cxn ang="0">
                <a:pos x="43" y="28"/>
              </a:cxn>
              <a:cxn ang="0">
                <a:pos x="36" y="26"/>
              </a:cxn>
              <a:cxn ang="0">
                <a:pos x="37" y="31"/>
              </a:cxn>
              <a:cxn ang="0">
                <a:pos x="37" y="36"/>
              </a:cxn>
              <a:cxn ang="0">
                <a:pos x="36" y="40"/>
              </a:cxn>
              <a:cxn ang="0">
                <a:pos x="37" y="45"/>
              </a:cxn>
            </a:cxnLst>
            <a:rect l="0" t="0" r="r" b="b"/>
            <a:pathLst>
              <a:path w="53" h="47">
                <a:moveTo>
                  <a:pt x="37" y="47"/>
                </a:moveTo>
                <a:lnTo>
                  <a:pt x="33" y="47"/>
                </a:lnTo>
                <a:lnTo>
                  <a:pt x="32" y="45"/>
                </a:lnTo>
                <a:lnTo>
                  <a:pt x="31" y="44"/>
                </a:lnTo>
                <a:lnTo>
                  <a:pt x="31" y="42"/>
                </a:lnTo>
                <a:lnTo>
                  <a:pt x="31" y="39"/>
                </a:lnTo>
                <a:lnTo>
                  <a:pt x="29" y="39"/>
                </a:lnTo>
                <a:lnTo>
                  <a:pt x="27" y="39"/>
                </a:lnTo>
                <a:lnTo>
                  <a:pt x="24" y="37"/>
                </a:lnTo>
                <a:lnTo>
                  <a:pt x="24" y="36"/>
                </a:lnTo>
                <a:lnTo>
                  <a:pt x="23" y="36"/>
                </a:lnTo>
                <a:lnTo>
                  <a:pt x="21" y="34"/>
                </a:lnTo>
                <a:lnTo>
                  <a:pt x="17" y="34"/>
                </a:lnTo>
                <a:lnTo>
                  <a:pt x="13" y="36"/>
                </a:lnTo>
                <a:lnTo>
                  <a:pt x="9" y="37"/>
                </a:lnTo>
                <a:lnTo>
                  <a:pt x="4" y="39"/>
                </a:lnTo>
                <a:lnTo>
                  <a:pt x="0" y="37"/>
                </a:lnTo>
                <a:lnTo>
                  <a:pt x="0" y="36"/>
                </a:lnTo>
                <a:lnTo>
                  <a:pt x="3" y="36"/>
                </a:lnTo>
                <a:lnTo>
                  <a:pt x="5" y="37"/>
                </a:lnTo>
                <a:lnTo>
                  <a:pt x="8" y="36"/>
                </a:lnTo>
                <a:lnTo>
                  <a:pt x="9" y="36"/>
                </a:lnTo>
                <a:lnTo>
                  <a:pt x="11" y="36"/>
                </a:lnTo>
                <a:lnTo>
                  <a:pt x="9" y="36"/>
                </a:lnTo>
                <a:lnTo>
                  <a:pt x="7" y="36"/>
                </a:lnTo>
                <a:lnTo>
                  <a:pt x="4" y="36"/>
                </a:lnTo>
                <a:lnTo>
                  <a:pt x="5" y="34"/>
                </a:lnTo>
                <a:lnTo>
                  <a:pt x="11" y="33"/>
                </a:lnTo>
                <a:lnTo>
                  <a:pt x="15" y="31"/>
                </a:lnTo>
                <a:lnTo>
                  <a:pt x="19" y="31"/>
                </a:lnTo>
                <a:lnTo>
                  <a:pt x="20" y="29"/>
                </a:lnTo>
                <a:lnTo>
                  <a:pt x="16" y="31"/>
                </a:lnTo>
                <a:lnTo>
                  <a:pt x="13" y="29"/>
                </a:lnTo>
                <a:lnTo>
                  <a:pt x="12" y="29"/>
                </a:lnTo>
                <a:lnTo>
                  <a:pt x="9" y="28"/>
                </a:lnTo>
                <a:lnTo>
                  <a:pt x="9" y="26"/>
                </a:lnTo>
                <a:lnTo>
                  <a:pt x="11" y="26"/>
                </a:lnTo>
                <a:lnTo>
                  <a:pt x="16" y="20"/>
                </a:lnTo>
                <a:lnTo>
                  <a:pt x="19" y="12"/>
                </a:lnTo>
                <a:lnTo>
                  <a:pt x="20" y="9"/>
                </a:lnTo>
                <a:lnTo>
                  <a:pt x="23" y="9"/>
                </a:lnTo>
                <a:lnTo>
                  <a:pt x="23" y="11"/>
                </a:lnTo>
                <a:lnTo>
                  <a:pt x="25" y="12"/>
                </a:lnTo>
                <a:lnTo>
                  <a:pt x="23" y="14"/>
                </a:lnTo>
                <a:lnTo>
                  <a:pt x="21" y="15"/>
                </a:lnTo>
                <a:lnTo>
                  <a:pt x="23" y="17"/>
                </a:lnTo>
                <a:lnTo>
                  <a:pt x="23" y="18"/>
                </a:lnTo>
                <a:lnTo>
                  <a:pt x="24" y="18"/>
                </a:lnTo>
                <a:lnTo>
                  <a:pt x="27" y="20"/>
                </a:lnTo>
                <a:lnTo>
                  <a:pt x="28" y="20"/>
                </a:lnTo>
                <a:lnTo>
                  <a:pt x="28" y="18"/>
                </a:lnTo>
                <a:lnTo>
                  <a:pt x="27" y="17"/>
                </a:lnTo>
                <a:lnTo>
                  <a:pt x="27" y="15"/>
                </a:lnTo>
                <a:lnTo>
                  <a:pt x="28" y="15"/>
                </a:lnTo>
                <a:lnTo>
                  <a:pt x="29" y="14"/>
                </a:lnTo>
                <a:lnTo>
                  <a:pt x="29" y="12"/>
                </a:lnTo>
                <a:lnTo>
                  <a:pt x="31" y="9"/>
                </a:lnTo>
                <a:lnTo>
                  <a:pt x="28" y="9"/>
                </a:lnTo>
                <a:lnTo>
                  <a:pt x="28" y="6"/>
                </a:lnTo>
                <a:lnTo>
                  <a:pt x="28" y="4"/>
                </a:lnTo>
                <a:lnTo>
                  <a:pt x="29" y="3"/>
                </a:lnTo>
                <a:lnTo>
                  <a:pt x="32" y="1"/>
                </a:lnTo>
                <a:lnTo>
                  <a:pt x="35" y="1"/>
                </a:lnTo>
                <a:lnTo>
                  <a:pt x="37" y="0"/>
                </a:lnTo>
                <a:lnTo>
                  <a:pt x="41" y="1"/>
                </a:lnTo>
                <a:lnTo>
                  <a:pt x="44" y="0"/>
                </a:lnTo>
                <a:lnTo>
                  <a:pt x="47" y="0"/>
                </a:lnTo>
                <a:lnTo>
                  <a:pt x="49" y="0"/>
                </a:lnTo>
                <a:lnTo>
                  <a:pt x="52" y="1"/>
                </a:lnTo>
                <a:lnTo>
                  <a:pt x="53" y="3"/>
                </a:lnTo>
                <a:lnTo>
                  <a:pt x="51" y="12"/>
                </a:lnTo>
                <a:lnTo>
                  <a:pt x="47" y="14"/>
                </a:lnTo>
                <a:lnTo>
                  <a:pt x="47" y="15"/>
                </a:lnTo>
                <a:lnTo>
                  <a:pt x="52" y="17"/>
                </a:lnTo>
                <a:lnTo>
                  <a:pt x="52" y="20"/>
                </a:lnTo>
                <a:lnTo>
                  <a:pt x="49" y="22"/>
                </a:lnTo>
                <a:lnTo>
                  <a:pt x="47" y="23"/>
                </a:lnTo>
                <a:lnTo>
                  <a:pt x="47" y="25"/>
                </a:lnTo>
                <a:lnTo>
                  <a:pt x="45" y="26"/>
                </a:lnTo>
                <a:lnTo>
                  <a:pt x="43" y="28"/>
                </a:lnTo>
                <a:lnTo>
                  <a:pt x="39" y="26"/>
                </a:lnTo>
                <a:lnTo>
                  <a:pt x="36" y="26"/>
                </a:lnTo>
                <a:lnTo>
                  <a:pt x="36" y="28"/>
                </a:lnTo>
                <a:lnTo>
                  <a:pt x="37" y="31"/>
                </a:lnTo>
                <a:lnTo>
                  <a:pt x="37" y="33"/>
                </a:lnTo>
                <a:lnTo>
                  <a:pt x="37" y="36"/>
                </a:lnTo>
                <a:lnTo>
                  <a:pt x="37" y="39"/>
                </a:lnTo>
                <a:lnTo>
                  <a:pt x="36" y="40"/>
                </a:lnTo>
                <a:lnTo>
                  <a:pt x="36" y="42"/>
                </a:lnTo>
                <a:lnTo>
                  <a:pt x="37" y="45"/>
                </a:lnTo>
                <a:lnTo>
                  <a:pt x="37" y="47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04" name="Freeform 1027"/>
          <p:cNvSpPr>
            <a:spLocks/>
          </p:cNvSpPr>
          <p:nvPr/>
        </p:nvSpPr>
        <p:spPr bwMode="auto">
          <a:xfrm>
            <a:off x="5775763" y="2458661"/>
            <a:ext cx="101338" cy="94494"/>
          </a:xfrm>
          <a:custGeom>
            <a:avLst/>
            <a:gdLst/>
            <a:ahLst/>
            <a:cxnLst>
              <a:cxn ang="0">
                <a:pos x="33" y="47"/>
              </a:cxn>
              <a:cxn ang="0">
                <a:pos x="31" y="44"/>
              </a:cxn>
              <a:cxn ang="0">
                <a:pos x="31" y="39"/>
              </a:cxn>
              <a:cxn ang="0">
                <a:pos x="27" y="39"/>
              </a:cxn>
              <a:cxn ang="0">
                <a:pos x="24" y="36"/>
              </a:cxn>
              <a:cxn ang="0">
                <a:pos x="21" y="34"/>
              </a:cxn>
              <a:cxn ang="0">
                <a:pos x="13" y="36"/>
              </a:cxn>
              <a:cxn ang="0">
                <a:pos x="4" y="39"/>
              </a:cxn>
              <a:cxn ang="0">
                <a:pos x="0" y="36"/>
              </a:cxn>
              <a:cxn ang="0">
                <a:pos x="5" y="37"/>
              </a:cxn>
              <a:cxn ang="0">
                <a:pos x="9" y="36"/>
              </a:cxn>
              <a:cxn ang="0">
                <a:pos x="9" y="36"/>
              </a:cxn>
              <a:cxn ang="0">
                <a:pos x="4" y="36"/>
              </a:cxn>
              <a:cxn ang="0">
                <a:pos x="11" y="33"/>
              </a:cxn>
              <a:cxn ang="0">
                <a:pos x="19" y="31"/>
              </a:cxn>
              <a:cxn ang="0">
                <a:pos x="16" y="31"/>
              </a:cxn>
              <a:cxn ang="0">
                <a:pos x="12" y="29"/>
              </a:cxn>
              <a:cxn ang="0">
                <a:pos x="9" y="26"/>
              </a:cxn>
              <a:cxn ang="0">
                <a:pos x="16" y="20"/>
              </a:cxn>
              <a:cxn ang="0">
                <a:pos x="20" y="9"/>
              </a:cxn>
              <a:cxn ang="0">
                <a:pos x="23" y="11"/>
              </a:cxn>
              <a:cxn ang="0">
                <a:pos x="23" y="14"/>
              </a:cxn>
              <a:cxn ang="0">
                <a:pos x="23" y="17"/>
              </a:cxn>
              <a:cxn ang="0">
                <a:pos x="24" y="18"/>
              </a:cxn>
              <a:cxn ang="0">
                <a:pos x="28" y="20"/>
              </a:cxn>
              <a:cxn ang="0">
                <a:pos x="27" y="17"/>
              </a:cxn>
              <a:cxn ang="0">
                <a:pos x="28" y="15"/>
              </a:cxn>
              <a:cxn ang="0">
                <a:pos x="29" y="12"/>
              </a:cxn>
              <a:cxn ang="0">
                <a:pos x="28" y="9"/>
              </a:cxn>
              <a:cxn ang="0">
                <a:pos x="28" y="4"/>
              </a:cxn>
              <a:cxn ang="0">
                <a:pos x="32" y="1"/>
              </a:cxn>
              <a:cxn ang="0">
                <a:pos x="37" y="0"/>
              </a:cxn>
              <a:cxn ang="0">
                <a:pos x="44" y="0"/>
              </a:cxn>
              <a:cxn ang="0">
                <a:pos x="49" y="0"/>
              </a:cxn>
              <a:cxn ang="0">
                <a:pos x="53" y="3"/>
              </a:cxn>
              <a:cxn ang="0">
                <a:pos x="47" y="14"/>
              </a:cxn>
              <a:cxn ang="0">
                <a:pos x="52" y="17"/>
              </a:cxn>
              <a:cxn ang="0">
                <a:pos x="49" y="22"/>
              </a:cxn>
              <a:cxn ang="0">
                <a:pos x="47" y="25"/>
              </a:cxn>
              <a:cxn ang="0">
                <a:pos x="43" y="28"/>
              </a:cxn>
              <a:cxn ang="0">
                <a:pos x="36" y="26"/>
              </a:cxn>
              <a:cxn ang="0">
                <a:pos x="37" y="31"/>
              </a:cxn>
              <a:cxn ang="0">
                <a:pos x="37" y="36"/>
              </a:cxn>
              <a:cxn ang="0">
                <a:pos x="36" y="40"/>
              </a:cxn>
              <a:cxn ang="0">
                <a:pos x="37" y="45"/>
              </a:cxn>
            </a:cxnLst>
            <a:rect l="0" t="0" r="r" b="b"/>
            <a:pathLst>
              <a:path w="53" h="47">
                <a:moveTo>
                  <a:pt x="37" y="47"/>
                </a:moveTo>
                <a:lnTo>
                  <a:pt x="33" y="47"/>
                </a:lnTo>
                <a:lnTo>
                  <a:pt x="32" y="45"/>
                </a:lnTo>
                <a:lnTo>
                  <a:pt x="31" y="44"/>
                </a:lnTo>
                <a:lnTo>
                  <a:pt x="31" y="42"/>
                </a:lnTo>
                <a:lnTo>
                  <a:pt x="31" y="39"/>
                </a:lnTo>
                <a:lnTo>
                  <a:pt x="29" y="39"/>
                </a:lnTo>
                <a:lnTo>
                  <a:pt x="27" y="39"/>
                </a:lnTo>
                <a:lnTo>
                  <a:pt x="24" y="37"/>
                </a:lnTo>
                <a:lnTo>
                  <a:pt x="24" y="36"/>
                </a:lnTo>
                <a:lnTo>
                  <a:pt x="23" y="36"/>
                </a:lnTo>
                <a:lnTo>
                  <a:pt x="21" y="34"/>
                </a:lnTo>
                <a:lnTo>
                  <a:pt x="17" y="34"/>
                </a:lnTo>
                <a:lnTo>
                  <a:pt x="13" y="36"/>
                </a:lnTo>
                <a:lnTo>
                  <a:pt x="9" y="37"/>
                </a:lnTo>
                <a:lnTo>
                  <a:pt x="4" y="39"/>
                </a:lnTo>
                <a:lnTo>
                  <a:pt x="0" y="37"/>
                </a:lnTo>
                <a:lnTo>
                  <a:pt x="0" y="36"/>
                </a:lnTo>
                <a:lnTo>
                  <a:pt x="3" y="36"/>
                </a:lnTo>
                <a:lnTo>
                  <a:pt x="5" y="37"/>
                </a:lnTo>
                <a:lnTo>
                  <a:pt x="8" y="36"/>
                </a:lnTo>
                <a:lnTo>
                  <a:pt x="9" y="36"/>
                </a:lnTo>
                <a:lnTo>
                  <a:pt x="11" y="36"/>
                </a:lnTo>
                <a:lnTo>
                  <a:pt x="9" y="36"/>
                </a:lnTo>
                <a:lnTo>
                  <a:pt x="7" y="36"/>
                </a:lnTo>
                <a:lnTo>
                  <a:pt x="4" y="36"/>
                </a:lnTo>
                <a:lnTo>
                  <a:pt x="5" y="34"/>
                </a:lnTo>
                <a:lnTo>
                  <a:pt x="11" y="33"/>
                </a:lnTo>
                <a:lnTo>
                  <a:pt x="15" y="31"/>
                </a:lnTo>
                <a:lnTo>
                  <a:pt x="19" y="31"/>
                </a:lnTo>
                <a:lnTo>
                  <a:pt x="20" y="29"/>
                </a:lnTo>
                <a:lnTo>
                  <a:pt x="16" y="31"/>
                </a:lnTo>
                <a:lnTo>
                  <a:pt x="13" y="29"/>
                </a:lnTo>
                <a:lnTo>
                  <a:pt x="12" y="29"/>
                </a:lnTo>
                <a:lnTo>
                  <a:pt x="9" y="28"/>
                </a:lnTo>
                <a:lnTo>
                  <a:pt x="9" y="26"/>
                </a:lnTo>
                <a:lnTo>
                  <a:pt x="11" y="26"/>
                </a:lnTo>
                <a:lnTo>
                  <a:pt x="16" y="20"/>
                </a:lnTo>
                <a:lnTo>
                  <a:pt x="19" y="12"/>
                </a:lnTo>
                <a:lnTo>
                  <a:pt x="20" y="9"/>
                </a:lnTo>
                <a:lnTo>
                  <a:pt x="23" y="9"/>
                </a:lnTo>
                <a:lnTo>
                  <a:pt x="23" y="11"/>
                </a:lnTo>
                <a:lnTo>
                  <a:pt x="25" y="12"/>
                </a:lnTo>
                <a:lnTo>
                  <a:pt x="23" y="14"/>
                </a:lnTo>
                <a:lnTo>
                  <a:pt x="21" y="15"/>
                </a:lnTo>
                <a:lnTo>
                  <a:pt x="23" y="17"/>
                </a:lnTo>
                <a:lnTo>
                  <a:pt x="23" y="18"/>
                </a:lnTo>
                <a:lnTo>
                  <a:pt x="24" y="18"/>
                </a:lnTo>
                <a:lnTo>
                  <a:pt x="27" y="20"/>
                </a:lnTo>
                <a:lnTo>
                  <a:pt x="28" y="20"/>
                </a:lnTo>
                <a:lnTo>
                  <a:pt x="28" y="18"/>
                </a:lnTo>
                <a:lnTo>
                  <a:pt x="27" y="17"/>
                </a:lnTo>
                <a:lnTo>
                  <a:pt x="27" y="15"/>
                </a:lnTo>
                <a:lnTo>
                  <a:pt x="28" y="15"/>
                </a:lnTo>
                <a:lnTo>
                  <a:pt x="29" y="14"/>
                </a:lnTo>
                <a:lnTo>
                  <a:pt x="29" y="12"/>
                </a:lnTo>
                <a:lnTo>
                  <a:pt x="31" y="9"/>
                </a:lnTo>
                <a:lnTo>
                  <a:pt x="28" y="9"/>
                </a:lnTo>
                <a:lnTo>
                  <a:pt x="28" y="6"/>
                </a:lnTo>
                <a:lnTo>
                  <a:pt x="28" y="4"/>
                </a:lnTo>
                <a:lnTo>
                  <a:pt x="29" y="3"/>
                </a:lnTo>
                <a:lnTo>
                  <a:pt x="32" y="1"/>
                </a:lnTo>
                <a:lnTo>
                  <a:pt x="35" y="1"/>
                </a:lnTo>
                <a:lnTo>
                  <a:pt x="37" y="0"/>
                </a:lnTo>
                <a:lnTo>
                  <a:pt x="41" y="1"/>
                </a:lnTo>
                <a:lnTo>
                  <a:pt x="44" y="0"/>
                </a:lnTo>
                <a:lnTo>
                  <a:pt x="47" y="0"/>
                </a:lnTo>
                <a:lnTo>
                  <a:pt x="49" y="0"/>
                </a:lnTo>
                <a:lnTo>
                  <a:pt x="52" y="1"/>
                </a:lnTo>
                <a:lnTo>
                  <a:pt x="53" y="3"/>
                </a:lnTo>
                <a:lnTo>
                  <a:pt x="51" y="12"/>
                </a:lnTo>
                <a:lnTo>
                  <a:pt x="47" y="14"/>
                </a:lnTo>
                <a:lnTo>
                  <a:pt x="47" y="15"/>
                </a:lnTo>
                <a:lnTo>
                  <a:pt x="52" y="17"/>
                </a:lnTo>
                <a:lnTo>
                  <a:pt x="52" y="20"/>
                </a:lnTo>
                <a:lnTo>
                  <a:pt x="49" y="22"/>
                </a:lnTo>
                <a:lnTo>
                  <a:pt x="47" y="23"/>
                </a:lnTo>
                <a:lnTo>
                  <a:pt x="47" y="25"/>
                </a:lnTo>
                <a:lnTo>
                  <a:pt x="45" y="26"/>
                </a:lnTo>
                <a:lnTo>
                  <a:pt x="43" y="28"/>
                </a:lnTo>
                <a:lnTo>
                  <a:pt x="39" y="26"/>
                </a:lnTo>
                <a:lnTo>
                  <a:pt x="36" y="26"/>
                </a:lnTo>
                <a:lnTo>
                  <a:pt x="36" y="28"/>
                </a:lnTo>
                <a:lnTo>
                  <a:pt x="37" y="31"/>
                </a:lnTo>
                <a:lnTo>
                  <a:pt x="37" y="33"/>
                </a:lnTo>
                <a:lnTo>
                  <a:pt x="37" y="36"/>
                </a:lnTo>
                <a:lnTo>
                  <a:pt x="37" y="39"/>
                </a:lnTo>
                <a:lnTo>
                  <a:pt x="36" y="40"/>
                </a:lnTo>
                <a:lnTo>
                  <a:pt x="36" y="42"/>
                </a:lnTo>
                <a:lnTo>
                  <a:pt x="37" y="45"/>
                </a:lnTo>
                <a:lnTo>
                  <a:pt x="37" y="47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05" name="Freeform 1028"/>
          <p:cNvSpPr>
            <a:spLocks/>
          </p:cNvSpPr>
          <p:nvPr/>
        </p:nvSpPr>
        <p:spPr bwMode="auto">
          <a:xfrm>
            <a:off x="5539956" y="2540270"/>
            <a:ext cx="366378" cy="309256"/>
          </a:xfrm>
          <a:custGeom>
            <a:avLst/>
            <a:gdLst/>
            <a:ahLst/>
            <a:cxnLst>
              <a:cxn ang="0">
                <a:pos x="97" y="5"/>
              </a:cxn>
              <a:cxn ang="0">
                <a:pos x="91" y="19"/>
              </a:cxn>
              <a:cxn ang="0">
                <a:pos x="73" y="29"/>
              </a:cxn>
              <a:cxn ang="0">
                <a:pos x="78" y="30"/>
              </a:cxn>
              <a:cxn ang="0">
                <a:pos x="65" y="33"/>
              </a:cxn>
              <a:cxn ang="0">
                <a:pos x="51" y="29"/>
              </a:cxn>
              <a:cxn ang="0">
                <a:pos x="42" y="25"/>
              </a:cxn>
              <a:cxn ang="0">
                <a:pos x="47" y="38"/>
              </a:cxn>
              <a:cxn ang="0">
                <a:pos x="49" y="44"/>
              </a:cxn>
              <a:cxn ang="0">
                <a:pos x="41" y="44"/>
              </a:cxn>
              <a:cxn ang="0">
                <a:pos x="25" y="41"/>
              </a:cxn>
              <a:cxn ang="0">
                <a:pos x="14" y="44"/>
              </a:cxn>
              <a:cxn ang="0">
                <a:pos x="0" y="49"/>
              </a:cxn>
              <a:cxn ang="0">
                <a:pos x="4" y="51"/>
              </a:cxn>
              <a:cxn ang="0">
                <a:pos x="8" y="52"/>
              </a:cxn>
              <a:cxn ang="0">
                <a:pos x="6" y="57"/>
              </a:cxn>
              <a:cxn ang="0">
                <a:pos x="11" y="58"/>
              </a:cxn>
              <a:cxn ang="0">
                <a:pos x="25" y="65"/>
              </a:cxn>
              <a:cxn ang="0">
                <a:pos x="31" y="65"/>
              </a:cxn>
              <a:cxn ang="0">
                <a:pos x="42" y="69"/>
              </a:cxn>
              <a:cxn ang="0">
                <a:pos x="42" y="74"/>
              </a:cxn>
              <a:cxn ang="0">
                <a:pos x="42" y="79"/>
              </a:cxn>
              <a:cxn ang="0">
                <a:pos x="51" y="85"/>
              </a:cxn>
              <a:cxn ang="0">
                <a:pos x="55" y="93"/>
              </a:cxn>
              <a:cxn ang="0">
                <a:pos x="61" y="102"/>
              </a:cxn>
              <a:cxn ang="0">
                <a:pos x="55" y="102"/>
              </a:cxn>
              <a:cxn ang="0">
                <a:pos x="55" y="113"/>
              </a:cxn>
              <a:cxn ang="0">
                <a:pos x="54" y="120"/>
              </a:cxn>
              <a:cxn ang="0">
                <a:pos x="43" y="139"/>
              </a:cxn>
              <a:cxn ang="0">
                <a:pos x="55" y="145"/>
              </a:cxn>
              <a:cxn ang="0">
                <a:pos x="78" y="151"/>
              </a:cxn>
              <a:cxn ang="0">
                <a:pos x="87" y="150"/>
              </a:cxn>
              <a:cxn ang="0">
                <a:pos x="99" y="156"/>
              </a:cxn>
              <a:cxn ang="0">
                <a:pos x="117" y="156"/>
              </a:cxn>
              <a:cxn ang="0">
                <a:pos x="117" y="145"/>
              </a:cxn>
              <a:cxn ang="0">
                <a:pos x="128" y="137"/>
              </a:cxn>
              <a:cxn ang="0">
                <a:pos x="138" y="137"/>
              </a:cxn>
              <a:cxn ang="0">
                <a:pos x="144" y="139"/>
              </a:cxn>
              <a:cxn ang="0">
                <a:pos x="151" y="140"/>
              </a:cxn>
              <a:cxn ang="0">
                <a:pos x="163" y="143"/>
              </a:cxn>
              <a:cxn ang="0">
                <a:pos x="175" y="134"/>
              </a:cxn>
              <a:cxn ang="0">
                <a:pos x="183" y="129"/>
              </a:cxn>
              <a:cxn ang="0">
                <a:pos x="176" y="123"/>
              </a:cxn>
              <a:cxn ang="0">
                <a:pos x="174" y="113"/>
              </a:cxn>
              <a:cxn ang="0">
                <a:pos x="171" y="109"/>
              </a:cxn>
              <a:cxn ang="0">
                <a:pos x="175" y="102"/>
              </a:cxn>
              <a:cxn ang="0">
                <a:pos x="175" y="93"/>
              </a:cxn>
              <a:cxn ang="0">
                <a:pos x="171" y="85"/>
              </a:cxn>
              <a:cxn ang="0">
                <a:pos x="160" y="88"/>
              </a:cxn>
              <a:cxn ang="0">
                <a:pos x="162" y="80"/>
              </a:cxn>
              <a:cxn ang="0">
                <a:pos x="166" y="74"/>
              </a:cxn>
              <a:cxn ang="0">
                <a:pos x="174" y="65"/>
              </a:cxn>
              <a:cxn ang="0">
                <a:pos x="182" y="62"/>
              </a:cxn>
              <a:cxn ang="0">
                <a:pos x="184" y="46"/>
              </a:cxn>
              <a:cxn ang="0">
                <a:pos x="175" y="35"/>
              </a:cxn>
              <a:cxn ang="0">
                <a:pos x="163" y="29"/>
              </a:cxn>
              <a:cxn ang="0">
                <a:pos x="150" y="27"/>
              </a:cxn>
              <a:cxn ang="0">
                <a:pos x="144" y="22"/>
              </a:cxn>
              <a:cxn ang="0">
                <a:pos x="139" y="21"/>
              </a:cxn>
              <a:cxn ang="0">
                <a:pos x="132" y="14"/>
              </a:cxn>
              <a:cxn ang="0">
                <a:pos x="121" y="11"/>
              </a:cxn>
              <a:cxn ang="0">
                <a:pos x="111" y="5"/>
              </a:cxn>
            </a:cxnLst>
            <a:rect l="0" t="0" r="r" b="b"/>
            <a:pathLst>
              <a:path w="191" h="156">
                <a:moveTo>
                  <a:pt x="111" y="0"/>
                </a:moveTo>
                <a:lnTo>
                  <a:pt x="110" y="2"/>
                </a:lnTo>
                <a:lnTo>
                  <a:pt x="105" y="2"/>
                </a:lnTo>
                <a:lnTo>
                  <a:pt x="97" y="5"/>
                </a:lnTo>
                <a:lnTo>
                  <a:pt x="95" y="8"/>
                </a:lnTo>
                <a:lnTo>
                  <a:pt x="94" y="14"/>
                </a:lnTo>
                <a:lnTo>
                  <a:pt x="95" y="16"/>
                </a:lnTo>
                <a:lnTo>
                  <a:pt x="91" y="19"/>
                </a:lnTo>
                <a:lnTo>
                  <a:pt x="89" y="21"/>
                </a:lnTo>
                <a:lnTo>
                  <a:pt x="79" y="24"/>
                </a:lnTo>
                <a:lnTo>
                  <a:pt x="75" y="25"/>
                </a:lnTo>
                <a:lnTo>
                  <a:pt x="73" y="29"/>
                </a:lnTo>
                <a:lnTo>
                  <a:pt x="74" y="29"/>
                </a:lnTo>
                <a:lnTo>
                  <a:pt x="78" y="30"/>
                </a:lnTo>
                <a:lnTo>
                  <a:pt x="79" y="30"/>
                </a:lnTo>
                <a:lnTo>
                  <a:pt x="78" y="30"/>
                </a:lnTo>
                <a:lnTo>
                  <a:pt x="73" y="32"/>
                </a:lnTo>
                <a:lnTo>
                  <a:pt x="70" y="33"/>
                </a:lnTo>
                <a:lnTo>
                  <a:pt x="67" y="33"/>
                </a:lnTo>
                <a:lnTo>
                  <a:pt x="65" y="33"/>
                </a:lnTo>
                <a:lnTo>
                  <a:pt x="61" y="32"/>
                </a:lnTo>
                <a:lnTo>
                  <a:pt x="57" y="32"/>
                </a:lnTo>
                <a:lnTo>
                  <a:pt x="55" y="32"/>
                </a:lnTo>
                <a:lnTo>
                  <a:pt x="51" y="29"/>
                </a:lnTo>
                <a:lnTo>
                  <a:pt x="53" y="27"/>
                </a:lnTo>
                <a:lnTo>
                  <a:pt x="51" y="25"/>
                </a:lnTo>
                <a:lnTo>
                  <a:pt x="45" y="27"/>
                </a:lnTo>
                <a:lnTo>
                  <a:pt x="42" y="25"/>
                </a:lnTo>
                <a:lnTo>
                  <a:pt x="43" y="30"/>
                </a:lnTo>
                <a:lnTo>
                  <a:pt x="43" y="32"/>
                </a:lnTo>
                <a:lnTo>
                  <a:pt x="46" y="33"/>
                </a:lnTo>
                <a:lnTo>
                  <a:pt x="47" y="38"/>
                </a:lnTo>
                <a:lnTo>
                  <a:pt x="47" y="41"/>
                </a:lnTo>
                <a:lnTo>
                  <a:pt x="49" y="43"/>
                </a:lnTo>
                <a:lnTo>
                  <a:pt x="50" y="44"/>
                </a:lnTo>
                <a:lnTo>
                  <a:pt x="49" y="44"/>
                </a:lnTo>
                <a:lnTo>
                  <a:pt x="46" y="46"/>
                </a:lnTo>
                <a:lnTo>
                  <a:pt x="45" y="44"/>
                </a:lnTo>
                <a:lnTo>
                  <a:pt x="43" y="44"/>
                </a:lnTo>
                <a:lnTo>
                  <a:pt x="41" y="44"/>
                </a:lnTo>
                <a:lnTo>
                  <a:pt x="39" y="44"/>
                </a:lnTo>
                <a:lnTo>
                  <a:pt x="37" y="44"/>
                </a:lnTo>
                <a:lnTo>
                  <a:pt x="31" y="46"/>
                </a:lnTo>
                <a:lnTo>
                  <a:pt x="25" y="41"/>
                </a:lnTo>
                <a:lnTo>
                  <a:pt x="21" y="41"/>
                </a:lnTo>
                <a:lnTo>
                  <a:pt x="19" y="41"/>
                </a:lnTo>
                <a:lnTo>
                  <a:pt x="18" y="43"/>
                </a:lnTo>
                <a:lnTo>
                  <a:pt x="14" y="44"/>
                </a:lnTo>
                <a:lnTo>
                  <a:pt x="11" y="44"/>
                </a:lnTo>
                <a:lnTo>
                  <a:pt x="6" y="44"/>
                </a:lnTo>
                <a:lnTo>
                  <a:pt x="1" y="47"/>
                </a:lnTo>
                <a:lnTo>
                  <a:pt x="0" y="49"/>
                </a:lnTo>
                <a:lnTo>
                  <a:pt x="0" y="51"/>
                </a:lnTo>
                <a:lnTo>
                  <a:pt x="5" y="49"/>
                </a:lnTo>
                <a:lnTo>
                  <a:pt x="5" y="51"/>
                </a:lnTo>
                <a:lnTo>
                  <a:pt x="4" y="51"/>
                </a:lnTo>
                <a:lnTo>
                  <a:pt x="2" y="52"/>
                </a:lnTo>
                <a:lnTo>
                  <a:pt x="2" y="54"/>
                </a:lnTo>
                <a:lnTo>
                  <a:pt x="5" y="54"/>
                </a:lnTo>
                <a:lnTo>
                  <a:pt x="8" y="52"/>
                </a:lnTo>
                <a:lnTo>
                  <a:pt x="6" y="55"/>
                </a:lnTo>
                <a:lnTo>
                  <a:pt x="1" y="55"/>
                </a:lnTo>
                <a:lnTo>
                  <a:pt x="2" y="57"/>
                </a:lnTo>
                <a:lnTo>
                  <a:pt x="6" y="57"/>
                </a:lnTo>
                <a:lnTo>
                  <a:pt x="6" y="60"/>
                </a:lnTo>
                <a:lnTo>
                  <a:pt x="9" y="60"/>
                </a:lnTo>
                <a:lnTo>
                  <a:pt x="9" y="58"/>
                </a:lnTo>
                <a:lnTo>
                  <a:pt x="11" y="58"/>
                </a:lnTo>
                <a:lnTo>
                  <a:pt x="19" y="62"/>
                </a:lnTo>
                <a:lnTo>
                  <a:pt x="22" y="63"/>
                </a:lnTo>
                <a:lnTo>
                  <a:pt x="23" y="63"/>
                </a:lnTo>
                <a:lnTo>
                  <a:pt x="25" y="65"/>
                </a:lnTo>
                <a:lnTo>
                  <a:pt x="27" y="63"/>
                </a:lnTo>
                <a:lnTo>
                  <a:pt x="30" y="63"/>
                </a:lnTo>
                <a:lnTo>
                  <a:pt x="29" y="65"/>
                </a:lnTo>
                <a:lnTo>
                  <a:pt x="31" y="65"/>
                </a:lnTo>
                <a:lnTo>
                  <a:pt x="34" y="65"/>
                </a:lnTo>
                <a:lnTo>
                  <a:pt x="34" y="69"/>
                </a:lnTo>
                <a:lnTo>
                  <a:pt x="38" y="69"/>
                </a:lnTo>
                <a:lnTo>
                  <a:pt x="42" y="69"/>
                </a:lnTo>
                <a:lnTo>
                  <a:pt x="45" y="69"/>
                </a:lnTo>
                <a:lnTo>
                  <a:pt x="41" y="71"/>
                </a:lnTo>
                <a:lnTo>
                  <a:pt x="41" y="73"/>
                </a:lnTo>
                <a:lnTo>
                  <a:pt x="42" y="74"/>
                </a:lnTo>
                <a:lnTo>
                  <a:pt x="41" y="76"/>
                </a:lnTo>
                <a:lnTo>
                  <a:pt x="39" y="74"/>
                </a:lnTo>
                <a:lnTo>
                  <a:pt x="39" y="76"/>
                </a:lnTo>
                <a:lnTo>
                  <a:pt x="42" y="79"/>
                </a:lnTo>
                <a:lnTo>
                  <a:pt x="43" y="80"/>
                </a:lnTo>
                <a:lnTo>
                  <a:pt x="45" y="82"/>
                </a:lnTo>
                <a:lnTo>
                  <a:pt x="47" y="85"/>
                </a:lnTo>
                <a:lnTo>
                  <a:pt x="51" y="85"/>
                </a:lnTo>
                <a:lnTo>
                  <a:pt x="55" y="87"/>
                </a:lnTo>
                <a:lnTo>
                  <a:pt x="54" y="88"/>
                </a:lnTo>
                <a:lnTo>
                  <a:pt x="55" y="90"/>
                </a:lnTo>
                <a:lnTo>
                  <a:pt x="55" y="93"/>
                </a:lnTo>
                <a:lnTo>
                  <a:pt x="54" y="96"/>
                </a:lnTo>
                <a:lnTo>
                  <a:pt x="55" y="98"/>
                </a:lnTo>
                <a:lnTo>
                  <a:pt x="58" y="99"/>
                </a:lnTo>
                <a:lnTo>
                  <a:pt x="61" y="102"/>
                </a:lnTo>
                <a:lnTo>
                  <a:pt x="61" y="106"/>
                </a:lnTo>
                <a:lnTo>
                  <a:pt x="61" y="104"/>
                </a:lnTo>
                <a:lnTo>
                  <a:pt x="57" y="101"/>
                </a:lnTo>
                <a:lnTo>
                  <a:pt x="55" y="102"/>
                </a:lnTo>
                <a:lnTo>
                  <a:pt x="55" y="106"/>
                </a:lnTo>
                <a:lnTo>
                  <a:pt x="54" y="113"/>
                </a:lnTo>
                <a:lnTo>
                  <a:pt x="54" y="115"/>
                </a:lnTo>
                <a:lnTo>
                  <a:pt x="55" y="113"/>
                </a:lnTo>
                <a:lnTo>
                  <a:pt x="57" y="115"/>
                </a:lnTo>
                <a:lnTo>
                  <a:pt x="55" y="117"/>
                </a:lnTo>
                <a:lnTo>
                  <a:pt x="54" y="118"/>
                </a:lnTo>
                <a:lnTo>
                  <a:pt x="54" y="120"/>
                </a:lnTo>
                <a:lnTo>
                  <a:pt x="50" y="134"/>
                </a:lnTo>
                <a:lnTo>
                  <a:pt x="49" y="137"/>
                </a:lnTo>
                <a:lnTo>
                  <a:pt x="46" y="139"/>
                </a:lnTo>
                <a:lnTo>
                  <a:pt x="43" y="139"/>
                </a:lnTo>
                <a:lnTo>
                  <a:pt x="45" y="140"/>
                </a:lnTo>
                <a:lnTo>
                  <a:pt x="50" y="143"/>
                </a:lnTo>
                <a:lnTo>
                  <a:pt x="53" y="145"/>
                </a:lnTo>
                <a:lnTo>
                  <a:pt x="55" y="145"/>
                </a:lnTo>
                <a:lnTo>
                  <a:pt x="59" y="146"/>
                </a:lnTo>
                <a:lnTo>
                  <a:pt x="61" y="148"/>
                </a:lnTo>
                <a:lnTo>
                  <a:pt x="73" y="151"/>
                </a:lnTo>
                <a:lnTo>
                  <a:pt x="78" y="151"/>
                </a:lnTo>
                <a:lnTo>
                  <a:pt x="79" y="151"/>
                </a:lnTo>
                <a:lnTo>
                  <a:pt x="82" y="150"/>
                </a:lnTo>
                <a:lnTo>
                  <a:pt x="85" y="150"/>
                </a:lnTo>
                <a:lnTo>
                  <a:pt x="87" y="150"/>
                </a:lnTo>
                <a:lnTo>
                  <a:pt x="91" y="153"/>
                </a:lnTo>
                <a:lnTo>
                  <a:pt x="94" y="153"/>
                </a:lnTo>
                <a:lnTo>
                  <a:pt x="95" y="154"/>
                </a:lnTo>
                <a:lnTo>
                  <a:pt x="99" y="156"/>
                </a:lnTo>
                <a:lnTo>
                  <a:pt x="101" y="156"/>
                </a:lnTo>
                <a:lnTo>
                  <a:pt x="109" y="156"/>
                </a:lnTo>
                <a:lnTo>
                  <a:pt x="113" y="156"/>
                </a:lnTo>
                <a:lnTo>
                  <a:pt x="117" y="156"/>
                </a:lnTo>
                <a:lnTo>
                  <a:pt x="118" y="156"/>
                </a:lnTo>
                <a:lnTo>
                  <a:pt x="118" y="148"/>
                </a:lnTo>
                <a:lnTo>
                  <a:pt x="117" y="148"/>
                </a:lnTo>
                <a:lnTo>
                  <a:pt x="117" y="145"/>
                </a:lnTo>
                <a:lnTo>
                  <a:pt x="119" y="142"/>
                </a:lnTo>
                <a:lnTo>
                  <a:pt x="124" y="140"/>
                </a:lnTo>
                <a:lnTo>
                  <a:pt x="127" y="139"/>
                </a:lnTo>
                <a:lnTo>
                  <a:pt x="128" y="137"/>
                </a:lnTo>
                <a:lnTo>
                  <a:pt x="131" y="135"/>
                </a:lnTo>
                <a:lnTo>
                  <a:pt x="132" y="135"/>
                </a:lnTo>
                <a:lnTo>
                  <a:pt x="134" y="137"/>
                </a:lnTo>
                <a:lnTo>
                  <a:pt x="138" y="137"/>
                </a:lnTo>
                <a:lnTo>
                  <a:pt x="139" y="139"/>
                </a:lnTo>
                <a:lnTo>
                  <a:pt x="140" y="139"/>
                </a:lnTo>
                <a:lnTo>
                  <a:pt x="143" y="139"/>
                </a:lnTo>
                <a:lnTo>
                  <a:pt x="144" y="139"/>
                </a:lnTo>
                <a:lnTo>
                  <a:pt x="147" y="139"/>
                </a:lnTo>
                <a:lnTo>
                  <a:pt x="150" y="139"/>
                </a:lnTo>
                <a:lnTo>
                  <a:pt x="151" y="139"/>
                </a:lnTo>
                <a:lnTo>
                  <a:pt x="151" y="140"/>
                </a:lnTo>
                <a:lnTo>
                  <a:pt x="152" y="140"/>
                </a:lnTo>
                <a:lnTo>
                  <a:pt x="156" y="142"/>
                </a:lnTo>
                <a:lnTo>
                  <a:pt x="158" y="143"/>
                </a:lnTo>
                <a:lnTo>
                  <a:pt x="163" y="143"/>
                </a:lnTo>
                <a:lnTo>
                  <a:pt x="170" y="140"/>
                </a:lnTo>
                <a:lnTo>
                  <a:pt x="170" y="139"/>
                </a:lnTo>
                <a:lnTo>
                  <a:pt x="172" y="137"/>
                </a:lnTo>
                <a:lnTo>
                  <a:pt x="175" y="134"/>
                </a:lnTo>
                <a:lnTo>
                  <a:pt x="178" y="134"/>
                </a:lnTo>
                <a:lnTo>
                  <a:pt x="178" y="132"/>
                </a:lnTo>
                <a:lnTo>
                  <a:pt x="183" y="131"/>
                </a:lnTo>
                <a:lnTo>
                  <a:pt x="183" y="129"/>
                </a:lnTo>
                <a:lnTo>
                  <a:pt x="183" y="128"/>
                </a:lnTo>
                <a:lnTo>
                  <a:pt x="183" y="126"/>
                </a:lnTo>
                <a:lnTo>
                  <a:pt x="183" y="124"/>
                </a:lnTo>
                <a:lnTo>
                  <a:pt x="176" y="123"/>
                </a:lnTo>
                <a:lnTo>
                  <a:pt x="174" y="121"/>
                </a:lnTo>
                <a:lnTo>
                  <a:pt x="174" y="118"/>
                </a:lnTo>
                <a:lnTo>
                  <a:pt x="174" y="117"/>
                </a:lnTo>
                <a:lnTo>
                  <a:pt x="174" y="113"/>
                </a:lnTo>
                <a:lnTo>
                  <a:pt x="174" y="112"/>
                </a:lnTo>
                <a:lnTo>
                  <a:pt x="171" y="112"/>
                </a:lnTo>
                <a:lnTo>
                  <a:pt x="171" y="110"/>
                </a:lnTo>
                <a:lnTo>
                  <a:pt x="171" y="109"/>
                </a:lnTo>
                <a:lnTo>
                  <a:pt x="171" y="107"/>
                </a:lnTo>
                <a:lnTo>
                  <a:pt x="172" y="106"/>
                </a:lnTo>
                <a:lnTo>
                  <a:pt x="175" y="104"/>
                </a:lnTo>
                <a:lnTo>
                  <a:pt x="175" y="102"/>
                </a:lnTo>
                <a:lnTo>
                  <a:pt x="172" y="96"/>
                </a:lnTo>
                <a:lnTo>
                  <a:pt x="171" y="95"/>
                </a:lnTo>
                <a:lnTo>
                  <a:pt x="171" y="93"/>
                </a:lnTo>
                <a:lnTo>
                  <a:pt x="175" y="93"/>
                </a:lnTo>
                <a:lnTo>
                  <a:pt x="174" y="91"/>
                </a:lnTo>
                <a:lnTo>
                  <a:pt x="171" y="91"/>
                </a:lnTo>
                <a:lnTo>
                  <a:pt x="171" y="88"/>
                </a:lnTo>
                <a:lnTo>
                  <a:pt x="171" y="85"/>
                </a:lnTo>
                <a:lnTo>
                  <a:pt x="170" y="84"/>
                </a:lnTo>
                <a:lnTo>
                  <a:pt x="166" y="84"/>
                </a:lnTo>
                <a:lnTo>
                  <a:pt x="162" y="88"/>
                </a:lnTo>
                <a:lnTo>
                  <a:pt x="160" y="88"/>
                </a:lnTo>
                <a:lnTo>
                  <a:pt x="159" y="88"/>
                </a:lnTo>
                <a:lnTo>
                  <a:pt x="160" y="84"/>
                </a:lnTo>
                <a:lnTo>
                  <a:pt x="160" y="80"/>
                </a:lnTo>
                <a:lnTo>
                  <a:pt x="162" y="80"/>
                </a:lnTo>
                <a:lnTo>
                  <a:pt x="163" y="79"/>
                </a:lnTo>
                <a:lnTo>
                  <a:pt x="164" y="77"/>
                </a:lnTo>
                <a:lnTo>
                  <a:pt x="166" y="77"/>
                </a:lnTo>
                <a:lnTo>
                  <a:pt x="166" y="74"/>
                </a:lnTo>
                <a:lnTo>
                  <a:pt x="167" y="73"/>
                </a:lnTo>
                <a:lnTo>
                  <a:pt x="174" y="66"/>
                </a:lnTo>
                <a:lnTo>
                  <a:pt x="172" y="66"/>
                </a:lnTo>
                <a:lnTo>
                  <a:pt x="174" y="65"/>
                </a:lnTo>
                <a:lnTo>
                  <a:pt x="179" y="65"/>
                </a:lnTo>
                <a:lnTo>
                  <a:pt x="180" y="63"/>
                </a:lnTo>
                <a:lnTo>
                  <a:pt x="183" y="63"/>
                </a:lnTo>
                <a:lnTo>
                  <a:pt x="182" y="62"/>
                </a:lnTo>
                <a:lnTo>
                  <a:pt x="182" y="60"/>
                </a:lnTo>
                <a:lnTo>
                  <a:pt x="182" y="54"/>
                </a:lnTo>
                <a:lnTo>
                  <a:pt x="184" y="49"/>
                </a:lnTo>
                <a:lnTo>
                  <a:pt x="184" y="46"/>
                </a:lnTo>
                <a:lnTo>
                  <a:pt x="190" y="41"/>
                </a:lnTo>
                <a:lnTo>
                  <a:pt x="191" y="38"/>
                </a:lnTo>
                <a:lnTo>
                  <a:pt x="187" y="36"/>
                </a:lnTo>
                <a:lnTo>
                  <a:pt x="175" y="35"/>
                </a:lnTo>
                <a:lnTo>
                  <a:pt x="170" y="35"/>
                </a:lnTo>
                <a:lnTo>
                  <a:pt x="168" y="32"/>
                </a:lnTo>
                <a:lnTo>
                  <a:pt x="167" y="30"/>
                </a:lnTo>
                <a:lnTo>
                  <a:pt x="163" y="29"/>
                </a:lnTo>
                <a:lnTo>
                  <a:pt x="160" y="29"/>
                </a:lnTo>
                <a:lnTo>
                  <a:pt x="155" y="27"/>
                </a:lnTo>
                <a:lnTo>
                  <a:pt x="152" y="27"/>
                </a:lnTo>
                <a:lnTo>
                  <a:pt x="150" y="27"/>
                </a:lnTo>
                <a:lnTo>
                  <a:pt x="148" y="25"/>
                </a:lnTo>
                <a:lnTo>
                  <a:pt x="144" y="24"/>
                </a:lnTo>
                <a:lnTo>
                  <a:pt x="146" y="24"/>
                </a:lnTo>
                <a:lnTo>
                  <a:pt x="144" y="22"/>
                </a:lnTo>
                <a:lnTo>
                  <a:pt x="144" y="18"/>
                </a:lnTo>
                <a:lnTo>
                  <a:pt x="142" y="18"/>
                </a:lnTo>
                <a:lnTo>
                  <a:pt x="140" y="19"/>
                </a:lnTo>
                <a:lnTo>
                  <a:pt x="139" y="21"/>
                </a:lnTo>
                <a:lnTo>
                  <a:pt x="136" y="21"/>
                </a:lnTo>
                <a:lnTo>
                  <a:pt x="134" y="21"/>
                </a:lnTo>
                <a:lnTo>
                  <a:pt x="134" y="18"/>
                </a:lnTo>
                <a:lnTo>
                  <a:pt x="132" y="14"/>
                </a:lnTo>
                <a:lnTo>
                  <a:pt x="131" y="14"/>
                </a:lnTo>
                <a:lnTo>
                  <a:pt x="127" y="13"/>
                </a:lnTo>
                <a:lnTo>
                  <a:pt x="123" y="11"/>
                </a:lnTo>
                <a:lnTo>
                  <a:pt x="121" y="11"/>
                </a:lnTo>
                <a:lnTo>
                  <a:pt x="118" y="7"/>
                </a:lnTo>
                <a:lnTo>
                  <a:pt x="115" y="7"/>
                </a:lnTo>
                <a:lnTo>
                  <a:pt x="113" y="7"/>
                </a:lnTo>
                <a:lnTo>
                  <a:pt x="111" y="5"/>
                </a:lnTo>
                <a:lnTo>
                  <a:pt x="111" y="0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06" name="Freeform 1029"/>
          <p:cNvSpPr>
            <a:spLocks/>
          </p:cNvSpPr>
          <p:nvPr/>
        </p:nvSpPr>
        <p:spPr bwMode="auto">
          <a:xfrm>
            <a:off x="5539957" y="2540270"/>
            <a:ext cx="350787" cy="309256"/>
          </a:xfrm>
          <a:custGeom>
            <a:avLst/>
            <a:gdLst/>
            <a:ahLst/>
            <a:cxnLst>
              <a:cxn ang="0">
                <a:pos x="97" y="5"/>
              </a:cxn>
              <a:cxn ang="0">
                <a:pos x="91" y="19"/>
              </a:cxn>
              <a:cxn ang="0">
                <a:pos x="73" y="29"/>
              </a:cxn>
              <a:cxn ang="0">
                <a:pos x="78" y="30"/>
              </a:cxn>
              <a:cxn ang="0">
                <a:pos x="65" y="33"/>
              </a:cxn>
              <a:cxn ang="0">
                <a:pos x="51" y="29"/>
              </a:cxn>
              <a:cxn ang="0">
                <a:pos x="42" y="25"/>
              </a:cxn>
              <a:cxn ang="0">
                <a:pos x="47" y="38"/>
              </a:cxn>
              <a:cxn ang="0">
                <a:pos x="49" y="44"/>
              </a:cxn>
              <a:cxn ang="0">
                <a:pos x="41" y="44"/>
              </a:cxn>
              <a:cxn ang="0">
                <a:pos x="25" y="41"/>
              </a:cxn>
              <a:cxn ang="0">
                <a:pos x="14" y="44"/>
              </a:cxn>
              <a:cxn ang="0">
                <a:pos x="0" y="49"/>
              </a:cxn>
              <a:cxn ang="0">
                <a:pos x="4" y="51"/>
              </a:cxn>
              <a:cxn ang="0">
                <a:pos x="8" y="52"/>
              </a:cxn>
              <a:cxn ang="0">
                <a:pos x="6" y="57"/>
              </a:cxn>
              <a:cxn ang="0">
                <a:pos x="11" y="58"/>
              </a:cxn>
              <a:cxn ang="0">
                <a:pos x="25" y="65"/>
              </a:cxn>
              <a:cxn ang="0">
                <a:pos x="31" y="65"/>
              </a:cxn>
              <a:cxn ang="0">
                <a:pos x="42" y="69"/>
              </a:cxn>
              <a:cxn ang="0">
                <a:pos x="42" y="74"/>
              </a:cxn>
              <a:cxn ang="0">
                <a:pos x="42" y="79"/>
              </a:cxn>
              <a:cxn ang="0">
                <a:pos x="51" y="85"/>
              </a:cxn>
              <a:cxn ang="0">
                <a:pos x="55" y="93"/>
              </a:cxn>
              <a:cxn ang="0">
                <a:pos x="61" y="102"/>
              </a:cxn>
              <a:cxn ang="0">
                <a:pos x="55" y="102"/>
              </a:cxn>
              <a:cxn ang="0">
                <a:pos x="55" y="113"/>
              </a:cxn>
              <a:cxn ang="0">
                <a:pos x="54" y="120"/>
              </a:cxn>
              <a:cxn ang="0">
                <a:pos x="43" y="139"/>
              </a:cxn>
              <a:cxn ang="0">
                <a:pos x="55" y="145"/>
              </a:cxn>
              <a:cxn ang="0">
                <a:pos x="78" y="151"/>
              </a:cxn>
              <a:cxn ang="0">
                <a:pos x="87" y="150"/>
              </a:cxn>
              <a:cxn ang="0">
                <a:pos x="99" y="156"/>
              </a:cxn>
              <a:cxn ang="0">
                <a:pos x="117" y="156"/>
              </a:cxn>
              <a:cxn ang="0">
                <a:pos x="117" y="145"/>
              </a:cxn>
              <a:cxn ang="0">
                <a:pos x="128" y="137"/>
              </a:cxn>
              <a:cxn ang="0">
                <a:pos x="138" y="137"/>
              </a:cxn>
              <a:cxn ang="0">
                <a:pos x="144" y="139"/>
              </a:cxn>
              <a:cxn ang="0">
                <a:pos x="151" y="140"/>
              </a:cxn>
              <a:cxn ang="0">
                <a:pos x="163" y="143"/>
              </a:cxn>
              <a:cxn ang="0">
                <a:pos x="175" y="134"/>
              </a:cxn>
              <a:cxn ang="0">
                <a:pos x="183" y="129"/>
              </a:cxn>
              <a:cxn ang="0">
                <a:pos x="176" y="123"/>
              </a:cxn>
              <a:cxn ang="0">
                <a:pos x="174" y="113"/>
              </a:cxn>
              <a:cxn ang="0">
                <a:pos x="171" y="109"/>
              </a:cxn>
              <a:cxn ang="0">
                <a:pos x="175" y="102"/>
              </a:cxn>
              <a:cxn ang="0">
                <a:pos x="175" y="93"/>
              </a:cxn>
              <a:cxn ang="0">
                <a:pos x="171" y="85"/>
              </a:cxn>
              <a:cxn ang="0">
                <a:pos x="160" y="88"/>
              </a:cxn>
            </a:cxnLst>
            <a:rect l="0" t="0" r="r" b="b"/>
            <a:pathLst>
              <a:path w="183" h="156">
                <a:moveTo>
                  <a:pt x="111" y="0"/>
                </a:moveTo>
                <a:lnTo>
                  <a:pt x="110" y="2"/>
                </a:lnTo>
                <a:lnTo>
                  <a:pt x="105" y="2"/>
                </a:lnTo>
                <a:lnTo>
                  <a:pt x="97" y="5"/>
                </a:lnTo>
                <a:lnTo>
                  <a:pt x="95" y="8"/>
                </a:lnTo>
                <a:lnTo>
                  <a:pt x="94" y="14"/>
                </a:lnTo>
                <a:lnTo>
                  <a:pt x="95" y="16"/>
                </a:lnTo>
                <a:lnTo>
                  <a:pt x="91" y="19"/>
                </a:lnTo>
                <a:lnTo>
                  <a:pt x="89" y="21"/>
                </a:lnTo>
                <a:lnTo>
                  <a:pt x="79" y="24"/>
                </a:lnTo>
                <a:lnTo>
                  <a:pt x="75" y="25"/>
                </a:lnTo>
                <a:lnTo>
                  <a:pt x="73" y="29"/>
                </a:lnTo>
                <a:lnTo>
                  <a:pt x="74" y="29"/>
                </a:lnTo>
                <a:lnTo>
                  <a:pt x="78" y="30"/>
                </a:lnTo>
                <a:lnTo>
                  <a:pt x="79" y="30"/>
                </a:lnTo>
                <a:lnTo>
                  <a:pt x="78" y="30"/>
                </a:lnTo>
                <a:lnTo>
                  <a:pt x="73" y="32"/>
                </a:lnTo>
                <a:lnTo>
                  <a:pt x="70" y="33"/>
                </a:lnTo>
                <a:lnTo>
                  <a:pt x="67" y="33"/>
                </a:lnTo>
                <a:lnTo>
                  <a:pt x="65" y="33"/>
                </a:lnTo>
                <a:lnTo>
                  <a:pt x="61" y="32"/>
                </a:lnTo>
                <a:lnTo>
                  <a:pt x="57" y="32"/>
                </a:lnTo>
                <a:lnTo>
                  <a:pt x="55" y="32"/>
                </a:lnTo>
                <a:lnTo>
                  <a:pt x="51" y="29"/>
                </a:lnTo>
                <a:lnTo>
                  <a:pt x="53" y="27"/>
                </a:lnTo>
                <a:lnTo>
                  <a:pt x="51" y="25"/>
                </a:lnTo>
                <a:lnTo>
                  <a:pt x="45" y="27"/>
                </a:lnTo>
                <a:lnTo>
                  <a:pt x="42" y="25"/>
                </a:lnTo>
                <a:lnTo>
                  <a:pt x="43" y="30"/>
                </a:lnTo>
                <a:lnTo>
                  <a:pt x="43" y="32"/>
                </a:lnTo>
                <a:lnTo>
                  <a:pt x="46" y="33"/>
                </a:lnTo>
                <a:lnTo>
                  <a:pt x="47" y="38"/>
                </a:lnTo>
                <a:lnTo>
                  <a:pt x="47" y="41"/>
                </a:lnTo>
                <a:lnTo>
                  <a:pt x="49" y="43"/>
                </a:lnTo>
                <a:lnTo>
                  <a:pt x="50" y="44"/>
                </a:lnTo>
                <a:lnTo>
                  <a:pt x="49" y="44"/>
                </a:lnTo>
                <a:lnTo>
                  <a:pt x="46" y="46"/>
                </a:lnTo>
                <a:lnTo>
                  <a:pt x="45" y="44"/>
                </a:lnTo>
                <a:lnTo>
                  <a:pt x="43" y="44"/>
                </a:lnTo>
                <a:lnTo>
                  <a:pt x="41" y="44"/>
                </a:lnTo>
                <a:lnTo>
                  <a:pt x="39" y="44"/>
                </a:lnTo>
                <a:lnTo>
                  <a:pt x="37" y="44"/>
                </a:lnTo>
                <a:lnTo>
                  <a:pt x="31" y="46"/>
                </a:lnTo>
                <a:lnTo>
                  <a:pt x="25" y="41"/>
                </a:lnTo>
                <a:lnTo>
                  <a:pt x="21" y="41"/>
                </a:lnTo>
                <a:lnTo>
                  <a:pt x="19" y="41"/>
                </a:lnTo>
                <a:lnTo>
                  <a:pt x="18" y="43"/>
                </a:lnTo>
                <a:lnTo>
                  <a:pt x="14" y="44"/>
                </a:lnTo>
                <a:lnTo>
                  <a:pt x="11" y="44"/>
                </a:lnTo>
                <a:lnTo>
                  <a:pt x="6" y="44"/>
                </a:lnTo>
                <a:lnTo>
                  <a:pt x="1" y="47"/>
                </a:lnTo>
                <a:lnTo>
                  <a:pt x="0" y="49"/>
                </a:lnTo>
                <a:lnTo>
                  <a:pt x="0" y="51"/>
                </a:lnTo>
                <a:lnTo>
                  <a:pt x="5" y="49"/>
                </a:lnTo>
                <a:lnTo>
                  <a:pt x="5" y="51"/>
                </a:lnTo>
                <a:lnTo>
                  <a:pt x="4" y="51"/>
                </a:lnTo>
                <a:lnTo>
                  <a:pt x="2" y="52"/>
                </a:lnTo>
                <a:lnTo>
                  <a:pt x="2" y="54"/>
                </a:lnTo>
                <a:lnTo>
                  <a:pt x="5" y="54"/>
                </a:lnTo>
                <a:lnTo>
                  <a:pt x="8" y="52"/>
                </a:lnTo>
                <a:lnTo>
                  <a:pt x="6" y="55"/>
                </a:lnTo>
                <a:lnTo>
                  <a:pt x="1" y="55"/>
                </a:lnTo>
                <a:lnTo>
                  <a:pt x="2" y="57"/>
                </a:lnTo>
                <a:lnTo>
                  <a:pt x="6" y="57"/>
                </a:lnTo>
                <a:lnTo>
                  <a:pt x="6" y="60"/>
                </a:lnTo>
                <a:lnTo>
                  <a:pt x="9" y="60"/>
                </a:lnTo>
                <a:lnTo>
                  <a:pt x="9" y="58"/>
                </a:lnTo>
                <a:lnTo>
                  <a:pt x="11" y="58"/>
                </a:lnTo>
                <a:lnTo>
                  <a:pt x="19" y="62"/>
                </a:lnTo>
                <a:lnTo>
                  <a:pt x="22" y="63"/>
                </a:lnTo>
                <a:lnTo>
                  <a:pt x="23" y="63"/>
                </a:lnTo>
                <a:lnTo>
                  <a:pt x="25" y="65"/>
                </a:lnTo>
                <a:lnTo>
                  <a:pt x="27" y="63"/>
                </a:lnTo>
                <a:lnTo>
                  <a:pt x="30" y="63"/>
                </a:lnTo>
                <a:lnTo>
                  <a:pt x="29" y="65"/>
                </a:lnTo>
                <a:lnTo>
                  <a:pt x="31" y="65"/>
                </a:lnTo>
                <a:lnTo>
                  <a:pt x="34" y="65"/>
                </a:lnTo>
                <a:lnTo>
                  <a:pt x="34" y="69"/>
                </a:lnTo>
                <a:lnTo>
                  <a:pt x="38" y="69"/>
                </a:lnTo>
                <a:lnTo>
                  <a:pt x="42" y="69"/>
                </a:lnTo>
                <a:lnTo>
                  <a:pt x="45" y="69"/>
                </a:lnTo>
                <a:lnTo>
                  <a:pt x="41" y="71"/>
                </a:lnTo>
                <a:lnTo>
                  <a:pt x="41" y="73"/>
                </a:lnTo>
                <a:lnTo>
                  <a:pt x="42" y="74"/>
                </a:lnTo>
                <a:lnTo>
                  <a:pt x="41" y="76"/>
                </a:lnTo>
                <a:lnTo>
                  <a:pt x="39" y="74"/>
                </a:lnTo>
                <a:lnTo>
                  <a:pt x="39" y="76"/>
                </a:lnTo>
                <a:lnTo>
                  <a:pt x="42" y="79"/>
                </a:lnTo>
                <a:lnTo>
                  <a:pt x="43" y="80"/>
                </a:lnTo>
                <a:lnTo>
                  <a:pt x="45" y="82"/>
                </a:lnTo>
                <a:lnTo>
                  <a:pt x="47" y="85"/>
                </a:lnTo>
                <a:lnTo>
                  <a:pt x="51" y="85"/>
                </a:lnTo>
                <a:lnTo>
                  <a:pt x="55" y="87"/>
                </a:lnTo>
                <a:lnTo>
                  <a:pt x="54" y="88"/>
                </a:lnTo>
                <a:lnTo>
                  <a:pt x="55" y="90"/>
                </a:lnTo>
                <a:lnTo>
                  <a:pt x="55" y="93"/>
                </a:lnTo>
                <a:lnTo>
                  <a:pt x="54" y="96"/>
                </a:lnTo>
                <a:lnTo>
                  <a:pt x="55" y="98"/>
                </a:lnTo>
                <a:lnTo>
                  <a:pt x="58" y="99"/>
                </a:lnTo>
                <a:lnTo>
                  <a:pt x="61" y="102"/>
                </a:lnTo>
                <a:lnTo>
                  <a:pt x="61" y="106"/>
                </a:lnTo>
                <a:lnTo>
                  <a:pt x="61" y="104"/>
                </a:lnTo>
                <a:lnTo>
                  <a:pt x="57" y="101"/>
                </a:lnTo>
                <a:lnTo>
                  <a:pt x="55" y="102"/>
                </a:lnTo>
                <a:lnTo>
                  <a:pt x="55" y="106"/>
                </a:lnTo>
                <a:lnTo>
                  <a:pt x="54" y="113"/>
                </a:lnTo>
                <a:lnTo>
                  <a:pt x="54" y="115"/>
                </a:lnTo>
                <a:lnTo>
                  <a:pt x="55" y="113"/>
                </a:lnTo>
                <a:lnTo>
                  <a:pt x="57" y="115"/>
                </a:lnTo>
                <a:lnTo>
                  <a:pt x="55" y="117"/>
                </a:lnTo>
                <a:lnTo>
                  <a:pt x="54" y="118"/>
                </a:lnTo>
                <a:lnTo>
                  <a:pt x="54" y="120"/>
                </a:lnTo>
                <a:lnTo>
                  <a:pt x="50" y="134"/>
                </a:lnTo>
                <a:lnTo>
                  <a:pt x="49" y="137"/>
                </a:lnTo>
                <a:lnTo>
                  <a:pt x="46" y="139"/>
                </a:lnTo>
                <a:lnTo>
                  <a:pt x="43" y="139"/>
                </a:lnTo>
                <a:lnTo>
                  <a:pt x="45" y="140"/>
                </a:lnTo>
                <a:lnTo>
                  <a:pt x="50" y="143"/>
                </a:lnTo>
                <a:lnTo>
                  <a:pt x="53" y="145"/>
                </a:lnTo>
                <a:lnTo>
                  <a:pt x="55" y="145"/>
                </a:lnTo>
                <a:lnTo>
                  <a:pt x="59" y="146"/>
                </a:lnTo>
                <a:lnTo>
                  <a:pt x="61" y="148"/>
                </a:lnTo>
                <a:lnTo>
                  <a:pt x="73" y="151"/>
                </a:lnTo>
                <a:lnTo>
                  <a:pt x="78" y="151"/>
                </a:lnTo>
                <a:lnTo>
                  <a:pt x="79" y="151"/>
                </a:lnTo>
                <a:lnTo>
                  <a:pt x="82" y="150"/>
                </a:lnTo>
                <a:lnTo>
                  <a:pt x="85" y="150"/>
                </a:lnTo>
                <a:lnTo>
                  <a:pt x="87" y="150"/>
                </a:lnTo>
                <a:lnTo>
                  <a:pt x="91" y="153"/>
                </a:lnTo>
                <a:lnTo>
                  <a:pt x="94" y="153"/>
                </a:lnTo>
                <a:lnTo>
                  <a:pt x="95" y="154"/>
                </a:lnTo>
                <a:lnTo>
                  <a:pt x="99" y="156"/>
                </a:lnTo>
                <a:lnTo>
                  <a:pt x="101" y="156"/>
                </a:lnTo>
                <a:lnTo>
                  <a:pt x="109" y="156"/>
                </a:lnTo>
                <a:lnTo>
                  <a:pt x="113" y="156"/>
                </a:lnTo>
                <a:lnTo>
                  <a:pt x="117" y="156"/>
                </a:lnTo>
                <a:lnTo>
                  <a:pt x="118" y="156"/>
                </a:lnTo>
                <a:lnTo>
                  <a:pt x="118" y="148"/>
                </a:lnTo>
                <a:lnTo>
                  <a:pt x="117" y="148"/>
                </a:lnTo>
                <a:lnTo>
                  <a:pt x="117" y="145"/>
                </a:lnTo>
                <a:lnTo>
                  <a:pt x="119" y="142"/>
                </a:lnTo>
                <a:lnTo>
                  <a:pt x="124" y="140"/>
                </a:lnTo>
                <a:lnTo>
                  <a:pt x="127" y="139"/>
                </a:lnTo>
                <a:lnTo>
                  <a:pt x="128" y="137"/>
                </a:lnTo>
                <a:lnTo>
                  <a:pt x="131" y="135"/>
                </a:lnTo>
                <a:lnTo>
                  <a:pt x="132" y="135"/>
                </a:lnTo>
                <a:lnTo>
                  <a:pt x="134" y="137"/>
                </a:lnTo>
                <a:lnTo>
                  <a:pt x="138" y="137"/>
                </a:lnTo>
                <a:lnTo>
                  <a:pt x="139" y="139"/>
                </a:lnTo>
                <a:lnTo>
                  <a:pt x="140" y="139"/>
                </a:lnTo>
                <a:lnTo>
                  <a:pt x="143" y="139"/>
                </a:lnTo>
                <a:lnTo>
                  <a:pt x="144" y="139"/>
                </a:lnTo>
                <a:lnTo>
                  <a:pt x="147" y="139"/>
                </a:lnTo>
                <a:lnTo>
                  <a:pt x="150" y="139"/>
                </a:lnTo>
                <a:lnTo>
                  <a:pt x="151" y="139"/>
                </a:lnTo>
                <a:lnTo>
                  <a:pt x="151" y="140"/>
                </a:lnTo>
                <a:lnTo>
                  <a:pt x="152" y="140"/>
                </a:lnTo>
                <a:lnTo>
                  <a:pt x="156" y="142"/>
                </a:lnTo>
                <a:lnTo>
                  <a:pt x="158" y="143"/>
                </a:lnTo>
                <a:lnTo>
                  <a:pt x="163" y="143"/>
                </a:lnTo>
                <a:lnTo>
                  <a:pt x="170" y="140"/>
                </a:lnTo>
                <a:lnTo>
                  <a:pt x="170" y="139"/>
                </a:lnTo>
                <a:lnTo>
                  <a:pt x="172" y="137"/>
                </a:lnTo>
                <a:lnTo>
                  <a:pt x="175" y="134"/>
                </a:lnTo>
                <a:lnTo>
                  <a:pt x="178" y="134"/>
                </a:lnTo>
                <a:lnTo>
                  <a:pt x="178" y="132"/>
                </a:lnTo>
                <a:lnTo>
                  <a:pt x="183" y="131"/>
                </a:lnTo>
                <a:lnTo>
                  <a:pt x="183" y="129"/>
                </a:lnTo>
                <a:lnTo>
                  <a:pt x="183" y="128"/>
                </a:lnTo>
                <a:lnTo>
                  <a:pt x="183" y="126"/>
                </a:lnTo>
                <a:lnTo>
                  <a:pt x="183" y="124"/>
                </a:lnTo>
                <a:lnTo>
                  <a:pt x="176" y="123"/>
                </a:lnTo>
                <a:lnTo>
                  <a:pt x="174" y="121"/>
                </a:lnTo>
                <a:lnTo>
                  <a:pt x="174" y="118"/>
                </a:lnTo>
                <a:lnTo>
                  <a:pt x="174" y="117"/>
                </a:lnTo>
                <a:lnTo>
                  <a:pt x="174" y="113"/>
                </a:lnTo>
                <a:lnTo>
                  <a:pt x="174" y="112"/>
                </a:lnTo>
                <a:lnTo>
                  <a:pt x="171" y="112"/>
                </a:lnTo>
                <a:lnTo>
                  <a:pt x="171" y="110"/>
                </a:lnTo>
                <a:lnTo>
                  <a:pt x="171" y="109"/>
                </a:lnTo>
                <a:lnTo>
                  <a:pt x="171" y="107"/>
                </a:lnTo>
                <a:lnTo>
                  <a:pt x="172" y="106"/>
                </a:lnTo>
                <a:lnTo>
                  <a:pt x="175" y="104"/>
                </a:lnTo>
                <a:lnTo>
                  <a:pt x="175" y="102"/>
                </a:lnTo>
                <a:lnTo>
                  <a:pt x="172" y="96"/>
                </a:lnTo>
                <a:lnTo>
                  <a:pt x="171" y="95"/>
                </a:lnTo>
                <a:lnTo>
                  <a:pt x="171" y="93"/>
                </a:lnTo>
                <a:lnTo>
                  <a:pt x="175" y="93"/>
                </a:lnTo>
                <a:lnTo>
                  <a:pt x="174" y="91"/>
                </a:lnTo>
                <a:lnTo>
                  <a:pt x="171" y="91"/>
                </a:lnTo>
                <a:lnTo>
                  <a:pt x="171" y="88"/>
                </a:lnTo>
                <a:lnTo>
                  <a:pt x="171" y="85"/>
                </a:lnTo>
                <a:lnTo>
                  <a:pt x="170" y="84"/>
                </a:lnTo>
                <a:lnTo>
                  <a:pt x="166" y="84"/>
                </a:lnTo>
                <a:lnTo>
                  <a:pt x="162" y="88"/>
                </a:lnTo>
                <a:lnTo>
                  <a:pt x="160" y="88"/>
                </a:lnTo>
                <a:lnTo>
                  <a:pt x="159" y="88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07" name="Freeform 1030"/>
          <p:cNvSpPr>
            <a:spLocks/>
          </p:cNvSpPr>
          <p:nvPr/>
        </p:nvSpPr>
        <p:spPr bwMode="auto">
          <a:xfrm>
            <a:off x="5752378" y="2540271"/>
            <a:ext cx="153956" cy="173955"/>
          </a:xfrm>
          <a:custGeom>
            <a:avLst/>
            <a:gdLst/>
            <a:ahLst/>
            <a:cxnLst>
              <a:cxn ang="0">
                <a:pos x="48" y="88"/>
              </a:cxn>
              <a:cxn ang="0">
                <a:pos x="49" y="84"/>
              </a:cxn>
              <a:cxn ang="0">
                <a:pos x="49" y="80"/>
              </a:cxn>
              <a:cxn ang="0">
                <a:pos x="51" y="80"/>
              </a:cxn>
              <a:cxn ang="0">
                <a:pos x="52" y="79"/>
              </a:cxn>
              <a:cxn ang="0">
                <a:pos x="53" y="77"/>
              </a:cxn>
              <a:cxn ang="0">
                <a:pos x="55" y="77"/>
              </a:cxn>
              <a:cxn ang="0">
                <a:pos x="55" y="74"/>
              </a:cxn>
              <a:cxn ang="0">
                <a:pos x="56" y="73"/>
              </a:cxn>
              <a:cxn ang="0">
                <a:pos x="63" y="66"/>
              </a:cxn>
              <a:cxn ang="0">
                <a:pos x="61" y="66"/>
              </a:cxn>
              <a:cxn ang="0">
                <a:pos x="63" y="65"/>
              </a:cxn>
              <a:cxn ang="0">
                <a:pos x="68" y="65"/>
              </a:cxn>
              <a:cxn ang="0">
                <a:pos x="69" y="63"/>
              </a:cxn>
              <a:cxn ang="0">
                <a:pos x="72" y="63"/>
              </a:cxn>
              <a:cxn ang="0">
                <a:pos x="71" y="62"/>
              </a:cxn>
              <a:cxn ang="0">
                <a:pos x="71" y="60"/>
              </a:cxn>
              <a:cxn ang="0">
                <a:pos x="71" y="54"/>
              </a:cxn>
              <a:cxn ang="0">
                <a:pos x="73" y="49"/>
              </a:cxn>
              <a:cxn ang="0">
                <a:pos x="73" y="46"/>
              </a:cxn>
              <a:cxn ang="0">
                <a:pos x="79" y="41"/>
              </a:cxn>
              <a:cxn ang="0">
                <a:pos x="80" y="38"/>
              </a:cxn>
              <a:cxn ang="0">
                <a:pos x="76" y="36"/>
              </a:cxn>
              <a:cxn ang="0">
                <a:pos x="64" y="35"/>
              </a:cxn>
              <a:cxn ang="0">
                <a:pos x="59" y="35"/>
              </a:cxn>
              <a:cxn ang="0">
                <a:pos x="57" y="32"/>
              </a:cxn>
              <a:cxn ang="0">
                <a:pos x="56" y="30"/>
              </a:cxn>
              <a:cxn ang="0">
                <a:pos x="52" y="29"/>
              </a:cxn>
              <a:cxn ang="0">
                <a:pos x="49" y="29"/>
              </a:cxn>
              <a:cxn ang="0">
                <a:pos x="44" y="27"/>
              </a:cxn>
              <a:cxn ang="0">
                <a:pos x="41" y="27"/>
              </a:cxn>
              <a:cxn ang="0">
                <a:pos x="39" y="27"/>
              </a:cxn>
              <a:cxn ang="0">
                <a:pos x="37" y="25"/>
              </a:cxn>
              <a:cxn ang="0">
                <a:pos x="33" y="24"/>
              </a:cxn>
              <a:cxn ang="0">
                <a:pos x="35" y="24"/>
              </a:cxn>
              <a:cxn ang="0">
                <a:pos x="33" y="22"/>
              </a:cxn>
              <a:cxn ang="0">
                <a:pos x="33" y="18"/>
              </a:cxn>
              <a:cxn ang="0">
                <a:pos x="31" y="18"/>
              </a:cxn>
              <a:cxn ang="0">
                <a:pos x="29" y="19"/>
              </a:cxn>
              <a:cxn ang="0">
                <a:pos x="28" y="21"/>
              </a:cxn>
              <a:cxn ang="0">
                <a:pos x="25" y="21"/>
              </a:cxn>
              <a:cxn ang="0">
                <a:pos x="23" y="21"/>
              </a:cxn>
              <a:cxn ang="0">
                <a:pos x="23" y="18"/>
              </a:cxn>
              <a:cxn ang="0">
                <a:pos x="21" y="14"/>
              </a:cxn>
              <a:cxn ang="0">
                <a:pos x="20" y="14"/>
              </a:cxn>
              <a:cxn ang="0">
                <a:pos x="16" y="13"/>
              </a:cxn>
              <a:cxn ang="0">
                <a:pos x="12" y="11"/>
              </a:cxn>
              <a:cxn ang="0">
                <a:pos x="10" y="11"/>
              </a:cxn>
              <a:cxn ang="0">
                <a:pos x="7" y="7"/>
              </a:cxn>
              <a:cxn ang="0">
                <a:pos x="4" y="7"/>
              </a:cxn>
              <a:cxn ang="0">
                <a:pos x="2" y="7"/>
              </a:cxn>
              <a:cxn ang="0">
                <a:pos x="0" y="5"/>
              </a:cxn>
              <a:cxn ang="0">
                <a:pos x="0" y="0"/>
              </a:cxn>
            </a:cxnLst>
            <a:rect l="0" t="0" r="r" b="b"/>
            <a:pathLst>
              <a:path w="80" h="88">
                <a:moveTo>
                  <a:pt x="48" y="88"/>
                </a:moveTo>
                <a:lnTo>
                  <a:pt x="49" y="84"/>
                </a:lnTo>
                <a:lnTo>
                  <a:pt x="49" y="80"/>
                </a:lnTo>
                <a:lnTo>
                  <a:pt x="51" y="80"/>
                </a:lnTo>
                <a:lnTo>
                  <a:pt x="52" y="79"/>
                </a:lnTo>
                <a:lnTo>
                  <a:pt x="53" y="77"/>
                </a:lnTo>
                <a:lnTo>
                  <a:pt x="55" y="77"/>
                </a:lnTo>
                <a:lnTo>
                  <a:pt x="55" y="74"/>
                </a:lnTo>
                <a:lnTo>
                  <a:pt x="56" y="73"/>
                </a:lnTo>
                <a:lnTo>
                  <a:pt x="63" y="66"/>
                </a:lnTo>
                <a:lnTo>
                  <a:pt x="61" y="66"/>
                </a:lnTo>
                <a:lnTo>
                  <a:pt x="63" y="65"/>
                </a:lnTo>
                <a:lnTo>
                  <a:pt x="68" y="65"/>
                </a:lnTo>
                <a:lnTo>
                  <a:pt x="69" y="63"/>
                </a:lnTo>
                <a:lnTo>
                  <a:pt x="72" y="63"/>
                </a:lnTo>
                <a:lnTo>
                  <a:pt x="71" y="62"/>
                </a:lnTo>
                <a:lnTo>
                  <a:pt x="71" y="60"/>
                </a:lnTo>
                <a:lnTo>
                  <a:pt x="71" y="54"/>
                </a:lnTo>
                <a:lnTo>
                  <a:pt x="73" y="49"/>
                </a:lnTo>
                <a:lnTo>
                  <a:pt x="73" y="46"/>
                </a:lnTo>
                <a:lnTo>
                  <a:pt x="79" y="41"/>
                </a:lnTo>
                <a:lnTo>
                  <a:pt x="80" y="38"/>
                </a:lnTo>
                <a:lnTo>
                  <a:pt x="76" y="36"/>
                </a:lnTo>
                <a:lnTo>
                  <a:pt x="64" y="35"/>
                </a:lnTo>
                <a:lnTo>
                  <a:pt x="59" y="35"/>
                </a:lnTo>
                <a:lnTo>
                  <a:pt x="57" y="32"/>
                </a:lnTo>
                <a:lnTo>
                  <a:pt x="56" y="30"/>
                </a:lnTo>
                <a:lnTo>
                  <a:pt x="52" y="29"/>
                </a:lnTo>
                <a:lnTo>
                  <a:pt x="49" y="29"/>
                </a:lnTo>
                <a:lnTo>
                  <a:pt x="44" y="27"/>
                </a:lnTo>
                <a:lnTo>
                  <a:pt x="41" y="27"/>
                </a:lnTo>
                <a:lnTo>
                  <a:pt x="39" y="27"/>
                </a:lnTo>
                <a:lnTo>
                  <a:pt x="37" y="25"/>
                </a:lnTo>
                <a:lnTo>
                  <a:pt x="33" y="24"/>
                </a:lnTo>
                <a:lnTo>
                  <a:pt x="35" y="24"/>
                </a:lnTo>
                <a:lnTo>
                  <a:pt x="33" y="22"/>
                </a:lnTo>
                <a:lnTo>
                  <a:pt x="33" y="18"/>
                </a:lnTo>
                <a:lnTo>
                  <a:pt x="31" y="18"/>
                </a:lnTo>
                <a:lnTo>
                  <a:pt x="29" y="19"/>
                </a:lnTo>
                <a:lnTo>
                  <a:pt x="28" y="21"/>
                </a:lnTo>
                <a:lnTo>
                  <a:pt x="25" y="21"/>
                </a:lnTo>
                <a:lnTo>
                  <a:pt x="23" y="21"/>
                </a:lnTo>
                <a:lnTo>
                  <a:pt x="23" y="18"/>
                </a:lnTo>
                <a:lnTo>
                  <a:pt x="21" y="14"/>
                </a:lnTo>
                <a:lnTo>
                  <a:pt x="20" y="14"/>
                </a:lnTo>
                <a:lnTo>
                  <a:pt x="16" y="13"/>
                </a:lnTo>
                <a:lnTo>
                  <a:pt x="12" y="11"/>
                </a:lnTo>
                <a:lnTo>
                  <a:pt x="10" y="11"/>
                </a:lnTo>
                <a:lnTo>
                  <a:pt x="7" y="7"/>
                </a:lnTo>
                <a:lnTo>
                  <a:pt x="4" y="7"/>
                </a:lnTo>
                <a:lnTo>
                  <a:pt x="2" y="7"/>
                </a:lnTo>
                <a:lnTo>
                  <a:pt x="0" y="5"/>
                </a:lnTo>
                <a:lnTo>
                  <a:pt x="0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08" name="Freeform 1031"/>
          <p:cNvSpPr>
            <a:spLocks/>
          </p:cNvSpPr>
          <p:nvPr/>
        </p:nvSpPr>
        <p:spPr bwMode="auto">
          <a:xfrm>
            <a:off x="5405489" y="2862412"/>
            <a:ext cx="93543" cy="173955"/>
          </a:xfrm>
          <a:custGeom>
            <a:avLst/>
            <a:gdLst/>
            <a:ahLst/>
            <a:cxnLst>
              <a:cxn ang="0">
                <a:pos x="31" y="82"/>
              </a:cxn>
              <a:cxn ang="0">
                <a:pos x="32" y="75"/>
              </a:cxn>
              <a:cxn ang="0">
                <a:pos x="39" y="71"/>
              </a:cxn>
              <a:cxn ang="0">
                <a:pos x="35" y="66"/>
              </a:cxn>
              <a:cxn ang="0">
                <a:pos x="33" y="58"/>
              </a:cxn>
              <a:cxn ang="0">
                <a:pos x="37" y="53"/>
              </a:cxn>
              <a:cxn ang="0">
                <a:pos x="33" y="47"/>
              </a:cxn>
              <a:cxn ang="0">
                <a:pos x="35" y="41"/>
              </a:cxn>
              <a:cxn ang="0">
                <a:pos x="40" y="38"/>
              </a:cxn>
              <a:cxn ang="0">
                <a:pos x="39" y="33"/>
              </a:cxn>
              <a:cxn ang="0">
                <a:pos x="40" y="27"/>
              </a:cxn>
              <a:cxn ang="0">
                <a:pos x="41" y="21"/>
              </a:cxn>
              <a:cxn ang="0">
                <a:pos x="47" y="13"/>
              </a:cxn>
              <a:cxn ang="0">
                <a:pos x="49" y="8"/>
              </a:cxn>
              <a:cxn ang="0">
                <a:pos x="45" y="3"/>
              </a:cxn>
              <a:cxn ang="0">
                <a:pos x="36" y="2"/>
              </a:cxn>
              <a:cxn ang="0">
                <a:pos x="27" y="3"/>
              </a:cxn>
              <a:cxn ang="0">
                <a:pos x="21" y="2"/>
              </a:cxn>
              <a:cxn ang="0">
                <a:pos x="16" y="0"/>
              </a:cxn>
              <a:cxn ang="0">
                <a:pos x="11" y="3"/>
              </a:cxn>
              <a:cxn ang="0">
                <a:pos x="13" y="17"/>
              </a:cxn>
              <a:cxn ang="0">
                <a:pos x="11" y="25"/>
              </a:cxn>
              <a:cxn ang="0">
                <a:pos x="9" y="32"/>
              </a:cxn>
              <a:cxn ang="0">
                <a:pos x="8" y="38"/>
              </a:cxn>
              <a:cxn ang="0">
                <a:pos x="5" y="46"/>
              </a:cxn>
              <a:cxn ang="0">
                <a:pos x="1" y="53"/>
              </a:cxn>
              <a:cxn ang="0">
                <a:pos x="3" y="60"/>
              </a:cxn>
              <a:cxn ang="0">
                <a:pos x="8" y="63"/>
              </a:cxn>
              <a:cxn ang="0">
                <a:pos x="11" y="64"/>
              </a:cxn>
              <a:cxn ang="0">
                <a:pos x="11" y="72"/>
              </a:cxn>
              <a:cxn ang="0">
                <a:pos x="11" y="79"/>
              </a:cxn>
              <a:cxn ang="0">
                <a:pos x="8" y="85"/>
              </a:cxn>
              <a:cxn ang="0">
                <a:pos x="9" y="88"/>
              </a:cxn>
              <a:cxn ang="0">
                <a:pos x="16" y="88"/>
              </a:cxn>
              <a:cxn ang="0">
                <a:pos x="21" y="88"/>
              </a:cxn>
              <a:cxn ang="0">
                <a:pos x="27" y="88"/>
              </a:cxn>
              <a:cxn ang="0">
                <a:pos x="32" y="86"/>
              </a:cxn>
            </a:cxnLst>
            <a:rect l="0" t="0" r="r" b="b"/>
            <a:pathLst>
              <a:path w="49" h="88">
                <a:moveTo>
                  <a:pt x="32" y="86"/>
                </a:moveTo>
                <a:lnTo>
                  <a:pt x="31" y="82"/>
                </a:lnTo>
                <a:lnTo>
                  <a:pt x="31" y="79"/>
                </a:lnTo>
                <a:lnTo>
                  <a:pt x="32" y="75"/>
                </a:lnTo>
                <a:lnTo>
                  <a:pt x="36" y="72"/>
                </a:lnTo>
                <a:lnTo>
                  <a:pt x="39" y="71"/>
                </a:lnTo>
                <a:lnTo>
                  <a:pt x="37" y="68"/>
                </a:lnTo>
                <a:lnTo>
                  <a:pt x="35" y="66"/>
                </a:lnTo>
                <a:lnTo>
                  <a:pt x="33" y="61"/>
                </a:lnTo>
                <a:lnTo>
                  <a:pt x="33" y="58"/>
                </a:lnTo>
                <a:lnTo>
                  <a:pt x="36" y="55"/>
                </a:lnTo>
                <a:lnTo>
                  <a:pt x="37" y="53"/>
                </a:lnTo>
                <a:lnTo>
                  <a:pt x="36" y="52"/>
                </a:lnTo>
                <a:lnTo>
                  <a:pt x="33" y="47"/>
                </a:lnTo>
                <a:lnTo>
                  <a:pt x="32" y="43"/>
                </a:lnTo>
                <a:lnTo>
                  <a:pt x="35" y="41"/>
                </a:lnTo>
                <a:lnTo>
                  <a:pt x="37" y="41"/>
                </a:lnTo>
                <a:lnTo>
                  <a:pt x="40" y="38"/>
                </a:lnTo>
                <a:lnTo>
                  <a:pt x="40" y="36"/>
                </a:lnTo>
                <a:lnTo>
                  <a:pt x="39" y="33"/>
                </a:lnTo>
                <a:lnTo>
                  <a:pt x="39" y="32"/>
                </a:lnTo>
                <a:lnTo>
                  <a:pt x="40" y="27"/>
                </a:lnTo>
                <a:lnTo>
                  <a:pt x="41" y="24"/>
                </a:lnTo>
                <a:lnTo>
                  <a:pt x="41" y="21"/>
                </a:lnTo>
                <a:lnTo>
                  <a:pt x="41" y="19"/>
                </a:lnTo>
                <a:lnTo>
                  <a:pt x="47" y="13"/>
                </a:lnTo>
                <a:lnTo>
                  <a:pt x="49" y="10"/>
                </a:lnTo>
                <a:lnTo>
                  <a:pt x="49" y="8"/>
                </a:lnTo>
                <a:lnTo>
                  <a:pt x="47" y="5"/>
                </a:lnTo>
                <a:lnTo>
                  <a:pt x="45" y="3"/>
                </a:lnTo>
                <a:lnTo>
                  <a:pt x="41" y="2"/>
                </a:lnTo>
                <a:lnTo>
                  <a:pt x="36" y="2"/>
                </a:lnTo>
                <a:lnTo>
                  <a:pt x="33" y="3"/>
                </a:lnTo>
                <a:lnTo>
                  <a:pt x="27" y="3"/>
                </a:lnTo>
                <a:lnTo>
                  <a:pt x="23" y="3"/>
                </a:lnTo>
                <a:lnTo>
                  <a:pt x="21" y="2"/>
                </a:lnTo>
                <a:lnTo>
                  <a:pt x="20" y="0"/>
                </a:lnTo>
                <a:lnTo>
                  <a:pt x="16" y="0"/>
                </a:lnTo>
                <a:lnTo>
                  <a:pt x="12" y="2"/>
                </a:lnTo>
                <a:lnTo>
                  <a:pt x="11" y="3"/>
                </a:lnTo>
                <a:lnTo>
                  <a:pt x="12" y="14"/>
                </a:lnTo>
                <a:lnTo>
                  <a:pt x="13" y="17"/>
                </a:lnTo>
                <a:lnTo>
                  <a:pt x="12" y="19"/>
                </a:lnTo>
                <a:lnTo>
                  <a:pt x="11" y="25"/>
                </a:lnTo>
                <a:lnTo>
                  <a:pt x="11" y="27"/>
                </a:lnTo>
                <a:lnTo>
                  <a:pt x="9" y="32"/>
                </a:lnTo>
                <a:lnTo>
                  <a:pt x="9" y="35"/>
                </a:lnTo>
                <a:lnTo>
                  <a:pt x="8" y="38"/>
                </a:lnTo>
                <a:lnTo>
                  <a:pt x="7" y="43"/>
                </a:lnTo>
                <a:lnTo>
                  <a:pt x="5" y="46"/>
                </a:lnTo>
                <a:lnTo>
                  <a:pt x="1" y="49"/>
                </a:lnTo>
                <a:lnTo>
                  <a:pt x="1" y="53"/>
                </a:lnTo>
                <a:lnTo>
                  <a:pt x="0" y="58"/>
                </a:lnTo>
                <a:lnTo>
                  <a:pt x="3" y="60"/>
                </a:lnTo>
                <a:lnTo>
                  <a:pt x="5" y="63"/>
                </a:lnTo>
                <a:lnTo>
                  <a:pt x="8" y="63"/>
                </a:lnTo>
                <a:lnTo>
                  <a:pt x="12" y="63"/>
                </a:lnTo>
                <a:lnTo>
                  <a:pt x="11" y="64"/>
                </a:lnTo>
                <a:lnTo>
                  <a:pt x="11" y="69"/>
                </a:lnTo>
                <a:lnTo>
                  <a:pt x="11" y="72"/>
                </a:lnTo>
                <a:lnTo>
                  <a:pt x="11" y="74"/>
                </a:lnTo>
                <a:lnTo>
                  <a:pt x="11" y="79"/>
                </a:lnTo>
                <a:lnTo>
                  <a:pt x="11" y="82"/>
                </a:lnTo>
                <a:lnTo>
                  <a:pt x="8" y="85"/>
                </a:lnTo>
                <a:lnTo>
                  <a:pt x="8" y="88"/>
                </a:lnTo>
                <a:lnTo>
                  <a:pt x="9" y="88"/>
                </a:lnTo>
                <a:lnTo>
                  <a:pt x="12" y="88"/>
                </a:lnTo>
                <a:lnTo>
                  <a:pt x="16" y="88"/>
                </a:lnTo>
                <a:lnTo>
                  <a:pt x="19" y="88"/>
                </a:lnTo>
                <a:lnTo>
                  <a:pt x="21" y="88"/>
                </a:lnTo>
                <a:lnTo>
                  <a:pt x="24" y="88"/>
                </a:lnTo>
                <a:lnTo>
                  <a:pt x="27" y="88"/>
                </a:lnTo>
                <a:lnTo>
                  <a:pt x="29" y="86"/>
                </a:lnTo>
                <a:lnTo>
                  <a:pt x="32" y="86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09" name="Freeform 1032"/>
          <p:cNvSpPr>
            <a:spLocks/>
          </p:cNvSpPr>
          <p:nvPr/>
        </p:nvSpPr>
        <p:spPr bwMode="auto">
          <a:xfrm>
            <a:off x="5405489" y="2862412"/>
            <a:ext cx="93543" cy="173955"/>
          </a:xfrm>
          <a:custGeom>
            <a:avLst/>
            <a:gdLst/>
            <a:ahLst/>
            <a:cxnLst>
              <a:cxn ang="0">
                <a:pos x="31" y="82"/>
              </a:cxn>
              <a:cxn ang="0">
                <a:pos x="32" y="75"/>
              </a:cxn>
              <a:cxn ang="0">
                <a:pos x="39" y="71"/>
              </a:cxn>
              <a:cxn ang="0">
                <a:pos x="35" y="66"/>
              </a:cxn>
              <a:cxn ang="0">
                <a:pos x="33" y="58"/>
              </a:cxn>
              <a:cxn ang="0">
                <a:pos x="37" y="53"/>
              </a:cxn>
              <a:cxn ang="0">
                <a:pos x="33" y="47"/>
              </a:cxn>
              <a:cxn ang="0">
                <a:pos x="35" y="41"/>
              </a:cxn>
              <a:cxn ang="0">
                <a:pos x="40" y="38"/>
              </a:cxn>
              <a:cxn ang="0">
                <a:pos x="39" y="33"/>
              </a:cxn>
              <a:cxn ang="0">
                <a:pos x="40" y="27"/>
              </a:cxn>
              <a:cxn ang="0">
                <a:pos x="41" y="21"/>
              </a:cxn>
              <a:cxn ang="0">
                <a:pos x="47" y="13"/>
              </a:cxn>
              <a:cxn ang="0">
                <a:pos x="49" y="8"/>
              </a:cxn>
              <a:cxn ang="0">
                <a:pos x="45" y="3"/>
              </a:cxn>
              <a:cxn ang="0">
                <a:pos x="36" y="2"/>
              </a:cxn>
              <a:cxn ang="0">
                <a:pos x="27" y="3"/>
              </a:cxn>
              <a:cxn ang="0">
                <a:pos x="21" y="2"/>
              </a:cxn>
              <a:cxn ang="0">
                <a:pos x="16" y="0"/>
              </a:cxn>
              <a:cxn ang="0">
                <a:pos x="11" y="3"/>
              </a:cxn>
              <a:cxn ang="0">
                <a:pos x="13" y="17"/>
              </a:cxn>
              <a:cxn ang="0">
                <a:pos x="11" y="25"/>
              </a:cxn>
              <a:cxn ang="0">
                <a:pos x="9" y="32"/>
              </a:cxn>
              <a:cxn ang="0">
                <a:pos x="8" y="38"/>
              </a:cxn>
              <a:cxn ang="0">
                <a:pos x="5" y="46"/>
              </a:cxn>
              <a:cxn ang="0">
                <a:pos x="1" y="53"/>
              </a:cxn>
              <a:cxn ang="0">
                <a:pos x="3" y="60"/>
              </a:cxn>
              <a:cxn ang="0">
                <a:pos x="8" y="63"/>
              </a:cxn>
              <a:cxn ang="0">
                <a:pos x="11" y="64"/>
              </a:cxn>
              <a:cxn ang="0">
                <a:pos x="11" y="72"/>
              </a:cxn>
              <a:cxn ang="0">
                <a:pos x="11" y="79"/>
              </a:cxn>
              <a:cxn ang="0">
                <a:pos x="8" y="85"/>
              </a:cxn>
              <a:cxn ang="0">
                <a:pos x="9" y="88"/>
              </a:cxn>
              <a:cxn ang="0">
                <a:pos x="16" y="88"/>
              </a:cxn>
              <a:cxn ang="0">
                <a:pos x="21" y="88"/>
              </a:cxn>
              <a:cxn ang="0">
                <a:pos x="27" y="88"/>
              </a:cxn>
              <a:cxn ang="0">
                <a:pos x="32" y="86"/>
              </a:cxn>
            </a:cxnLst>
            <a:rect l="0" t="0" r="r" b="b"/>
            <a:pathLst>
              <a:path w="49" h="88">
                <a:moveTo>
                  <a:pt x="32" y="86"/>
                </a:moveTo>
                <a:lnTo>
                  <a:pt x="31" y="82"/>
                </a:lnTo>
                <a:lnTo>
                  <a:pt x="31" y="79"/>
                </a:lnTo>
                <a:lnTo>
                  <a:pt x="32" y="75"/>
                </a:lnTo>
                <a:lnTo>
                  <a:pt x="36" y="72"/>
                </a:lnTo>
                <a:lnTo>
                  <a:pt x="39" y="71"/>
                </a:lnTo>
                <a:lnTo>
                  <a:pt x="37" y="68"/>
                </a:lnTo>
                <a:lnTo>
                  <a:pt x="35" y="66"/>
                </a:lnTo>
                <a:lnTo>
                  <a:pt x="33" y="61"/>
                </a:lnTo>
                <a:lnTo>
                  <a:pt x="33" y="58"/>
                </a:lnTo>
                <a:lnTo>
                  <a:pt x="36" y="55"/>
                </a:lnTo>
                <a:lnTo>
                  <a:pt x="37" y="53"/>
                </a:lnTo>
                <a:lnTo>
                  <a:pt x="36" y="52"/>
                </a:lnTo>
                <a:lnTo>
                  <a:pt x="33" y="47"/>
                </a:lnTo>
                <a:lnTo>
                  <a:pt x="32" y="43"/>
                </a:lnTo>
                <a:lnTo>
                  <a:pt x="35" y="41"/>
                </a:lnTo>
                <a:lnTo>
                  <a:pt x="37" y="41"/>
                </a:lnTo>
                <a:lnTo>
                  <a:pt x="40" y="38"/>
                </a:lnTo>
                <a:lnTo>
                  <a:pt x="40" y="36"/>
                </a:lnTo>
                <a:lnTo>
                  <a:pt x="39" y="33"/>
                </a:lnTo>
                <a:lnTo>
                  <a:pt x="39" y="32"/>
                </a:lnTo>
                <a:lnTo>
                  <a:pt x="40" y="27"/>
                </a:lnTo>
                <a:lnTo>
                  <a:pt x="41" y="24"/>
                </a:lnTo>
                <a:lnTo>
                  <a:pt x="41" y="21"/>
                </a:lnTo>
                <a:lnTo>
                  <a:pt x="41" y="19"/>
                </a:lnTo>
                <a:lnTo>
                  <a:pt x="47" y="13"/>
                </a:lnTo>
                <a:lnTo>
                  <a:pt x="49" y="10"/>
                </a:lnTo>
                <a:lnTo>
                  <a:pt x="49" y="8"/>
                </a:lnTo>
                <a:lnTo>
                  <a:pt x="47" y="5"/>
                </a:lnTo>
                <a:lnTo>
                  <a:pt x="45" y="3"/>
                </a:lnTo>
                <a:lnTo>
                  <a:pt x="41" y="2"/>
                </a:lnTo>
                <a:lnTo>
                  <a:pt x="36" y="2"/>
                </a:lnTo>
                <a:lnTo>
                  <a:pt x="33" y="3"/>
                </a:lnTo>
                <a:lnTo>
                  <a:pt x="27" y="3"/>
                </a:lnTo>
                <a:lnTo>
                  <a:pt x="23" y="3"/>
                </a:lnTo>
                <a:lnTo>
                  <a:pt x="21" y="2"/>
                </a:lnTo>
                <a:lnTo>
                  <a:pt x="20" y="0"/>
                </a:lnTo>
                <a:lnTo>
                  <a:pt x="16" y="0"/>
                </a:lnTo>
                <a:lnTo>
                  <a:pt x="12" y="2"/>
                </a:lnTo>
                <a:lnTo>
                  <a:pt x="11" y="3"/>
                </a:lnTo>
                <a:lnTo>
                  <a:pt x="12" y="14"/>
                </a:lnTo>
                <a:lnTo>
                  <a:pt x="13" y="17"/>
                </a:lnTo>
                <a:lnTo>
                  <a:pt x="12" y="19"/>
                </a:lnTo>
                <a:lnTo>
                  <a:pt x="11" y="25"/>
                </a:lnTo>
                <a:lnTo>
                  <a:pt x="11" y="27"/>
                </a:lnTo>
                <a:lnTo>
                  <a:pt x="9" y="32"/>
                </a:lnTo>
                <a:lnTo>
                  <a:pt x="9" y="35"/>
                </a:lnTo>
                <a:lnTo>
                  <a:pt x="8" y="38"/>
                </a:lnTo>
                <a:lnTo>
                  <a:pt x="7" y="43"/>
                </a:lnTo>
                <a:lnTo>
                  <a:pt x="5" y="46"/>
                </a:lnTo>
                <a:lnTo>
                  <a:pt x="1" y="49"/>
                </a:lnTo>
                <a:lnTo>
                  <a:pt x="1" y="53"/>
                </a:lnTo>
                <a:lnTo>
                  <a:pt x="0" y="58"/>
                </a:lnTo>
                <a:lnTo>
                  <a:pt x="3" y="60"/>
                </a:lnTo>
                <a:lnTo>
                  <a:pt x="5" y="63"/>
                </a:lnTo>
                <a:lnTo>
                  <a:pt x="8" y="63"/>
                </a:lnTo>
                <a:lnTo>
                  <a:pt x="12" y="63"/>
                </a:lnTo>
                <a:lnTo>
                  <a:pt x="11" y="64"/>
                </a:lnTo>
                <a:lnTo>
                  <a:pt x="11" y="69"/>
                </a:lnTo>
                <a:lnTo>
                  <a:pt x="11" y="72"/>
                </a:lnTo>
                <a:lnTo>
                  <a:pt x="11" y="74"/>
                </a:lnTo>
                <a:lnTo>
                  <a:pt x="11" y="79"/>
                </a:lnTo>
                <a:lnTo>
                  <a:pt x="11" y="82"/>
                </a:lnTo>
                <a:lnTo>
                  <a:pt x="8" y="85"/>
                </a:lnTo>
                <a:lnTo>
                  <a:pt x="8" y="88"/>
                </a:lnTo>
                <a:lnTo>
                  <a:pt x="9" y="88"/>
                </a:lnTo>
                <a:lnTo>
                  <a:pt x="12" y="88"/>
                </a:lnTo>
                <a:lnTo>
                  <a:pt x="16" y="88"/>
                </a:lnTo>
                <a:lnTo>
                  <a:pt x="19" y="88"/>
                </a:lnTo>
                <a:lnTo>
                  <a:pt x="21" y="88"/>
                </a:lnTo>
                <a:lnTo>
                  <a:pt x="24" y="88"/>
                </a:lnTo>
                <a:lnTo>
                  <a:pt x="27" y="88"/>
                </a:lnTo>
                <a:lnTo>
                  <a:pt x="29" y="86"/>
                </a:lnTo>
                <a:lnTo>
                  <a:pt x="32" y="86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10" name="Freeform 1033"/>
          <p:cNvSpPr>
            <a:spLocks/>
          </p:cNvSpPr>
          <p:nvPr/>
        </p:nvSpPr>
        <p:spPr bwMode="auto">
          <a:xfrm>
            <a:off x="6424718" y="2860263"/>
            <a:ext cx="537873" cy="219056"/>
          </a:xfrm>
          <a:custGeom>
            <a:avLst/>
            <a:gdLst/>
            <a:ahLst/>
            <a:cxnLst>
              <a:cxn ang="0">
                <a:pos x="152" y="95"/>
              </a:cxn>
              <a:cxn ang="0">
                <a:pos x="139" y="97"/>
              </a:cxn>
              <a:cxn ang="0">
                <a:pos x="127" y="95"/>
              </a:cxn>
              <a:cxn ang="0">
                <a:pos x="112" y="105"/>
              </a:cxn>
              <a:cxn ang="0">
                <a:pos x="94" y="103"/>
              </a:cxn>
              <a:cxn ang="0">
                <a:pos x="78" y="92"/>
              </a:cxn>
              <a:cxn ang="0">
                <a:pos x="67" y="98"/>
              </a:cxn>
              <a:cxn ang="0">
                <a:pos x="51" y="105"/>
              </a:cxn>
              <a:cxn ang="0">
                <a:pos x="43" y="95"/>
              </a:cxn>
              <a:cxn ang="0">
                <a:pos x="34" y="94"/>
              </a:cxn>
              <a:cxn ang="0">
                <a:pos x="20" y="97"/>
              </a:cxn>
              <a:cxn ang="0">
                <a:pos x="31" y="92"/>
              </a:cxn>
              <a:cxn ang="0">
                <a:pos x="19" y="91"/>
              </a:cxn>
              <a:cxn ang="0">
                <a:pos x="18" y="83"/>
              </a:cxn>
              <a:cxn ang="0">
                <a:pos x="16" y="80"/>
              </a:cxn>
              <a:cxn ang="0">
                <a:pos x="14" y="70"/>
              </a:cxn>
              <a:cxn ang="0">
                <a:pos x="3" y="67"/>
              </a:cxn>
              <a:cxn ang="0">
                <a:pos x="6" y="61"/>
              </a:cxn>
              <a:cxn ang="0">
                <a:pos x="15" y="64"/>
              </a:cxn>
              <a:cxn ang="0">
                <a:pos x="12" y="56"/>
              </a:cxn>
              <a:cxn ang="0">
                <a:pos x="12" y="45"/>
              </a:cxn>
              <a:cxn ang="0">
                <a:pos x="0" y="39"/>
              </a:cxn>
              <a:cxn ang="0">
                <a:pos x="10" y="29"/>
              </a:cxn>
              <a:cxn ang="0">
                <a:pos x="26" y="31"/>
              </a:cxn>
              <a:cxn ang="0">
                <a:pos x="30" y="29"/>
              </a:cxn>
              <a:cxn ang="0">
                <a:pos x="42" y="26"/>
              </a:cxn>
              <a:cxn ang="0">
                <a:pos x="52" y="23"/>
              </a:cxn>
              <a:cxn ang="0">
                <a:pos x="44" y="18"/>
              </a:cxn>
              <a:cxn ang="0">
                <a:pos x="64" y="17"/>
              </a:cxn>
              <a:cxn ang="0">
                <a:pos x="79" y="17"/>
              </a:cxn>
              <a:cxn ang="0">
                <a:pos x="95" y="6"/>
              </a:cxn>
              <a:cxn ang="0">
                <a:pos x="120" y="1"/>
              </a:cxn>
              <a:cxn ang="0">
                <a:pos x="137" y="3"/>
              </a:cxn>
              <a:cxn ang="0">
                <a:pos x="152" y="9"/>
              </a:cxn>
              <a:cxn ang="0">
                <a:pos x="175" y="18"/>
              </a:cxn>
              <a:cxn ang="0">
                <a:pos x="208" y="18"/>
              </a:cxn>
              <a:cxn ang="0">
                <a:pos x="233" y="9"/>
              </a:cxn>
              <a:cxn ang="0">
                <a:pos x="246" y="9"/>
              </a:cxn>
              <a:cxn ang="0">
                <a:pos x="257" y="14"/>
              </a:cxn>
              <a:cxn ang="0">
                <a:pos x="265" y="29"/>
              </a:cxn>
              <a:cxn ang="0">
                <a:pos x="277" y="39"/>
              </a:cxn>
              <a:cxn ang="0">
                <a:pos x="272" y="50"/>
              </a:cxn>
              <a:cxn ang="0">
                <a:pos x="273" y="75"/>
              </a:cxn>
              <a:cxn ang="0">
                <a:pos x="274" y="86"/>
              </a:cxn>
              <a:cxn ang="0">
                <a:pos x="246" y="87"/>
              </a:cxn>
              <a:cxn ang="0">
                <a:pos x="234" y="87"/>
              </a:cxn>
              <a:cxn ang="0">
                <a:pos x="213" y="91"/>
              </a:cxn>
              <a:cxn ang="0">
                <a:pos x="189" y="94"/>
              </a:cxn>
              <a:cxn ang="0">
                <a:pos x="175" y="95"/>
              </a:cxn>
              <a:cxn ang="0">
                <a:pos x="164" y="95"/>
              </a:cxn>
              <a:cxn ang="0">
                <a:pos x="157" y="95"/>
              </a:cxn>
              <a:cxn ang="0">
                <a:pos x="155" y="105"/>
              </a:cxn>
              <a:cxn ang="0">
                <a:pos x="149" y="109"/>
              </a:cxn>
            </a:cxnLst>
            <a:rect l="0" t="0" r="r" b="b"/>
            <a:pathLst>
              <a:path w="281" h="111">
                <a:moveTo>
                  <a:pt x="148" y="106"/>
                </a:moveTo>
                <a:lnTo>
                  <a:pt x="147" y="103"/>
                </a:lnTo>
                <a:lnTo>
                  <a:pt x="148" y="98"/>
                </a:lnTo>
                <a:lnTo>
                  <a:pt x="151" y="97"/>
                </a:lnTo>
                <a:lnTo>
                  <a:pt x="152" y="95"/>
                </a:lnTo>
                <a:lnTo>
                  <a:pt x="149" y="92"/>
                </a:lnTo>
                <a:lnTo>
                  <a:pt x="144" y="95"/>
                </a:lnTo>
                <a:lnTo>
                  <a:pt x="144" y="97"/>
                </a:lnTo>
                <a:lnTo>
                  <a:pt x="141" y="98"/>
                </a:lnTo>
                <a:lnTo>
                  <a:pt x="139" y="97"/>
                </a:lnTo>
                <a:lnTo>
                  <a:pt x="136" y="95"/>
                </a:lnTo>
                <a:lnTo>
                  <a:pt x="133" y="94"/>
                </a:lnTo>
                <a:lnTo>
                  <a:pt x="131" y="94"/>
                </a:lnTo>
                <a:lnTo>
                  <a:pt x="129" y="94"/>
                </a:lnTo>
                <a:lnTo>
                  <a:pt x="127" y="95"/>
                </a:lnTo>
                <a:lnTo>
                  <a:pt x="121" y="100"/>
                </a:lnTo>
                <a:lnTo>
                  <a:pt x="120" y="102"/>
                </a:lnTo>
                <a:lnTo>
                  <a:pt x="117" y="102"/>
                </a:lnTo>
                <a:lnTo>
                  <a:pt x="115" y="105"/>
                </a:lnTo>
                <a:lnTo>
                  <a:pt x="112" y="105"/>
                </a:lnTo>
                <a:lnTo>
                  <a:pt x="110" y="105"/>
                </a:lnTo>
                <a:lnTo>
                  <a:pt x="104" y="106"/>
                </a:lnTo>
                <a:lnTo>
                  <a:pt x="102" y="108"/>
                </a:lnTo>
                <a:lnTo>
                  <a:pt x="96" y="106"/>
                </a:lnTo>
                <a:lnTo>
                  <a:pt x="94" y="103"/>
                </a:lnTo>
                <a:lnTo>
                  <a:pt x="92" y="102"/>
                </a:lnTo>
                <a:lnTo>
                  <a:pt x="91" y="100"/>
                </a:lnTo>
                <a:lnTo>
                  <a:pt x="88" y="98"/>
                </a:lnTo>
                <a:lnTo>
                  <a:pt x="82" y="95"/>
                </a:lnTo>
                <a:lnTo>
                  <a:pt x="78" y="92"/>
                </a:lnTo>
                <a:lnTo>
                  <a:pt x="74" y="92"/>
                </a:lnTo>
                <a:lnTo>
                  <a:pt x="71" y="92"/>
                </a:lnTo>
                <a:lnTo>
                  <a:pt x="68" y="92"/>
                </a:lnTo>
                <a:lnTo>
                  <a:pt x="67" y="95"/>
                </a:lnTo>
                <a:lnTo>
                  <a:pt x="67" y="98"/>
                </a:lnTo>
                <a:lnTo>
                  <a:pt x="66" y="102"/>
                </a:lnTo>
                <a:lnTo>
                  <a:pt x="60" y="103"/>
                </a:lnTo>
                <a:lnTo>
                  <a:pt x="56" y="105"/>
                </a:lnTo>
                <a:lnTo>
                  <a:pt x="54" y="105"/>
                </a:lnTo>
                <a:lnTo>
                  <a:pt x="51" y="105"/>
                </a:lnTo>
                <a:lnTo>
                  <a:pt x="48" y="103"/>
                </a:lnTo>
                <a:lnTo>
                  <a:pt x="46" y="100"/>
                </a:lnTo>
                <a:lnTo>
                  <a:pt x="46" y="97"/>
                </a:lnTo>
                <a:lnTo>
                  <a:pt x="46" y="95"/>
                </a:lnTo>
                <a:lnTo>
                  <a:pt x="43" y="95"/>
                </a:lnTo>
                <a:lnTo>
                  <a:pt x="43" y="97"/>
                </a:lnTo>
                <a:lnTo>
                  <a:pt x="42" y="97"/>
                </a:lnTo>
                <a:lnTo>
                  <a:pt x="39" y="95"/>
                </a:lnTo>
                <a:lnTo>
                  <a:pt x="38" y="94"/>
                </a:lnTo>
                <a:lnTo>
                  <a:pt x="34" y="94"/>
                </a:lnTo>
                <a:lnTo>
                  <a:pt x="32" y="95"/>
                </a:lnTo>
                <a:lnTo>
                  <a:pt x="30" y="97"/>
                </a:lnTo>
                <a:lnTo>
                  <a:pt x="30" y="95"/>
                </a:lnTo>
                <a:lnTo>
                  <a:pt x="30" y="94"/>
                </a:lnTo>
                <a:lnTo>
                  <a:pt x="20" y="97"/>
                </a:lnTo>
                <a:lnTo>
                  <a:pt x="22" y="94"/>
                </a:lnTo>
                <a:lnTo>
                  <a:pt x="24" y="94"/>
                </a:lnTo>
                <a:lnTo>
                  <a:pt x="28" y="94"/>
                </a:lnTo>
                <a:lnTo>
                  <a:pt x="30" y="92"/>
                </a:lnTo>
                <a:lnTo>
                  <a:pt x="31" y="92"/>
                </a:lnTo>
                <a:lnTo>
                  <a:pt x="32" y="91"/>
                </a:lnTo>
                <a:lnTo>
                  <a:pt x="34" y="89"/>
                </a:lnTo>
                <a:lnTo>
                  <a:pt x="31" y="89"/>
                </a:lnTo>
                <a:lnTo>
                  <a:pt x="26" y="91"/>
                </a:lnTo>
                <a:lnTo>
                  <a:pt x="19" y="91"/>
                </a:lnTo>
                <a:lnTo>
                  <a:pt x="19" y="89"/>
                </a:lnTo>
                <a:lnTo>
                  <a:pt x="22" y="86"/>
                </a:lnTo>
                <a:lnTo>
                  <a:pt x="20" y="84"/>
                </a:lnTo>
                <a:lnTo>
                  <a:pt x="19" y="83"/>
                </a:lnTo>
                <a:lnTo>
                  <a:pt x="18" y="83"/>
                </a:lnTo>
                <a:lnTo>
                  <a:pt x="18" y="81"/>
                </a:lnTo>
                <a:lnTo>
                  <a:pt x="19" y="80"/>
                </a:lnTo>
                <a:lnTo>
                  <a:pt x="20" y="78"/>
                </a:lnTo>
                <a:lnTo>
                  <a:pt x="18" y="78"/>
                </a:lnTo>
                <a:lnTo>
                  <a:pt x="16" y="80"/>
                </a:lnTo>
                <a:lnTo>
                  <a:pt x="15" y="78"/>
                </a:lnTo>
                <a:lnTo>
                  <a:pt x="16" y="76"/>
                </a:lnTo>
                <a:lnTo>
                  <a:pt x="16" y="75"/>
                </a:lnTo>
                <a:lnTo>
                  <a:pt x="15" y="72"/>
                </a:lnTo>
                <a:lnTo>
                  <a:pt x="14" y="70"/>
                </a:lnTo>
                <a:lnTo>
                  <a:pt x="10" y="70"/>
                </a:lnTo>
                <a:lnTo>
                  <a:pt x="8" y="69"/>
                </a:lnTo>
                <a:lnTo>
                  <a:pt x="6" y="69"/>
                </a:lnTo>
                <a:lnTo>
                  <a:pt x="4" y="69"/>
                </a:lnTo>
                <a:lnTo>
                  <a:pt x="3" y="67"/>
                </a:lnTo>
                <a:lnTo>
                  <a:pt x="3" y="65"/>
                </a:lnTo>
                <a:lnTo>
                  <a:pt x="4" y="65"/>
                </a:lnTo>
                <a:lnTo>
                  <a:pt x="4" y="64"/>
                </a:lnTo>
                <a:lnTo>
                  <a:pt x="4" y="62"/>
                </a:lnTo>
                <a:lnTo>
                  <a:pt x="6" y="61"/>
                </a:lnTo>
                <a:lnTo>
                  <a:pt x="8" y="65"/>
                </a:lnTo>
                <a:lnTo>
                  <a:pt x="10" y="65"/>
                </a:lnTo>
                <a:lnTo>
                  <a:pt x="12" y="65"/>
                </a:lnTo>
                <a:lnTo>
                  <a:pt x="15" y="65"/>
                </a:lnTo>
                <a:lnTo>
                  <a:pt x="15" y="64"/>
                </a:lnTo>
                <a:lnTo>
                  <a:pt x="11" y="62"/>
                </a:lnTo>
                <a:lnTo>
                  <a:pt x="10" y="61"/>
                </a:lnTo>
                <a:lnTo>
                  <a:pt x="11" y="59"/>
                </a:lnTo>
                <a:lnTo>
                  <a:pt x="12" y="58"/>
                </a:lnTo>
                <a:lnTo>
                  <a:pt x="12" y="56"/>
                </a:lnTo>
                <a:lnTo>
                  <a:pt x="11" y="54"/>
                </a:lnTo>
                <a:lnTo>
                  <a:pt x="11" y="53"/>
                </a:lnTo>
                <a:lnTo>
                  <a:pt x="10" y="50"/>
                </a:lnTo>
                <a:lnTo>
                  <a:pt x="10" y="48"/>
                </a:lnTo>
                <a:lnTo>
                  <a:pt x="12" y="45"/>
                </a:lnTo>
                <a:lnTo>
                  <a:pt x="11" y="45"/>
                </a:lnTo>
                <a:lnTo>
                  <a:pt x="7" y="45"/>
                </a:lnTo>
                <a:lnTo>
                  <a:pt x="0" y="45"/>
                </a:lnTo>
                <a:lnTo>
                  <a:pt x="0" y="44"/>
                </a:lnTo>
                <a:lnTo>
                  <a:pt x="0" y="39"/>
                </a:lnTo>
                <a:lnTo>
                  <a:pt x="2" y="37"/>
                </a:lnTo>
                <a:lnTo>
                  <a:pt x="4" y="36"/>
                </a:lnTo>
                <a:lnTo>
                  <a:pt x="6" y="34"/>
                </a:lnTo>
                <a:lnTo>
                  <a:pt x="8" y="33"/>
                </a:lnTo>
                <a:lnTo>
                  <a:pt x="10" y="29"/>
                </a:lnTo>
                <a:lnTo>
                  <a:pt x="14" y="29"/>
                </a:lnTo>
                <a:lnTo>
                  <a:pt x="18" y="28"/>
                </a:lnTo>
                <a:lnTo>
                  <a:pt x="19" y="29"/>
                </a:lnTo>
                <a:lnTo>
                  <a:pt x="22" y="31"/>
                </a:lnTo>
                <a:lnTo>
                  <a:pt x="26" y="31"/>
                </a:lnTo>
                <a:lnTo>
                  <a:pt x="24" y="28"/>
                </a:lnTo>
                <a:lnTo>
                  <a:pt x="27" y="28"/>
                </a:lnTo>
                <a:lnTo>
                  <a:pt x="28" y="28"/>
                </a:lnTo>
                <a:lnTo>
                  <a:pt x="28" y="29"/>
                </a:lnTo>
                <a:lnTo>
                  <a:pt x="30" y="29"/>
                </a:lnTo>
                <a:lnTo>
                  <a:pt x="34" y="29"/>
                </a:lnTo>
                <a:lnTo>
                  <a:pt x="42" y="29"/>
                </a:lnTo>
                <a:lnTo>
                  <a:pt x="44" y="29"/>
                </a:lnTo>
                <a:lnTo>
                  <a:pt x="44" y="28"/>
                </a:lnTo>
                <a:lnTo>
                  <a:pt x="42" y="26"/>
                </a:lnTo>
                <a:lnTo>
                  <a:pt x="44" y="25"/>
                </a:lnTo>
                <a:lnTo>
                  <a:pt x="56" y="25"/>
                </a:lnTo>
                <a:lnTo>
                  <a:pt x="56" y="23"/>
                </a:lnTo>
                <a:lnTo>
                  <a:pt x="54" y="23"/>
                </a:lnTo>
                <a:lnTo>
                  <a:pt x="52" y="23"/>
                </a:lnTo>
                <a:lnTo>
                  <a:pt x="48" y="23"/>
                </a:lnTo>
                <a:lnTo>
                  <a:pt x="48" y="22"/>
                </a:lnTo>
                <a:lnTo>
                  <a:pt x="47" y="22"/>
                </a:lnTo>
                <a:lnTo>
                  <a:pt x="46" y="20"/>
                </a:lnTo>
                <a:lnTo>
                  <a:pt x="44" y="18"/>
                </a:lnTo>
                <a:lnTo>
                  <a:pt x="46" y="17"/>
                </a:lnTo>
                <a:lnTo>
                  <a:pt x="47" y="15"/>
                </a:lnTo>
                <a:lnTo>
                  <a:pt x="50" y="15"/>
                </a:lnTo>
                <a:lnTo>
                  <a:pt x="54" y="17"/>
                </a:lnTo>
                <a:lnTo>
                  <a:pt x="64" y="17"/>
                </a:lnTo>
                <a:lnTo>
                  <a:pt x="67" y="17"/>
                </a:lnTo>
                <a:lnTo>
                  <a:pt x="68" y="18"/>
                </a:lnTo>
                <a:lnTo>
                  <a:pt x="70" y="18"/>
                </a:lnTo>
                <a:lnTo>
                  <a:pt x="75" y="18"/>
                </a:lnTo>
                <a:lnTo>
                  <a:pt x="79" y="17"/>
                </a:lnTo>
                <a:lnTo>
                  <a:pt x="82" y="14"/>
                </a:lnTo>
                <a:lnTo>
                  <a:pt x="84" y="12"/>
                </a:lnTo>
                <a:lnTo>
                  <a:pt x="88" y="9"/>
                </a:lnTo>
                <a:lnTo>
                  <a:pt x="91" y="9"/>
                </a:lnTo>
                <a:lnTo>
                  <a:pt x="95" y="6"/>
                </a:lnTo>
                <a:lnTo>
                  <a:pt x="98" y="4"/>
                </a:lnTo>
                <a:lnTo>
                  <a:pt x="106" y="1"/>
                </a:lnTo>
                <a:lnTo>
                  <a:pt x="110" y="1"/>
                </a:lnTo>
                <a:lnTo>
                  <a:pt x="113" y="1"/>
                </a:lnTo>
                <a:lnTo>
                  <a:pt x="120" y="1"/>
                </a:lnTo>
                <a:lnTo>
                  <a:pt x="131" y="1"/>
                </a:lnTo>
                <a:lnTo>
                  <a:pt x="133" y="0"/>
                </a:lnTo>
                <a:lnTo>
                  <a:pt x="136" y="0"/>
                </a:lnTo>
                <a:lnTo>
                  <a:pt x="137" y="0"/>
                </a:lnTo>
                <a:lnTo>
                  <a:pt x="137" y="3"/>
                </a:lnTo>
                <a:lnTo>
                  <a:pt x="139" y="4"/>
                </a:lnTo>
                <a:lnTo>
                  <a:pt x="143" y="7"/>
                </a:lnTo>
                <a:lnTo>
                  <a:pt x="147" y="7"/>
                </a:lnTo>
                <a:lnTo>
                  <a:pt x="151" y="6"/>
                </a:lnTo>
                <a:lnTo>
                  <a:pt x="152" y="9"/>
                </a:lnTo>
                <a:lnTo>
                  <a:pt x="155" y="14"/>
                </a:lnTo>
                <a:lnTo>
                  <a:pt x="161" y="14"/>
                </a:lnTo>
                <a:lnTo>
                  <a:pt x="171" y="20"/>
                </a:lnTo>
                <a:lnTo>
                  <a:pt x="173" y="18"/>
                </a:lnTo>
                <a:lnTo>
                  <a:pt x="175" y="18"/>
                </a:lnTo>
                <a:lnTo>
                  <a:pt x="180" y="20"/>
                </a:lnTo>
                <a:lnTo>
                  <a:pt x="187" y="20"/>
                </a:lnTo>
                <a:lnTo>
                  <a:pt x="191" y="18"/>
                </a:lnTo>
                <a:lnTo>
                  <a:pt x="199" y="17"/>
                </a:lnTo>
                <a:lnTo>
                  <a:pt x="208" y="18"/>
                </a:lnTo>
                <a:lnTo>
                  <a:pt x="215" y="18"/>
                </a:lnTo>
                <a:lnTo>
                  <a:pt x="225" y="12"/>
                </a:lnTo>
                <a:lnTo>
                  <a:pt x="230" y="9"/>
                </a:lnTo>
                <a:lnTo>
                  <a:pt x="230" y="7"/>
                </a:lnTo>
                <a:lnTo>
                  <a:pt x="233" y="9"/>
                </a:lnTo>
                <a:lnTo>
                  <a:pt x="236" y="9"/>
                </a:lnTo>
                <a:lnTo>
                  <a:pt x="238" y="9"/>
                </a:lnTo>
                <a:lnTo>
                  <a:pt x="244" y="11"/>
                </a:lnTo>
                <a:lnTo>
                  <a:pt x="245" y="11"/>
                </a:lnTo>
                <a:lnTo>
                  <a:pt x="246" y="9"/>
                </a:lnTo>
                <a:lnTo>
                  <a:pt x="248" y="7"/>
                </a:lnTo>
                <a:lnTo>
                  <a:pt x="250" y="9"/>
                </a:lnTo>
                <a:lnTo>
                  <a:pt x="253" y="11"/>
                </a:lnTo>
                <a:lnTo>
                  <a:pt x="256" y="14"/>
                </a:lnTo>
                <a:lnTo>
                  <a:pt x="257" y="14"/>
                </a:lnTo>
                <a:lnTo>
                  <a:pt x="260" y="17"/>
                </a:lnTo>
                <a:lnTo>
                  <a:pt x="261" y="18"/>
                </a:lnTo>
                <a:lnTo>
                  <a:pt x="264" y="22"/>
                </a:lnTo>
                <a:lnTo>
                  <a:pt x="264" y="26"/>
                </a:lnTo>
                <a:lnTo>
                  <a:pt x="265" y="29"/>
                </a:lnTo>
                <a:lnTo>
                  <a:pt x="266" y="33"/>
                </a:lnTo>
                <a:lnTo>
                  <a:pt x="270" y="33"/>
                </a:lnTo>
                <a:lnTo>
                  <a:pt x="272" y="34"/>
                </a:lnTo>
                <a:lnTo>
                  <a:pt x="274" y="37"/>
                </a:lnTo>
                <a:lnTo>
                  <a:pt x="277" y="39"/>
                </a:lnTo>
                <a:lnTo>
                  <a:pt x="278" y="39"/>
                </a:lnTo>
                <a:lnTo>
                  <a:pt x="276" y="44"/>
                </a:lnTo>
                <a:lnTo>
                  <a:pt x="276" y="45"/>
                </a:lnTo>
                <a:lnTo>
                  <a:pt x="272" y="48"/>
                </a:lnTo>
                <a:lnTo>
                  <a:pt x="272" y="50"/>
                </a:lnTo>
                <a:lnTo>
                  <a:pt x="273" y="54"/>
                </a:lnTo>
                <a:lnTo>
                  <a:pt x="274" y="61"/>
                </a:lnTo>
                <a:lnTo>
                  <a:pt x="274" y="65"/>
                </a:lnTo>
                <a:lnTo>
                  <a:pt x="274" y="69"/>
                </a:lnTo>
                <a:lnTo>
                  <a:pt x="273" y="75"/>
                </a:lnTo>
                <a:lnTo>
                  <a:pt x="277" y="76"/>
                </a:lnTo>
                <a:lnTo>
                  <a:pt x="281" y="81"/>
                </a:lnTo>
                <a:lnTo>
                  <a:pt x="281" y="84"/>
                </a:lnTo>
                <a:lnTo>
                  <a:pt x="278" y="87"/>
                </a:lnTo>
                <a:lnTo>
                  <a:pt x="274" y="86"/>
                </a:lnTo>
                <a:lnTo>
                  <a:pt x="272" y="83"/>
                </a:lnTo>
                <a:lnTo>
                  <a:pt x="268" y="84"/>
                </a:lnTo>
                <a:lnTo>
                  <a:pt x="260" y="83"/>
                </a:lnTo>
                <a:lnTo>
                  <a:pt x="253" y="81"/>
                </a:lnTo>
                <a:lnTo>
                  <a:pt x="246" y="87"/>
                </a:lnTo>
                <a:lnTo>
                  <a:pt x="244" y="87"/>
                </a:lnTo>
                <a:lnTo>
                  <a:pt x="244" y="86"/>
                </a:lnTo>
                <a:lnTo>
                  <a:pt x="242" y="84"/>
                </a:lnTo>
                <a:lnTo>
                  <a:pt x="240" y="86"/>
                </a:lnTo>
                <a:lnTo>
                  <a:pt x="234" y="87"/>
                </a:lnTo>
                <a:lnTo>
                  <a:pt x="225" y="89"/>
                </a:lnTo>
                <a:lnTo>
                  <a:pt x="223" y="87"/>
                </a:lnTo>
                <a:lnTo>
                  <a:pt x="220" y="87"/>
                </a:lnTo>
                <a:lnTo>
                  <a:pt x="216" y="89"/>
                </a:lnTo>
                <a:lnTo>
                  <a:pt x="213" y="91"/>
                </a:lnTo>
                <a:lnTo>
                  <a:pt x="211" y="92"/>
                </a:lnTo>
                <a:lnTo>
                  <a:pt x="208" y="92"/>
                </a:lnTo>
                <a:lnTo>
                  <a:pt x="207" y="94"/>
                </a:lnTo>
                <a:lnTo>
                  <a:pt x="197" y="95"/>
                </a:lnTo>
                <a:lnTo>
                  <a:pt x="189" y="94"/>
                </a:lnTo>
                <a:lnTo>
                  <a:pt x="187" y="92"/>
                </a:lnTo>
                <a:lnTo>
                  <a:pt x="184" y="91"/>
                </a:lnTo>
                <a:lnTo>
                  <a:pt x="181" y="92"/>
                </a:lnTo>
                <a:lnTo>
                  <a:pt x="179" y="94"/>
                </a:lnTo>
                <a:lnTo>
                  <a:pt x="175" y="95"/>
                </a:lnTo>
                <a:lnTo>
                  <a:pt x="172" y="95"/>
                </a:lnTo>
                <a:lnTo>
                  <a:pt x="171" y="95"/>
                </a:lnTo>
                <a:lnTo>
                  <a:pt x="167" y="95"/>
                </a:lnTo>
                <a:lnTo>
                  <a:pt x="165" y="95"/>
                </a:lnTo>
                <a:lnTo>
                  <a:pt x="164" y="95"/>
                </a:lnTo>
                <a:lnTo>
                  <a:pt x="164" y="94"/>
                </a:lnTo>
                <a:lnTo>
                  <a:pt x="163" y="94"/>
                </a:lnTo>
                <a:lnTo>
                  <a:pt x="160" y="94"/>
                </a:lnTo>
                <a:lnTo>
                  <a:pt x="159" y="92"/>
                </a:lnTo>
                <a:lnTo>
                  <a:pt x="157" y="95"/>
                </a:lnTo>
                <a:lnTo>
                  <a:pt x="157" y="97"/>
                </a:lnTo>
                <a:lnTo>
                  <a:pt x="156" y="98"/>
                </a:lnTo>
                <a:lnTo>
                  <a:pt x="159" y="103"/>
                </a:lnTo>
                <a:lnTo>
                  <a:pt x="156" y="103"/>
                </a:lnTo>
                <a:lnTo>
                  <a:pt x="155" y="105"/>
                </a:lnTo>
                <a:lnTo>
                  <a:pt x="153" y="105"/>
                </a:lnTo>
                <a:lnTo>
                  <a:pt x="155" y="108"/>
                </a:lnTo>
                <a:lnTo>
                  <a:pt x="152" y="109"/>
                </a:lnTo>
                <a:lnTo>
                  <a:pt x="151" y="111"/>
                </a:lnTo>
                <a:lnTo>
                  <a:pt x="149" y="109"/>
                </a:lnTo>
                <a:lnTo>
                  <a:pt x="148" y="108"/>
                </a:lnTo>
                <a:lnTo>
                  <a:pt x="148" y="106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11" name="Freeform 1035"/>
          <p:cNvSpPr>
            <a:spLocks/>
          </p:cNvSpPr>
          <p:nvPr/>
        </p:nvSpPr>
        <p:spPr bwMode="auto">
          <a:xfrm>
            <a:off x="6707297" y="2894625"/>
            <a:ext cx="255294" cy="184694"/>
          </a:xfrm>
          <a:custGeom>
            <a:avLst/>
            <a:gdLst/>
            <a:ahLst/>
            <a:cxnLst>
              <a:cxn ang="0">
                <a:pos x="116" y="4"/>
              </a:cxn>
              <a:cxn ang="0">
                <a:pos x="117" y="11"/>
              </a:cxn>
              <a:cxn ang="0">
                <a:pos x="122" y="15"/>
              </a:cxn>
              <a:cxn ang="0">
                <a:pos x="126" y="19"/>
              </a:cxn>
              <a:cxn ang="0">
                <a:pos x="130" y="21"/>
              </a:cxn>
              <a:cxn ang="0">
                <a:pos x="128" y="27"/>
              </a:cxn>
              <a:cxn ang="0">
                <a:pos x="124" y="32"/>
              </a:cxn>
              <a:cxn ang="0">
                <a:pos x="126" y="43"/>
              </a:cxn>
              <a:cxn ang="0">
                <a:pos x="126" y="51"/>
              </a:cxn>
              <a:cxn ang="0">
                <a:pos x="129" y="58"/>
              </a:cxn>
              <a:cxn ang="0">
                <a:pos x="133" y="66"/>
              </a:cxn>
              <a:cxn ang="0">
                <a:pos x="126" y="68"/>
              </a:cxn>
              <a:cxn ang="0">
                <a:pos x="120" y="66"/>
              </a:cxn>
              <a:cxn ang="0">
                <a:pos x="105" y="63"/>
              </a:cxn>
              <a:cxn ang="0">
                <a:pos x="96" y="69"/>
              </a:cxn>
              <a:cxn ang="0">
                <a:pos x="94" y="66"/>
              </a:cxn>
              <a:cxn ang="0">
                <a:pos x="86" y="69"/>
              </a:cxn>
              <a:cxn ang="0">
                <a:pos x="75" y="69"/>
              </a:cxn>
              <a:cxn ang="0">
                <a:pos x="68" y="71"/>
              </a:cxn>
              <a:cxn ang="0">
                <a:pos x="63" y="74"/>
              </a:cxn>
              <a:cxn ang="0">
                <a:pos x="59" y="76"/>
              </a:cxn>
              <a:cxn ang="0">
                <a:pos x="41" y="76"/>
              </a:cxn>
              <a:cxn ang="0">
                <a:pos x="36" y="73"/>
              </a:cxn>
              <a:cxn ang="0">
                <a:pos x="31" y="76"/>
              </a:cxn>
              <a:cxn ang="0">
                <a:pos x="24" y="77"/>
              </a:cxn>
              <a:cxn ang="0">
                <a:pos x="19" y="77"/>
              </a:cxn>
              <a:cxn ang="0">
                <a:pos x="16" y="77"/>
              </a:cxn>
              <a:cxn ang="0">
                <a:pos x="15" y="76"/>
              </a:cxn>
              <a:cxn ang="0">
                <a:pos x="11" y="74"/>
              </a:cxn>
              <a:cxn ang="0">
                <a:pos x="9" y="79"/>
              </a:cxn>
              <a:cxn ang="0">
                <a:pos x="11" y="85"/>
              </a:cxn>
              <a:cxn ang="0">
                <a:pos x="7" y="87"/>
              </a:cxn>
              <a:cxn ang="0">
                <a:pos x="7" y="90"/>
              </a:cxn>
              <a:cxn ang="0">
                <a:pos x="3" y="93"/>
              </a:cxn>
              <a:cxn ang="0">
                <a:pos x="0" y="90"/>
              </a:cxn>
            </a:cxnLst>
            <a:rect l="0" t="0" r="r" b="b"/>
            <a:pathLst>
              <a:path w="133" h="93">
                <a:moveTo>
                  <a:pt x="113" y="0"/>
                </a:moveTo>
                <a:lnTo>
                  <a:pt x="116" y="4"/>
                </a:lnTo>
                <a:lnTo>
                  <a:pt x="116" y="8"/>
                </a:lnTo>
                <a:lnTo>
                  <a:pt x="117" y="11"/>
                </a:lnTo>
                <a:lnTo>
                  <a:pt x="118" y="15"/>
                </a:lnTo>
                <a:lnTo>
                  <a:pt x="122" y="15"/>
                </a:lnTo>
                <a:lnTo>
                  <a:pt x="124" y="16"/>
                </a:lnTo>
                <a:lnTo>
                  <a:pt x="126" y="19"/>
                </a:lnTo>
                <a:lnTo>
                  <a:pt x="129" y="21"/>
                </a:lnTo>
                <a:lnTo>
                  <a:pt x="130" y="21"/>
                </a:lnTo>
                <a:lnTo>
                  <a:pt x="128" y="26"/>
                </a:lnTo>
                <a:lnTo>
                  <a:pt x="128" y="27"/>
                </a:lnTo>
                <a:lnTo>
                  <a:pt x="124" y="30"/>
                </a:lnTo>
                <a:lnTo>
                  <a:pt x="124" y="32"/>
                </a:lnTo>
                <a:lnTo>
                  <a:pt x="125" y="36"/>
                </a:lnTo>
                <a:lnTo>
                  <a:pt x="126" y="43"/>
                </a:lnTo>
                <a:lnTo>
                  <a:pt x="126" y="47"/>
                </a:lnTo>
                <a:lnTo>
                  <a:pt x="126" y="51"/>
                </a:lnTo>
                <a:lnTo>
                  <a:pt x="125" y="57"/>
                </a:lnTo>
                <a:lnTo>
                  <a:pt x="129" y="58"/>
                </a:lnTo>
                <a:lnTo>
                  <a:pt x="133" y="63"/>
                </a:lnTo>
                <a:lnTo>
                  <a:pt x="133" y="66"/>
                </a:lnTo>
                <a:lnTo>
                  <a:pt x="130" y="69"/>
                </a:lnTo>
                <a:lnTo>
                  <a:pt x="126" y="68"/>
                </a:lnTo>
                <a:lnTo>
                  <a:pt x="124" y="65"/>
                </a:lnTo>
                <a:lnTo>
                  <a:pt x="120" y="66"/>
                </a:lnTo>
                <a:lnTo>
                  <a:pt x="112" y="65"/>
                </a:lnTo>
                <a:lnTo>
                  <a:pt x="105" y="63"/>
                </a:lnTo>
                <a:lnTo>
                  <a:pt x="98" y="69"/>
                </a:lnTo>
                <a:lnTo>
                  <a:pt x="96" y="69"/>
                </a:lnTo>
                <a:lnTo>
                  <a:pt x="96" y="68"/>
                </a:lnTo>
                <a:lnTo>
                  <a:pt x="94" y="66"/>
                </a:lnTo>
                <a:lnTo>
                  <a:pt x="92" y="68"/>
                </a:lnTo>
                <a:lnTo>
                  <a:pt x="86" y="69"/>
                </a:lnTo>
                <a:lnTo>
                  <a:pt x="77" y="71"/>
                </a:lnTo>
                <a:lnTo>
                  <a:pt x="75" y="69"/>
                </a:lnTo>
                <a:lnTo>
                  <a:pt x="72" y="69"/>
                </a:lnTo>
                <a:lnTo>
                  <a:pt x="68" y="71"/>
                </a:lnTo>
                <a:lnTo>
                  <a:pt x="65" y="73"/>
                </a:lnTo>
                <a:lnTo>
                  <a:pt x="63" y="74"/>
                </a:lnTo>
                <a:lnTo>
                  <a:pt x="60" y="74"/>
                </a:lnTo>
                <a:lnTo>
                  <a:pt x="59" y="76"/>
                </a:lnTo>
                <a:lnTo>
                  <a:pt x="49" y="77"/>
                </a:lnTo>
                <a:lnTo>
                  <a:pt x="41" y="76"/>
                </a:lnTo>
                <a:lnTo>
                  <a:pt x="39" y="74"/>
                </a:lnTo>
                <a:lnTo>
                  <a:pt x="36" y="73"/>
                </a:lnTo>
                <a:lnTo>
                  <a:pt x="33" y="74"/>
                </a:lnTo>
                <a:lnTo>
                  <a:pt x="31" y="76"/>
                </a:lnTo>
                <a:lnTo>
                  <a:pt x="27" y="77"/>
                </a:lnTo>
                <a:lnTo>
                  <a:pt x="24" y="77"/>
                </a:lnTo>
                <a:lnTo>
                  <a:pt x="23" y="77"/>
                </a:lnTo>
                <a:lnTo>
                  <a:pt x="19" y="77"/>
                </a:lnTo>
                <a:lnTo>
                  <a:pt x="17" y="77"/>
                </a:lnTo>
                <a:lnTo>
                  <a:pt x="16" y="77"/>
                </a:lnTo>
                <a:lnTo>
                  <a:pt x="16" y="76"/>
                </a:lnTo>
                <a:lnTo>
                  <a:pt x="15" y="76"/>
                </a:lnTo>
                <a:lnTo>
                  <a:pt x="12" y="76"/>
                </a:lnTo>
                <a:lnTo>
                  <a:pt x="11" y="74"/>
                </a:lnTo>
                <a:lnTo>
                  <a:pt x="9" y="77"/>
                </a:lnTo>
                <a:lnTo>
                  <a:pt x="9" y="79"/>
                </a:lnTo>
                <a:lnTo>
                  <a:pt x="8" y="80"/>
                </a:lnTo>
                <a:lnTo>
                  <a:pt x="11" y="85"/>
                </a:lnTo>
                <a:lnTo>
                  <a:pt x="8" y="85"/>
                </a:lnTo>
                <a:lnTo>
                  <a:pt x="7" y="87"/>
                </a:lnTo>
                <a:lnTo>
                  <a:pt x="5" y="87"/>
                </a:lnTo>
                <a:lnTo>
                  <a:pt x="7" y="90"/>
                </a:lnTo>
                <a:lnTo>
                  <a:pt x="4" y="91"/>
                </a:lnTo>
                <a:lnTo>
                  <a:pt x="3" y="93"/>
                </a:lnTo>
                <a:lnTo>
                  <a:pt x="1" y="91"/>
                </a:lnTo>
                <a:lnTo>
                  <a:pt x="0" y="90"/>
                </a:lnTo>
                <a:lnTo>
                  <a:pt x="0" y="88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12" name="Freeform 1036"/>
          <p:cNvSpPr>
            <a:spLocks/>
          </p:cNvSpPr>
          <p:nvPr/>
        </p:nvSpPr>
        <p:spPr bwMode="auto">
          <a:xfrm>
            <a:off x="7013261" y="3283343"/>
            <a:ext cx="50670" cy="53689"/>
          </a:xfrm>
          <a:custGeom>
            <a:avLst/>
            <a:gdLst/>
            <a:ahLst/>
            <a:cxnLst>
              <a:cxn ang="0">
                <a:pos x="26" y="28"/>
              </a:cxn>
              <a:cxn ang="0">
                <a:pos x="25" y="24"/>
              </a:cxn>
              <a:cxn ang="0">
                <a:pos x="24" y="21"/>
              </a:cxn>
              <a:cxn ang="0">
                <a:pos x="22" y="16"/>
              </a:cxn>
              <a:cxn ang="0">
                <a:pos x="20" y="14"/>
              </a:cxn>
              <a:cxn ang="0">
                <a:pos x="17" y="14"/>
              </a:cxn>
              <a:cxn ang="0">
                <a:pos x="17" y="13"/>
              </a:cxn>
              <a:cxn ang="0">
                <a:pos x="18" y="11"/>
              </a:cxn>
              <a:cxn ang="0">
                <a:pos x="20" y="11"/>
              </a:cxn>
              <a:cxn ang="0">
                <a:pos x="24" y="10"/>
              </a:cxn>
              <a:cxn ang="0">
                <a:pos x="25" y="8"/>
              </a:cxn>
              <a:cxn ang="0">
                <a:pos x="25" y="6"/>
              </a:cxn>
              <a:cxn ang="0">
                <a:pos x="24" y="6"/>
              </a:cxn>
              <a:cxn ang="0">
                <a:pos x="21" y="3"/>
              </a:cxn>
              <a:cxn ang="0">
                <a:pos x="21" y="2"/>
              </a:cxn>
              <a:cxn ang="0">
                <a:pos x="18" y="2"/>
              </a:cxn>
              <a:cxn ang="0">
                <a:pos x="14" y="0"/>
              </a:cxn>
              <a:cxn ang="0">
                <a:pos x="10" y="2"/>
              </a:cxn>
              <a:cxn ang="0">
                <a:pos x="6" y="8"/>
              </a:cxn>
              <a:cxn ang="0">
                <a:pos x="4" y="13"/>
              </a:cxn>
              <a:cxn ang="0">
                <a:pos x="0" y="17"/>
              </a:cxn>
              <a:cxn ang="0">
                <a:pos x="1" y="17"/>
              </a:cxn>
              <a:cxn ang="0">
                <a:pos x="6" y="19"/>
              </a:cxn>
              <a:cxn ang="0">
                <a:pos x="12" y="21"/>
              </a:cxn>
              <a:cxn ang="0">
                <a:pos x="14" y="24"/>
              </a:cxn>
              <a:cxn ang="0">
                <a:pos x="17" y="27"/>
              </a:cxn>
              <a:cxn ang="0">
                <a:pos x="26" y="28"/>
              </a:cxn>
            </a:cxnLst>
            <a:rect l="0" t="0" r="r" b="b"/>
            <a:pathLst>
              <a:path w="26" h="28">
                <a:moveTo>
                  <a:pt x="26" y="28"/>
                </a:moveTo>
                <a:lnTo>
                  <a:pt x="25" y="24"/>
                </a:lnTo>
                <a:lnTo>
                  <a:pt x="24" y="21"/>
                </a:lnTo>
                <a:lnTo>
                  <a:pt x="22" y="16"/>
                </a:lnTo>
                <a:lnTo>
                  <a:pt x="20" y="14"/>
                </a:lnTo>
                <a:lnTo>
                  <a:pt x="17" y="14"/>
                </a:lnTo>
                <a:lnTo>
                  <a:pt x="17" y="13"/>
                </a:lnTo>
                <a:lnTo>
                  <a:pt x="18" y="11"/>
                </a:lnTo>
                <a:lnTo>
                  <a:pt x="20" y="11"/>
                </a:lnTo>
                <a:lnTo>
                  <a:pt x="24" y="10"/>
                </a:lnTo>
                <a:lnTo>
                  <a:pt x="25" y="8"/>
                </a:lnTo>
                <a:lnTo>
                  <a:pt x="25" y="6"/>
                </a:lnTo>
                <a:lnTo>
                  <a:pt x="24" y="6"/>
                </a:lnTo>
                <a:lnTo>
                  <a:pt x="21" y="3"/>
                </a:lnTo>
                <a:lnTo>
                  <a:pt x="21" y="2"/>
                </a:lnTo>
                <a:lnTo>
                  <a:pt x="18" y="2"/>
                </a:lnTo>
                <a:lnTo>
                  <a:pt x="14" y="0"/>
                </a:lnTo>
                <a:lnTo>
                  <a:pt x="10" y="2"/>
                </a:lnTo>
                <a:lnTo>
                  <a:pt x="6" y="8"/>
                </a:lnTo>
                <a:lnTo>
                  <a:pt x="4" y="13"/>
                </a:lnTo>
                <a:lnTo>
                  <a:pt x="0" y="17"/>
                </a:lnTo>
                <a:lnTo>
                  <a:pt x="1" y="17"/>
                </a:lnTo>
                <a:lnTo>
                  <a:pt x="6" y="19"/>
                </a:lnTo>
                <a:lnTo>
                  <a:pt x="12" y="21"/>
                </a:lnTo>
                <a:lnTo>
                  <a:pt x="14" y="24"/>
                </a:lnTo>
                <a:lnTo>
                  <a:pt x="17" y="27"/>
                </a:lnTo>
                <a:lnTo>
                  <a:pt x="26" y="28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13" name="Freeform 1037"/>
          <p:cNvSpPr>
            <a:spLocks/>
          </p:cNvSpPr>
          <p:nvPr/>
        </p:nvSpPr>
        <p:spPr bwMode="auto">
          <a:xfrm>
            <a:off x="7013261" y="3283343"/>
            <a:ext cx="50670" cy="53689"/>
          </a:xfrm>
          <a:custGeom>
            <a:avLst/>
            <a:gdLst/>
            <a:ahLst/>
            <a:cxnLst>
              <a:cxn ang="0">
                <a:pos x="26" y="28"/>
              </a:cxn>
              <a:cxn ang="0">
                <a:pos x="25" y="24"/>
              </a:cxn>
              <a:cxn ang="0">
                <a:pos x="24" y="21"/>
              </a:cxn>
              <a:cxn ang="0">
                <a:pos x="22" y="16"/>
              </a:cxn>
              <a:cxn ang="0">
                <a:pos x="20" y="14"/>
              </a:cxn>
              <a:cxn ang="0">
                <a:pos x="17" y="14"/>
              </a:cxn>
              <a:cxn ang="0">
                <a:pos x="17" y="13"/>
              </a:cxn>
              <a:cxn ang="0">
                <a:pos x="18" y="11"/>
              </a:cxn>
              <a:cxn ang="0">
                <a:pos x="20" y="11"/>
              </a:cxn>
              <a:cxn ang="0">
                <a:pos x="24" y="10"/>
              </a:cxn>
              <a:cxn ang="0">
                <a:pos x="25" y="8"/>
              </a:cxn>
              <a:cxn ang="0">
                <a:pos x="25" y="6"/>
              </a:cxn>
              <a:cxn ang="0">
                <a:pos x="24" y="6"/>
              </a:cxn>
              <a:cxn ang="0">
                <a:pos x="21" y="3"/>
              </a:cxn>
              <a:cxn ang="0">
                <a:pos x="21" y="2"/>
              </a:cxn>
              <a:cxn ang="0">
                <a:pos x="18" y="2"/>
              </a:cxn>
              <a:cxn ang="0">
                <a:pos x="14" y="0"/>
              </a:cxn>
              <a:cxn ang="0">
                <a:pos x="10" y="2"/>
              </a:cxn>
              <a:cxn ang="0">
                <a:pos x="6" y="8"/>
              </a:cxn>
              <a:cxn ang="0">
                <a:pos x="4" y="13"/>
              </a:cxn>
              <a:cxn ang="0">
                <a:pos x="0" y="17"/>
              </a:cxn>
              <a:cxn ang="0">
                <a:pos x="1" y="17"/>
              </a:cxn>
              <a:cxn ang="0">
                <a:pos x="6" y="19"/>
              </a:cxn>
              <a:cxn ang="0">
                <a:pos x="12" y="21"/>
              </a:cxn>
              <a:cxn ang="0">
                <a:pos x="14" y="24"/>
              </a:cxn>
              <a:cxn ang="0">
                <a:pos x="17" y="27"/>
              </a:cxn>
              <a:cxn ang="0">
                <a:pos x="26" y="28"/>
              </a:cxn>
            </a:cxnLst>
            <a:rect l="0" t="0" r="r" b="b"/>
            <a:pathLst>
              <a:path w="26" h="28">
                <a:moveTo>
                  <a:pt x="26" y="28"/>
                </a:moveTo>
                <a:lnTo>
                  <a:pt x="25" y="24"/>
                </a:lnTo>
                <a:lnTo>
                  <a:pt x="24" y="21"/>
                </a:lnTo>
                <a:lnTo>
                  <a:pt x="22" y="16"/>
                </a:lnTo>
                <a:lnTo>
                  <a:pt x="20" y="14"/>
                </a:lnTo>
                <a:lnTo>
                  <a:pt x="17" y="14"/>
                </a:lnTo>
                <a:lnTo>
                  <a:pt x="17" y="13"/>
                </a:lnTo>
                <a:lnTo>
                  <a:pt x="18" y="11"/>
                </a:lnTo>
                <a:lnTo>
                  <a:pt x="20" y="11"/>
                </a:lnTo>
                <a:lnTo>
                  <a:pt x="24" y="10"/>
                </a:lnTo>
                <a:lnTo>
                  <a:pt x="25" y="8"/>
                </a:lnTo>
                <a:lnTo>
                  <a:pt x="25" y="6"/>
                </a:lnTo>
                <a:lnTo>
                  <a:pt x="24" y="6"/>
                </a:lnTo>
                <a:lnTo>
                  <a:pt x="21" y="3"/>
                </a:lnTo>
                <a:lnTo>
                  <a:pt x="21" y="2"/>
                </a:lnTo>
                <a:lnTo>
                  <a:pt x="18" y="2"/>
                </a:lnTo>
                <a:lnTo>
                  <a:pt x="14" y="0"/>
                </a:lnTo>
                <a:lnTo>
                  <a:pt x="10" y="2"/>
                </a:lnTo>
                <a:lnTo>
                  <a:pt x="6" y="8"/>
                </a:lnTo>
                <a:lnTo>
                  <a:pt x="4" y="13"/>
                </a:lnTo>
                <a:lnTo>
                  <a:pt x="0" y="17"/>
                </a:lnTo>
                <a:lnTo>
                  <a:pt x="1" y="17"/>
                </a:lnTo>
                <a:lnTo>
                  <a:pt x="6" y="19"/>
                </a:lnTo>
                <a:lnTo>
                  <a:pt x="12" y="21"/>
                </a:lnTo>
                <a:lnTo>
                  <a:pt x="14" y="24"/>
                </a:lnTo>
                <a:lnTo>
                  <a:pt x="17" y="27"/>
                </a:lnTo>
                <a:lnTo>
                  <a:pt x="26" y="28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14" name="Freeform 1038"/>
          <p:cNvSpPr>
            <a:spLocks/>
          </p:cNvSpPr>
          <p:nvPr/>
        </p:nvSpPr>
        <p:spPr bwMode="auto">
          <a:xfrm>
            <a:off x="7424461" y="3040662"/>
            <a:ext cx="483305" cy="466031"/>
          </a:xfrm>
          <a:custGeom>
            <a:avLst/>
            <a:gdLst/>
            <a:ahLst/>
            <a:cxnLst>
              <a:cxn ang="0">
                <a:pos x="24" y="186"/>
              </a:cxn>
              <a:cxn ang="0">
                <a:pos x="29" y="172"/>
              </a:cxn>
              <a:cxn ang="0">
                <a:pos x="11" y="147"/>
              </a:cxn>
              <a:cxn ang="0">
                <a:pos x="24" y="135"/>
              </a:cxn>
              <a:cxn ang="0">
                <a:pos x="39" y="133"/>
              </a:cxn>
              <a:cxn ang="0">
                <a:pos x="56" y="132"/>
              </a:cxn>
              <a:cxn ang="0">
                <a:pos x="81" y="122"/>
              </a:cxn>
              <a:cxn ang="0">
                <a:pos x="90" y="100"/>
              </a:cxn>
              <a:cxn ang="0">
                <a:pos x="101" y="99"/>
              </a:cxn>
              <a:cxn ang="0">
                <a:pos x="114" y="92"/>
              </a:cxn>
              <a:cxn ang="0">
                <a:pos x="126" y="91"/>
              </a:cxn>
              <a:cxn ang="0">
                <a:pos x="129" y="78"/>
              </a:cxn>
              <a:cxn ang="0">
                <a:pos x="136" y="69"/>
              </a:cxn>
              <a:cxn ang="0">
                <a:pos x="138" y="58"/>
              </a:cxn>
              <a:cxn ang="0">
                <a:pos x="148" y="53"/>
              </a:cxn>
              <a:cxn ang="0">
                <a:pos x="153" y="45"/>
              </a:cxn>
              <a:cxn ang="0">
                <a:pos x="161" y="33"/>
              </a:cxn>
              <a:cxn ang="0">
                <a:pos x="158" y="18"/>
              </a:cxn>
              <a:cxn ang="0">
                <a:pos x="165" y="9"/>
              </a:cxn>
              <a:cxn ang="0">
                <a:pos x="171" y="4"/>
              </a:cxn>
              <a:cxn ang="0">
                <a:pos x="193" y="1"/>
              </a:cxn>
              <a:cxn ang="0">
                <a:pos x="210" y="1"/>
              </a:cxn>
              <a:cxn ang="0">
                <a:pos x="222" y="3"/>
              </a:cxn>
              <a:cxn ang="0">
                <a:pos x="227" y="15"/>
              </a:cxn>
              <a:cxn ang="0">
                <a:pos x="234" y="20"/>
              </a:cxn>
              <a:cxn ang="0">
                <a:pos x="247" y="26"/>
              </a:cxn>
              <a:cxn ang="0">
                <a:pos x="239" y="39"/>
              </a:cxn>
              <a:cxn ang="0">
                <a:pos x="226" y="40"/>
              </a:cxn>
              <a:cxn ang="0">
                <a:pos x="217" y="42"/>
              </a:cxn>
              <a:cxn ang="0">
                <a:pos x="199" y="39"/>
              </a:cxn>
              <a:cxn ang="0">
                <a:pos x="197" y="47"/>
              </a:cxn>
              <a:cxn ang="0">
                <a:pos x="201" y="51"/>
              </a:cxn>
              <a:cxn ang="0">
                <a:pos x="198" y="67"/>
              </a:cxn>
              <a:cxn ang="0">
                <a:pos x="207" y="75"/>
              </a:cxn>
              <a:cxn ang="0">
                <a:pos x="218" y="83"/>
              </a:cxn>
              <a:cxn ang="0">
                <a:pos x="210" y="88"/>
              </a:cxn>
              <a:cxn ang="0">
                <a:pos x="207" y="100"/>
              </a:cxn>
              <a:cxn ang="0">
                <a:pos x="206" y="106"/>
              </a:cxn>
              <a:cxn ang="0">
                <a:pos x="194" y="119"/>
              </a:cxn>
              <a:cxn ang="0">
                <a:pos x="186" y="132"/>
              </a:cxn>
              <a:cxn ang="0">
                <a:pos x="167" y="154"/>
              </a:cxn>
              <a:cxn ang="0">
                <a:pos x="152" y="163"/>
              </a:cxn>
              <a:cxn ang="0">
                <a:pos x="144" y="160"/>
              </a:cxn>
              <a:cxn ang="0">
                <a:pos x="129" y="180"/>
              </a:cxn>
              <a:cxn ang="0">
                <a:pos x="140" y="185"/>
              </a:cxn>
              <a:cxn ang="0">
                <a:pos x="142" y="201"/>
              </a:cxn>
              <a:cxn ang="0">
                <a:pos x="149" y="212"/>
              </a:cxn>
              <a:cxn ang="0">
                <a:pos x="152" y="223"/>
              </a:cxn>
              <a:cxn ang="0">
                <a:pos x="146" y="226"/>
              </a:cxn>
              <a:cxn ang="0">
                <a:pos x="137" y="227"/>
              </a:cxn>
              <a:cxn ang="0">
                <a:pos x="122" y="226"/>
              </a:cxn>
              <a:cxn ang="0">
                <a:pos x="112" y="232"/>
              </a:cxn>
              <a:cxn ang="0">
                <a:pos x="100" y="234"/>
              </a:cxn>
              <a:cxn ang="0">
                <a:pos x="93" y="218"/>
              </a:cxn>
              <a:cxn ang="0">
                <a:pos x="80" y="205"/>
              </a:cxn>
              <a:cxn ang="0">
                <a:pos x="54" y="208"/>
              </a:cxn>
              <a:cxn ang="0">
                <a:pos x="28" y="208"/>
              </a:cxn>
              <a:cxn ang="0">
                <a:pos x="12" y="210"/>
              </a:cxn>
            </a:cxnLst>
            <a:rect l="0" t="0" r="r" b="b"/>
            <a:pathLst>
              <a:path w="253" h="235">
                <a:moveTo>
                  <a:pt x="11" y="210"/>
                </a:moveTo>
                <a:lnTo>
                  <a:pt x="11" y="205"/>
                </a:lnTo>
                <a:lnTo>
                  <a:pt x="12" y="202"/>
                </a:lnTo>
                <a:lnTo>
                  <a:pt x="15" y="193"/>
                </a:lnTo>
                <a:lnTo>
                  <a:pt x="17" y="190"/>
                </a:lnTo>
                <a:lnTo>
                  <a:pt x="20" y="186"/>
                </a:lnTo>
                <a:lnTo>
                  <a:pt x="24" y="186"/>
                </a:lnTo>
                <a:lnTo>
                  <a:pt x="28" y="183"/>
                </a:lnTo>
                <a:lnTo>
                  <a:pt x="32" y="183"/>
                </a:lnTo>
                <a:lnTo>
                  <a:pt x="36" y="180"/>
                </a:lnTo>
                <a:lnTo>
                  <a:pt x="36" y="179"/>
                </a:lnTo>
                <a:lnTo>
                  <a:pt x="36" y="175"/>
                </a:lnTo>
                <a:lnTo>
                  <a:pt x="35" y="174"/>
                </a:lnTo>
                <a:lnTo>
                  <a:pt x="29" y="172"/>
                </a:lnTo>
                <a:lnTo>
                  <a:pt x="29" y="168"/>
                </a:lnTo>
                <a:lnTo>
                  <a:pt x="29" y="164"/>
                </a:lnTo>
                <a:lnTo>
                  <a:pt x="28" y="157"/>
                </a:lnTo>
                <a:lnTo>
                  <a:pt x="27" y="155"/>
                </a:lnTo>
                <a:lnTo>
                  <a:pt x="19" y="152"/>
                </a:lnTo>
                <a:lnTo>
                  <a:pt x="15" y="150"/>
                </a:lnTo>
                <a:lnTo>
                  <a:pt x="11" y="147"/>
                </a:lnTo>
                <a:lnTo>
                  <a:pt x="5" y="135"/>
                </a:lnTo>
                <a:lnTo>
                  <a:pt x="1" y="132"/>
                </a:lnTo>
                <a:lnTo>
                  <a:pt x="0" y="128"/>
                </a:lnTo>
                <a:lnTo>
                  <a:pt x="0" y="127"/>
                </a:lnTo>
                <a:lnTo>
                  <a:pt x="16" y="132"/>
                </a:lnTo>
                <a:lnTo>
                  <a:pt x="21" y="135"/>
                </a:lnTo>
                <a:lnTo>
                  <a:pt x="24" y="135"/>
                </a:lnTo>
                <a:lnTo>
                  <a:pt x="25" y="135"/>
                </a:lnTo>
                <a:lnTo>
                  <a:pt x="25" y="133"/>
                </a:lnTo>
                <a:lnTo>
                  <a:pt x="27" y="133"/>
                </a:lnTo>
                <a:lnTo>
                  <a:pt x="29" y="133"/>
                </a:lnTo>
                <a:lnTo>
                  <a:pt x="32" y="133"/>
                </a:lnTo>
                <a:lnTo>
                  <a:pt x="35" y="133"/>
                </a:lnTo>
                <a:lnTo>
                  <a:pt x="39" y="133"/>
                </a:lnTo>
                <a:lnTo>
                  <a:pt x="44" y="133"/>
                </a:lnTo>
                <a:lnTo>
                  <a:pt x="48" y="135"/>
                </a:lnTo>
                <a:lnTo>
                  <a:pt x="49" y="135"/>
                </a:lnTo>
                <a:lnTo>
                  <a:pt x="49" y="133"/>
                </a:lnTo>
                <a:lnTo>
                  <a:pt x="50" y="132"/>
                </a:lnTo>
                <a:lnTo>
                  <a:pt x="53" y="132"/>
                </a:lnTo>
                <a:lnTo>
                  <a:pt x="56" y="132"/>
                </a:lnTo>
                <a:lnTo>
                  <a:pt x="62" y="132"/>
                </a:lnTo>
                <a:lnTo>
                  <a:pt x="68" y="130"/>
                </a:lnTo>
                <a:lnTo>
                  <a:pt x="73" y="128"/>
                </a:lnTo>
                <a:lnTo>
                  <a:pt x="80" y="127"/>
                </a:lnTo>
                <a:lnTo>
                  <a:pt x="82" y="125"/>
                </a:lnTo>
                <a:lnTo>
                  <a:pt x="82" y="124"/>
                </a:lnTo>
                <a:lnTo>
                  <a:pt x="81" y="122"/>
                </a:lnTo>
                <a:lnTo>
                  <a:pt x="82" y="116"/>
                </a:lnTo>
                <a:lnTo>
                  <a:pt x="82" y="113"/>
                </a:lnTo>
                <a:lnTo>
                  <a:pt x="82" y="108"/>
                </a:lnTo>
                <a:lnTo>
                  <a:pt x="84" y="106"/>
                </a:lnTo>
                <a:lnTo>
                  <a:pt x="88" y="105"/>
                </a:lnTo>
                <a:lnTo>
                  <a:pt x="89" y="102"/>
                </a:lnTo>
                <a:lnTo>
                  <a:pt x="90" y="100"/>
                </a:lnTo>
                <a:lnTo>
                  <a:pt x="92" y="102"/>
                </a:lnTo>
                <a:lnTo>
                  <a:pt x="94" y="102"/>
                </a:lnTo>
                <a:lnTo>
                  <a:pt x="98" y="102"/>
                </a:lnTo>
                <a:lnTo>
                  <a:pt x="101" y="100"/>
                </a:lnTo>
                <a:lnTo>
                  <a:pt x="104" y="100"/>
                </a:lnTo>
                <a:lnTo>
                  <a:pt x="104" y="99"/>
                </a:lnTo>
                <a:lnTo>
                  <a:pt x="101" y="99"/>
                </a:lnTo>
                <a:lnTo>
                  <a:pt x="102" y="97"/>
                </a:lnTo>
                <a:lnTo>
                  <a:pt x="106" y="94"/>
                </a:lnTo>
                <a:lnTo>
                  <a:pt x="108" y="94"/>
                </a:lnTo>
                <a:lnTo>
                  <a:pt x="109" y="92"/>
                </a:lnTo>
                <a:lnTo>
                  <a:pt x="110" y="92"/>
                </a:lnTo>
                <a:lnTo>
                  <a:pt x="116" y="94"/>
                </a:lnTo>
                <a:lnTo>
                  <a:pt x="114" y="92"/>
                </a:lnTo>
                <a:lnTo>
                  <a:pt x="116" y="92"/>
                </a:lnTo>
                <a:lnTo>
                  <a:pt x="118" y="92"/>
                </a:lnTo>
                <a:lnTo>
                  <a:pt x="118" y="94"/>
                </a:lnTo>
                <a:lnTo>
                  <a:pt x="118" y="95"/>
                </a:lnTo>
                <a:lnTo>
                  <a:pt x="120" y="95"/>
                </a:lnTo>
                <a:lnTo>
                  <a:pt x="121" y="95"/>
                </a:lnTo>
                <a:lnTo>
                  <a:pt x="126" y="91"/>
                </a:lnTo>
                <a:lnTo>
                  <a:pt x="126" y="89"/>
                </a:lnTo>
                <a:lnTo>
                  <a:pt x="126" y="86"/>
                </a:lnTo>
                <a:lnTo>
                  <a:pt x="125" y="81"/>
                </a:lnTo>
                <a:lnTo>
                  <a:pt x="126" y="80"/>
                </a:lnTo>
                <a:lnTo>
                  <a:pt x="126" y="78"/>
                </a:lnTo>
                <a:lnTo>
                  <a:pt x="128" y="78"/>
                </a:lnTo>
                <a:lnTo>
                  <a:pt x="129" y="78"/>
                </a:lnTo>
                <a:lnTo>
                  <a:pt x="129" y="77"/>
                </a:lnTo>
                <a:lnTo>
                  <a:pt x="128" y="75"/>
                </a:lnTo>
                <a:lnTo>
                  <a:pt x="129" y="73"/>
                </a:lnTo>
                <a:lnTo>
                  <a:pt x="130" y="73"/>
                </a:lnTo>
                <a:lnTo>
                  <a:pt x="130" y="69"/>
                </a:lnTo>
                <a:lnTo>
                  <a:pt x="134" y="69"/>
                </a:lnTo>
                <a:lnTo>
                  <a:pt x="136" y="69"/>
                </a:lnTo>
                <a:lnTo>
                  <a:pt x="138" y="67"/>
                </a:lnTo>
                <a:lnTo>
                  <a:pt x="141" y="66"/>
                </a:lnTo>
                <a:lnTo>
                  <a:pt x="142" y="64"/>
                </a:lnTo>
                <a:lnTo>
                  <a:pt x="142" y="62"/>
                </a:lnTo>
                <a:lnTo>
                  <a:pt x="141" y="62"/>
                </a:lnTo>
                <a:lnTo>
                  <a:pt x="140" y="58"/>
                </a:lnTo>
                <a:lnTo>
                  <a:pt x="138" y="58"/>
                </a:lnTo>
                <a:lnTo>
                  <a:pt x="137" y="55"/>
                </a:lnTo>
                <a:lnTo>
                  <a:pt x="136" y="55"/>
                </a:lnTo>
                <a:lnTo>
                  <a:pt x="137" y="53"/>
                </a:lnTo>
                <a:lnTo>
                  <a:pt x="138" y="51"/>
                </a:lnTo>
                <a:lnTo>
                  <a:pt x="140" y="51"/>
                </a:lnTo>
                <a:lnTo>
                  <a:pt x="144" y="53"/>
                </a:lnTo>
                <a:lnTo>
                  <a:pt x="148" y="53"/>
                </a:lnTo>
                <a:lnTo>
                  <a:pt x="150" y="53"/>
                </a:lnTo>
                <a:lnTo>
                  <a:pt x="152" y="51"/>
                </a:lnTo>
                <a:lnTo>
                  <a:pt x="154" y="50"/>
                </a:lnTo>
                <a:lnTo>
                  <a:pt x="154" y="48"/>
                </a:lnTo>
                <a:lnTo>
                  <a:pt x="154" y="47"/>
                </a:lnTo>
                <a:lnTo>
                  <a:pt x="154" y="45"/>
                </a:lnTo>
                <a:lnTo>
                  <a:pt x="153" y="45"/>
                </a:lnTo>
                <a:lnTo>
                  <a:pt x="153" y="44"/>
                </a:lnTo>
                <a:lnTo>
                  <a:pt x="154" y="42"/>
                </a:lnTo>
                <a:lnTo>
                  <a:pt x="154" y="40"/>
                </a:lnTo>
                <a:lnTo>
                  <a:pt x="157" y="39"/>
                </a:lnTo>
                <a:lnTo>
                  <a:pt x="158" y="37"/>
                </a:lnTo>
                <a:lnTo>
                  <a:pt x="161" y="34"/>
                </a:lnTo>
                <a:lnTo>
                  <a:pt x="161" y="33"/>
                </a:lnTo>
                <a:lnTo>
                  <a:pt x="162" y="31"/>
                </a:lnTo>
                <a:lnTo>
                  <a:pt x="161" y="29"/>
                </a:lnTo>
                <a:lnTo>
                  <a:pt x="162" y="28"/>
                </a:lnTo>
                <a:lnTo>
                  <a:pt x="162" y="26"/>
                </a:lnTo>
                <a:lnTo>
                  <a:pt x="161" y="25"/>
                </a:lnTo>
                <a:lnTo>
                  <a:pt x="159" y="20"/>
                </a:lnTo>
                <a:lnTo>
                  <a:pt x="158" y="18"/>
                </a:lnTo>
                <a:lnTo>
                  <a:pt x="155" y="17"/>
                </a:lnTo>
                <a:lnTo>
                  <a:pt x="155" y="15"/>
                </a:lnTo>
                <a:lnTo>
                  <a:pt x="157" y="14"/>
                </a:lnTo>
                <a:lnTo>
                  <a:pt x="161" y="11"/>
                </a:lnTo>
                <a:lnTo>
                  <a:pt x="162" y="9"/>
                </a:lnTo>
                <a:lnTo>
                  <a:pt x="163" y="9"/>
                </a:lnTo>
                <a:lnTo>
                  <a:pt x="165" y="9"/>
                </a:lnTo>
                <a:lnTo>
                  <a:pt x="166" y="9"/>
                </a:lnTo>
                <a:lnTo>
                  <a:pt x="165" y="9"/>
                </a:lnTo>
                <a:lnTo>
                  <a:pt x="166" y="7"/>
                </a:lnTo>
                <a:lnTo>
                  <a:pt x="169" y="7"/>
                </a:lnTo>
                <a:lnTo>
                  <a:pt x="169" y="6"/>
                </a:lnTo>
                <a:lnTo>
                  <a:pt x="170" y="6"/>
                </a:lnTo>
                <a:lnTo>
                  <a:pt x="171" y="4"/>
                </a:lnTo>
                <a:lnTo>
                  <a:pt x="174" y="4"/>
                </a:lnTo>
                <a:lnTo>
                  <a:pt x="177" y="3"/>
                </a:lnTo>
                <a:lnTo>
                  <a:pt x="178" y="3"/>
                </a:lnTo>
                <a:lnTo>
                  <a:pt x="181" y="1"/>
                </a:lnTo>
                <a:lnTo>
                  <a:pt x="182" y="1"/>
                </a:lnTo>
                <a:lnTo>
                  <a:pt x="191" y="1"/>
                </a:lnTo>
                <a:lnTo>
                  <a:pt x="193" y="1"/>
                </a:lnTo>
                <a:lnTo>
                  <a:pt x="195" y="1"/>
                </a:lnTo>
                <a:lnTo>
                  <a:pt x="199" y="3"/>
                </a:lnTo>
                <a:lnTo>
                  <a:pt x="202" y="1"/>
                </a:lnTo>
                <a:lnTo>
                  <a:pt x="203" y="0"/>
                </a:lnTo>
                <a:lnTo>
                  <a:pt x="206" y="1"/>
                </a:lnTo>
                <a:lnTo>
                  <a:pt x="207" y="0"/>
                </a:lnTo>
                <a:lnTo>
                  <a:pt x="210" y="1"/>
                </a:lnTo>
                <a:lnTo>
                  <a:pt x="214" y="0"/>
                </a:lnTo>
                <a:lnTo>
                  <a:pt x="215" y="1"/>
                </a:lnTo>
                <a:lnTo>
                  <a:pt x="218" y="1"/>
                </a:lnTo>
                <a:lnTo>
                  <a:pt x="218" y="4"/>
                </a:lnTo>
                <a:lnTo>
                  <a:pt x="219" y="4"/>
                </a:lnTo>
                <a:lnTo>
                  <a:pt x="221" y="4"/>
                </a:lnTo>
                <a:lnTo>
                  <a:pt x="222" y="3"/>
                </a:lnTo>
                <a:lnTo>
                  <a:pt x="225" y="6"/>
                </a:lnTo>
                <a:lnTo>
                  <a:pt x="226" y="7"/>
                </a:lnTo>
                <a:lnTo>
                  <a:pt x="227" y="9"/>
                </a:lnTo>
                <a:lnTo>
                  <a:pt x="227" y="11"/>
                </a:lnTo>
                <a:lnTo>
                  <a:pt x="227" y="12"/>
                </a:lnTo>
                <a:lnTo>
                  <a:pt x="227" y="14"/>
                </a:lnTo>
                <a:lnTo>
                  <a:pt x="227" y="15"/>
                </a:lnTo>
                <a:lnTo>
                  <a:pt x="226" y="15"/>
                </a:lnTo>
                <a:lnTo>
                  <a:pt x="226" y="17"/>
                </a:lnTo>
                <a:lnTo>
                  <a:pt x="229" y="17"/>
                </a:lnTo>
                <a:lnTo>
                  <a:pt x="230" y="20"/>
                </a:lnTo>
                <a:lnTo>
                  <a:pt x="231" y="20"/>
                </a:lnTo>
                <a:lnTo>
                  <a:pt x="233" y="20"/>
                </a:lnTo>
                <a:lnTo>
                  <a:pt x="234" y="20"/>
                </a:lnTo>
                <a:lnTo>
                  <a:pt x="235" y="18"/>
                </a:lnTo>
                <a:lnTo>
                  <a:pt x="237" y="20"/>
                </a:lnTo>
                <a:lnTo>
                  <a:pt x="237" y="22"/>
                </a:lnTo>
                <a:lnTo>
                  <a:pt x="239" y="23"/>
                </a:lnTo>
                <a:lnTo>
                  <a:pt x="243" y="25"/>
                </a:lnTo>
                <a:lnTo>
                  <a:pt x="246" y="26"/>
                </a:lnTo>
                <a:lnTo>
                  <a:pt x="247" y="26"/>
                </a:lnTo>
                <a:lnTo>
                  <a:pt x="250" y="26"/>
                </a:lnTo>
                <a:lnTo>
                  <a:pt x="253" y="26"/>
                </a:lnTo>
                <a:lnTo>
                  <a:pt x="243" y="34"/>
                </a:lnTo>
                <a:lnTo>
                  <a:pt x="242" y="36"/>
                </a:lnTo>
                <a:lnTo>
                  <a:pt x="241" y="39"/>
                </a:lnTo>
                <a:lnTo>
                  <a:pt x="241" y="40"/>
                </a:lnTo>
                <a:lnTo>
                  <a:pt x="239" y="39"/>
                </a:lnTo>
                <a:lnTo>
                  <a:pt x="238" y="39"/>
                </a:lnTo>
                <a:lnTo>
                  <a:pt x="233" y="39"/>
                </a:lnTo>
                <a:lnTo>
                  <a:pt x="231" y="40"/>
                </a:lnTo>
                <a:lnTo>
                  <a:pt x="230" y="42"/>
                </a:lnTo>
                <a:lnTo>
                  <a:pt x="229" y="42"/>
                </a:lnTo>
                <a:lnTo>
                  <a:pt x="227" y="40"/>
                </a:lnTo>
                <a:lnTo>
                  <a:pt x="226" y="40"/>
                </a:lnTo>
                <a:lnTo>
                  <a:pt x="225" y="42"/>
                </a:lnTo>
                <a:lnTo>
                  <a:pt x="225" y="44"/>
                </a:lnTo>
                <a:lnTo>
                  <a:pt x="223" y="44"/>
                </a:lnTo>
                <a:lnTo>
                  <a:pt x="222" y="42"/>
                </a:lnTo>
                <a:lnTo>
                  <a:pt x="221" y="44"/>
                </a:lnTo>
                <a:lnTo>
                  <a:pt x="219" y="42"/>
                </a:lnTo>
                <a:lnTo>
                  <a:pt x="217" y="42"/>
                </a:lnTo>
                <a:lnTo>
                  <a:pt x="215" y="42"/>
                </a:lnTo>
                <a:lnTo>
                  <a:pt x="214" y="42"/>
                </a:lnTo>
                <a:lnTo>
                  <a:pt x="210" y="40"/>
                </a:lnTo>
                <a:lnTo>
                  <a:pt x="206" y="39"/>
                </a:lnTo>
                <a:lnTo>
                  <a:pt x="202" y="37"/>
                </a:lnTo>
                <a:lnTo>
                  <a:pt x="201" y="37"/>
                </a:lnTo>
                <a:lnTo>
                  <a:pt x="199" y="39"/>
                </a:lnTo>
                <a:lnTo>
                  <a:pt x="197" y="39"/>
                </a:lnTo>
                <a:lnTo>
                  <a:pt x="195" y="39"/>
                </a:lnTo>
                <a:lnTo>
                  <a:pt x="195" y="42"/>
                </a:lnTo>
                <a:lnTo>
                  <a:pt x="194" y="45"/>
                </a:lnTo>
                <a:lnTo>
                  <a:pt x="194" y="47"/>
                </a:lnTo>
                <a:lnTo>
                  <a:pt x="195" y="47"/>
                </a:lnTo>
                <a:lnTo>
                  <a:pt x="197" y="47"/>
                </a:lnTo>
                <a:lnTo>
                  <a:pt x="197" y="48"/>
                </a:lnTo>
                <a:lnTo>
                  <a:pt x="195" y="48"/>
                </a:lnTo>
                <a:lnTo>
                  <a:pt x="195" y="50"/>
                </a:lnTo>
                <a:lnTo>
                  <a:pt x="195" y="51"/>
                </a:lnTo>
                <a:lnTo>
                  <a:pt x="197" y="51"/>
                </a:lnTo>
                <a:lnTo>
                  <a:pt x="199" y="51"/>
                </a:lnTo>
                <a:lnTo>
                  <a:pt x="201" y="51"/>
                </a:lnTo>
                <a:lnTo>
                  <a:pt x="201" y="53"/>
                </a:lnTo>
                <a:lnTo>
                  <a:pt x="199" y="55"/>
                </a:lnTo>
                <a:lnTo>
                  <a:pt x="197" y="56"/>
                </a:lnTo>
                <a:lnTo>
                  <a:pt x="201" y="59"/>
                </a:lnTo>
                <a:lnTo>
                  <a:pt x="201" y="62"/>
                </a:lnTo>
                <a:lnTo>
                  <a:pt x="197" y="66"/>
                </a:lnTo>
                <a:lnTo>
                  <a:pt x="198" y="67"/>
                </a:lnTo>
                <a:lnTo>
                  <a:pt x="199" y="70"/>
                </a:lnTo>
                <a:lnTo>
                  <a:pt x="202" y="72"/>
                </a:lnTo>
                <a:lnTo>
                  <a:pt x="202" y="73"/>
                </a:lnTo>
                <a:lnTo>
                  <a:pt x="203" y="73"/>
                </a:lnTo>
                <a:lnTo>
                  <a:pt x="205" y="75"/>
                </a:lnTo>
                <a:lnTo>
                  <a:pt x="206" y="73"/>
                </a:lnTo>
                <a:lnTo>
                  <a:pt x="207" y="75"/>
                </a:lnTo>
                <a:lnTo>
                  <a:pt x="207" y="77"/>
                </a:lnTo>
                <a:lnTo>
                  <a:pt x="207" y="80"/>
                </a:lnTo>
                <a:lnTo>
                  <a:pt x="209" y="80"/>
                </a:lnTo>
                <a:lnTo>
                  <a:pt x="213" y="80"/>
                </a:lnTo>
                <a:lnTo>
                  <a:pt x="215" y="81"/>
                </a:lnTo>
                <a:lnTo>
                  <a:pt x="217" y="81"/>
                </a:lnTo>
                <a:lnTo>
                  <a:pt x="218" y="83"/>
                </a:lnTo>
                <a:lnTo>
                  <a:pt x="217" y="84"/>
                </a:lnTo>
                <a:lnTo>
                  <a:pt x="218" y="86"/>
                </a:lnTo>
                <a:lnTo>
                  <a:pt x="217" y="86"/>
                </a:lnTo>
                <a:lnTo>
                  <a:pt x="215" y="88"/>
                </a:lnTo>
                <a:lnTo>
                  <a:pt x="214" y="88"/>
                </a:lnTo>
                <a:lnTo>
                  <a:pt x="213" y="88"/>
                </a:lnTo>
                <a:lnTo>
                  <a:pt x="210" y="88"/>
                </a:lnTo>
                <a:lnTo>
                  <a:pt x="210" y="89"/>
                </a:lnTo>
                <a:lnTo>
                  <a:pt x="207" y="91"/>
                </a:lnTo>
                <a:lnTo>
                  <a:pt x="206" y="92"/>
                </a:lnTo>
                <a:lnTo>
                  <a:pt x="206" y="95"/>
                </a:lnTo>
                <a:lnTo>
                  <a:pt x="207" y="97"/>
                </a:lnTo>
                <a:lnTo>
                  <a:pt x="207" y="99"/>
                </a:lnTo>
                <a:lnTo>
                  <a:pt x="207" y="100"/>
                </a:lnTo>
                <a:lnTo>
                  <a:pt x="206" y="102"/>
                </a:lnTo>
                <a:lnTo>
                  <a:pt x="206" y="103"/>
                </a:lnTo>
                <a:lnTo>
                  <a:pt x="209" y="105"/>
                </a:lnTo>
                <a:lnTo>
                  <a:pt x="210" y="106"/>
                </a:lnTo>
                <a:lnTo>
                  <a:pt x="209" y="106"/>
                </a:lnTo>
                <a:lnTo>
                  <a:pt x="207" y="106"/>
                </a:lnTo>
                <a:lnTo>
                  <a:pt x="206" y="106"/>
                </a:lnTo>
                <a:lnTo>
                  <a:pt x="206" y="108"/>
                </a:lnTo>
                <a:lnTo>
                  <a:pt x="202" y="110"/>
                </a:lnTo>
                <a:lnTo>
                  <a:pt x="199" y="114"/>
                </a:lnTo>
                <a:lnTo>
                  <a:pt x="197" y="114"/>
                </a:lnTo>
                <a:lnTo>
                  <a:pt x="195" y="116"/>
                </a:lnTo>
                <a:lnTo>
                  <a:pt x="195" y="117"/>
                </a:lnTo>
                <a:lnTo>
                  <a:pt x="194" y="119"/>
                </a:lnTo>
                <a:lnTo>
                  <a:pt x="195" y="122"/>
                </a:lnTo>
                <a:lnTo>
                  <a:pt x="194" y="124"/>
                </a:lnTo>
                <a:lnTo>
                  <a:pt x="191" y="125"/>
                </a:lnTo>
                <a:lnTo>
                  <a:pt x="190" y="125"/>
                </a:lnTo>
                <a:lnTo>
                  <a:pt x="187" y="127"/>
                </a:lnTo>
                <a:lnTo>
                  <a:pt x="186" y="128"/>
                </a:lnTo>
                <a:lnTo>
                  <a:pt x="186" y="132"/>
                </a:lnTo>
                <a:lnTo>
                  <a:pt x="183" y="135"/>
                </a:lnTo>
                <a:lnTo>
                  <a:pt x="179" y="141"/>
                </a:lnTo>
                <a:lnTo>
                  <a:pt x="178" y="144"/>
                </a:lnTo>
                <a:lnTo>
                  <a:pt x="174" y="146"/>
                </a:lnTo>
                <a:lnTo>
                  <a:pt x="171" y="149"/>
                </a:lnTo>
                <a:lnTo>
                  <a:pt x="170" y="149"/>
                </a:lnTo>
                <a:lnTo>
                  <a:pt x="167" y="154"/>
                </a:lnTo>
                <a:lnTo>
                  <a:pt x="166" y="157"/>
                </a:lnTo>
                <a:lnTo>
                  <a:pt x="163" y="161"/>
                </a:lnTo>
                <a:lnTo>
                  <a:pt x="162" y="161"/>
                </a:lnTo>
                <a:lnTo>
                  <a:pt x="161" y="163"/>
                </a:lnTo>
                <a:lnTo>
                  <a:pt x="155" y="161"/>
                </a:lnTo>
                <a:lnTo>
                  <a:pt x="154" y="163"/>
                </a:lnTo>
                <a:lnTo>
                  <a:pt x="152" y="163"/>
                </a:lnTo>
                <a:lnTo>
                  <a:pt x="150" y="164"/>
                </a:lnTo>
                <a:lnTo>
                  <a:pt x="149" y="166"/>
                </a:lnTo>
                <a:lnTo>
                  <a:pt x="149" y="164"/>
                </a:lnTo>
                <a:lnTo>
                  <a:pt x="149" y="163"/>
                </a:lnTo>
                <a:lnTo>
                  <a:pt x="146" y="160"/>
                </a:lnTo>
                <a:lnTo>
                  <a:pt x="145" y="160"/>
                </a:lnTo>
                <a:lnTo>
                  <a:pt x="144" y="160"/>
                </a:lnTo>
                <a:lnTo>
                  <a:pt x="141" y="161"/>
                </a:lnTo>
                <a:lnTo>
                  <a:pt x="141" y="163"/>
                </a:lnTo>
                <a:lnTo>
                  <a:pt x="137" y="166"/>
                </a:lnTo>
                <a:lnTo>
                  <a:pt x="133" y="172"/>
                </a:lnTo>
                <a:lnTo>
                  <a:pt x="132" y="174"/>
                </a:lnTo>
                <a:lnTo>
                  <a:pt x="130" y="175"/>
                </a:lnTo>
                <a:lnTo>
                  <a:pt x="129" y="180"/>
                </a:lnTo>
                <a:lnTo>
                  <a:pt x="129" y="182"/>
                </a:lnTo>
                <a:lnTo>
                  <a:pt x="130" y="183"/>
                </a:lnTo>
                <a:lnTo>
                  <a:pt x="132" y="185"/>
                </a:lnTo>
                <a:lnTo>
                  <a:pt x="134" y="185"/>
                </a:lnTo>
                <a:lnTo>
                  <a:pt x="136" y="185"/>
                </a:lnTo>
                <a:lnTo>
                  <a:pt x="138" y="185"/>
                </a:lnTo>
                <a:lnTo>
                  <a:pt x="140" y="185"/>
                </a:lnTo>
                <a:lnTo>
                  <a:pt x="140" y="186"/>
                </a:lnTo>
                <a:lnTo>
                  <a:pt x="141" y="188"/>
                </a:lnTo>
                <a:lnTo>
                  <a:pt x="141" y="190"/>
                </a:lnTo>
                <a:lnTo>
                  <a:pt x="138" y="194"/>
                </a:lnTo>
                <a:lnTo>
                  <a:pt x="138" y="196"/>
                </a:lnTo>
                <a:lnTo>
                  <a:pt x="140" y="197"/>
                </a:lnTo>
                <a:lnTo>
                  <a:pt x="142" y="201"/>
                </a:lnTo>
                <a:lnTo>
                  <a:pt x="145" y="201"/>
                </a:lnTo>
                <a:lnTo>
                  <a:pt x="146" y="201"/>
                </a:lnTo>
                <a:lnTo>
                  <a:pt x="146" y="202"/>
                </a:lnTo>
                <a:lnTo>
                  <a:pt x="146" y="205"/>
                </a:lnTo>
                <a:lnTo>
                  <a:pt x="148" y="207"/>
                </a:lnTo>
                <a:lnTo>
                  <a:pt x="149" y="210"/>
                </a:lnTo>
                <a:lnTo>
                  <a:pt x="149" y="212"/>
                </a:lnTo>
                <a:lnTo>
                  <a:pt x="150" y="213"/>
                </a:lnTo>
                <a:lnTo>
                  <a:pt x="152" y="215"/>
                </a:lnTo>
                <a:lnTo>
                  <a:pt x="152" y="216"/>
                </a:lnTo>
                <a:lnTo>
                  <a:pt x="153" y="216"/>
                </a:lnTo>
                <a:lnTo>
                  <a:pt x="153" y="218"/>
                </a:lnTo>
                <a:lnTo>
                  <a:pt x="152" y="219"/>
                </a:lnTo>
                <a:lnTo>
                  <a:pt x="152" y="223"/>
                </a:lnTo>
                <a:lnTo>
                  <a:pt x="153" y="224"/>
                </a:lnTo>
                <a:lnTo>
                  <a:pt x="154" y="224"/>
                </a:lnTo>
                <a:lnTo>
                  <a:pt x="152" y="224"/>
                </a:lnTo>
                <a:lnTo>
                  <a:pt x="150" y="226"/>
                </a:lnTo>
                <a:lnTo>
                  <a:pt x="149" y="227"/>
                </a:lnTo>
                <a:lnTo>
                  <a:pt x="148" y="227"/>
                </a:lnTo>
                <a:lnTo>
                  <a:pt x="146" y="226"/>
                </a:lnTo>
                <a:lnTo>
                  <a:pt x="146" y="224"/>
                </a:lnTo>
                <a:lnTo>
                  <a:pt x="146" y="223"/>
                </a:lnTo>
                <a:lnTo>
                  <a:pt x="144" y="223"/>
                </a:lnTo>
                <a:lnTo>
                  <a:pt x="142" y="224"/>
                </a:lnTo>
                <a:lnTo>
                  <a:pt x="140" y="226"/>
                </a:lnTo>
                <a:lnTo>
                  <a:pt x="138" y="227"/>
                </a:lnTo>
                <a:lnTo>
                  <a:pt x="137" y="227"/>
                </a:lnTo>
                <a:lnTo>
                  <a:pt x="133" y="227"/>
                </a:lnTo>
                <a:lnTo>
                  <a:pt x="130" y="226"/>
                </a:lnTo>
                <a:lnTo>
                  <a:pt x="129" y="226"/>
                </a:lnTo>
                <a:lnTo>
                  <a:pt x="128" y="226"/>
                </a:lnTo>
                <a:lnTo>
                  <a:pt x="125" y="226"/>
                </a:lnTo>
                <a:lnTo>
                  <a:pt x="124" y="226"/>
                </a:lnTo>
                <a:lnTo>
                  <a:pt x="122" y="226"/>
                </a:lnTo>
                <a:lnTo>
                  <a:pt x="121" y="226"/>
                </a:lnTo>
                <a:lnTo>
                  <a:pt x="120" y="226"/>
                </a:lnTo>
                <a:lnTo>
                  <a:pt x="120" y="224"/>
                </a:lnTo>
                <a:lnTo>
                  <a:pt x="118" y="226"/>
                </a:lnTo>
                <a:lnTo>
                  <a:pt x="118" y="230"/>
                </a:lnTo>
                <a:lnTo>
                  <a:pt x="113" y="230"/>
                </a:lnTo>
                <a:lnTo>
                  <a:pt x="112" y="232"/>
                </a:lnTo>
                <a:lnTo>
                  <a:pt x="110" y="230"/>
                </a:lnTo>
                <a:lnTo>
                  <a:pt x="110" y="232"/>
                </a:lnTo>
                <a:lnTo>
                  <a:pt x="109" y="234"/>
                </a:lnTo>
                <a:lnTo>
                  <a:pt x="108" y="235"/>
                </a:lnTo>
                <a:lnTo>
                  <a:pt x="106" y="235"/>
                </a:lnTo>
                <a:lnTo>
                  <a:pt x="104" y="234"/>
                </a:lnTo>
                <a:lnTo>
                  <a:pt x="100" y="234"/>
                </a:lnTo>
                <a:lnTo>
                  <a:pt x="100" y="232"/>
                </a:lnTo>
                <a:lnTo>
                  <a:pt x="98" y="230"/>
                </a:lnTo>
                <a:lnTo>
                  <a:pt x="97" y="229"/>
                </a:lnTo>
                <a:lnTo>
                  <a:pt x="96" y="226"/>
                </a:lnTo>
                <a:lnTo>
                  <a:pt x="94" y="219"/>
                </a:lnTo>
                <a:lnTo>
                  <a:pt x="94" y="218"/>
                </a:lnTo>
                <a:lnTo>
                  <a:pt x="93" y="218"/>
                </a:lnTo>
                <a:lnTo>
                  <a:pt x="90" y="216"/>
                </a:lnTo>
                <a:lnTo>
                  <a:pt x="88" y="216"/>
                </a:lnTo>
                <a:lnTo>
                  <a:pt x="86" y="210"/>
                </a:lnTo>
                <a:lnTo>
                  <a:pt x="86" y="208"/>
                </a:lnTo>
                <a:lnTo>
                  <a:pt x="84" y="207"/>
                </a:lnTo>
                <a:lnTo>
                  <a:pt x="82" y="205"/>
                </a:lnTo>
                <a:lnTo>
                  <a:pt x="80" y="205"/>
                </a:lnTo>
                <a:lnTo>
                  <a:pt x="74" y="207"/>
                </a:lnTo>
                <a:lnTo>
                  <a:pt x="68" y="207"/>
                </a:lnTo>
                <a:lnTo>
                  <a:pt x="64" y="208"/>
                </a:lnTo>
                <a:lnTo>
                  <a:pt x="61" y="207"/>
                </a:lnTo>
                <a:lnTo>
                  <a:pt x="57" y="207"/>
                </a:lnTo>
                <a:lnTo>
                  <a:pt x="56" y="210"/>
                </a:lnTo>
                <a:lnTo>
                  <a:pt x="54" y="208"/>
                </a:lnTo>
                <a:lnTo>
                  <a:pt x="50" y="208"/>
                </a:lnTo>
                <a:lnTo>
                  <a:pt x="48" y="207"/>
                </a:lnTo>
                <a:lnTo>
                  <a:pt x="45" y="207"/>
                </a:lnTo>
                <a:lnTo>
                  <a:pt x="41" y="207"/>
                </a:lnTo>
                <a:lnTo>
                  <a:pt x="39" y="208"/>
                </a:lnTo>
                <a:lnTo>
                  <a:pt x="35" y="210"/>
                </a:lnTo>
                <a:lnTo>
                  <a:pt x="28" y="208"/>
                </a:lnTo>
                <a:lnTo>
                  <a:pt x="24" y="208"/>
                </a:lnTo>
                <a:lnTo>
                  <a:pt x="20" y="210"/>
                </a:lnTo>
                <a:lnTo>
                  <a:pt x="19" y="210"/>
                </a:lnTo>
                <a:lnTo>
                  <a:pt x="16" y="212"/>
                </a:lnTo>
                <a:lnTo>
                  <a:pt x="13" y="212"/>
                </a:lnTo>
                <a:lnTo>
                  <a:pt x="12" y="212"/>
                </a:lnTo>
                <a:lnTo>
                  <a:pt x="12" y="210"/>
                </a:lnTo>
                <a:lnTo>
                  <a:pt x="11" y="21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15" name="Freeform 1039"/>
          <p:cNvSpPr>
            <a:spLocks/>
          </p:cNvSpPr>
          <p:nvPr/>
        </p:nvSpPr>
        <p:spPr bwMode="auto">
          <a:xfrm>
            <a:off x="7424461" y="3040662"/>
            <a:ext cx="483305" cy="416637"/>
          </a:xfrm>
          <a:custGeom>
            <a:avLst/>
            <a:gdLst/>
            <a:ahLst/>
            <a:cxnLst>
              <a:cxn ang="0">
                <a:pos x="15" y="193"/>
              </a:cxn>
              <a:cxn ang="0">
                <a:pos x="28" y="183"/>
              </a:cxn>
              <a:cxn ang="0">
                <a:pos x="36" y="175"/>
              </a:cxn>
              <a:cxn ang="0">
                <a:pos x="29" y="164"/>
              </a:cxn>
              <a:cxn ang="0">
                <a:pos x="15" y="150"/>
              </a:cxn>
              <a:cxn ang="0">
                <a:pos x="0" y="128"/>
              </a:cxn>
              <a:cxn ang="0">
                <a:pos x="24" y="135"/>
              </a:cxn>
              <a:cxn ang="0">
                <a:pos x="29" y="133"/>
              </a:cxn>
              <a:cxn ang="0">
                <a:pos x="44" y="133"/>
              </a:cxn>
              <a:cxn ang="0">
                <a:pos x="50" y="132"/>
              </a:cxn>
              <a:cxn ang="0">
                <a:pos x="68" y="130"/>
              </a:cxn>
              <a:cxn ang="0">
                <a:pos x="82" y="124"/>
              </a:cxn>
              <a:cxn ang="0">
                <a:pos x="82" y="108"/>
              </a:cxn>
              <a:cxn ang="0">
                <a:pos x="90" y="100"/>
              </a:cxn>
              <a:cxn ang="0">
                <a:pos x="101" y="100"/>
              </a:cxn>
              <a:cxn ang="0">
                <a:pos x="102" y="97"/>
              </a:cxn>
              <a:cxn ang="0">
                <a:pos x="110" y="92"/>
              </a:cxn>
              <a:cxn ang="0">
                <a:pos x="118" y="92"/>
              </a:cxn>
              <a:cxn ang="0">
                <a:pos x="121" y="95"/>
              </a:cxn>
              <a:cxn ang="0">
                <a:pos x="125" y="81"/>
              </a:cxn>
              <a:cxn ang="0">
                <a:pos x="129" y="78"/>
              </a:cxn>
              <a:cxn ang="0">
                <a:pos x="130" y="73"/>
              </a:cxn>
              <a:cxn ang="0">
                <a:pos x="138" y="67"/>
              </a:cxn>
              <a:cxn ang="0">
                <a:pos x="141" y="62"/>
              </a:cxn>
              <a:cxn ang="0">
                <a:pos x="136" y="55"/>
              </a:cxn>
              <a:cxn ang="0">
                <a:pos x="144" y="53"/>
              </a:cxn>
              <a:cxn ang="0">
                <a:pos x="154" y="50"/>
              </a:cxn>
              <a:cxn ang="0">
                <a:pos x="153" y="45"/>
              </a:cxn>
              <a:cxn ang="0">
                <a:pos x="157" y="39"/>
              </a:cxn>
              <a:cxn ang="0">
                <a:pos x="162" y="31"/>
              </a:cxn>
              <a:cxn ang="0">
                <a:pos x="161" y="25"/>
              </a:cxn>
              <a:cxn ang="0">
                <a:pos x="155" y="15"/>
              </a:cxn>
              <a:cxn ang="0">
                <a:pos x="163" y="9"/>
              </a:cxn>
              <a:cxn ang="0">
                <a:pos x="166" y="7"/>
              </a:cxn>
              <a:cxn ang="0">
                <a:pos x="171" y="4"/>
              </a:cxn>
              <a:cxn ang="0">
                <a:pos x="181" y="1"/>
              </a:cxn>
              <a:cxn ang="0">
                <a:pos x="195" y="1"/>
              </a:cxn>
              <a:cxn ang="0">
                <a:pos x="206" y="1"/>
              </a:cxn>
              <a:cxn ang="0">
                <a:pos x="215" y="1"/>
              </a:cxn>
              <a:cxn ang="0">
                <a:pos x="221" y="4"/>
              </a:cxn>
              <a:cxn ang="0">
                <a:pos x="227" y="9"/>
              </a:cxn>
              <a:cxn ang="0">
                <a:pos x="227" y="15"/>
              </a:cxn>
              <a:cxn ang="0">
                <a:pos x="230" y="20"/>
              </a:cxn>
              <a:cxn ang="0">
                <a:pos x="235" y="18"/>
              </a:cxn>
              <a:cxn ang="0">
                <a:pos x="243" y="25"/>
              </a:cxn>
              <a:cxn ang="0">
                <a:pos x="253" y="26"/>
              </a:cxn>
              <a:cxn ang="0">
                <a:pos x="241" y="40"/>
              </a:cxn>
              <a:cxn ang="0">
                <a:pos x="231" y="40"/>
              </a:cxn>
              <a:cxn ang="0">
                <a:pos x="226" y="40"/>
              </a:cxn>
            </a:cxnLst>
            <a:rect l="0" t="0" r="r" b="b"/>
            <a:pathLst>
              <a:path w="253" h="210">
                <a:moveTo>
                  <a:pt x="11" y="210"/>
                </a:moveTo>
                <a:lnTo>
                  <a:pt x="11" y="205"/>
                </a:lnTo>
                <a:lnTo>
                  <a:pt x="12" y="202"/>
                </a:lnTo>
                <a:lnTo>
                  <a:pt x="15" y="193"/>
                </a:lnTo>
                <a:lnTo>
                  <a:pt x="17" y="190"/>
                </a:lnTo>
                <a:lnTo>
                  <a:pt x="20" y="186"/>
                </a:lnTo>
                <a:lnTo>
                  <a:pt x="24" y="186"/>
                </a:lnTo>
                <a:lnTo>
                  <a:pt x="28" y="183"/>
                </a:lnTo>
                <a:lnTo>
                  <a:pt x="32" y="183"/>
                </a:lnTo>
                <a:lnTo>
                  <a:pt x="36" y="180"/>
                </a:lnTo>
                <a:lnTo>
                  <a:pt x="36" y="179"/>
                </a:lnTo>
                <a:lnTo>
                  <a:pt x="36" y="175"/>
                </a:lnTo>
                <a:lnTo>
                  <a:pt x="35" y="174"/>
                </a:lnTo>
                <a:lnTo>
                  <a:pt x="29" y="172"/>
                </a:lnTo>
                <a:lnTo>
                  <a:pt x="29" y="168"/>
                </a:lnTo>
                <a:lnTo>
                  <a:pt x="29" y="164"/>
                </a:lnTo>
                <a:lnTo>
                  <a:pt x="28" y="157"/>
                </a:lnTo>
                <a:lnTo>
                  <a:pt x="27" y="155"/>
                </a:lnTo>
                <a:lnTo>
                  <a:pt x="19" y="152"/>
                </a:lnTo>
                <a:lnTo>
                  <a:pt x="15" y="150"/>
                </a:lnTo>
                <a:lnTo>
                  <a:pt x="11" y="147"/>
                </a:lnTo>
                <a:lnTo>
                  <a:pt x="5" y="135"/>
                </a:lnTo>
                <a:lnTo>
                  <a:pt x="1" y="132"/>
                </a:lnTo>
                <a:lnTo>
                  <a:pt x="0" y="128"/>
                </a:lnTo>
                <a:lnTo>
                  <a:pt x="0" y="127"/>
                </a:lnTo>
                <a:lnTo>
                  <a:pt x="16" y="132"/>
                </a:lnTo>
                <a:lnTo>
                  <a:pt x="21" y="135"/>
                </a:lnTo>
                <a:lnTo>
                  <a:pt x="24" y="135"/>
                </a:lnTo>
                <a:lnTo>
                  <a:pt x="25" y="135"/>
                </a:lnTo>
                <a:lnTo>
                  <a:pt x="25" y="133"/>
                </a:lnTo>
                <a:lnTo>
                  <a:pt x="27" y="133"/>
                </a:lnTo>
                <a:lnTo>
                  <a:pt x="29" y="133"/>
                </a:lnTo>
                <a:lnTo>
                  <a:pt x="32" y="133"/>
                </a:lnTo>
                <a:lnTo>
                  <a:pt x="35" y="133"/>
                </a:lnTo>
                <a:lnTo>
                  <a:pt x="39" y="133"/>
                </a:lnTo>
                <a:lnTo>
                  <a:pt x="44" y="133"/>
                </a:lnTo>
                <a:lnTo>
                  <a:pt x="48" y="135"/>
                </a:lnTo>
                <a:lnTo>
                  <a:pt x="49" y="135"/>
                </a:lnTo>
                <a:lnTo>
                  <a:pt x="49" y="133"/>
                </a:lnTo>
                <a:lnTo>
                  <a:pt x="50" y="132"/>
                </a:lnTo>
                <a:lnTo>
                  <a:pt x="53" y="132"/>
                </a:lnTo>
                <a:lnTo>
                  <a:pt x="56" y="132"/>
                </a:lnTo>
                <a:lnTo>
                  <a:pt x="62" y="132"/>
                </a:lnTo>
                <a:lnTo>
                  <a:pt x="68" y="130"/>
                </a:lnTo>
                <a:lnTo>
                  <a:pt x="73" y="128"/>
                </a:lnTo>
                <a:lnTo>
                  <a:pt x="80" y="127"/>
                </a:lnTo>
                <a:lnTo>
                  <a:pt x="82" y="125"/>
                </a:lnTo>
                <a:lnTo>
                  <a:pt x="82" y="124"/>
                </a:lnTo>
                <a:lnTo>
                  <a:pt x="81" y="122"/>
                </a:lnTo>
                <a:lnTo>
                  <a:pt x="82" y="116"/>
                </a:lnTo>
                <a:lnTo>
                  <a:pt x="82" y="113"/>
                </a:lnTo>
                <a:lnTo>
                  <a:pt x="82" y="108"/>
                </a:lnTo>
                <a:lnTo>
                  <a:pt x="84" y="106"/>
                </a:lnTo>
                <a:lnTo>
                  <a:pt x="88" y="105"/>
                </a:lnTo>
                <a:lnTo>
                  <a:pt x="89" y="102"/>
                </a:lnTo>
                <a:lnTo>
                  <a:pt x="90" y="100"/>
                </a:lnTo>
                <a:lnTo>
                  <a:pt x="92" y="102"/>
                </a:lnTo>
                <a:lnTo>
                  <a:pt x="94" y="102"/>
                </a:lnTo>
                <a:lnTo>
                  <a:pt x="98" y="102"/>
                </a:lnTo>
                <a:lnTo>
                  <a:pt x="101" y="100"/>
                </a:lnTo>
                <a:lnTo>
                  <a:pt x="104" y="100"/>
                </a:lnTo>
                <a:lnTo>
                  <a:pt x="104" y="99"/>
                </a:lnTo>
                <a:lnTo>
                  <a:pt x="101" y="99"/>
                </a:lnTo>
                <a:lnTo>
                  <a:pt x="102" y="97"/>
                </a:lnTo>
                <a:lnTo>
                  <a:pt x="106" y="94"/>
                </a:lnTo>
                <a:lnTo>
                  <a:pt x="108" y="94"/>
                </a:lnTo>
                <a:lnTo>
                  <a:pt x="109" y="92"/>
                </a:lnTo>
                <a:lnTo>
                  <a:pt x="110" y="92"/>
                </a:lnTo>
                <a:lnTo>
                  <a:pt x="116" y="94"/>
                </a:lnTo>
                <a:lnTo>
                  <a:pt x="114" y="92"/>
                </a:lnTo>
                <a:lnTo>
                  <a:pt x="116" y="92"/>
                </a:lnTo>
                <a:lnTo>
                  <a:pt x="118" y="92"/>
                </a:lnTo>
                <a:lnTo>
                  <a:pt x="118" y="94"/>
                </a:lnTo>
                <a:lnTo>
                  <a:pt x="118" y="95"/>
                </a:lnTo>
                <a:lnTo>
                  <a:pt x="120" y="95"/>
                </a:lnTo>
                <a:lnTo>
                  <a:pt x="121" y="95"/>
                </a:lnTo>
                <a:lnTo>
                  <a:pt x="126" y="91"/>
                </a:lnTo>
                <a:lnTo>
                  <a:pt x="126" y="89"/>
                </a:lnTo>
                <a:lnTo>
                  <a:pt x="126" y="86"/>
                </a:lnTo>
                <a:lnTo>
                  <a:pt x="125" y="81"/>
                </a:lnTo>
                <a:lnTo>
                  <a:pt x="126" y="80"/>
                </a:lnTo>
                <a:lnTo>
                  <a:pt x="126" y="78"/>
                </a:lnTo>
                <a:lnTo>
                  <a:pt x="128" y="78"/>
                </a:lnTo>
                <a:lnTo>
                  <a:pt x="129" y="78"/>
                </a:lnTo>
                <a:lnTo>
                  <a:pt x="129" y="77"/>
                </a:lnTo>
                <a:lnTo>
                  <a:pt x="128" y="75"/>
                </a:lnTo>
                <a:lnTo>
                  <a:pt x="129" y="73"/>
                </a:lnTo>
                <a:lnTo>
                  <a:pt x="130" y="73"/>
                </a:lnTo>
                <a:lnTo>
                  <a:pt x="130" y="69"/>
                </a:lnTo>
                <a:lnTo>
                  <a:pt x="134" y="69"/>
                </a:lnTo>
                <a:lnTo>
                  <a:pt x="136" y="69"/>
                </a:lnTo>
                <a:lnTo>
                  <a:pt x="138" y="67"/>
                </a:lnTo>
                <a:lnTo>
                  <a:pt x="141" y="66"/>
                </a:lnTo>
                <a:lnTo>
                  <a:pt x="142" y="64"/>
                </a:lnTo>
                <a:lnTo>
                  <a:pt x="142" y="62"/>
                </a:lnTo>
                <a:lnTo>
                  <a:pt x="141" y="62"/>
                </a:lnTo>
                <a:lnTo>
                  <a:pt x="140" y="58"/>
                </a:lnTo>
                <a:lnTo>
                  <a:pt x="138" y="58"/>
                </a:lnTo>
                <a:lnTo>
                  <a:pt x="137" y="55"/>
                </a:lnTo>
                <a:lnTo>
                  <a:pt x="136" y="55"/>
                </a:lnTo>
                <a:lnTo>
                  <a:pt x="137" y="53"/>
                </a:lnTo>
                <a:lnTo>
                  <a:pt x="138" y="51"/>
                </a:lnTo>
                <a:lnTo>
                  <a:pt x="140" y="51"/>
                </a:lnTo>
                <a:lnTo>
                  <a:pt x="144" y="53"/>
                </a:lnTo>
                <a:lnTo>
                  <a:pt x="148" y="53"/>
                </a:lnTo>
                <a:lnTo>
                  <a:pt x="150" y="53"/>
                </a:lnTo>
                <a:lnTo>
                  <a:pt x="152" y="51"/>
                </a:lnTo>
                <a:lnTo>
                  <a:pt x="154" y="50"/>
                </a:lnTo>
                <a:lnTo>
                  <a:pt x="154" y="48"/>
                </a:lnTo>
                <a:lnTo>
                  <a:pt x="154" y="47"/>
                </a:lnTo>
                <a:lnTo>
                  <a:pt x="154" y="45"/>
                </a:lnTo>
                <a:lnTo>
                  <a:pt x="153" y="45"/>
                </a:lnTo>
                <a:lnTo>
                  <a:pt x="153" y="44"/>
                </a:lnTo>
                <a:lnTo>
                  <a:pt x="154" y="42"/>
                </a:lnTo>
                <a:lnTo>
                  <a:pt x="154" y="40"/>
                </a:lnTo>
                <a:lnTo>
                  <a:pt x="157" y="39"/>
                </a:lnTo>
                <a:lnTo>
                  <a:pt x="158" y="37"/>
                </a:lnTo>
                <a:lnTo>
                  <a:pt x="161" y="34"/>
                </a:lnTo>
                <a:lnTo>
                  <a:pt x="161" y="33"/>
                </a:lnTo>
                <a:lnTo>
                  <a:pt x="162" y="31"/>
                </a:lnTo>
                <a:lnTo>
                  <a:pt x="161" y="29"/>
                </a:lnTo>
                <a:lnTo>
                  <a:pt x="162" y="28"/>
                </a:lnTo>
                <a:lnTo>
                  <a:pt x="162" y="26"/>
                </a:lnTo>
                <a:lnTo>
                  <a:pt x="161" y="25"/>
                </a:lnTo>
                <a:lnTo>
                  <a:pt x="159" y="20"/>
                </a:lnTo>
                <a:lnTo>
                  <a:pt x="158" y="18"/>
                </a:lnTo>
                <a:lnTo>
                  <a:pt x="155" y="17"/>
                </a:lnTo>
                <a:lnTo>
                  <a:pt x="155" y="15"/>
                </a:lnTo>
                <a:lnTo>
                  <a:pt x="157" y="14"/>
                </a:lnTo>
                <a:lnTo>
                  <a:pt x="161" y="11"/>
                </a:lnTo>
                <a:lnTo>
                  <a:pt x="162" y="9"/>
                </a:lnTo>
                <a:lnTo>
                  <a:pt x="163" y="9"/>
                </a:lnTo>
                <a:lnTo>
                  <a:pt x="165" y="9"/>
                </a:lnTo>
                <a:lnTo>
                  <a:pt x="166" y="9"/>
                </a:lnTo>
                <a:lnTo>
                  <a:pt x="165" y="9"/>
                </a:lnTo>
                <a:lnTo>
                  <a:pt x="166" y="7"/>
                </a:lnTo>
                <a:lnTo>
                  <a:pt x="169" y="7"/>
                </a:lnTo>
                <a:lnTo>
                  <a:pt x="169" y="6"/>
                </a:lnTo>
                <a:lnTo>
                  <a:pt x="170" y="6"/>
                </a:lnTo>
                <a:lnTo>
                  <a:pt x="171" y="4"/>
                </a:lnTo>
                <a:lnTo>
                  <a:pt x="174" y="4"/>
                </a:lnTo>
                <a:lnTo>
                  <a:pt x="177" y="3"/>
                </a:lnTo>
                <a:lnTo>
                  <a:pt x="178" y="3"/>
                </a:lnTo>
                <a:lnTo>
                  <a:pt x="181" y="1"/>
                </a:lnTo>
                <a:lnTo>
                  <a:pt x="182" y="1"/>
                </a:lnTo>
                <a:lnTo>
                  <a:pt x="191" y="1"/>
                </a:lnTo>
                <a:lnTo>
                  <a:pt x="193" y="1"/>
                </a:lnTo>
                <a:lnTo>
                  <a:pt x="195" y="1"/>
                </a:lnTo>
                <a:lnTo>
                  <a:pt x="199" y="3"/>
                </a:lnTo>
                <a:lnTo>
                  <a:pt x="202" y="1"/>
                </a:lnTo>
                <a:lnTo>
                  <a:pt x="203" y="0"/>
                </a:lnTo>
                <a:lnTo>
                  <a:pt x="206" y="1"/>
                </a:lnTo>
                <a:lnTo>
                  <a:pt x="207" y="0"/>
                </a:lnTo>
                <a:lnTo>
                  <a:pt x="210" y="1"/>
                </a:lnTo>
                <a:lnTo>
                  <a:pt x="214" y="0"/>
                </a:lnTo>
                <a:lnTo>
                  <a:pt x="215" y="1"/>
                </a:lnTo>
                <a:lnTo>
                  <a:pt x="218" y="1"/>
                </a:lnTo>
                <a:lnTo>
                  <a:pt x="218" y="4"/>
                </a:lnTo>
                <a:lnTo>
                  <a:pt x="219" y="4"/>
                </a:lnTo>
                <a:lnTo>
                  <a:pt x="221" y="4"/>
                </a:lnTo>
                <a:lnTo>
                  <a:pt x="222" y="3"/>
                </a:lnTo>
                <a:lnTo>
                  <a:pt x="225" y="6"/>
                </a:lnTo>
                <a:lnTo>
                  <a:pt x="226" y="7"/>
                </a:lnTo>
                <a:lnTo>
                  <a:pt x="227" y="9"/>
                </a:lnTo>
                <a:lnTo>
                  <a:pt x="227" y="11"/>
                </a:lnTo>
                <a:lnTo>
                  <a:pt x="227" y="12"/>
                </a:lnTo>
                <a:lnTo>
                  <a:pt x="227" y="14"/>
                </a:lnTo>
                <a:lnTo>
                  <a:pt x="227" y="15"/>
                </a:lnTo>
                <a:lnTo>
                  <a:pt x="226" y="15"/>
                </a:lnTo>
                <a:lnTo>
                  <a:pt x="226" y="17"/>
                </a:lnTo>
                <a:lnTo>
                  <a:pt x="229" y="17"/>
                </a:lnTo>
                <a:lnTo>
                  <a:pt x="230" y="20"/>
                </a:lnTo>
                <a:lnTo>
                  <a:pt x="231" y="20"/>
                </a:lnTo>
                <a:lnTo>
                  <a:pt x="233" y="20"/>
                </a:lnTo>
                <a:lnTo>
                  <a:pt x="234" y="20"/>
                </a:lnTo>
                <a:lnTo>
                  <a:pt x="235" y="18"/>
                </a:lnTo>
                <a:lnTo>
                  <a:pt x="237" y="20"/>
                </a:lnTo>
                <a:lnTo>
                  <a:pt x="237" y="22"/>
                </a:lnTo>
                <a:lnTo>
                  <a:pt x="239" y="23"/>
                </a:lnTo>
                <a:lnTo>
                  <a:pt x="243" y="25"/>
                </a:lnTo>
                <a:lnTo>
                  <a:pt x="246" y="26"/>
                </a:lnTo>
                <a:lnTo>
                  <a:pt x="247" y="26"/>
                </a:lnTo>
                <a:lnTo>
                  <a:pt x="250" y="26"/>
                </a:lnTo>
                <a:lnTo>
                  <a:pt x="253" y="26"/>
                </a:lnTo>
                <a:lnTo>
                  <a:pt x="243" y="34"/>
                </a:lnTo>
                <a:lnTo>
                  <a:pt x="242" y="36"/>
                </a:lnTo>
                <a:lnTo>
                  <a:pt x="241" y="39"/>
                </a:lnTo>
                <a:lnTo>
                  <a:pt x="241" y="40"/>
                </a:lnTo>
                <a:lnTo>
                  <a:pt x="239" y="39"/>
                </a:lnTo>
                <a:lnTo>
                  <a:pt x="238" y="39"/>
                </a:lnTo>
                <a:lnTo>
                  <a:pt x="233" y="39"/>
                </a:lnTo>
                <a:lnTo>
                  <a:pt x="231" y="40"/>
                </a:lnTo>
                <a:lnTo>
                  <a:pt x="230" y="42"/>
                </a:lnTo>
                <a:lnTo>
                  <a:pt x="229" y="42"/>
                </a:lnTo>
                <a:lnTo>
                  <a:pt x="227" y="40"/>
                </a:lnTo>
                <a:lnTo>
                  <a:pt x="226" y="40"/>
                </a:lnTo>
                <a:lnTo>
                  <a:pt x="225" y="4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16" name="Freeform 1040"/>
          <p:cNvSpPr>
            <a:spLocks/>
          </p:cNvSpPr>
          <p:nvPr/>
        </p:nvSpPr>
        <p:spPr bwMode="auto">
          <a:xfrm>
            <a:off x="7521901" y="3113682"/>
            <a:ext cx="333246" cy="393013"/>
          </a:xfrm>
          <a:custGeom>
            <a:avLst/>
            <a:gdLst/>
            <a:ahLst/>
            <a:cxnLst>
              <a:cxn ang="0">
                <a:pos x="172" y="5"/>
              </a:cxn>
              <a:cxn ang="0">
                <a:pos x="165" y="5"/>
              </a:cxn>
              <a:cxn ang="0">
                <a:pos x="152" y="0"/>
              </a:cxn>
              <a:cxn ang="0">
                <a:pos x="145" y="2"/>
              </a:cxn>
              <a:cxn ang="0">
                <a:pos x="145" y="10"/>
              </a:cxn>
              <a:cxn ang="0">
                <a:pos x="145" y="13"/>
              </a:cxn>
              <a:cxn ang="0">
                <a:pos x="151" y="14"/>
              </a:cxn>
              <a:cxn ang="0">
                <a:pos x="151" y="22"/>
              </a:cxn>
              <a:cxn ang="0">
                <a:pos x="149" y="33"/>
              </a:cxn>
              <a:cxn ang="0">
                <a:pos x="155" y="38"/>
              </a:cxn>
              <a:cxn ang="0">
                <a:pos x="157" y="43"/>
              </a:cxn>
              <a:cxn ang="0">
                <a:pos x="167" y="44"/>
              </a:cxn>
              <a:cxn ang="0">
                <a:pos x="167" y="49"/>
              </a:cxn>
              <a:cxn ang="0">
                <a:pos x="160" y="51"/>
              </a:cxn>
              <a:cxn ang="0">
                <a:pos x="156" y="58"/>
              </a:cxn>
              <a:cxn ang="0">
                <a:pos x="156" y="65"/>
              </a:cxn>
              <a:cxn ang="0">
                <a:pos x="159" y="69"/>
              </a:cxn>
              <a:cxn ang="0">
                <a:pos x="152" y="73"/>
              </a:cxn>
              <a:cxn ang="0">
                <a:pos x="145" y="80"/>
              </a:cxn>
              <a:cxn ang="0">
                <a:pos x="141" y="88"/>
              </a:cxn>
              <a:cxn ang="0">
                <a:pos x="136" y="95"/>
              </a:cxn>
              <a:cxn ang="0">
                <a:pos x="124" y="109"/>
              </a:cxn>
              <a:cxn ang="0">
                <a:pos x="116" y="120"/>
              </a:cxn>
              <a:cxn ang="0">
                <a:pos x="105" y="124"/>
              </a:cxn>
              <a:cxn ang="0">
                <a:pos x="99" y="129"/>
              </a:cxn>
              <a:cxn ang="0">
                <a:pos x="95" y="123"/>
              </a:cxn>
              <a:cxn ang="0">
                <a:pos x="87" y="129"/>
              </a:cxn>
              <a:cxn ang="0">
                <a:pos x="79" y="143"/>
              </a:cxn>
              <a:cxn ang="0">
                <a:pos x="84" y="148"/>
              </a:cxn>
              <a:cxn ang="0">
                <a:pos x="90" y="149"/>
              </a:cxn>
              <a:cxn ang="0">
                <a:pos x="88" y="159"/>
              </a:cxn>
              <a:cxn ang="0">
                <a:pos x="96" y="164"/>
              </a:cxn>
              <a:cxn ang="0">
                <a:pos x="99" y="173"/>
              </a:cxn>
              <a:cxn ang="0">
                <a:pos x="102" y="179"/>
              </a:cxn>
              <a:cxn ang="0">
                <a:pos x="102" y="186"/>
              </a:cxn>
              <a:cxn ang="0">
                <a:pos x="100" y="189"/>
              </a:cxn>
              <a:cxn ang="0">
                <a:pos x="96" y="187"/>
              </a:cxn>
              <a:cxn ang="0">
                <a:pos x="90" y="189"/>
              </a:cxn>
              <a:cxn ang="0">
                <a:pos x="80" y="189"/>
              </a:cxn>
              <a:cxn ang="0">
                <a:pos x="74" y="189"/>
              </a:cxn>
              <a:cxn ang="0">
                <a:pos x="70" y="187"/>
              </a:cxn>
              <a:cxn ang="0">
                <a:pos x="62" y="195"/>
              </a:cxn>
              <a:cxn ang="0">
                <a:pos x="58" y="198"/>
              </a:cxn>
              <a:cxn ang="0">
                <a:pos x="50" y="195"/>
              </a:cxn>
              <a:cxn ang="0">
                <a:pos x="44" y="182"/>
              </a:cxn>
              <a:cxn ang="0">
                <a:pos x="38" y="179"/>
              </a:cxn>
              <a:cxn ang="0">
                <a:pos x="32" y="168"/>
              </a:cxn>
              <a:cxn ang="0">
                <a:pos x="14" y="171"/>
              </a:cxn>
              <a:cxn ang="0">
                <a:pos x="4" y="171"/>
              </a:cxn>
            </a:cxnLst>
            <a:rect l="0" t="0" r="r" b="b"/>
            <a:pathLst>
              <a:path w="175" h="198">
                <a:moveTo>
                  <a:pt x="175" y="5"/>
                </a:moveTo>
                <a:lnTo>
                  <a:pt x="175" y="7"/>
                </a:lnTo>
                <a:lnTo>
                  <a:pt x="173" y="7"/>
                </a:lnTo>
                <a:lnTo>
                  <a:pt x="172" y="5"/>
                </a:lnTo>
                <a:lnTo>
                  <a:pt x="171" y="7"/>
                </a:lnTo>
                <a:lnTo>
                  <a:pt x="169" y="5"/>
                </a:lnTo>
                <a:lnTo>
                  <a:pt x="167" y="5"/>
                </a:lnTo>
                <a:lnTo>
                  <a:pt x="165" y="5"/>
                </a:lnTo>
                <a:lnTo>
                  <a:pt x="164" y="5"/>
                </a:lnTo>
                <a:lnTo>
                  <a:pt x="160" y="3"/>
                </a:lnTo>
                <a:lnTo>
                  <a:pt x="156" y="2"/>
                </a:lnTo>
                <a:lnTo>
                  <a:pt x="152" y="0"/>
                </a:lnTo>
                <a:lnTo>
                  <a:pt x="151" y="0"/>
                </a:lnTo>
                <a:lnTo>
                  <a:pt x="149" y="2"/>
                </a:lnTo>
                <a:lnTo>
                  <a:pt x="147" y="2"/>
                </a:lnTo>
                <a:lnTo>
                  <a:pt x="145" y="2"/>
                </a:lnTo>
                <a:lnTo>
                  <a:pt x="145" y="5"/>
                </a:lnTo>
                <a:lnTo>
                  <a:pt x="144" y="8"/>
                </a:lnTo>
                <a:lnTo>
                  <a:pt x="144" y="10"/>
                </a:lnTo>
                <a:lnTo>
                  <a:pt x="145" y="10"/>
                </a:lnTo>
                <a:lnTo>
                  <a:pt x="147" y="10"/>
                </a:lnTo>
                <a:lnTo>
                  <a:pt x="147" y="11"/>
                </a:lnTo>
                <a:lnTo>
                  <a:pt x="145" y="11"/>
                </a:lnTo>
                <a:lnTo>
                  <a:pt x="145" y="13"/>
                </a:lnTo>
                <a:lnTo>
                  <a:pt x="145" y="14"/>
                </a:lnTo>
                <a:lnTo>
                  <a:pt x="147" y="14"/>
                </a:lnTo>
                <a:lnTo>
                  <a:pt x="149" y="14"/>
                </a:lnTo>
                <a:lnTo>
                  <a:pt x="151" y="14"/>
                </a:lnTo>
                <a:lnTo>
                  <a:pt x="151" y="16"/>
                </a:lnTo>
                <a:lnTo>
                  <a:pt x="149" y="18"/>
                </a:lnTo>
                <a:lnTo>
                  <a:pt x="147" y="19"/>
                </a:lnTo>
                <a:lnTo>
                  <a:pt x="151" y="22"/>
                </a:lnTo>
                <a:lnTo>
                  <a:pt x="151" y="25"/>
                </a:lnTo>
                <a:lnTo>
                  <a:pt x="147" y="29"/>
                </a:lnTo>
                <a:lnTo>
                  <a:pt x="148" y="30"/>
                </a:lnTo>
                <a:lnTo>
                  <a:pt x="149" y="33"/>
                </a:lnTo>
                <a:lnTo>
                  <a:pt x="152" y="35"/>
                </a:lnTo>
                <a:lnTo>
                  <a:pt x="152" y="36"/>
                </a:lnTo>
                <a:lnTo>
                  <a:pt x="153" y="36"/>
                </a:lnTo>
                <a:lnTo>
                  <a:pt x="155" y="38"/>
                </a:lnTo>
                <a:lnTo>
                  <a:pt x="156" y="36"/>
                </a:lnTo>
                <a:lnTo>
                  <a:pt x="157" y="38"/>
                </a:lnTo>
                <a:lnTo>
                  <a:pt x="157" y="40"/>
                </a:lnTo>
                <a:lnTo>
                  <a:pt x="157" y="43"/>
                </a:lnTo>
                <a:lnTo>
                  <a:pt x="159" y="43"/>
                </a:lnTo>
                <a:lnTo>
                  <a:pt x="163" y="43"/>
                </a:lnTo>
                <a:lnTo>
                  <a:pt x="165" y="44"/>
                </a:lnTo>
                <a:lnTo>
                  <a:pt x="167" y="44"/>
                </a:lnTo>
                <a:lnTo>
                  <a:pt x="168" y="46"/>
                </a:lnTo>
                <a:lnTo>
                  <a:pt x="167" y="47"/>
                </a:lnTo>
                <a:lnTo>
                  <a:pt x="168" y="49"/>
                </a:lnTo>
                <a:lnTo>
                  <a:pt x="167" y="49"/>
                </a:lnTo>
                <a:lnTo>
                  <a:pt x="165" y="51"/>
                </a:lnTo>
                <a:lnTo>
                  <a:pt x="164" y="51"/>
                </a:lnTo>
                <a:lnTo>
                  <a:pt x="163" y="51"/>
                </a:lnTo>
                <a:lnTo>
                  <a:pt x="160" y="51"/>
                </a:lnTo>
                <a:lnTo>
                  <a:pt x="160" y="52"/>
                </a:lnTo>
                <a:lnTo>
                  <a:pt x="157" y="54"/>
                </a:lnTo>
                <a:lnTo>
                  <a:pt x="156" y="55"/>
                </a:lnTo>
                <a:lnTo>
                  <a:pt x="156" y="58"/>
                </a:lnTo>
                <a:lnTo>
                  <a:pt x="157" y="60"/>
                </a:lnTo>
                <a:lnTo>
                  <a:pt x="157" y="62"/>
                </a:lnTo>
                <a:lnTo>
                  <a:pt x="157" y="63"/>
                </a:lnTo>
                <a:lnTo>
                  <a:pt x="156" y="65"/>
                </a:lnTo>
                <a:lnTo>
                  <a:pt x="156" y="66"/>
                </a:lnTo>
                <a:lnTo>
                  <a:pt x="159" y="68"/>
                </a:lnTo>
                <a:lnTo>
                  <a:pt x="160" y="69"/>
                </a:lnTo>
                <a:lnTo>
                  <a:pt x="159" y="69"/>
                </a:lnTo>
                <a:lnTo>
                  <a:pt x="157" y="69"/>
                </a:lnTo>
                <a:lnTo>
                  <a:pt x="156" y="69"/>
                </a:lnTo>
                <a:lnTo>
                  <a:pt x="156" y="71"/>
                </a:lnTo>
                <a:lnTo>
                  <a:pt x="152" y="73"/>
                </a:lnTo>
                <a:lnTo>
                  <a:pt x="149" y="77"/>
                </a:lnTo>
                <a:lnTo>
                  <a:pt x="147" y="77"/>
                </a:lnTo>
                <a:lnTo>
                  <a:pt x="145" y="79"/>
                </a:lnTo>
                <a:lnTo>
                  <a:pt x="145" y="80"/>
                </a:lnTo>
                <a:lnTo>
                  <a:pt x="144" y="82"/>
                </a:lnTo>
                <a:lnTo>
                  <a:pt x="145" y="85"/>
                </a:lnTo>
                <a:lnTo>
                  <a:pt x="144" y="87"/>
                </a:lnTo>
                <a:lnTo>
                  <a:pt x="141" y="88"/>
                </a:lnTo>
                <a:lnTo>
                  <a:pt x="140" y="88"/>
                </a:lnTo>
                <a:lnTo>
                  <a:pt x="137" y="90"/>
                </a:lnTo>
                <a:lnTo>
                  <a:pt x="136" y="91"/>
                </a:lnTo>
                <a:lnTo>
                  <a:pt x="136" y="95"/>
                </a:lnTo>
                <a:lnTo>
                  <a:pt x="133" y="98"/>
                </a:lnTo>
                <a:lnTo>
                  <a:pt x="129" y="104"/>
                </a:lnTo>
                <a:lnTo>
                  <a:pt x="128" y="107"/>
                </a:lnTo>
                <a:lnTo>
                  <a:pt x="124" y="109"/>
                </a:lnTo>
                <a:lnTo>
                  <a:pt x="121" y="112"/>
                </a:lnTo>
                <a:lnTo>
                  <a:pt x="120" y="112"/>
                </a:lnTo>
                <a:lnTo>
                  <a:pt x="117" y="117"/>
                </a:lnTo>
                <a:lnTo>
                  <a:pt x="116" y="120"/>
                </a:lnTo>
                <a:lnTo>
                  <a:pt x="113" y="124"/>
                </a:lnTo>
                <a:lnTo>
                  <a:pt x="112" y="124"/>
                </a:lnTo>
                <a:lnTo>
                  <a:pt x="111" y="126"/>
                </a:lnTo>
                <a:lnTo>
                  <a:pt x="105" y="124"/>
                </a:lnTo>
                <a:lnTo>
                  <a:pt x="104" y="126"/>
                </a:lnTo>
                <a:lnTo>
                  <a:pt x="102" y="126"/>
                </a:lnTo>
                <a:lnTo>
                  <a:pt x="100" y="127"/>
                </a:lnTo>
                <a:lnTo>
                  <a:pt x="99" y="129"/>
                </a:lnTo>
                <a:lnTo>
                  <a:pt x="99" y="127"/>
                </a:lnTo>
                <a:lnTo>
                  <a:pt x="99" y="126"/>
                </a:lnTo>
                <a:lnTo>
                  <a:pt x="96" y="123"/>
                </a:lnTo>
                <a:lnTo>
                  <a:pt x="95" y="123"/>
                </a:lnTo>
                <a:lnTo>
                  <a:pt x="94" y="123"/>
                </a:lnTo>
                <a:lnTo>
                  <a:pt x="91" y="124"/>
                </a:lnTo>
                <a:lnTo>
                  <a:pt x="91" y="126"/>
                </a:lnTo>
                <a:lnTo>
                  <a:pt x="87" y="129"/>
                </a:lnTo>
                <a:lnTo>
                  <a:pt x="83" y="135"/>
                </a:lnTo>
                <a:lnTo>
                  <a:pt x="82" y="137"/>
                </a:lnTo>
                <a:lnTo>
                  <a:pt x="80" y="138"/>
                </a:lnTo>
                <a:lnTo>
                  <a:pt x="79" y="143"/>
                </a:lnTo>
                <a:lnTo>
                  <a:pt x="79" y="145"/>
                </a:lnTo>
                <a:lnTo>
                  <a:pt x="80" y="146"/>
                </a:lnTo>
                <a:lnTo>
                  <a:pt x="82" y="148"/>
                </a:lnTo>
                <a:lnTo>
                  <a:pt x="84" y="148"/>
                </a:lnTo>
                <a:lnTo>
                  <a:pt x="86" y="148"/>
                </a:lnTo>
                <a:lnTo>
                  <a:pt x="88" y="148"/>
                </a:lnTo>
                <a:lnTo>
                  <a:pt x="90" y="148"/>
                </a:lnTo>
                <a:lnTo>
                  <a:pt x="90" y="149"/>
                </a:lnTo>
                <a:lnTo>
                  <a:pt x="91" y="151"/>
                </a:lnTo>
                <a:lnTo>
                  <a:pt x="91" y="153"/>
                </a:lnTo>
                <a:lnTo>
                  <a:pt x="88" y="157"/>
                </a:lnTo>
                <a:lnTo>
                  <a:pt x="88" y="159"/>
                </a:lnTo>
                <a:lnTo>
                  <a:pt x="90" y="160"/>
                </a:lnTo>
                <a:lnTo>
                  <a:pt x="92" y="164"/>
                </a:lnTo>
                <a:lnTo>
                  <a:pt x="95" y="164"/>
                </a:lnTo>
                <a:lnTo>
                  <a:pt x="96" y="164"/>
                </a:lnTo>
                <a:lnTo>
                  <a:pt x="96" y="165"/>
                </a:lnTo>
                <a:lnTo>
                  <a:pt x="96" y="168"/>
                </a:lnTo>
                <a:lnTo>
                  <a:pt x="98" y="170"/>
                </a:lnTo>
                <a:lnTo>
                  <a:pt x="99" y="173"/>
                </a:lnTo>
                <a:lnTo>
                  <a:pt x="99" y="175"/>
                </a:lnTo>
                <a:lnTo>
                  <a:pt x="100" y="176"/>
                </a:lnTo>
                <a:lnTo>
                  <a:pt x="102" y="178"/>
                </a:lnTo>
                <a:lnTo>
                  <a:pt x="102" y="179"/>
                </a:lnTo>
                <a:lnTo>
                  <a:pt x="103" y="179"/>
                </a:lnTo>
                <a:lnTo>
                  <a:pt x="103" y="181"/>
                </a:lnTo>
                <a:lnTo>
                  <a:pt x="102" y="182"/>
                </a:lnTo>
                <a:lnTo>
                  <a:pt x="102" y="186"/>
                </a:lnTo>
                <a:lnTo>
                  <a:pt x="103" y="187"/>
                </a:lnTo>
                <a:lnTo>
                  <a:pt x="104" y="187"/>
                </a:lnTo>
                <a:lnTo>
                  <a:pt x="102" y="187"/>
                </a:lnTo>
                <a:lnTo>
                  <a:pt x="100" y="189"/>
                </a:lnTo>
                <a:lnTo>
                  <a:pt x="99" y="190"/>
                </a:lnTo>
                <a:lnTo>
                  <a:pt x="98" y="190"/>
                </a:lnTo>
                <a:lnTo>
                  <a:pt x="96" y="189"/>
                </a:lnTo>
                <a:lnTo>
                  <a:pt x="96" y="187"/>
                </a:lnTo>
                <a:lnTo>
                  <a:pt x="96" y="186"/>
                </a:lnTo>
                <a:lnTo>
                  <a:pt x="94" y="186"/>
                </a:lnTo>
                <a:lnTo>
                  <a:pt x="92" y="187"/>
                </a:lnTo>
                <a:lnTo>
                  <a:pt x="90" y="189"/>
                </a:lnTo>
                <a:lnTo>
                  <a:pt x="88" y="190"/>
                </a:lnTo>
                <a:lnTo>
                  <a:pt x="87" y="190"/>
                </a:lnTo>
                <a:lnTo>
                  <a:pt x="83" y="190"/>
                </a:lnTo>
                <a:lnTo>
                  <a:pt x="80" y="189"/>
                </a:lnTo>
                <a:lnTo>
                  <a:pt x="79" y="189"/>
                </a:lnTo>
                <a:lnTo>
                  <a:pt x="78" y="189"/>
                </a:lnTo>
                <a:lnTo>
                  <a:pt x="75" y="189"/>
                </a:lnTo>
                <a:lnTo>
                  <a:pt x="74" y="189"/>
                </a:lnTo>
                <a:lnTo>
                  <a:pt x="72" y="189"/>
                </a:lnTo>
                <a:lnTo>
                  <a:pt x="71" y="189"/>
                </a:lnTo>
                <a:lnTo>
                  <a:pt x="70" y="189"/>
                </a:lnTo>
                <a:lnTo>
                  <a:pt x="70" y="187"/>
                </a:lnTo>
                <a:lnTo>
                  <a:pt x="68" y="189"/>
                </a:lnTo>
                <a:lnTo>
                  <a:pt x="68" y="193"/>
                </a:lnTo>
                <a:lnTo>
                  <a:pt x="63" y="193"/>
                </a:lnTo>
                <a:lnTo>
                  <a:pt x="62" y="195"/>
                </a:lnTo>
                <a:lnTo>
                  <a:pt x="60" y="193"/>
                </a:lnTo>
                <a:lnTo>
                  <a:pt x="60" y="195"/>
                </a:lnTo>
                <a:lnTo>
                  <a:pt x="59" y="197"/>
                </a:lnTo>
                <a:lnTo>
                  <a:pt x="58" y="198"/>
                </a:lnTo>
                <a:lnTo>
                  <a:pt x="56" y="198"/>
                </a:lnTo>
                <a:lnTo>
                  <a:pt x="54" y="197"/>
                </a:lnTo>
                <a:lnTo>
                  <a:pt x="50" y="197"/>
                </a:lnTo>
                <a:lnTo>
                  <a:pt x="50" y="195"/>
                </a:lnTo>
                <a:lnTo>
                  <a:pt x="48" y="193"/>
                </a:lnTo>
                <a:lnTo>
                  <a:pt x="47" y="192"/>
                </a:lnTo>
                <a:lnTo>
                  <a:pt x="46" y="189"/>
                </a:lnTo>
                <a:lnTo>
                  <a:pt x="44" y="182"/>
                </a:lnTo>
                <a:lnTo>
                  <a:pt x="44" y="181"/>
                </a:lnTo>
                <a:lnTo>
                  <a:pt x="43" y="181"/>
                </a:lnTo>
                <a:lnTo>
                  <a:pt x="40" y="179"/>
                </a:lnTo>
                <a:lnTo>
                  <a:pt x="38" y="179"/>
                </a:lnTo>
                <a:lnTo>
                  <a:pt x="36" y="173"/>
                </a:lnTo>
                <a:lnTo>
                  <a:pt x="36" y="171"/>
                </a:lnTo>
                <a:lnTo>
                  <a:pt x="34" y="170"/>
                </a:lnTo>
                <a:lnTo>
                  <a:pt x="32" y="168"/>
                </a:lnTo>
                <a:lnTo>
                  <a:pt x="30" y="168"/>
                </a:lnTo>
                <a:lnTo>
                  <a:pt x="24" y="170"/>
                </a:lnTo>
                <a:lnTo>
                  <a:pt x="18" y="170"/>
                </a:lnTo>
                <a:lnTo>
                  <a:pt x="14" y="171"/>
                </a:lnTo>
                <a:lnTo>
                  <a:pt x="11" y="170"/>
                </a:lnTo>
                <a:lnTo>
                  <a:pt x="7" y="170"/>
                </a:lnTo>
                <a:lnTo>
                  <a:pt x="6" y="173"/>
                </a:lnTo>
                <a:lnTo>
                  <a:pt x="4" y="171"/>
                </a:lnTo>
                <a:lnTo>
                  <a:pt x="0" y="171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17" name="Freeform 1041"/>
          <p:cNvSpPr>
            <a:spLocks/>
          </p:cNvSpPr>
          <p:nvPr/>
        </p:nvSpPr>
        <p:spPr bwMode="auto">
          <a:xfrm>
            <a:off x="7443949" y="3448708"/>
            <a:ext cx="77952" cy="12885"/>
          </a:xfrm>
          <a:custGeom>
            <a:avLst/>
            <a:gdLst/>
            <a:ahLst/>
            <a:cxnLst>
              <a:cxn ang="0">
                <a:pos x="39" y="1"/>
              </a:cxn>
              <a:cxn ang="0">
                <a:pos x="37" y="0"/>
              </a:cxn>
              <a:cxn ang="0">
                <a:pos x="34" y="0"/>
              </a:cxn>
              <a:cxn ang="0">
                <a:pos x="30" y="0"/>
              </a:cxn>
              <a:cxn ang="0">
                <a:pos x="28" y="1"/>
              </a:cxn>
              <a:cxn ang="0">
                <a:pos x="24" y="3"/>
              </a:cxn>
              <a:cxn ang="0">
                <a:pos x="17" y="1"/>
              </a:cxn>
              <a:cxn ang="0">
                <a:pos x="13" y="1"/>
              </a:cxn>
              <a:cxn ang="0">
                <a:pos x="9" y="3"/>
              </a:cxn>
              <a:cxn ang="0">
                <a:pos x="8" y="3"/>
              </a:cxn>
              <a:cxn ang="0">
                <a:pos x="5" y="5"/>
              </a:cxn>
              <a:cxn ang="0">
                <a:pos x="2" y="5"/>
              </a:cxn>
              <a:cxn ang="0">
                <a:pos x="1" y="5"/>
              </a:cxn>
              <a:cxn ang="0">
                <a:pos x="1" y="3"/>
              </a:cxn>
              <a:cxn ang="0">
                <a:pos x="0" y="3"/>
              </a:cxn>
            </a:cxnLst>
            <a:rect l="0" t="0" r="r" b="b"/>
            <a:pathLst>
              <a:path w="39" h="5">
                <a:moveTo>
                  <a:pt x="39" y="1"/>
                </a:moveTo>
                <a:lnTo>
                  <a:pt x="37" y="0"/>
                </a:lnTo>
                <a:lnTo>
                  <a:pt x="34" y="0"/>
                </a:lnTo>
                <a:lnTo>
                  <a:pt x="30" y="0"/>
                </a:lnTo>
                <a:lnTo>
                  <a:pt x="28" y="1"/>
                </a:lnTo>
                <a:lnTo>
                  <a:pt x="24" y="3"/>
                </a:lnTo>
                <a:lnTo>
                  <a:pt x="17" y="1"/>
                </a:lnTo>
                <a:lnTo>
                  <a:pt x="13" y="1"/>
                </a:lnTo>
                <a:lnTo>
                  <a:pt x="9" y="3"/>
                </a:lnTo>
                <a:lnTo>
                  <a:pt x="8" y="3"/>
                </a:lnTo>
                <a:lnTo>
                  <a:pt x="5" y="5"/>
                </a:lnTo>
                <a:lnTo>
                  <a:pt x="2" y="5"/>
                </a:lnTo>
                <a:lnTo>
                  <a:pt x="1" y="5"/>
                </a:lnTo>
                <a:lnTo>
                  <a:pt x="1" y="3"/>
                </a:lnTo>
                <a:lnTo>
                  <a:pt x="0" y="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18" name="Freeform 1042"/>
          <p:cNvSpPr>
            <a:spLocks/>
          </p:cNvSpPr>
          <p:nvPr/>
        </p:nvSpPr>
        <p:spPr bwMode="auto">
          <a:xfrm>
            <a:off x="6461747" y="1603914"/>
            <a:ext cx="4386781" cy="1286415"/>
          </a:xfrm>
          <a:custGeom>
            <a:avLst/>
            <a:gdLst/>
            <a:ahLst/>
            <a:cxnLst>
              <a:cxn ang="0">
                <a:pos x="2265" y="270"/>
              </a:cxn>
              <a:cxn ang="0">
                <a:pos x="2178" y="296"/>
              </a:cxn>
              <a:cxn ang="0">
                <a:pos x="2073" y="315"/>
              </a:cxn>
              <a:cxn ang="0">
                <a:pos x="2038" y="380"/>
              </a:cxn>
              <a:cxn ang="0">
                <a:pos x="1944" y="455"/>
              </a:cxn>
              <a:cxn ang="0">
                <a:pos x="2051" y="300"/>
              </a:cxn>
              <a:cxn ang="0">
                <a:pos x="1994" y="293"/>
              </a:cxn>
              <a:cxn ang="0">
                <a:pos x="1896" y="331"/>
              </a:cxn>
              <a:cxn ang="0">
                <a:pos x="1786" y="329"/>
              </a:cxn>
              <a:cxn ang="0">
                <a:pos x="1646" y="419"/>
              </a:cxn>
              <a:cxn ang="0">
                <a:pos x="1703" y="436"/>
              </a:cxn>
              <a:cxn ang="0">
                <a:pos x="1639" y="590"/>
              </a:cxn>
              <a:cxn ang="0">
                <a:pos x="1602" y="562"/>
              </a:cxn>
              <a:cxn ang="0">
                <a:pos x="1474" y="439"/>
              </a:cxn>
              <a:cxn ang="0">
                <a:pos x="1239" y="505"/>
              </a:cxn>
              <a:cxn ang="0">
                <a:pos x="987" y="483"/>
              </a:cxn>
              <a:cxn ang="0">
                <a:pos x="834" y="476"/>
              </a:cxn>
              <a:cxn ang="0">
                <a:pos x="693" y="424"/>
              </a:cxn>
              <a:cxn ang="0">
                <a:pos x="626" y="395"/>
              </a:cxn>
              <a:cxn ang="0">
                <a:pos x="512" y="427"/>
              </a:cxn>
              <a:cxn ang="0">
                <a:pos x="477" y="480"/>
              </a:cxn>
              <a:cxn ang="0">
                <a:pos x="375" y="460"/>
              </a:cxn>
              <a:cxn ang="0">
                <a:pos x="289" y="519"/>
              </a:cxn>
              <a:cxn ang="0">
                <a:pos x="301" y="600"/>
              </a:cxn>
              <a:cxn ang="0">
                <a:pos x="215" y="612"/>
              </a:cxn>
              <a:cxn ang="0">
                <a:pos x="176" y="540"/>
              </a:cxn>
              <a:cxn ang="0">
                <a:pos x="132" y="483"/>
              </a:cxn>
              <a:cxn ang="0">
                <a:pos x="73" y="435"/>
              </a:cxn>
              <a:cxn ang="0">
                <a:pos x="4" y="369"/>
              </a:cxn>
              <a:cxn ang="0">
                <a:pos x="33" y="311"/>
              </a:cxn>
              <a:cxn ang="0">
                <a:pos x="33" y="185"/>
              </a:cxn>
              <a:cxn ang="0">
                <a:pos x="73" y="144"/>
              </a:cxn>
              <a:cxn ang="0">
                <a:pos x="207" y="187"/>
              </a:cxn>
              <a:cxn ang="0">
                <a:pos x="110" y="210"/>
              </a:cxn>
              <a:cxn ang="0">
                <a:pos x="174" y="231"/>
              </a:cxn>
              <a:cxn ang="0">
                <a:pos x="251" y="176"/>
              </a:cxn>
              <a:cxn ang="0">
                <a:pos x="352" y="166"/>
              </a:cxn>
              <a:cxn ang="0">
                <a:pos x="432" y="161"/>
              </a:cxn>
              <a:cxn ang="0">
                <a:pos x="593" y="157"/>
              </a:cxn>
              <a:cxn ang="0">
                <a:pos x="617" y="105"/>
              </a:cxn>
              <a:cxn ang="0">
                <a:pos x="679" y="147"/>
              </a:cxn>
              <a:cxn ang="0">
                <a:pos x="671" y="204"/>
              </a:cxn>
              <a:cxn ang="0">
                <a:pos x="749" y="177"/>
              </a:cxn>
              <a:cxn ang="0">
                <a:pos x="695" y="114"/>
              </a:cxn>
              <a:cxn ang="0">
                <a:pos x="738" y="110"/>
              </a:cxn>
              <a:cxn ang="0">
                <a:pos x="839" y="133"/>
              </a:cxn>
              <a:cxn ang="0">
                <a:pos x="800" y="77"/>
              </a:cxn>
              <a:cxn ang="0">
                <a:pos x="882" y="53"/>
              </a:cxn>
              <a:cxn ang="0">
                <a:pos x="992" y="31"/>
              </a:cxn>
              <a:cxn ang="0">
                <a:pos x="1084" y="28"/>
              </a:cxn>
              <a:cxn ang="0">
                <a:pos x="1175" y="3"/>
              </a:cxn>
              <a:cxn ang="0">
                <a:pos x="1219" y="19"/>
              </a:cxn>
              <a:cxn ang="0">
                <a:pos x="1295" y="39"/>
              </a:cxn>
              <a:cxn ang="0">
                <a:pos x="1181" y="81"/>
              </a:cxn>
              <a:cxn ang="0">
                <a:pos x="1246" y="72"/>
              </a:cxn>
              <a:cxn ang="0">
                <a:pos x="1334" y="72"/>
              </a:cxn>
              <a:cxn ang="0">
                <a:pos x="1457" y="69"/>
              </a:cxn>
              <a:cxn ang="0">
                <a:pos x="1533" y="100"/>
              </a:cxn>
              <a:cxn ang="0">
                <a:pos x="1599" y="111"/>
              </a:cxn>
              <a:cxn ang="0">
                <a:pos x="1710" y="86"/>
              </a:cxn>
              <a:cxn ang="0">
                <a:pos x="1873" y="121"/>
              </a:cxn>
              <a:cxn ang="0">
                <a:pos x="2029" y="144"/>
              </a:cxn>
              <a:cxn ang="0">
                <a:pos x="2183" y="138"/>
              </a:cxn>
            </a:cxnLst>
            <a:rect l="0" t="0" r="r" b="b"/>
            <a:pathLst>
              <a:path w="2296" h="648">
                <a:moveTo>
                  <a:pt x="2296" y="224"/>
                </a:moveTo>
                <a:lnTo>
                  <a:pt x="2295" y="226"/>
                </a:lnTo>
                <a:lnTo>
                  <a:pt x="2288" y="229"/>
                </a:lnTo>
                <a:lnTo>
                  <a:pt x="2284" y="229"/>
                </a:lnTo>
                <a:lnTo>
                  <a:pt x="2280" y="231"/>
                </a:lnTo>
                <a:lnTo>
                  <a:pt x="2279" y="232"/>
                </a:lnTo>
                <a:lnTo>
                  <a:pt x="2275" y="234"/>
                </a:lnTo>
                <a:lnTo>
                  <a:pt x="2275" y="232"/>
                </a:lnTo>
                <a:lnTo>
                  <a:pt x="2276" y="232"/>
                </a:lnTo>
                <a:lnTo>
                  <a:pt x="2271" y="232"/>
                </a:lnTo>
                <a:lnTo>
                  <a:pt x="2269" y="231"/>
                </a:lnTo>
                <a:lnTo>
                  <a:pt x="2268" y="232"/>
                </a:lnTo>
                <a:lnTo>
                  <a:pt x="2263" y="231"/>
                </a:lnTo>
                <a:lnTo>
                  <a:pt x="2260" y="229"/>
                </a:lnTo>
                <a:lnTo>
                  <a:pt x="2257" y="231"/>
                </a:lnTo>
                <a:lnTo>
                  <a:pt x="2257" y="232"/>
                </a:lnTo>
                <a:lnTo>
                  <a:pt x="2257" y="234"/>
                </a:lnTo>
                <a:lnTo>
                  <a:pt x="2257" y="235"/>
                </a:lnTo>
                <a:lnTo>
                  <a:pt x="2260" y="237"/>
                </a:lnTo>
                <a:lnTo>
                  <a:pt x="2263" y="237"/>
                </a:lnTo>
                <a:lnTo>
                  <a:pt x="2265" y="238"/>
                </a:lnTo>
                <a:lnTo>
                  <a:pt x="2268" y="240"/>
                </a:lnTo>
                <a:lnTo>
                  <a:pt x="2269" y="238"/>
                </a:lnTo>
                <a:lnTo>
                  <a:pt x="2272" y="237"/>
                </a:lnTo>
                <a:lnTo>
                  <a:pt x="2273" y="240"/>
                </a:lnTo>
                <a:lnTo>
                  <a:pt x="2275" y="243"/>
                </a:lnTo>
                <a:lnTo>
                  <a:pt x="2273" y="242"/>
                </a:lnTo>
                <a:lnTo>
                  <a:pt x="2271" y="243"/>
                </a:lnTo>
                <a:lnTo>
                  <a:pt x="2273" y="245"/>
                </a:lnTo>
                <a:lnTo>
                  <a:pt x="2276" y="245"/>
                </a:lnTo>
                <a:lnTo>
                  <a:pt x="2277" y="249"/>
                </a:lnTo>
                <a:lnTo>
                  <a:pt x="2279" y="251"/>
                </a:lnTo>
                <a:lnTo>
                  <a:pt x="2279" y="254"/>
                </a:lnTo>
                <a:lnTo>
                  <a:pt x="2281" y="256"/>
                </a:lnTo>
                <a:lnTo>
                  <a:pt x="2284" y="257"/>
                </a:lnTo>
                <a:lnTo>
                  <a:pt x="2285" y="257"/>
                </a:lnTo>
                <a:lnTo>
                  <a:pt x="2288" y="260"/>
                </a:lnTo>
                <a:lnTo>
                  <a:pt x="2287" y="260"/>
                </a:lnTo>
                <a:lnTo>
                  <a:pt x="2283" y="260"/>
                </a:lnTo>
                <a:lnTo>
                  <a:pt x="2281" y="260"/>
                </a:lnTo>
                <a:lnTo>
                  <a:pt x="2281" y="262"/>
                </a:lnTo>
                <a:lnTo>
                  <a:pt x="2285" y="264"/>
                </a:lnTo>
                <a:lnTo>
                  <a:pt x="2288" y="264"/>
                </a:lnTo>
                <a:lnTo>
                  <a:pt x="2289" y="265"/>
                </a:lnTo>
                <a:lnTo>
                  <a:pt x="2288" y="268"/>
                </a:lnTo>
                <a:lnTo>
                  <a:pt x="2284" y="271"/>
                </a:lnTo>
                <a:lnTo>
                  <a:pt x="2283" y="271"/>
                </a:lnTo>
                <a:lnTo>
                  <a:pt x="2281" y="273"/>
                </a:lnTo>
                <a:lnTo>
                  <a:pt x="2280" y="273"/>
                </a:lnTo>
                <a:lnTo>
                  <a:pt x="2276" y="273"/>
                </a:lnTo>
                <a:lnTo>
                  <a:pt x="2272" y="271"/>
                </a:lnTo>
                <a:lnTo>
                  <a:pt x="2269" y="270"/>
                </a:lnTo>
                <a:lnTo>
                  <a:pt x="2265" y="270"/>
                </a:lnTo>
                <a:lnTo>
                  <a:pt x="2263" y="270"/>
                </a:lnTo>
                <a:lnTo>
                  <a:pt x="2261" y="268"/>
                </a:lnTo>
                <a:lnTo>
                  <a:pt x="2260" y="267"/>
                </a:lnTo>
                <a:lnTo>
                  <a:pt x="2259" y="267"/>
                </a:lnTo>
                <a:lnTo>
                  <a:pt x="2260" y="268"/>
                </a:lnTo>
                <a:lnTo>
                  <a:pt x="2257" y="268"/>
                </a:lnTo>
                <a:lnTo>
                  <a:pt x="2256" y="268"/>
                </a:lnTo>
                <a:lnTo>
                  <a:pt x="2253" y="267"/>
                </a:lnTo>
                <a:lnTo>
                  <a:pt x="2252" y="265"/>
                </a:lnTo>
                <a:lnTo>
                  <a:pt x="2251" y="264"/>
                </a:lnTo>
                <a:lnTo>
                  <a:pt x="2251" y="265"/>
                </a:lnTo>
                <a:lnTo>
                  <a:pt x="2253" y="268"/>
                </a:lnTo>
                <a:lnTo>
                  <a:pt x="2255" y="268"/>
                </a:lnTo>
                <a:lnTo>
                  <a:pt x="2253" y="270"/>
                </a:lnTo>
                <a:lnTo>
                  <a:pt x="2247" y="271"/>
                </a:lnTo>
                <a:lnTo>
                  <a:pt x="2236" y="275"/>
                </a:lnTo>
                <a:lnTo>
                  <a:pt x="2234" y="276"/>
                </a:lnTo>
                <a:lnTo>
                  <a:pt x="2231" y="276"/>
                </a:lnTo>
                <a:lnTo>
                  <a:pt x="2226" y="278"/>
                </a:lnTo>
                <a:lnTo>
                  <a:pt x="2224" y="278"/>
                </a:lnTo>
                <a:lnTo>
                  <a:pt x="2224" y="276"/>
                </a:lnTo>
                <a:lnTo>
                  <a:pt x="2223" y="276"/>
                </a:lnTo>
                <a:lnTo>
                  <a:pt x="2223" y="278"/>
                </a:lnTo>
                <a:lnTo>
                  <a:pt x="2223" y="279"/>
                </a:lnTo>
                <a:lnTo>
                  <a:pt x="2222" y="279"/>
                </a:lnTo>
                <a:lnTo>
                  <a:pt x="2218" y="281"/>
                </a:lnTo>
                <a:lnTo>
                  <a:pt x="2215" y="282"/>
                </a:lnTo>
                <a:lnTo>
                  <a:pt x="2208" y="282"/>
                </a:lnTo>
                <a:lnTo>
                  <a:pt x="2204" y="285"/>
                </a:lnTo>
                <a:lnTo>
                  <a:pt x="2203" y="285"/>
                </a:lnTo>
                <a:lnTo>
                  <a:pt x="2202" y="285"/>
                </a:lnTo>
                <a:lnTo>
                  <a:pt x="2200" y="284"/>
                </a:lnTo>
                <a:lnTo>
                  <a:pt x="2199" y="284"/>
                </a:lnTo>
                <a:lnTo>
                  <a:pt x="2198" y="285"/>
                </a:lnTo>
                <a:lnTo>
                  <a:pt x="2198" y="287"/>
                </a:lnTo>
                <a:lnTo>
                  <a:pt x="2196" y="287"/>
                </a:lnTo>
                <a:lnTo>
                  <a:pt x="2195" y="289"/>
                </a:lnTo>
                <a:lnTo>
                  <a:pt x="2194" y="290"/>
                </a:lnTo>
                <a:lnTo>
                  <a:pt x="2192" y="290"/>
                </a:lnTo>
                <a:lnTo>
                  <a:pt x="2191" y="290"/>
                </a:lnTo>
                <a:lnTo>
                  <a:pt x="2188" y="289"/>
                </a:lnTo>
                <a:lnTo>
                  <a:pt x="2188" y="290"/>
                </a:lnTo>
                <a:lnTo>
                  <a:pt x="2190" y="292"/>
                </a:lnTo>
                <a:lnTo>
                  <a:pt x="2188" y="292"/>
                </a:lnTo>
                <a:lnTo>
                  <a:pt x="2184" y="293"/>
                </a:lnTo>
                <a:lnTo>
                  <a:pt x="2182" y="293"/>
                </a:lnTo>
                <a:lnTo>
                  <a:pt x="2183" y="295"/>
                </a:lnTo>
                <a:lnTo>
                  <a:pt x="2182" y="296"/>
                </a:lnTo>
                <a:lnTo>
                  <a:pt x="2180" y="296"/>
                </a:lnTo>
                <a:lnTo>
                  <a:pt x="2179" y="296"/>
                </a:lnTo>
                <a:lnTo>
                  <a:pt x="2176" y="295"/>
                </a:lnTo>
                <a:lnTo>
                  <a:pt x="2176" y="296"/>
                </a:lnTo>
                <a:lnTo>
                  <a:pt x="2178" y="296"/>
                </a:lnTo>
                <a:lnTo>
                  <a:pt x="2178" y="298"/>
                </a:lnTo>
                <a:lnTo>
                  <a:pt x="2176" y="298"/>
                </a:lnTo>
                <a:lnTo>
                  <a:pt x="2175" y="300"/>
                </a:lnTo>
                <a:lnTo>
                  <a:pt x="2172" y="300"/>
                </a:lnTo>
                <a:lnTo>
                  <a:pt x="2170" y="301"/>
                </a:lnTo>
                <a:lnTo>
                  <a:pt x="2168" y="301"/>
                </a:lnTo>
                <a:lnTo>
                  <a:pt x="2166" y="304"/>
                </a:lnTo>
                <a:lnTo>
                  <a:pt x="2163" y="304"/>
                </a:lnTo>
                <a:lnTo>
                  <a:pt x="2162" y="304"/>
                </a:lnTo>
                <a:lnTo>
                  <a:pt x="2159" y="304"/>
                </a:lnTo>
                <a:lnTo>
                  <a:pt x="2156" y="306"/>
                </a:lnTo>
                <a:lnTo>
                  <a:pt x="2154" y="307"/>
                </a:lnTo>
                <a:lnTo>
                  <a:pt x="2155" y="307"/>
                </a:lnTo>
                <a:lnTo>
                  <a:pt x="2155" y="309"/>
                </a:lnTo>
                <a:lnTo>
                  <a:pt x="2152" y="312"/>
                </a:lnTo>
                <a:lnTo>
                  <a:pt x="2151" y="315"/>
                </a:lnTo>
                <a:lnTo>
                  <a:pt x="2147" y="315"/>
                </a:lnTo>
                <a:lnTo>
                  <a:pt x="2147" y="314"/>
                </a:lnTo>
                <a:lnTo>
                  <a:pt x="2142" y="309"/>
                </a:lnTo>
                <a:lnTo>
                  <a:pt x="2140" y="307"/>
                </a:lnTo>
                <a:lnTo>
                  <a:pt x="2136" y="306"/>
                </a:lnTo>
                <a:lnTo>
                  <a:pt x="2134" y="304"/>
                </a:lnTo>
                <a:lnTo>
                  <a:pt x="2130" y="304"/>
                </a:lnTo>
                <a:lnTo>
                  <a:pt x="2122" y="304"/>
                </a:lnTo>
                <a:lnTo>
                  <a:pt x="2119" y="304"/>
                </a:lnTo>
                <a:lnTo>
                  <a:pt x="2118" y="304"/>
                </a:lnTo>
                <a:lnTo>
                  <a:pt x="2117" y="304"/>
                </a:lnTo>
                <a:lnTo>
                  <a:pt x="2113" y="304"/>
                </a:lnTo>
                <a:lnTo>
                  <a:pt x="2109" y="307"/>
                </a:lnTo>
                <a:lnTo>
                  <a:pt x="2105" y="307"/>
                </a:lnTo>
                <a:lnTo>
                  <a:pt x="2103" y="309"/>
                </a:lnTo>
                <a:lnTo>
                  <a:pt x="2101" y="307"/>
                </a:lnTo>
                <a:lnTo>
                  <a:pt x="2101" y="309"/>
                </a:lnTo>
                <a:lnTo>
                  <a:pt x="2099" y="311"/>
                </a:lnTo>
                <a:lnTo>
                  <a:pt x="2091" y="315"/>
                </a:lnTo>
                <a:lnTo>
                  <a:pt x="2089" y="318"/>
                </a:lnTo>
                <a:lnTo>
                  <a:pt x="2087" y="318"/>
                </a:lnTo>
                <a:lnTo>
                  <a:pt x="2087" y="317"/>
                </a:lnTo>
                <a:lnTo>
                  <a:pt x="2089" y="317"/>
                </a:lnTo>
                <a:lnTo>
                  <a:pt x="2089" y="315"/>
                </a:lnTo>
                <a:lnTo>
                  <a:pt x="2089" y="314"/>
                </a:lnTo>
                <a:lnTo>
                  <a:pt x="2090" y="312"/>
                </a:lnTo>
                <a:lnTo>
                  <a:pt x="2089" y="309"/>
                </a:lnTo>
                <a:lnTo>
                  <a:pt x="2090" y="307"/>
                </a:lnTo>
                <a:lnTo>
                  <a:pt x="2090" y="306"/>
                </a:lnTo>
                <a:lnTo>
                  <a:pt x="2089" y="306"/>
                </a:lnTo>
                <a:lnTo>
                  <a:pt x="2086" y="306"/>
                </a:lnTo>
                <a:lnTo>
                  <a:pt x="2083" y="309"/>
                </a:lnTo>
                <a:lnTo>
                  <a:pt x="2082" y="309"/>
                </a:lnTo>
                <a:lnTo>
                  <a:pt x="2077" y="311"/>
                </a:lnTo>
                <a:lnTo>
                  <a:pt x="2075" y="312"/>
                </a:lnTo>
                <a:lnTo>
                  <a:pt x="2073" y="314"/>
                </a:lnTo>
                <a:lnTo>
                  <a:pt x="2073" y="315"/>
                </a:lnTo>
                <a:lnTo>
                  <a:pt x="2071" y="318"/>
                </a:lnTo>
                <a:lnTo>
                  <a:pt x="2067" y="318"/>
                </a:lnTo>
                <a:lnTo>
                  <a:pt x="2067" y="315"/>
                </a:lnTo>
                <a:lnTo>
                  <a:pt x="2065" y="314"/>
                </a:lnTo>
                <a:lnTo>
                  <a:pt x="2061" y="315"/>
                </a:lnTo>
                <a:lnTo>
                  <a:pt x="2058" y="317"/>
                </a:lnTo>
                <a:lnTo>
                  <a:pt x="2058" y="315"/>
                </a:lnTo>
                <a:lnTo>
                  <a:pt x="2055" y="315"/>
                </a:lnTo>
                <a:lnTo>
                  <a:pt x="2051" y="317"/>
                </a:lnTo>
                <a:lnTo>
                  <a:pt x="2049" y="317"/>
                </a:lnTo>
                <a:lnTo>
                  <a:pt x="2047" y="318"/>
                </a:lnTo>
                <a:lnTo>
                  <a:pt x="2046" y="320"/>
                </a:lnTo>
                <a:lnTo>
                  <a:pt x="2045" y="322"/>
                </a:lnTo>
                <a:lnTo>
                  <a:pt x="2045" y="325"/>
                </a:lnTo>
                <a:lnTo>
                  <a:pt x="2045" y="326"/>
                </a:lnTo>
                <a:lnTo>
                  <a:pt x="2045" y="328"/>
                </a:lnTo>
                <a:lnTo>
                  <a:pt x="2042" y="328"/>
                </a:lnTo>
                <a:lnTo>
                  <a:pt x="2042" y="329"/>
                </a:lnTo>
                <a:lnTo>
                  <a:pt x="2042" y="331"/>
                </a:lnTo>
                <a:lnTo>
                  <a:pt x="2039" y="331"/>
                </a:lnTo>
                <a:lnTo>
                  <a:pt x="2039" y="333"/>
                </a:lnTo>
                <a:lnTo>
                  <a:pt x="2037" y="336"/>
                </a:lnTo>
                <a:lnTo>
                  <a:pt x="2034" y="337"/>
                </a:lnTo>
                <a:lnTo>
                  <a:pt x="2030" y="340"/>
                </a:lnTo>
                <a:lnTo>
                  <a:pt x="2027" y="344"/>
                </a:lnTo>
                <a:lnTo>
                  <a:pt x="2026" y="347"/>
                </a:lnTo>
                <a:lnTo>
                  <a:pt x="2026" y="348"/>
                </a:lnTo>
                <a:lnTo>
                  <a:pt x="2026" y="351"/>
                </a:lnTo>
                <a:lnTo>
                  <a:pt x="2026" y="353"/>
                </a:lnTo>
                <a:lnTo>
                  <a:pt x="2029" y="355"/>
                </a:lnTo>
                <a:lnTo>
                  <a:pt x="2030" y="355"/>
                </a:lnTo>
                <a:lnTo>
                  <a:pt x="2031" y="355"/>
                </a:lnTo>
                <a:lnTo>
                  <a:pt x="2033" y="351"/>
                </a:lnTo>
                <a:lnTo>
                  <a:pt x="2035" y="351"/>
                </a:lnTo>
                <a:lnTo>
                  <a:pt x="2043" y="355"/>
                </a:lnTo>
                <a:lnTo>
                  <a:pt x="2043" y="356"/>
                </a:lnTo>
                <a:lnTo>
                  <a:pt x="2041" y="359"/>
                </a:lnTo>
                <a:lnTo>
                  <a:pt x="2038" y="361"/>
                </a:lnTo>
                <a:lnTo>
                  <a:pt x="2037" y="362"/>
                </a:lnTo>
                <a:lnTo>
                  <a:pt x="2037" y="366"/>
                </a:lnTo>
                <a:lnTo>
                  <a:pt x="2037" y="369"/>
                </a:lnTo>
                <a:lnTo>
                  <a:pt x="2037" y="373"/>
                </a:lnTo>
                <a:lnTo>
                  <a:pt x="2038" y="373"/>
                </a:lnTo>
                <a:lnTo>
                  <a:pt x="2042" y="373"/>
                </a:lnTo>
                <a:lnTo>
                  <a:pt x="2043" y="375"/>
                </a:lnTo>
                <a:lnTo>
                  <a:pt x="2045" y="381"/>
                </a:lnTo>
                <a:lnTo>
                  <a:pt x="2045" y="383"/>
                </a:lnTo>
                <a:lnTo>
                  <a:pt x="2042" y="386"/>
                </a:lnTo>
                <a:lnTo>
                  <a:pt x="2041" y="386"/>
                </a:lnTo>
                <a:lnTo>
                  <a:pt x="2038" y="386"/>
                </a:lnTo>
                <a:lnTo>
                  <a:pt x="2035" y="381"/>
                </a:lnTo>
                <a:lnTo>
                  <a:pt x="2037" y="380"/>
                </a:lnTo>
                <a:lnTo>
                  <a:pt x="2038" y="380"/>
                </a:lnTo>
                <a:lnTo>
                  <a:pt x="2041" y="377"/>
                </a:lnTo>
                <a:lnTo>
                  <a:pt x="2039" y="377"/>
                </a:lnTo>
                <a:lnTo>
                  <a:pt x="2038" y="378"/>
                </a:lnTo>
                <a:lnTo>
                  <a:pt x="2034" y="378"/>
                </a:lnTo>
                <a:lnTo>
                  <a:pt x="2029" y="380"/>
                </a:lnTo>
                <a:lnTo>
                  <a:pt x="2030" y="381"/>
                </a:lnTo>
                <a:lnTo>
                  <a:pt x="2031" y="383"/>
                </a:lnTo>
                <a:lnTo>
                  <a:pt x="2026" y="384"/>
                </a:lnTo>
                <a:lnTo>
                  <a:pt x="2025" y="388"/>
                </a:lnTo>
                <a:lnTo>
                  <a:pt x="2023" y="389"/>
                </a:lnTo>
                <a:lnTo>
                  <a:pt x="2021" y="392"/>
                </a:lnTo>
                <a:lnTo>
                  <a:pt x="2021" y="395"/>
                </a:lnTo>
                <a:lnTo>
                  <a:pt x="2021" y="397"/>
                </a:lnTo>
                <a:lnTo>
                  <a:pt x="2021" y="399"/>
                </a:lnTo>
                <a:lnTo>
                  <a:pt x="2022" y="402"/>
                </a:lnTo>
                <a:lnTo>
                  <a:pt x="2027" y="408"/>
                </a:lnTo>
                <a:lnTo>
                  <a:pt x="2026" y="410"/>
                </a:lnTo>
                <a:lnTo>
                  <a:pt x="2022" y="413"/>
                </a:lnTo>
                <a:lnTo>
                  <a:pt x="2019" y="413"/>
                </a:lnTo>
                <a:lnTo>
                  <a:pt x="2015" y="413"/>
                </a:lnTo>
                <a:lnTo>
                  <a:pt x="2014" y="411"/>
                </a:lnTo>
                <a:lnTo>
                  <a:pt x="2010" y="411"/>
                </a:lnTo>
                <a:lnTo>
                  <a:pt x="2005" y="414"/>
                </a:lnTo>
                <a:lnTo>
                  <a:pt x="1997" y="419"/>
                </a:lnTo>
                <a:lnTo>
                  <a:pt x="1994" y="421"/>
                </a:lnTo>
                <a:lnTo>
                  <a:pt x="1994" y="424"/>
                </a:lnTo>
                <a:lnTo>
                  <a:pt x="1994" y="432"/>
                </a:lnTo>
                <a:lnTo>
                  <a:pt x="1994" y="433"/>
                </a:lnTo>
                <a:lnTo>
                  <a:pt x="1996" y="435"/>
                </a:lnTo>
                <a:lnTo>
                  <a:pt x="1996" y="436"/>
                </a:lnTo>
                <a:lnTo>
                  <a:pt x="1992" y="435"/>
                </a:lnTo>
                <a:lnTo>
                  <a:pt x="1985" y="436"/>
                </a:lnTo>
                <a:lnTo>
                  <a:pt x="1980" y="439"/>
                </a:lnTo>
                <a:lnTo>
                  <a:pt x="1977" y="441"/>
                </a:lnTo>
                <a:lnTo>
                  <a:pt x="1976" y="441"/>
                </a:lnTo>
                <a:lnTo>
                  <a:pt x="1974" y="439"/>
                </a:lnTo>
                <a:lnTo>
                  <a:pt x="1973" y="443"/>
                </a:lnTo>
                <a:lnTo>
                  <a:pt x="1974" y="443"/>
                </a:lnTo>
                <a:lnTo>
                  <a:pt x="1974" y="446"/>
                </a:lnTo>
                <a:lnTo>
                  <a:pt x="1973" y="447"/>
                </a:lnTo>
                <a:lnTo>
                  <a:pt x="1973" y="450"/>
                </a:lnTo>
                <a:lnTo>
                  <a:pt x="1973" y="454"/>
                </a:lnTo>
                <a:lnTo>
                  <a:pt x="1969" y="460"/>
                </a:lnTo>
                <a:lnTo>
                  <a:pt x="1964" y="465"/>
                </a:lnTo>
                <a:lnTo>
                  <a:pt x="1960" y="466"/>
                </a:lnTo>
                <a:lnTo>
                  <a:pt x="1958" y="469"/>
                </a:lnTo>
                <a:lnTo>
                  <a:pt x="1956" y="471"/>
                </a:lnTo>
                <a:lnTo>
                  <a:pt x="1952" y="474"/>
                </a:lnTo>
                <a:lnTo>
                  <a:pt x="1948" y="477"/>
                </a:lnTo>
                <a:lnTo>
                  <a:pt x="1948" y="474"/>
                </a:lnTo>
                <a:lnTo>
                  <a:pt x="1945" y="469"/>
                </a:lnTo>
                <a:lnTo>
                  <a:pt x="1945" y="465"/>
                </a:lnTo>
                <a:lnTo>
                  <a:pt x="1944" y="455"/>
                </a:lnTo>
                <a:lnTo>
                  <a:pt x="1942" y="452"/>
                </a:lnTo>
                <a:lnTo>
                  <a:pt x="1940" y="447"/>
                </a:lnTo>
                <a:lnTo>
                  <a:pt x="1938" y="443"/>
                </a:lnTo>
                <a:lnTo>
                  <a:pt x="1938" y="438"/>
                </a:lnTo>
                <a:lnTo>
                  <a:pt x="1937" y="433"/>
                </a:lnTo>
                <a:lnTo>
                  <a:pt x="1936" y="428"/>
                </a:lnTo>
                <a:lnTo>
                  <a:pt x="1934" y="422"/>
                </a:lnTo>
                <a:lnTo>
                  <a:pt x="1933" y="422"/>
                </a:lnTo>
                <a:lnTo>
                  <a:pt x="1933" y="421"/>
                </a:lnTo>
                <a:lnTo>
                  <a:pt x="1932" y="413"/>
                </a:lnTo>
                <a:lnTo>
                  <a:pt x="1930" y="410"/>
                </a:lnTo>
                <a:lnTo>
                  <a:pt x="1930" y="405"/>
                </a:lnTo>
                <a:lnTo>
                  <a:pt x="1930" y="400"/>
                </a:lnTo>
                <a:lnTo>
                  <a:pt x="1929" y="395"/>
                </a:lnTo>
                <a:lnTo>
                  <a:pt x="1930" y="388"/>
                </a:lnTo>
                <a:lnTo>
                  <a:pt x="1933" y="378"/>
                </a:lnTo>
                <a:lnTo>
                  <a:pt x="1934" y="373"/>
                </a:lnTo>
                <a:lnTo>
                  <a:pt x="1936" y="372"/>
                </a:lnTo>
                <a:lnTo>
                  <a:pt x="1940" y="370"/>
                </a:lnTo>
                <a:lnTo>
                  <a:pt x="1944" y="367"/>
                </a:lnTo>
                <a:lnTo>
                  <a:pt x="1948" y="366"/>
                </a:lnTo>
                <a:lnTo>
                  <a:pt x="1952" y="359"/>
                </a:lnTo>
                <a:lnTo>
                  <a:pt x="1950" y="356"/>
                </a:lnTo>
                <a:lnTo>
                  <a:pt x="1949" y="353"/>
                </a:lnTo>
                <a:lnTo>
                  <a:pt x="1952" y="353"/>
                </a:lnTo>
                <a:lnTo>
                  <a:pt x="1957" y="355"/>
                </a:lnTo>
                <a:lnTo>
                  <a:pt x="1960" y="353"/>
                </a:lnTo>
                <a:lnTo>
                  <a:pt x="1961" y="351"/>
                </a:lnTo>
                <a:lnTo>
                  <a:pt x="1966" y="351"/>
                </a:lnTo>
                <a:lnTo>
                  <a:pt x="1972" y="348"/>
                </a:lnTo>
                <a:lnTo>
                  <a:pt x="1976" y="345"/>
                </a:lnTo>
                <a:lnTo>
                  <a:pt x="1980" y="344"/>
                </a:lnTo>
                <a:lnTo>
                  <a:pt x="1984" y="340"/>
                </a:lnTo>
                <a:lnTo>
                  <a:pt x="1986" y="339"/>
                </a:lnTo>
                <a:lnTo>
                  <a:pt x="1993" y="334"/>
                </a:lnTo>
                <a:lnTo>
                  <a:pt x="1993" y="331"/>
                </a:lnTo>
                <a:lnTo>
                  <a:pt x="1998" y="326"/>
                </a:lnTo>
                <a:lnTo>
                  <a:pt x="2001" y="326"/>
                </a:lnTo>
                <a:lnTo>
                  <a:pt x="2002" y="323"/>
                </a:lnTo>
                <a:lnTo>
                  <a:pt x="2009" y="320"/>
                </a:lnTo>
                <a:lnTo>
                  <a:pt x="2017" y="315"/>
                </a:lnTo>
                <a:lnTo>
                  <a:pt x="2019" y="312"/>
                </a:lnTo>
                <a:lnTo>
                  <a:pt x="2023" y="311"/>
                </a:lnTo>
                <a:lnTo>
                  <a:pt x="2025" y="309"/>
                </a:lnTo>
                <a:lnTo>
                  <a:pt x="2025" y="307"/>
                </a:lnTo>
                <a:lnTo>
                  <a:pt x="2025" y="306"/>
                </a:lnTo>
                <a:lnTo>
                  <a:pt x="2033" y="304"/>
                </a:lnTo>
                <a:lnTo>
                  <a:pt x="2035" y="304"/>
                </a:lnTo>
                <a:lnTo>
                  <a:pt x="2039" y="301"/>
                </a:lnTo>
                <a:lnTo>
                  <a:pt x="2042" y="301"/>
                </a:lnTo>
                <a:lnTo>
                  <a:pt x="2046" y="301"/>
                </a:lnTo>
                <a:lnTo>
                  <a:pt x="2049" y="300"/>
                </a:lnTo>
                <a:lnTo>
                  <a:pt x="2051" y="300"/>
                </a:lnTo>
                <a:lnTo>
                  <a:pt x="2051" y="298"/>
                </a:lnTo>
                <a:lnTo>
                  <a:pt x="2049" y="296"/>
                </a:lnTo>
                <a:lnTo>
                  <a:pt x="2050" y="295"/>
                </a:lnTo>
                <a:lnTo>
                  <a:pt x="2051" y="293"/>
                </a:lnTo>
                <a:lnTo>
                  <a:pt x="2054" y="292"/>
                </a:lnTo>
                <a:lnTo>
                  <a:pt x="2054" y="290"/>
                </a:lnTo>
                <a:lnTo>
                  <a:pt x="2053" y="289"/>
                </a:lnTo>
                <a:lnTo>
                  <a:pt x="2053" y="287"/>
                </a:lnTo>
                <a:lnTo>
                  <a:pt x="2057" y="285"/>
                </a:lnTo>
                <a:lnTo>
                  <a:pt x="2057" y="281"/>
                </a:lnTo>
                <a:lnTo>
                  <a:pt x="2057" y="279"/>
                </a:lnTo>
                <a:lnTo>
                  <a:pt x="2058" y="278"/>
                </a:lnTo>
                <a:lnTo>
                  <a:pt x="2058" y="275"/>
                </a:lnTo>
                <a:lnTo>
                  <a:pt x="2061" y="273"/>
                </a:lnTo>
                <a:lnTo>
                  <a:pt x="2066" y="271"/>
                </a:lnTo>
                <a:lnTo>
                  <a:pt x="2069" y="271"/>
                </a:lnTo>
                <a:lnTo>
                  <a:pt x="2071" y="270"/>
                </a:lnTo>
                <a:lnTo>
                  <a:pt x="2066" y="268"/>
                </a:lnTo>
                <a:lnTo>
                  <a:pt x="2062" y="267"/>
                </a:lnTo>
                <a:lnTo>
                  <a:pt x="2050" y="270"/>
                </a:lnTo>
                <a:lnTo>
                  <a:pt x="2046" y="271"/>
                </a:lnTo>
                <a:lnTo>
                  <a:pt x="2045" y="273"/>
                </a:lnTo>
                <a:lnTo>
                  <a:pt x="2045" y="275"/>
                </a:lnTo>
                <a:lnTo>
                  <a:pt x="2042" y="276"/>
                </a:lnTo>
                <a:lnTo>
                  <a:pt x="2042" y="278"/>
                </a:lnTo>
                <a:lnTo>
                  <a:pt x="2042" y="281"/>
                </a:lnTo>
                <a:lnTo>
                  <a:pt x="2041" y="282"/>
                </a:lnTo>
                <a:lnTo>
                  <a:pt x="2042" y="284"/>
                </a:lnTo>
                <a:lnTo>
                  <a:pt x="2045" y="284"/>
                </a:lnTo>
                <a:lnTo>
                  <a:pt x="2042" y="287"/>
                </a:lnTo>
                <a:lnTo>
                  <a:pt x="2041" y="287"/>
                </a:lnTo>
                <a:lnTo>
                  <a:pt x="2039" y="285"/>
                </a:lnTo>
                <a:lnTo>
                  <a:pt x="2038" y="284"/>
                </a:lnTo>
                <a:lnTo>
                  <a:pt x="2037" y="285"/>
                </a:lnTo>
                <a:lnTo>
                  <a:pt x="2035" y="285"/>
                </a:lnTo>
                <a:lnTo>
                  <a:pt x="2031" y="285"/>
                </a:lnTo>
                <a:lnTo>
                  <a:pt x="2026" y="290"/>
                </a:lnTo>
                <a:lnTo>
                  <a:pt x="2022" y="292"/>
                </a:lnTo>
                <a:lnTo>
                  <a:pt x="2019" y="293"/>
                </a:lnTo>
                <a:lnTo>
                  <a:pt x="2017" y="295"/>
                </a:lnTo>
                <a:lnTo>
                  <a:pt x="2006" y="301"/>
                </a:lnTo>
                <a:lnTo>
                  <a:pt x="2004" y="301"/>
                </a:lnTo>
                <a:lnTo>
                  <a:pt x="2001" y="304"/>
                </a:lnTo>
                <a:lnTo>
                  <a:pt x="1998" y="304"/>
                </a:lnTo>
                <a:lnTo>
                  <a:pt x="1998" y="303"/>
                </a:lnTo>
                <a:lnTo>
                  <a:pt x="2000" y="300"/>
                </a:lnTo>
                <a:lnTo>
                  <a:pt x="2002" y="296"/>
                </a:lnTo>
                <a:lnTo>
                  <a:pt x="1998" y="296"/>
                </a:lnTo>
                <a:lnTo>
                  <a:pt x="1994" y="298"/>
                </a:lnTo>
                <a:lnTo>
                  <a:pt x="1993" y="298"/>
                </a:lnTo>
                <a:lnTo>
                  <a:pt x="1994" y="296"/>
                </a:lnTo>
                <a:lnTo>
                  <a:pt x="1996" y="295"/>
                </a:lnTo>
                <a:lnTo>
                  <a:pt x="1994" y="293"/>
                </a:lnTo>
                <a:lnTo>
                  <a:pt x="1994" y="292"/>
                </a:lnTo>
                <a:lnTo>
                  <a:pt x="1996" y="290"/>
                </a:lnTo>
                <a:lnTo>
                  <a:pt x="1997" y="289"/>
                </a:lnTo>
                <a:lnTo>
                  <a:pt x="2000" y="287"/>
                </a:lnTo>
                <a:lnTo>
                  <a:pt x="2001" y="279"/>
                </a:lnTo>
                <a:lnTo>
                  <a:pt x="1996" y="282"/>
                </a:lnTo>
                <a:lnTo>
                  <a:pt x="1993" y="284"/>
                </a:lnTo>
                <a:lnTo>
                  <a:pt x="1989" y="285"/>
                </a:lnTo>
                <a:lnTo>
                  <a:pt x="1988" y="282"/>
                </a:lnTo>
                <a:lnTo>
                  <a:pt x="1986" y="282"/>
                </a:lnTo>
                <a:lnTo>
                  <a:pt x="1982" y="281"/>
                </a:lnTo>
                <a:lnTo>
                  <a:pt x="1981" y="281"/>
                </a:lnTo>
                <a:lnTo>
                  <a:pt x="1980" y="281"/>
                </a:lnTo>
                <a:lnTo>
                  <a:pt x="1978" y="282"/>
                </a:lnTo>
                <a:lnTo>
                  <a:pt x="1968" y="284"/>
                </a:lnTo>
                <a:lnTo>
                  <a:pt x="1960" y="282"/>
                </a:lnTo>
                <a:lnTo>
                  <a:pt x="1957" y="284"/>
                </a:lnTo>
                <a:lnTo>
                  <a:pt x="1954" y="285"/>
                </a:lnTo>
                <a:lnTo>
                  <a:pt x="1949" y="287"/>
                </a:lnTo>
                <a:lnTo>
                  <a:pt x="1946" y="289"/>
                </a:lnTo>
                <a:lnTo>
                  <a:pt x="1945" y="293"/>
                </a:lnTo>
                <a:lnTo>
                  <a:pt x="1942" y="295"/>
                </a:lnTo>
                <a:lnTo>
                  <a:pt x="1936" y="298"/>
                </a:lnTo>
                <a:lnTo>
                  <a:pt x="1934" y="300"/>
                </a:lnTo>
                <a:lnTo>
                  <a:pt x="1934" y="301"/>
                </a:lnTo>
                <a:lnTo>
                  <a:pt x="1925" y="306"/>
                </a:lnTo>
                <a:lnTo>
                  <a:pt x="1921" y="307"/>
                </a:lnTo>
                <a:lnTo>
                  <a:pt x="1918" y="309"/>
                </a:lnTo>
                <a:lnTo>
                  <a:pt x="1917" y="311"/>
                </a:lnTo>
                <a:lnTo>
                  <a:pt x="1916" y="314"/>
                </a:lnTo>
                <a:lnTo>
                  <a:pt x="1912" y="318"/>
                </a:lnTo>
                <a:lnTo>
                  <a:pt x="1910" y="318"/>
                </a:lnTo>
                <a:lnTo>
                  <a:pt x="1909" y="317"/>
                </a:lnTo>
                <a:lnTo>
                  <a:pt x="1908" y="318"/>
                </a:lnTo>
                <a:lnTo>
                  <a:pt x="1910" y="322"/>
                </a:lnTo>
                <a:lnTo>
                  <a:pt x="1909" y="323"/>
                </a:lnTo>
                <a:lnTo>
                  <a:pt x="1909" y="325"/>
                </a:lnTo>
                <a:lnTo>
                  <a:pt x="1914" y="323"/>
                </a:lnTo>
                <a:lnTo>
                  <a:pt x="1920" y="325"/>
                </a:lnTo>
                <a:lnTo>
                  <a:pt x="1922" y="326"/>
                </a:lnTo>
                <a:lnTo>
                  <a:pt x="1922" y="328"/>
                </a:lnTo>
                <a:lnTo>
                  <a:pt x="1922" y="329"/>
                </a:lnTo>
                <a:lnTo>
                  <a:pt x="1920" y="329"/>
                </a:lnTo>
                <a:lnTo>
                  <a:pt x="1918" y="331"/>
                </a:lnTo>
                <a:lnTo>
                  <a:pt x="1917" y="329"/>
                </a:lnTo>
                <a:lnTo>
                  <a:pt x="1913" y="329"/>
                </a:lnTo>
                <a:lnTo>
                  <a:pt x="1912" y="331"/>
                </a:lnTo>
                <a:lnTo>
                  <a:pt x="1909" y="331"/>
                </a:lnTo>
                <a:lnTo>
                  <a:pt x="1906" y="331"/>
                </a:lnTo>
                <a:lnTo>
                  <a:pt x="1904" y="329"/>
                </a:lnTo>
                <a:lnTo>
                  <a:pt x="1900" y="329"/>
                </a:lnTo>
                <a:lnTo>
                  <a:pt x="1897" y="329"/>
                </a:lnTo>
                <a:lnTo>
                  <a:pt x="1896" y="331"/>
                </a:lnTo>
                <a:lnTo>
                  <a:pt x="1892" y="331"/>
                </a:lnTo>
                <a:lnTo>
                  <a:pt x="1891" y="333"/>
                </a:lnTo>
                <a:lnTo>
                  <a:pt x="1889" y="334"/>
                </a:lnTo>
                <a:lnTo>
                  <a:pt x="1885" y="334"/>
                </a:lnTo>
                <a:lnTo>
                  <a:pt x="1884" y="333"/>
                </a:lnTo>
                <a:lnTo>
                  <a:pt x="1881" y="333"/>
                </a:lnTo>
                <a:lnTo>
                  <a:pt x="1879" y="334"/>
                </a:lnTo>
                <a:lnTo>
                  <a:pt x="1875" y="336"/>
                </a:lnTo>
                <a:lnTo>
                  <a:pt x="1872" y="336"/>
                </a:lnTo>
                <a:lnTo>
                  <a:pt x="1867" y="336"/>
                </a:lnTo>
                <a:lnTo>
                  <a:pt x="1863" y="333"/>
                </a:lnTo>
                <a:lnTo>
                  <a:pt x="1863" y="331"/>
                </a:lnTo>
                <a:lnTo>
                  <a:pt x="1865" y="329"/>
                </a:lnTo>
                <a:lnTo>
                  <a:pt x="1872" y="331"/>
                </a:lnTo>
                <a:lnTo>
                  <a:pt x="1876" y="329"/>
                </a:lnTo>
                <a:lnTo>
                  <a:pt x="1880" y="329"/>
                </a:lnTo>
                <a:lnTo>
                  <a:pt x="1879" y="328"/>
                </a:lnTo>
                <a:lnTo>
                  <a:pt x="1873" y="328"/>
                </a:lnTo>
                <a:lnTo>
                  <a:pt x="1872" y="326"/>
                </a:lnTo>
                <a:lnTo>
                  <a:pt x="1869" y="323"/>
                </a:lnTo>
                <a:lnTo>
                  <a:pt x="1867" y="323"/>
                </a:lnTo>
                <a:lnTo>
                  <a:pt x="1863" y="322"/>
                </a:lnTo>
                <a:lnTo>
                  <a:pt x="1860" y="323"/>
                </a:lnTo>
                <a:lnTo>
                  <a:pt x="1859" y="325"/>
                </a:lnTo>
                <a:lnTo>
                  <a:pt x="1856" y="325"/>
                </a:lnTo>
                <a:lnTo>
                  <a:pt x="1856" y="323"/>
                </a:lnTo>
                <a:lnTo>
                  <a:pt x="1853" y="322"/>
                </a:lnTo>
                <a:lnTo>
                  <a:pt x="1849" y="322"/>
                </a:lnTo>
                <a:lnTo>
                  <a:pt x="1841" y="320"/>
                </a:lnTo>
                <a:lnTo>
                  <a:pt x="1837" y="320"/>
                </a:lnTo>
                <a:lnTo>
                  <a:pt x="1835" y="320"/>
                </a:lnTo>
                <a:lnTo>
                  <a:pt x="1831" y="322"/>
                </a:lnTo>
                <a:lnTo>
                  <a:pt x="1832" y="323"/>
                </a:lnTo>
                <a:lnTo>
                  <a:pt x="1832" y="325"/>
                </a:lnTo>
                <a:lnTo>
                  <a:pt x="1829" y="325"/>
                </a:lnTo>
                <a:lnTo>
                  <a:pt x="1827" y="325"/>
                </a:lnTo>
                <a:lnTo>
                  <a:pt x="1828" y="326"/>
                </a:lnTo>
                <a:lnTo>
                  <a:pt x="1829" y="326"/>
                </a:lnTo>
                <a:lnTo>
                  <a:pt x="1828" y="328"/>
                </a:lnTo>
                <a:lnTo>
                  <a:pt x="1825" y="329"/>
                </a:lnTo>
                <a:lnTo>
                  <a:pt x="1824" y="328"/>
                </a:lnTo>
                <a:lnTo>
                  <a:pt x="1823" y="328"/>
                </a:lnTo>
                <a:lnTo>
                  <a:pt x="1820" y="326"/>
                </a:lnTo>
                <a:lnTo>
                  <a:pt x="1815" y="326"/>
                </a:lnTo>
                <a:lnTo>
                  <a:pt x="1812" y="326"/>
                </a:lnTo>
                <a:lnTo>
                  <a:pt x="1812" y="328"/>
                </a:lnTo>
                <a:lnTo>
                  <a:pt x="1808" y="328"/>
                </a:lnTo>
                <a:lnTo>
                  <a:pt x="1792" y="325"/>
                </a:lnTo>
                <a:lnTo>
                  <a:pt x="1791" y="325"/>
                </a:lnTo>
                <a:lnTo>
                  <a:pt x="1791" y="328"/>
                </a:lnTo>
                <a:lnTo>
                  <a:pt x="1789" y="329"/>
                </a:lnTo>
                <a:lnTo>
                  <a:pt x="1787" y="329"/>
                </a:lnTo>
                <a:lnTo>
                  <a:pt x="1786" y="329"/>
                </a:lnTo>
                <a:lnTo>
                  <a:pt x="1784" y="328"/>
                </a:lnTo>
                <a:lnTo>
                  <a:pt x="1784" y="326"/>
                </a:lnTo>
                <a:lnTo>
                  <a:pt x="1782" y="326"/>
                </a:lnTo>
                <a:lnTo>
                  <a:pt x="1778" y="325"/>
                </a:lnTo>
                <a:lnTo>
                  <a:pt x="1775" y="326"/>
                </a:lnTo>
                <a:lnTo>
                  <a:pt x="1772" y="325"/>
                </a:lnTo>
                <a:lnTo>
                  <a:pt x="1767" y="326"/>
                </a:lnTo>
                <a:lnTo>
                  <a:pt x="1758" y="326"/>
                </a:lnTo>
                <a:lnTo>
                  <a:pt x="1743" y="326"/>
                </a:lnTo>
                <a:lnTo>
                  <a:pt x="1734" y="329"/>
                </a:lnTo>
                <a:lnTo>
                  <a:pt x="1730" y="331"/>
                </a:lnTo>
                <a:lnTo>
                  <a:pt x="1724" y="334"/>
                </a:lnTo>
                <a:lnTo>
                  <a:pt x="1722" y="337"/>
                </a:lnTo>
                <a:lnTo>
                  <a:pt x="1719" y="340"/>
                </a:lnTo>
                <a:lnTo>
                  <a:pt x="1707" y="345"/>
                </a:lnTo>
                <a:lnTo>
                  <a:pt x="1703" y="348"/>
                </a:lnTo>
                <a:lnTo>
                  <a:pt x="1703" y="351"/>
                </a:lnTo>
                <a:lnTo>
                  <a:pt x="1700" y="355"/>
                </a:lnTo>
                <a:lnTo>
                  <a:pt x="1698" y="355"/>
                </a:lnTo>
                <a:lnTo>
                  <a:pt x="1694" y="358"/>
                </a:lnTo>
                <a:lnTo>
                  <a:pt x="1692" y="356"/>
                </a:lnTo>
                <a:lnTo>
                  <a:pt x="1691" y="359"/>
                </a:lnTo>
                <a:lnTo>
                  <a:pt x="1686" y="364"/>
                </a:lnTo>
                <a:lnTo>
                  <a:pt x="1683" y="362"/>
                </a:lnTo>
                <a:lnTo>
                  <a:pt x="1679" y="367"/>
                </a:lnTo>
                <a:lnTo>
                  <a:pt x="1675" y="369"/>
                </a:lnTo>
                <a:lnTo>
                  <a:pt x="1673" y="372"/>
                </a:lnTo>
                <a:lnTo>
                  <a:pt x="1671" y="372"/>
                </a:lnTo>
                <a:lnTo>
                  <a:pt x="1671" y="373"/>
                </a:lnTo>
                <a:lnTo>
                  <a:pt x="1669" y="375"/>
                </a:lnTo>
                <a:lnTo>
                  <a:pt x="1667" y="377"/>
                </a:lnTo>
                <a:lnTo>
                  <a:pt x="1666" y="380"/>
                </a:lnTo>
                <a:lnTo>
                  <a:pt x="1663" y="380"/>
                </a:lnTo>
                <a:lnTo>
                  <a:pt x="1661" y="383"/>
                </a:lnTo>
                <a:lnTo>
                  <a:pt x="1647" y="392"/>
                </a:lnTo>
                <a:lnTo>
                  <a:pt x="1645" y="392"/>
                </a:lnTo>
                <a:lnTo>
                  <a:pt x="1643" y="394"/>
                </a:lnTo>
                <a:lnTo>
                  <a:pt x="1641" y="394"/>
                </a:lnTo>
                <a:lnTo>
                  <a:pt x="1639" y="397"/>
                </a:lnTo>
                <a:lnTo>
                  <a:pt x="1634" y="400"/>
                </a:lnTo>
                <a:lnTo>
                  <a:pt x="1631" y="400"/>
                </a:lnTo>
                <a:lnTo>
                  <a:pt x="1625" y="405"/>
                </a:lnTo>
                <a:lnTo>
                  <a:pt x="1623" y="408"/>
                </a:lnTo>
                <a:lnTo>
                  <a:pt x="1627" y="410"/>
                </a:lnTo>
                <a:lnTo>
                  <a:pt x="1631" y="411"/>
                </a:lnTo>
                <a:lnTo>
                  <a:pt x="1637" y="411"/>
                </a:lnTo>
                <a:lnTo>
                  <a:pt x="1643" y="410"/>
                </a:lnTo>
                <a:lnTo>
                  <a:pt x="1646" y="411"/>
                </a:lnTo>
                <a:lnTo>
                  <a:pt x="1647" y="413"/>
                </a:lnTo>
                <a:lnTo>
                  <a:pt x="1646" y="414"/>
                </a:lnTo>
                <a:lnTo>
                  <a:pt x="1647" y="416"/>
                </a:lnTo>
                <a:lnTo>
                  <a:pt x="1646" y="417"/>
                </a:lnTo>
                <a:lnTo>
                  <a:pt x="1646" y="419"/>
                </a:lnTo>
                <a:lnTo>
                  <a:pt x="1646" y="422"/>
                </a:lnTo>
                <a:lnTo>
                  <a:pt x="1646" y="425"/>
                </a:lnTo>
                <a:lnTo>
                  <a:pt x="1647" y="425"/>
                </a:lnTo>
                <a:lnTo>
                  <a:pt x="1647" y="424"/>
                </a:lnTo>
                <a:lnTo>
                  <a:pt x="1650" y="424"/>
                </a:lnTo>
                <a:lnTo>
                  <a:pt x="1653" y="422"/>
                </a:lnTo>
                <a:lnTo>
                  <a:pt x="1654" y="421"/>
                </a:lnTo>
                <a:lnTo>
                  <a:pt x="1651" y="419"/>
                </a:lnTo>
                <a:lnTo>
                  <a:pt x="1653" y="417"/>
                </a:lnTo>
                <a:lnTo>
                  <a:pt x="1655" y="416"/>
                </a:lnTo>
                <a:lnTo>
                  <a:pt x="1659" y="416"/>
                </a:lnTo>
                <a:lnTo>
                  <a:pt x="1659" y="417"/>
                </a:lnTo>
                <a:lnTo>
                  <a:pt x="1657" y="419"/>
                </a:lnTo>
                <a:lnTo>
                  <a:pt x="1655" y="419"/>
                </a:lnTo>
                <a:lnTo>
                  <a:pt x="1657" y="422"/>
                </a:lnTo>
                <a:lnTo>
                  <a:pt x="1659" y="422"/>
                </a:lnTo>
                <a:lnTo>
                  <a:pt x="1661" y="424"/>
                </a:lnTo>
                <a:lnTo>
                  <a:pt x="1658" y="425"/>
                </a:lnTo>
                <a:lnTo>
                  <a:pt x="1657" y="427"/>
                </a:lnTo>
                <a:lnTo>
                  <a:pt x="1654" y="428"/>
                </a:lnTo>
                <a:lnTo>
                  <a:pt x="1658" y="430"/>
                </a:lnTo>
                <a:lnTo>
                  <a:pt x="1663" y="428"/>
                </a:lnTo>
                <a:lnTo>
                  <a:pt x="1667" y="427"/>
                </a:lnTo>
                <a:lnTo>
                  <a:pt x="1673" y="422"/>
                </a:lnTo>
                <a:lnTo>
                  <a:pt x="1674" y="425"/>
                </a:lnTo>
                <a:lnTo>
                  <a:pt x="1671" y="427"/>
                </a:lnTo>
                <a:lnTo>
                  <a:pt x="1670" y="430"/>
                </a:lnTo>
                <a:lnTo>
                  <a:pt x="1674" y="428"/>
                </a:lnTo>
                <a:lnTo>
                  <a:pt x="1675" y="425"/>
                </a:lnTo>
                <a:lnTo>
                  <a:pt x="1676" y="422"/>
                </a:lnTo>
                <a:lnTo>
                  <a:pt x="1676" y="421"/>
                </a:lnTo>
                <a:lnTo>
                  <a:pt x="1676" y="416"/>
                </a:lnTo>
                <a:lnTo>
                  <a:pt x="1682" y="417"/>
                </a:lnTo>
                <a:lnTo>
                  <a:pt x="1684" y="417"/>
                </a:lnTo>
                <a:lnTo>
                  <a:pt x="1688" y="417"/>
                </a:lnTo>
                <a:lnTo>
                  <a:pt x="1691" y="417"/>
                </a:lnTo>
                <a:lnTo>
                  <a:pt x="1692" y="417"/>
                </a:lnTo>
                <a:lnTo>
                  <a:pt x="1692" y="419"/>
                </a:lnTo>
                <a:lnTo>
                  <a:pt x="1695" y="419"/>
                </a:lnTo>
                <a:lnTo>
                  <a:pt x="1698" y="421"/>
                </a:lnTo>
                <a:lnTo>
                  <a:pt x="1699" y="422"/>
                </a:lnTo>
                <a:lnTo>
                  <a:pt x="1699" y="425"/>
                </a:lnTo>
                <a:lnTo>
                  <a:pt x="1700" y="425"/>
                </a:lnTo>
                <a:lnTo>
                  <a:pt x="1703" y="427"/>
                </a:lnTo>
                <a:lnTo>
                  <a:pt x="1706" y="430"/>
                </a:lnTo>
                <a:lnTo>
                  <a:pt x="1714" y="433"/>
                </a:lnTo>
                <a:lnTo>
                  <a:pt x="1716" y="433"/>
                </a:lnTo>
                <a:lnTo>
                  <a:pt x="1716" y="436"/>
                </a:lnTo>
                <a:lnTo>
                  <a:pt x="1714" y="438"/>
                </a:lnTo>
                <a:lnTo>
                  <a:pt x="1712" y="439"/>
                </a:lnTo>
                <a:lnTo>
                  <a:pt x="1707" y="436"/>
                </a:lnTo>
                <a:lnTo>
                  <a:pt x="1704" y="436"/>
                </a:lnTo>
                <a:lnTo>
                  <a:pt x="1703" y="436"/>
                </a:lnTo>
                <a:lnTo>
                  <a:pt x="1699" y="435"/>
                </a:lnTo>
                <a:lnTo>
                  <a:pt x="1695" y="435"/>
                </a:lnTo>
                <a:lnTo>
                  <a:pt x="1694" y="436"/>
                </a:lnTo>
                <a:lnTo>
                  <a:pt x="1696" y="436"/>
                </a:lnTo>
                <a:lnTo>
                  <a:pt x="1699" y="436"/>
                </a:lnTo>
                <a:lnTo>
                  <a:pt x="1703" y="438"/>
                </a:lnTo>
                <a:lnTo>
                  <a:pt x="1706" y="438"/>
                </a:lnTo>
                <a:lnTo>
                  <a:pt x="1710" y="439"/>
                </a:lnTo>
                <a:lnTo>
                  <a:pt x="1712" y="441"/>
                </a:lnTo>
                <a:lnTo>
                  <a:pt x="1714" y="444"/>
                </a:lnTo>
                <a:lnTo>
                  <a:pt x="1714" y="446"/>
                </a:lnTo>
                <a:lnTo>
                  <a:pt x="1712" y="450"/>
                </a:lnTo>
                <a:lnTo>
                  <a:pt x="1718" y="454"/>
                </a:lnTo>
                <a:lnTo>
                  <a:pt x="1715" y="457"/>
                </a:lnTo>
                <a:lnTo>
                  <a:pt x="1715" y="458"/>
                </a:lnTo>
                <a:lnTo>
                  <a:pt x="1714" y="460"/>
                </a:lnTo>
                <a:lnTo>
                  <a:pt x="1712" y="461"/>
                </a:lnTo>
                <a:lnTo>
                  <a:pt x="1711" y="463"/>
                </a:lnTo>
                <a:lnTo>
                  <a:pt x="1707" y="468"/>
                </a:lnTo>
                <a:lnTo>
                  <a:pt x="1706" y="469"/>
                </a:lnTo>
                <a:lnTo>
                  <a:pt x="1706" y="471"/>
                </a:lnTo>
                <a:lnTo>
                  <a:pt x="1704" y="471"/>
                </a:lnTo>
                <a:lnTo>
                  <a:pt x="1704" y="474"/>
                </a:lnTo>
                <a:lnTo>
                  <a:pt x="1704" y="477"/>
                </a:lnTo>
                <a:lnTo>
                  <a:pt x="1702" y="480"/>
                </a:lnTo>
                <a:lnTo>
                  <a:pt x="1702" y="483"/>
                </a:lnTo>
                <a:lnTo>
                  <a:pt x="1704" y="490"/>
                </a:lnTo>
                <a:lnTo>
                  <a:pt x="1706" y="491"/>
                </a:lnTo>
                <a:lnTo>
                  <a:pt x="1703" y="494"/>
                </a:lnTo>
                <a:lnTo>
                  <a:pt x="1704" y="501"/>
                </a:lnTo>
                <a:lnTo>
                  <a:pt x="1703" y="504"/>
                </a:lnTo>
                <a:lnTo>
                  <a:pt x="1702" y="507"/>
                </a:lnTo>
                <a:lnTo>
                  <a:pt x="1700" y="510"/>
                </a:lnTo>
                <a:lnTo>
                  <a:pt x="1700" y="512"/>
                </a:lnTo>
                <a:lnTo>
                  <a:pt x="1700" y="515"/>
                </a:lnTo>
                <a:lnTo>
                  <a:pt x="1699" y="519"/>
                </a:lnTo>
                <a:lnTo>
                  <a:pt x="1696" y="521"/>
                </a:lnTo>
                <a:lnTo>
                  <a:pt x="1695" y="523"/>
                </a:lnTo>
                <a:lnTo>
                  <a:pt x="1694" y="524"/>
                </a:lnTo>
                <a:lnTo>
                  <a:pt x="1691" y="527"/>
                </a:lnTo>
                <a:lnTo>
                  <a:pt x="1686" y="532"/>
                </a:lnTo>
                <a:lnTo>
                  <a:pt x="1682" y="538"/>
                </a:lnTo>
                <a:lnTo>
                  <a:pt x="1675" y="543"/>
                </a:lnTo>
                <a:lnTo>
                  <a:pt x="1674" y="546"/>
                </a:lnTo>
                <a:lnTo>
                  <a:pt x="1671" y="554"/>
                </a:lnTo>
                <a:lnTo>
                  <a:pt x="1667" y="560"/>
                </a:lnTo>
                <a:lnTo>
                  <a:pt x="1666" y="562"/>
                </a:lnTo>
                <a:lnTo>
                  <a:pt x="1663" y="563"/>
                </a:lnTo>
                <a:lnTo>
                  <a:pt x="1662" y="567"/>
                </a:lnTo>
                <a:lnTo>
                  <a:pt x="1647" y="579"/>
                </a:lnTo>
                <a:lnTo>
                  <a:pt x="1645" y="584"/>
                </a:lnTo>
                <a:lnTo>
                  <a:pt x="1642" y="585"/>
                </a:lnTo>
                <a:lnTo>
                  <a:pt x="1639" y="590"/>
                </a:lnTo>
                <a:lnTo>
                  <a:pt x="1635" y="592"/>
                </a:lnTo>
                <a:lnTo>
                  <a:pt x="1633" y="593"/>
                </a:lnTo>
                <a:lnTo>
                  <a:pt x="1631" y="596"/>
                </a:lnTo>
                <a:lnTo>
                  <a:pt x="1631" y="598"/>
                </a:lnTo>
                <a:lnTo>
                  <a:pt x="1627" y="603"/>
                </a:lnTo>
                <a:lnTo>
                  <a:pt x="1625" y="606"/>
                </a:lnTo>
                <a:lnTo>
                  <a:pt x="1621" y="611"/>
                </a:lnTo>
                <a:lnTo>
                  <a:pt x="1609" y="617"/>
                </a:lnTo>
                <a:lnTo>
                  <a:pt x="1605" y="620"/>
                </a:lnTo>
                <a:lnTo>
                  <a:pt x="1602" y="622"/>
                </a:lnTo>
                <a:lnTo>
                  <a:pt x="1601" y="622"/>
                </a:lnTo>
                <a:lnTo>
                  <a:pt x="1594" y="623"/>
                </a:lnTo>
                <a:lnTo>
                  <a:pt x="1591" y="622"/>
                </a:lnTo>
                <a:lnTo>
                  <a:pt x="1589" y="622"/>
                </a:lnTo>
                <a:lnTo>
                  <a:pt x="1586" y="620"/>
                </a:lnTo>
                <a:lnTo>
                  <a:pt x="1582" y="620"/>
                </a:lnTo>
                <a:lnTo>
                  <a:pt x="1581" y="620"/>
                </a:lnTo>
                <a:lnTo>
                  <a:pt x="1579" y="618"/>
                </a:lnTo>
                <a:lnTo>
                  <a:pt x="1579" y="617"/>
                </a:lnTo>
                <a:lnTo>
                  <a:pt x="1581" y="615"/>
                </a:lnTo>
                <a:lnTo>
                  <a:pt x="1581" y="612"/>
                </a:lnTo>
                <a:lnTo>
                  <a:pt x="1578" y="614"/>
                </a:lnTo>
                <a:lnTo>
                  <a:pt x="1575" y="615"/>
                </a:lnTo>
                <a:lnTo>
                  <a:pt x="1574" y="614"/>
                </a:lnTo>
                <a:lnTo>
                  <a:pt x="1575" y="612"/>
                </a:lnTo>
                <a:lnTo>
                  <a:pt x="1573" y="612"/>
                </a:lnTo>
                <a:lnTo>
                  <a:pt x="1573" y="609"/>
                </a:lnTo>
                <a:lnTo>
                  <a:pt x="1571" y="615"/>
                </a:lnTo>
                <a:lnTo>
                  <a:pt x="1567" y="618"/>
                </a:lnTo>
                <a:lnTo>
                  <a:pt x="1566" y="620"/>
                </a:lnTo>
                <a:lnTo>
                  <a:pt x="1565" y="622"/>
                </a:lnTo>
                <a:lnTo>
                  <a:pt x="1563" y="623"/>
                </a:lnTo>
                <a:lnTo>
                  <a:pt x="1558" y="623"/>
                </a:lnTo>
                <a:lnTo>
                  <a:pt x="1556" y="625"/>
                </a:lnTo>
                <a:lnTo>
                  <a:pt x="1557" y="625"/>
                </a:lnTo>
                <a:lnTo>
                  <a:pt x="1557" y="628"/>
                </a:lnTo>
                <a:lnTo>
                  <a:pt x="1554" y="628"/>
                </a:lnTo>
                <a:lnTo>
                  <a:pt x="1554" y="626"/>
                </a:lnTo>
                <a:lnTo>
                  <a:pt x="1553" y="625"/>
                </a:lnTo>
                <a:lnTo>
                  <a:pt x="1553" y="620"/>
                </a:lnTo>
                <a:lnTo>
                  <a:pt x="1560" y="617"/>
                </a:lnTo>
                <a:lnTo>
                  <a:pt x="1563" y="611"/>
                </a:lnTo>
                <a:lnTo>
                  <a:pt x="1563" y="596"/>
                </a:lnTo>
                <a:lnTo>
                  <a:pt x="1562" y="590"/>
                </a:lnTo>
                <a:lnTo>
                  <a:pt x="1560" y="587"/>
                </a:lnTo>
                <a:lnTo>
                  <a:pt x="1569" y="579"/>
                </a:lnTo>
                <a:lnTo>
                  <a:pt x="1573" y="578"/>
                </a:lnTo>
                <a:lnTo>
                  <a:pt x="1586" y="581"/>
                </a:lnTo>
                <a:lnTo>
                  <a:pt x="1589" y="581"/>
                </a:lnTo>
                <a:lnTo>
                  <a:pt x="1591" y="579"/>
                </a:lnTo>
                <a:lnTo>
                  <a:pt x="1593" y="574"/>
                </a:lnTo>
                <a:lnTo>
                  <a:pt x="1597" y="570"/>
                </a:lnTo>
                <a:lnTo>
                  <a:pt x="1602" y="562"/>
                </a:lnTo>
                <a:lnTo>
                  <a:pt x="1603" y="552"/>
                </a:lnTo>
                <a:lnTo>
                  <a:pt x="1607" y="545"/>
                </a:lnTo>
                <a:lnTo>
                  <a:pt x="1609" y="540"/>
                </a:lnTo>
                <a:lnTo>
                  <a:pt x="1613" y="537"/>
                </a:lnTo>
                <a:lnTo>
                  <a:pt x="1615" y="535"/>
                </a:lnTo>
                <a:lnTo>
                  <a:pt x="1617" y="530"/>
                </a:lnTo>
                <a:lnTo>
                  <a:pt x="1615" y="527"/>
                </a:lnTo>
                <a:lnTo>
                  <a:pt x="1615" y="523"/>
                </a:lnTo>
                <a:lnTo>
                  <a:pt x="1617" y="519"/>
                </a:lnTo>
                <a:lnTo>
                  <a:pt x="1609" y="521"/>
                </a:lnTo>
                <a:lnTo>
                  <a:pt x="1599" y="526"/>
                </a:lnTo>
                <a:lnTo>
                  <a:pt x="1594" y="526"/>
                </a:lnTo>
                <a:lnTo>
                  <a:pt x="1585" y="530"/>
                </a:lnTo>
                <a:lnTo>
                  <a:pt x="1575" y="534"/>
                </a:lnTo>
                <a:lnTo>
                  <a:pt x="1571" y="534"/>
                </a:lnTo>
                <a:lnTo>
                  <a:pt x="1566" y="534"/>
                </a:lnTo>
                <a:lnTo>
                  <a:pt x="1561" y="534"/>
                </a:lnTo>
                <a:lnTo>
                  <a:pt x="1560" y="530"/>
                </a:lnTo>
                <a:lnTo>
                  <a:pt x="1557" y="527"/>
                </a:lnTo>
                <a:lnTo>
                  <a:pt x="1556" y="523"/>
                </a:lnTo>
                <a:lnTo>
                  <a:pt x="1557" y="519"/>
                </a:lnTo>
                <a:lnTo>
                  <a:pt x="1554" y="518"/>
                </a:lnTo>
                <a:lnTo>
                  <a:pt x="1554" y="515"/>
                </a:lnTo>
                <a:lnTo>
                  <a:pt x="1554" y="513"/>
                </a:lnTo>
                <a:lnTo>
                  <a:pt x="1553" y="512"/>
                </a:lnTo>
                <a:lnTo>
                  <a:pt x="1549" y="512"/>
                </a:lnTo>
                <a:lnTo>
                  <a:pt x="1545" y="510"/>
                </a:lnTo>
                <a:lnTo>
                  <a:pt x="1537" y="504"/>
                </a:lnTo>
                <a:lnTo>
                  <a:pt x="1532" y="502"/>
                </a:lnTo>
                <a:lnTo>
                  <a:pt x="1526" y="502"/>
                </a:lnTo>
                <a:lnTo>
                  <a:pt x="1522" y="501"/>
                </a:lnTo>
                <a:lnTo>
                  <a:pt x="1516" y="502"/>
                </a:lnTo>
                <a:lnTo>
                  <a:pt x="1510" y="501"/>
                </a:lnTo>
                <a:lnTo>
                  <a:pt x="1506" y="499"/>
                </a:lnTo>
                <a:lnTo>
                  <a:pt x="1506" y="494"/>
                </a:lnTo>
                <a:lnTo>
                  <a:pt x="1506" y="490"/>
                </a:lnTo>
                <a:lnTo>
                  <a:pt x="1505" y="490"/>
                </a:lnTo>
                <a:lnTo>
                  <a:pt x="1504" y="485"/>
                </a:lnTo>
                <a:lnTo>
                  <a:pt x="1501" y="477"/>
                </a:lnTo>
                <a:lnTo>
                  <a:pt x="1496" y="469"/>
                </a:lnTo>
                <a:lnTo>
                  <a:pt x="1494" y="465"/>
                </a:lnTo>
                <a:lnTo>
                  <a:pt x="1492" y="461"/>
                </a:lnTo>
                <a:lnTo>
                  <a:pt x="1492" y="458"/>
                </a:lnTo>
                <a:lnTo>
                  <a:pt x="1490" y="455"/>
                </a:lnTo>
                <a:lnTo>
                  <a:pt x="1489" y="452"/>
                </a:lnTo>
                <a:lnTo>
                  <a:pt x="1489" y="454"/>
                </a:lnTo>
                <a:lnTo>
                  <a:pt x="1489" y="452"/>
                </a:lnTo>
                <a:lnTo>
                  <a:pt x="1486" y="450"/>
                </a:lnTo>
                <a:lnTo>
                  <a:pt x="1484" y="449"/>
                </a:lnTo>
                <a:lnTo>
                  <a:pt x="1484" y="446"/>
                </a:lnTo>
                <a:lnTo>
                  <a:pt x="1480" y="443"/>
                </a:lnTo>
                <a:lnTo>
                  <a:pt x="1478" y="439"/>
                </a:lnTo>
                <a:lnTo>
                  <a:pt x="1474" y="439"/>
                </a:lnTo>
                <a:lnTo>
                  <a:pt x="1470" y="438"/>
                </a:lnTo>
                <a:lnTo>
                  <a:pt x="1465" y="438"/>
                </a:lnTo>
                <a:lnTo>
                  <a:pt x="1460" y="438"/>
                </a:lnTo>
                <a:lnTo>
                  <a:pt x="1457" y="435"/>
                </a:lnTo>
                <a:lnTo>
                  <a:pt x="1453" y="433"/>
                </a:lnTo>
                <a:lnTo>
                  <a:pt x="1448" y="432"/>
                </a:lnTo>
                <a:lnTo>
                  <a:pt x="1444" y="432"/>
                </a:lnTo>
                <a:lnTo>
                  <a:pt x="1435" y="433"/>
                </a:lnTo>
                <a:lnTo>
                  <a:pt x="1428" y="432"/>
                </a:lnTo>
                <a:lnTo>
                  <a:pt x="1416" y="435"/>
                </a:lnTo>
                <a:lnTo>
                  <a:pt x="1407" y="436"/>
                </a:lnTo>
                <a:lnTo>
                  <a:pt x="1403" y="439"/>
                </a:lnTo>
                <a:lnTo>
                  <a:pt x="1400" y="441"/>
                </a:lnTo>
                <a:lnTo>
                  <a:pt x="1393" y="446"/>
                </a:lnTo>
                <a:lnTo>
                  <a:pt x="1393" y="449"/>
                </a:lnTo>
                <a:lnTo>
                  <a:pt x="1399" y="449"/>
                </a:lnTo>
                <a:lnTo>
                  <a:pt x="1401" y="449"/>
                </a:lnTo>
                <a:lnTo>
                  <a:pt x="1404" y="449"/>
                </a:lnTo>
                <a:lnTo>
                  <a:pt x="1403" y="455"/>
                </a:lnTo>
                <a:lnTo>
                  <a:pt x="1404" y="457"/>
                </a:lnTo>
                <a:lnTo>
                  <a:pt x="1404" y="458"/>
                </a:lnTo>
                <a:lnTo>
                  <a:pt x="1397" y="463"/>
                </a:lnTo>
                <a:lnTo>
                  <a:pt x="1393" y="465"/>
                </a:lnTo>
                <a:lnTo>
                  <a:pt x="1391" y="469"/>
                </a:lnTo>
                <a:lnTo>
                  <a:pt x="1389" y="472"/>
                </a:lnTo>
                <a:lnTo>
                  <a:pt x="1387" y="479"/>
                </a:lnTo>
                <a:lnTo>
                  <a:pt x="1385" y="482"/>
                </a:lnTo>
                <a:lnTo>
                  <a:pt x="1383" y="483"/>
                </a:lnTo>
                <a:lnTo>
                  <a:pt x="1381" y="486"/>
                </a:lnTo>
                <a:lnTo>
                  <a:pt x="1383" y="490"/>
                </a:lnTo>
                <a:lnTo>
                  <a:pt x="1381" y="491"/>
                </a:lnTo>
                <a:lnTo>
                  <a:pt x="1368" y="497"/>
                </a:lnTo>
                <a:lnTo>
                  <a:pt x="1364" y="499"/>
                </a:lnTo>
                <a:lnTo>
                  <a:pt x="1361" y="501"/>
                </a:lnTo>
                <a:lnTo>
                  <a:pt x="1353" y="497"/>
                </a:lnTo>
                <a:lnTo>
                  <a:pt x="1345" y="496"/>
                </a:lnTo>
                <a:lnTo>
                  <a:pt x="1341" y="493"/>
                </a:lnTo>
                <a:lnTo>
                  <a:pt x="1339" y="493"/>
                </a:lnTo>
                <a:lnTo>
                  <a:pt x="1337" y="493"/>
                </a:lnTo>
                <a:lnTo>
                  <a:pt x="1334" y="494"/>
                </a:lnTo>
                <a:lnTo>
                  <a:pt x="1328" y="494"/>
                </a:lnTo>
                <a:lnTo>
                  <a:pt x="1323" y="494"/>
                </a:lnTo>
                <a:lnTo>
                  <a:pt x="1318" y="491"/>
                </a:lnTo>
                <a:lnTo>
                  <a:pt x="1311" y="488"/>
                </a:lnTo>
                <a:lnTo>
                  <a:pt x="1304" y="490"/>
                </a:lnTo>
                <a:lnTo>
                  <a:pt x="1298" y="494"/>
                </a:lnTo>
                <a:lnTo>
                  <a:pt x="1287" y="501"/>
                </a:lnTo>
                <a:lnTo>
                  <a:pt x="1280" y="501"/>
                </a:lnTo>
                <a:lnTo>
                  <a:pt x="1271" y="502"/>
                </a:lnTo>
                <a:lnTo>
                  <a:pt x="1255" y="507"/>
                </a:lnTo>
                <a:lnTo>
                  <a:pt x="1250" y="505"/>
                </a:lnTo>
                <a:lnTo>
                  <a:pt x="1243" y="505"/>
                </a:lnTo>
                <a:lnTo>
                  <a:pt x="1239" y="505"/>
                </a:lnTo>
                <a:lnTo>
                  <a:pt x="1232" y="504"/>
                </a:lnTo>
                <a:lnTo>
                  <a:pt x="1223" y="502"/>
                </a:lnTo>
                <a:lnTo>
                  <a:pt x="1217" y="499"/>
                </a:lnTo>
                <a:lnTo>
                  <a:pt x="1213" y="494"/>
                </a:lnTo>
                <a:lnTo>
                  <a:pt x="1207" y="493"/>
                </a:lnTo>
                <a:lnTo>
                  <a:pt x="1201" y="493"/>
                </a:lnTo>
                <a:lnTo>
                  <a:pt x="1195" y="490"/>
                </a:lnTo>
                <a:lnTo>
                  <a:pt x="1193" y="488"/>
                </a:lnTo>
                <a:lnTo>
                  <a:pt x="1190" y="486"/>
                </a:lnTo>
                <a:lnTo>
                  <a:pt x="1177" y="482"/>
                </a:lnTo>
                <a:lnTo>
                  <a:pt x="1169" y="480"/>
                </a:lnTo>
                <a:lnTo>
                  <a:pt x="1161" y="483"/>
                </a:lnTo>
                <a:lnTo>
                  <a:pt x="1154" y="486"/>
                </a:lnTo>
                <a:lnTo>
                  <a:pt x="1146" y="488"/>
                </a:lnTo>
                <a:lnTo>
                  <a:pt x="1137" y="485"/>
                </a:lnTo>
                <a:lnTo>
                  <a:pt x="1130" y="482"/>
                </a:lnTo>
                <a:lnTo>
                  <a:pt x="1126" y="479"/>
                </a:lnTo>
                <a:lnTo>
                  <a:pt x="1125" y="479"/>
                </a:lnTo>
                <a:lnTo>
                  <a:pt x="1125" y="476"/>
                </a:lnTo>
                <a:lnTo>
                  <a:pt x="1123" y="469"/>
                </a:lnTo>
                <a:lnTo>
                  <a:pt x="1121" y="466"/>
                </a:lnTo>
                <a:lnTo>
                  <a:pt x="1117" y="465"/>
                </a:lnTo>
                <a:lnTo>
                  <a:pt x="1110" y="463"/>
                </a:lnTo>
                <a:lnTo>
                  <a:pt x="1104" y="463"/>
                </a:lnTo>
                <a:lnTo>
                  <a:pt x="1101" y="460"/>
                </a:lnTo>
                <a:lnTo>
                  <a:pt x="1090" y="457"/>
                </a:lnTo>
                <a:lnTo>
                  <a:pt x="1086" y="455"/>
                </a:lnTo>
                <a:lnTo>
                  <a:pt x="1081" y="454"/>
                </a:lnTo>
                <a:lnTo>
                  <a:pt x="1077" y="454"/>
                </a:lnTo>
                <a:lnTo>
                  <a:pt x="1074" y="458"/>
                </a:lnTo>
                <a:lnTo>
                  <a:pt x="1069" y="460"/>
                </a:lnTo>
                <a:lnTo>
                  <a:pt x="1065" y="463"/>
                </a:lnTo>
                <a:lnTo>
                  <a:pt x="1061" y="466"/>
                </a:lnTo>
                <a:lnTo>
                  <a:pt x="1060" y="471"/>
                </a:lnTo>
                <a:lnTo>
                  <a:pt x="1061" y="474"/>
                </a:lnTo>
                <a:lnTo>
                  <a:pt x="1064" y="477"/>
                </a:lnTo>
                <a:lnTo>
                  <a:pt x="1064" y="480"/>
                </a:lnTo>
                <a:lnTo>
                  <a:pt x="1061" y="483"/>
                </a:lnTo>
                <a:lnTo>
                  <a:pt x="1061" y="486"/>
                </a:lnTo>
                <a:lnTo>
                  <a:pt x="1062" y="490"/>
                </a:lnTo>
                <a:lnTo>
                  <a:pt x="1062" y="491"/>
                </a:lnTo>
                <a:lnTo>
                  <a:pt x="1060" y="491"/>
                </a:lnTo>
                <a:lnTo>
                  <a:pt x="1049" y="493"/>
                </a:lnTo>
                <a:lnTo>
                  <a:pt x="1037" y="493"/>
                </a:lnTo>
                <a:lnTo>
                  <a:pt x="1033" y="491"/>
                </a:lnTo>
                <a:lnTo>
                  <a:pt x="1020" y="493"/>
                </a:lnTo>
                <a:lnTo>
                  <a:pt x="1016" y="493"/>
                </a:lnTo>
                <a:lnTo>
                  <a:pt x="1014" y="491"/>
                </a:lnTo>
                <a:lnTo>
                  <a:pt x="1005" y="485"/>
                </a:lnTo>
                <a:lnTo>
                  <a:pt x="1001" y="483"/>
                </a:lnTo>
                <a:lnTo>
                  <a:pt x="995" y="485"/>
                </a:lnTo>
                <a:lnTo>
                  <a:pt x="991" y="485"/>
                </a:lnTo>
                <a:lnTo>
                  <a:pt x="987" y="483"/>
                </a:lnTo>
                <a:lnTo>
                  <a:pt x="981" y="482"/>
                </a:lnTo>
                <a:lnTo>
                  <a:pt x="976" y="480"/>
                </a:lnTo>
                <a:lnTo>
                  <a:pt x="969" y="482"/>
                </a:lnTo>
                <a:lnTo>
                  <a:pt x="963" y="483"/>
                </a:lnTo>
                <a:lnTo>
                  <a:pt x="952" y="486"/>
                </a:lnTo>
                <a:lnTo>
                  <a:pt x="944" y="491"/>
                </a:lnTo>
                <a:lnTo>
                  <a:pt x="937" y="493"/>
                </a:lnTo>
                <a:lnTo>
                  <a:pt x="932" y="496"/>
                </a:lnTo>
                <a:lnTo>
                  <a:pt x="927" y="499"/>
                </a:lnTo>
                <a:lnTo>
                  <a:pt x="921" y="501"/>
                </a:lnTo>
                <a:lnTo>
                  <a:pt x="917" y="502"/>
                </a:lnTo>
                <a:lnTo>
                  <a:pt x="912" y="505"/>
                </a:lnTo>
                <a:lnTo>
                  <a:pt x="909" y="510"/>
                </a:lnTo>
                <a:lnTo>
                  <a:pt x="908" y="510"/>
                </a:lnTo>
                <a:lnTo>
                  <a:pt x="903" y="513"/>
                </a:lnTo>
                <a:lnTo>
                  <a:pt x="896" y="512"/>
                </a:lnTo>
                <a:lnTo>
                  <a:pt x="900" y="507"/>
                </a:lnTo>
                <a:lnTo>
                  <a:pt x="899" y="505"/>
                </a:lnTo>
                <a:lnTo>
                  <a:pt x="897" y="504"/>
                </a:lnTo>
                <a:lnTo>
                  <a:pt x="895" y="501"/>
                </a:lnTo>
                <a:lnTo>
                  <a:pt x="893" y="501"/>
                </a:lnTo>
                <a:lnTo>
                  <a:pt x="892" y="499"/>
                </a:lnTo>
                <a:lnTo>
                  <a:pt x="892" y="497"/>
                </a:lnTo>
                <a:lnTo>
                  <a:pt x="888" y="497"/>
                </a:lnTo>
                <a:lnTo>
                  <a:pt x="887" y="499"/>
                </a:lnTo>
                <a:lnTo>
                  <a:pt x="885" y="501"/>
                </a:lnTo>
                <a:lnTo>
                  <a:pt x="883" y="501"/>
                </a:lnTo>
                <a:lnTo>
                  <a:pt x="882" y="501"/>
                </a:lnTo>
                <a:lnTo>
                  <a:pt x="879" y="501"/>
                </a:lnTo>
                <a:lnTo>
                  <a:pt x="878" y="499"/>
                </a:lnTo>
                <a:lnTo>
                  <a:pt x="872" y="499"/>
                </a:lnTo>
                <a:lnTo>
                  <a:pt x="871" y="497"/>
                </a:lnTo>
                <a:lnTo>
                  <a:pt x="868" y="494"/>
                </a:lnTo>
                <a:lnTo>
                  <a:pt x="867" y="494"/>
                </a:lnTo>
                <a:lnTo>
                  <a:pt x="866" y="493"/>
                </a:lnTo>
                <a:lnTo>
                  <a:pt x="866" y="491"/>
                </a:lnTo>
                <a:lnTo>
                  <a:pt x="864" y="490"/>
                </a:lnTo>
                <a:lnTo>
                  <a:pt x="859" y="488"/>
                </a:lnTo>
                <a:lnTo>
                  <a:pt x="856" y="488"/>
                </a:lnTo>
                <a:lnTo>
                  <a:pt x="855" y="486"/>
                </a:lnTo>
                <a:lnTo>
                  <a:pt x="855" y="485"/>
                </a:lnTo>
                <a:lnTo>
                  <a:pt x="855" y="482"/>
                </a:lnTo>
                <a:lnTo>
                  <a:pt x="855" y="480"/>
                </a:lnTo>
                <a:lnTo>
                  <a:pt x="852" y="480"/>
                </a:lnTo>
                <a:lnTo>
                  <a:pt x="850" y="477"/>
                </a:lnTo>
                <a:lnTo>
                  <a:pt x="848" y="477"/>
                </a:lnTo>
                <a:lnTo>
                  <a:pt x="847" y="476"/>
                </a:lnTo>
                <a:lnTo>
                  <a:pt x="844" y="474"/>
                </a:lnTo>
                <a:lnTo>
                  <a:pt x="840" y="474"/>
                </a:lnTo>
                <a:lnTo>
                  <a:pt x="839" y="474"/>
                </a:lnTo>
                <a:lnTo>
                  <a:pt x="838" y="476"/>
                </a:lnTo>
                <a:lnTo>
                  <a:pt x="835" y="477"/>
                </a:lnTo>
                <a:lnTo>
                  <a:pt x="834" y="476"/>
                </a:lnTo>
                <a:lnTo>
                  <a:pt x="832" y="477"/>
                </a:lnTo>
                <a:lnTo>
                  <a:pt x="831" y="479"/>
                </a:lnTo>
                <a:lnTo>
                  <a:pt x="827" y="479"/>
                </a:lnTo>
                <a:lnTo>
                  <a:pt x="824" y="479"/>
                </a:lnTo>
                <a:lnTo>
                  <a:pt x="820" y="479"/>
                </a:lnTo>
                <a:lnTo>
                  <a:pt x="814" y="479"/>
                </a:lnTo>
                <a:lnTo>
                  <a:pt x="812" y="476"/>
                </a:lnTo>
                <a:lnTo>
                  <a:pt x="811" y="476"/>
                </a:lnTo>
                <a:lnTo>
                  <a:pt x="810" y="474"/>
                </a:lnTo>
                <a:lnTo>
                  <a:pt x="810" y="472"/>
                </a:lnTo>
                <a:lnTo>
                  <a:pt x="807" y="471"/>
                </a:lnTo>
                <a:lnTo>
                  <a:pt x="804" y="471"/>
                </a:lnTo>
                <a:lnTo>
                  <a:pt x="803" y="469"/>
                </a:lnTo>
                <a:lnTo>
                  <a:pt x="800" y="469"/>
                </a:lnTo>
                <a:lnTo>
                  <a:pt x="798" y="472"/>
                </a:lnTo>
                <a:lnTo>
                  <a:pt x="798" y="474"/>
                </a:lnTo>
                <a:lnTo>
                  <a:pt x="796" y="476"/>
                </a:lnTo>
                <a:lnTo>
                  <a:pt x="794" y="477"/>
                </a:lnTo>
                <a:lnTo>
                  <a:pt x="761" y="435"/>
                </a:lnTo>
                <a:lnTo>
                  <a:pt x="741" y="421"/>
                </a:lnTo>
                <a:lnTo>
                  <a:pt x="739" y="421"/>
                </a:lnTo>
                <a:lnTo>
                  <a:pt x="738" y="419"/>
                </a:lnTo>
                <a:lnTo>
                  <a:pt x="739" y="417"/>
                </a:lnTo>
                <a:lnTo>
                  <a:pt x="741" y="417"/>
                </a:lnTo>
                <a:lnTo>
                  <a:pt x="743" y="417"/>
                </a:lnTo>
                <a:lnTo>
                  <a:pt x="745" y="416"/>
                </a:lnTo>
                <a:lnTo>
                  <a:pt x="743" y="414"/>
                </a:lnTo>
                <a:lnTo>
                  <a:pt x="743" y="413"/>
                </a:lnTo>
                <a:lnTo>
                  <a:pt x="739" y="414"/>
                </a:lnTo>
                <a:lnTo>
                  <a:pt x="735" y="416"/>
                </a:lnTo>
                <a:lnTo>
                  <a:pt x="734" y="416"/>
                </a:lnTo>
                <a:lnTo>
                  <a:pt x="731" y="417"/>
                </a:lnTo>
                <a:lnTo>
                  <a:pt x="727" y="417"/>
                </a:lnTo>
                <a:lnTo>
                  <a:pt x="725" y="417"/>
                </a:lnTo>
                <a:lnTo>
                  <a:pt x="723" y="419"/>
                </a:lnTo>
                <a:lnTo>
                  <a:pt x="722" y="421"/>
                </a:lnTo>
                <a:lnTo>
                  <a:pt x="718" y="424"/>
                </a:lnTo>
                <a:lnTo>
                  <a:pt x="714" y="424"/>
                </a:lnTo>
                <a:lnTo>
                  <a:pt x="711" y="427"/>
                </a:lnTo>
                <a:lnTo>
                  <a:pt x="709" y="427"/>
                </a:lnTo>
                <a:lnTo>
                  <a:pt x="707" y="427"/>
                </a:lnTo>
                <a:lnTo>
                  <a:pt x="709" y="428"/>
                </a:lnTo>
                <a:lnTo>
                  <a:pt x="706" y="428"/>
                </a:lnTo>
                <a:lnTo>
                  <a:pt x="705" y="428"/>
                </a:lnTo>
                <a:lnTo>
                  <a:pt x="702" y="428"/>
                </a:lnTo>
                <a:lnTo>
                  <a:pt x="701" y="427"/>
                </a:lnTo>
                <a:lnTo>
                  <a:pt x="695" y="428"/>
                </a:lnTo>
                <a:lnTo>
                  <a:pt x="694" y="430"/>
                </a:lnTo>
                <a:lnTo>
                  <a:pt x="693" y="430"/>
                </a:lnTo>
                <a:lnTo>
                  <a:pt x="691" y="428"/>
                </a:lnTo>
                <a:lnTo>
                  <a:pt x="691" y="427"/>
                </a:lnTo>
                <a:lnTo>
                  <a:pt x="691" y="425"/>
                </a:lnTo>
                <a:lnTo>
                  <a:pt x="693" y="424"/>
                </a:lnTo>
                <a:lnTo>
                  <a:pt x="694" y="424"/>
                </a:lnTo>
                <a:lnTo>
                  <a:pt x="697" y="422"/>
                </a:lnTo>
                <a:lnTo>
                  <a:pt x="697" y="421"/>
                </a:lnTo>
                <a:lnTo>
                  <a:pt x="697" y="419"/>
                </a:lnTo>
                <a:lnTo>
                  <a:pt x="694" y="421"/>
                </a:lnTo>
                <a:lnTo>
                  <a:pt x="693" y="422"/>
                </a:lnTo>
                <a:lnTo>
                  <a:pt x="691" y="422"/>
                </a:lnTo>
                <a:lnTo>
                  <a:pt x="689" y="421"/>
                </a:lnTo>
                <a:lnTo>
                  <a:pt x="687" y="421"/>
                </a:lnTo>
                <a:lnTo>
                  <a:pt x="686" y="419"/>
                </a:lnTo>
                <a:lnTo>
                  <a:pt x="681" y="419"/>
                </a:lnTo>
                <a:lnTo>
                  <a:pt x="679" y="419"/>
                </a:lnTo>
                <a:lnTo>
                  <a:pt x="681" y="421"/>
                </a:lnTo>
                <a:lnTo>
                  <a:pt x="681" y="422"/>
                </a:lnTo>
                <a:lnTo>
                  <a:pt x="677" y="421"/>
                </a:lnTo>
                <a:lnTo>
                  <a:pt x="677" y="419"/>
                </a:lnTo>
                <a:lnTo>
                  <a:pt x="678" y="419"/>
                </a:lnTo>
                <a:lnTo>
                  <a:pt x="677" y="417"/>
                </a:lnTo>
                <a:lnTo>
                  <a:pt x="675" y="416"/>
                </a:lnTo>
                <a:lnTo>
                  <a:pt x="675" y="414"/>
                </a:lnTo>
                <a:lnTo>
                  <a:pt x="673" y="414"/>
                </a:lnTo>
                <a:lnTo>
                  <a:pt x="673" y="416"/>
                </a:lnTo>
                <a:lnTo>
                  <a:pt x="671" y="417"/>
                </a:lnTo>
                <a:lnTo>
                  <a:pt x="670" y="416"/>
                </a:lnTo>
                <a:lnTo>
                  <a:pt x="667" y="417"/>
                </a:lnTo>
                <a:lnTo>
                  <a:pt x="667" y="419"/>
                </a:lnTo>
                <a:lnTo>
                  <a:pt x="665" y="419"/>
                </a:lnTo>
                <a:lnTo>
                  <a:pt x="663" y="417"/>
                </a:lnTo>
                <a:lnTo>
                  <a:pt x="658" y="419"/>
                </a:lnTo>
                <a:lnTo>
                  <a:pt x="658" y="417"/>
                </a:lnTo>
                <a:lnTo>
                  <a:pt x="657" y="416"/>
                </a:lnTo>
                <a:lnTo>
                  <a:pt x="658" y="414"/>
                </a:lnTo>
                <a:lnTo>
                  <a:pt x="659" y="413"/>
                </a:lnTo>
                <a:lnTo>
                  <a:pt x="659" y="410"/>
                </a:lnTo>
                <a:lnTo>
                  <a:pt x="661" y="408"/>
                </a:lnTo>
                <a:lnTo>
                  <a:pt x="657" y="406"/>
                </a:lnTo>
                <a:lnTo>
                  <a:pt x="657" y="405"/>
                </a:lnTo>
                <a:lnTo>
                  <a:pt x="657" y="403"/>
                </a:lnTo>
                <a:lnTo>
                  <a:pt x="657" y="400"/>
                </a:lnTo>
                <a:lnTo>
                  <a:pt x="656" y="399"/>
                </a:lnTo>
                <a:lnTo>
                  <a:pt x="654" y="399"/>
                </a:lnTo>
                <a:lnTo>
                  <a:pt x="652" y="397"/>
                </a:lnTo>
                <a:lnTo>
                  <a:pt x="648" y="399"/>
                </a:lnTo>
                <a:lnTo>
                  <a:pt x="645" y="399"/>
                </a:lnTo>
                <a:lnTo>
                  <a:pt x="644" y="400"/>
                </a:lnTo>
                <a:lnTo>
                  <a:pt x="640" y="399"/>
                </a:lnTo>
                <a:lnTo>
                  <a:pt x="638" y="397"/>
                </a:lnTo>
                <a:lnTo>
                  <a:pt x="636" y="397"/>
                </a:lnTo>
                <a:lnTo>
                  <a:pt x="634" y="397"/>
                </a:lnTo>
                <a:lnTo>
                  <a:pt x="632" y="395"/>
                </a:lnTo>
                <a:lnTo>
                  <a:pt x="630" y="397"/>
                </a:lnTo>
                <a:lnTo>
                  <a:pt x="628" y="395"/>
                </a:lnTo>
                <a:lnTo>
                  <a:pt x="626" y="395"/>
                </a:lnTo>
                <a:lnTo>
                  <a:pt x="625" y="397"/>
                </a:lnTo>
                <a:lnTo>
                  <a:pt x="622" y="397"/>
                </a:lnTo>
                <a:lnTo>
                  <a:pt x="621" y="397"/>
                </a:lnTo>
                <a:lnTo>
                  <a:pt x="620" y="399"/>
                </a:lnTo>
                <a:lnTo>
                  <a:pt x="617" y="399"/>
                </a:lnTo>
                <a:lnTo>
                  <a:pt x="614" y="399"/>
                </a:lnTo>
                <a:lnTo>
                  <a:pt x="614" y="400"/>
                </a:lnTo>
                <a:lnTo>
                  <a:pt x="616" y="402"/>
                </a:lnTo>
                <a:lnTo>
                  <a:pt x="614" y="403"/>
                </a:lnTo>
                <a:lnTo>
                  <a:pt x="612" y="403"/>
                </a:lnTo>
                <a:lnTo>
                  <a:pt x="609" y="403"/>
                </a:lnTo>
                <a:lnTo>
                  <a:pt x="608" y="405"/>
                </a:lnTo>
                <a:lnTo>
                  <a:pt x="600" y="406"/>
                </a:lnTo>
                <a:lnTo>
                  <a:pt x="590" y="406"/>
                </a:lnTo>
                <a:lnTo>
                  <a:pt x="581" y="408"/>
                </a:lnTo>
                <a:lnTo>
                  <a:pt x="576" y="410"/>
                </a:lnTo>
                <a:lnTo>
                  <a:pt x="574" y="410"/>
                </a:lnTo>
                <a:lnTo>
                  <a:pt x="572" y="410"/>
                </a:lnTo>
                <a:lnTo>
                  <a:pt x="569" y="410"/>
                </a:lnTo>
                <a:lnTo>
                  <a:pt x="569" y="411"/>
                </a:lnTo>
                <a:lnTo>
                  <a:pt x="568" y="413"/>
                </a:lnTo>
                <a:lnTo>
                  <a:pt x="568" y="414"/>
                </a:lnTo>
                <a:lnTo>
                  <a:pt x="565" y="414"/>
                </a:lnTo>
                <a:lnTo>
                  <a:pt x="562" y="414"/>
                </a:lnTo>
                <a:lnTo>
                  <a:pt x="561" y="414"/>
                </a:lnTo>
                <a:lnTo>
                  <a:pt x="558" y="414"/>
                </a:lnTo>
                <a:lnTo>
                  <a:pt x="557" y="416"/>
                </a:lnTo>
                <a:lnTo>
                  <a:pt x="552" y="416"/>
                </a:lnTo>
                <a:lnTo>
                  <a:pt x="552" y="417"/>
                </a:lnTo>
                <a:lnTo>
                  <a:pt x="549" y="417"/>
                </a:lnTo>
                <a:lnTo>
                  <a:pt x="548" y="416"/>
                </a:lnTo>
                <a:lnTo>
                  <a:pt x="545" y="416"/>
                </a:lnTo>
                <a:lnTo>
                  <a:pt x="543" y="417"/>
                </a:lnTo>
                <a:lnTo>
                  <a:pt x="540" y="419"/>
                </a:lnTo>
                <a:lnTo>
                  <a:pt x="539" y="419"/>
                </a:lnTo>
                <a:lnTo>
                  <a:pt x="533" y="419"/>
                </a:lnTo>
                <a:lnTo>
                  <a:pt x="532" y="421"/>
                </a:lnTo>
                <a:lnTo>
                  <a:pt x="529" y="422"/>
                </a:lnTo>
                <a:lnTo>
                  <a:pt x="528" y="421"/>
                </a:lnTo>
                <a:lnTo>
                  <a:pt x="521" y="421"/>
                </a:lnTo>
                <a:lnTo>
                  <a:pt x="519" y="421"/>
                </a:lnTo>
                <a:lnTo>
                  <a:pt x="517" y="421"/>
                </a:lnTo>
                <a:lnTo>
                  <a:pt x="515" y="421"/>
                </a:lnTo>
                <a:lnTo>
                  <a:pt x="513" y="421"/>
                </a:lnTo>
                <a:lnTo>
                  <a:pt x="511" y="421"/>
                </a:lnTo>
                <a:lnTo>
                  <a:pt x="509" y="421"/>
                </a:lnTo>
                <a:lnTo>
                  <a:pt x="505" y="422"/>
                </a:lnTo>
                <a:lnTo>
                  <a:pt x="508" y="424"/>
                </a:lnTo>
                <a:lnTo>
                  <a:pt x="507" y="425"/>
                </a:lnTo>
                <a:lnTo>
                  <a:pt x="507" y="427"/>
                </a:lnTo>
                <a:lnTo>
                  <a:pt x="507" y="428"/>
                </a:lnTo>
                <a:lnTo>
                  <a:pt x="511" y="428"/>
                </a:lnTo>
                <a:lnTo>
                  <a:pt x="512" y="427"/>
                </a:lnTo>
                <a:lnTo>
                  <a:pt x="515" y="428"/>
                </a:lnTo>
                <a:lnTo>
                  <a:pt x="513" y="430"/>
                </a:lnTo>
                <a:lnTo>
                  <a:pt x="511" y="430"/>
                </a:lnTo>
                <a:lnTo>
                  <a:pt x="509" y="430"/>
                </a:lnTo>
                <a:lnTo>
                  <a:pt x="508" y="432"/>
                </a:lnTo>
                <a:lnTo>
                  <a:pt x="509" y="433"/>
                </a:lnTo>
                <a:lnTo>
                  <a:pt x="519" y="433"/>
                </a:lnTo>
                <a:lnTo>
                  <a:pt x="523" y="435"/>
                </a:lnTo>
                <a:lnTo>
                  <a:pt x="524" y="436"/>
                </a:lnTo>
                <a:lnTo>
                  <a:pt x="523" y="438"/>
                </a:lnTo>
                <a:lnTo>
                  <a:pt x="520" y="439"/>
                </a:lnTo>
                <a:lnTo>
                  <a:pt x="516" y="439"/>
                </a:lnTo>
                <a:lnTo>
                  <a:pt x="513" y="438"/>
                </a:lnTo>
                <a:lnTo>
                  <a:pt x="512" y="439"/>
                </a:lnTo>
                <a:lnTo>
                  <a:pt x="509" y="438"/>
                </a:lnTo>
                <a:lnTo>
                  <a:pt x="507" y="438"/>
                </a:lnTo>
                <a:lnTo>
                  <a:pt x="505" y="439"/>
                </a:lnTo>
                <a:lnTo>
                  <a:pt x="505" y="441"/>
                </a:lnTo>
                <a:lnTo>
                  <a:pt x="503" y="443"/>
                </a:lnTo>
                <a:lnTo>
                  <a:pt x="501" y="443"/>
                </a:lnTo>
                <a:lnTo>
                  <a:pt x="507" y="449"/>
                </a:lnTo>
                <a:lnTo>
                  <a:pt x="505" y="450"/>
                </a:lnTo>
                <a:lnTo>
                  <a:pt x="505" y="452"/>
                </a:lnTo>
                <a:lnTo>
                  <a:pt x="501" y="454"/>
                </a:lnTo>
                <a:lnTo>
                  <a:pt x="496" y="454"/>
                </a:lnTo>
                <a:lnTo>
                  <a:pt x="493" y="457"/>
                </a:lnTo>
                <a:lnTo>
                  <a:pt x="491" y="457"/>
                </a:lnTo>
                <a:lnTo>
                  <a:pt x="491" y="458"/>
                </a:lnTo>
                <a:lnTo>
                  <a:pt x="496" y="458"/>
                </a:lnTo>
                <a:lnTo>
                  <a:pt x="496" y="460"/>
                </a:lnTo>
                <a:lnTo>
                  <a:pt x="496" y="461"/>
                </a:lnTo>
                <a:lnTo>
                  <a:pt x="499" y="463"/>
                </a:lnTo>
                <a:lnTo>
                  <a:pt x="503" y="463"/>
                </a:lnTo>
                <a:lnTo>
                  <a:pt x="504" y="465"/>
                </a:lnTo>
                <a:lnTo>
                  <a:pt x="505" y="466"/>
                </a:lnTo>
                <a:lnTo>
                  <a:pt x="511" y="466"/>
                </a:lnTo>
                <a:lnTo>
                  <a:pt x="513" y="466"/>
                </a:lnTo>
                <a:lnTo>
                  <a:pt x="515" y="468"/>
                </a:lnTo>
                <a:lnTo>
                  <a:pt x="516" y="468"/>
                </a:lnTo>
                <a:lnTo>
                  <a:pt x="515" y="469"/>
                </a:lnTo>
                <a:lnTo>
                  <a:pt x="512" y="477"/>
                </a:lnTo>
                <a:lnTo>
                  <a:pt x="508" y="479"/>
                </a:lnTo>
                <a:lnTo>
                  <a:pt x="505" y="480"/>
                </a:lnTo>
                <a:lnTo>
                  <a:pt x="501" y="480"/>
                </a:lnTo>
                <a:lnTo>
                  <a:pt x="496" y="480"/>
                </a:lnTo>
                <a:lnTo>
                  <a:pt x="493" y="477"/>
                </a:lnTo>
                <a:lnTo>
                  <a:pt x="492" y="477"/>
                </a:lnTo>
                <a:lnTo>
                  <a:pt x="491" y="479"/>
                </a:lnTo>
                <a:lnTo>
                  <a:pt x="488" y="482"/>
                </a:lnTo>
                <a:lnTo>
                  <a:pt x="487" y="482"/>
                </a:lnTo>
                <a:lnTo>
                  <a:pt x="483" y="482"/>
                </a:lnTo>
                <a:lnTo>
                  <a:pt x="481" y="480"/>
                </a:lnTo>
                <a:lnTo>
                  <a:pt x="477" y="480"/>
                </a:lnTo>
                <a:lnTo>
                  <a:pt x="473" y="480"/>
                </a:lnTo>
                <a:lnTo>
                  <a:pt x="472" y="479"/>
                </a:lnTo>
                <a:lnTo>
                  <a:pt x="469" y="477"/>
                </a:lnTo>
                <a:lnTo>
                  <a:pt x="469" y="474"/>
                </a:lnTo>
                <a:lnTo>
                  <a:pt x="468" y="472"/>
                </a:lnTo>
                <a:lnTo>
                  <a:pt x="464" y="472"/>
                </a:lnTo>
                <a:lnTo>
                  <a:pt x="461" y="472"/>
                </a:lnTo>
                <a:lnTo>
                  <a:pt x="457" y="472"/>
                </a:lnTo>
                <a:lnTo>
                  <a:pt x="457" y="474"/>
                </a:lnTo>
                <a:lnTo>
                  <a:pt x="453" y="476"/>
                </a:lnTo>
                <a:lnTo>
                  <a:pt x="449" y="474"/>
                </a:lnTo>
                <a:lnTo>
                  <a:pt x="448" y="472"/>
                </a:lnTo>
                <a:lnTo>
                  <a:pt x="445" y="474"/>
                </a:lnTo>
                <a:lnTo>
                  <a:pt x="444" y="472"/>
                </a:lnTo>
                <a:lnTo>
                  <a:pt x="441" y="472"/>
                </a:lnTo>
                <a:lnTo>
                  <a:pt x="441" y="476"/>
                </a:lnTo>
                <a:lnTo>
                  <a:pt x="439" y="474"/>
                </a:lnTo>
                <a:lnTo>
                  <a:pt x="437" y="474"/>
                </a:lnTo>
                <a:lnTo>
                  <a:pt x="435" y="476"/>
                </a:lnTo>
                <a:lnTo>
                  <a:pt x="433" y="476"/>
                </a:lnTo>
                <a:lnTo>
                  <a:pt x="433" y="479"/>
                </a:lnTo>
                <a:lnTo>
                  <a:pt x="428" y="480"/>
                </a:lnTo>
                <a:lnTo>
                  <a:pt x="426" y="482"/>
                </a:lnTo>
                <a:lnTo>
                  <a:pt x="422" y="480"/>
                </a:lnTo>
                <a:lnTo>
                  <a:pt x="418" y="479"/>
                </a:lnTo>
                <a:lnTo>
                  <a:pt x="416" y="477"/>
                </a:lnTo>
                <a:lnTo>
                  <a:pt x="415" y="476"/>
                </a:lnTo>
                <a:lnTo>
                  <a:pt x="414" y="476"/>
                </a:lnTo>
                <a:lnTo>
                  <a:pt x="412" y="474"/>
                </a:lnTo>
                <a:lnTo>
                  <a:pt x="411" y="474"/>
                </a:lnTo>
                <a:lnTo>
                  <a:pt x="410" y="476"/>
                </a:lnTo>
                <a:lnTo>
                  <a:pt x="411" y="476"/>
                </a:lnTo>
                <a:lnTo>
                  <a:pt x="411" y="477"/>
                </a:lnTo>
                <a:lnTo>
                  <a:pt x="411" y="479"/>
                </a:lnTo>
                <a:lnTo>
                  <a:pt x="411" y="482"/>
                </a:lnTo>
                <a:lnTo>
                  <a:pt x="408" y="482"/>
                </a:lnTo>
                <a:lnTo>
                  <a:pt x="407" y="480"/>
                </a:lnTo>
                <a:lnTo>
                  <a:pt x="407" y="479"/>
                </a:lnTo>
                <a:lnTo>
                  <a:pt x="407" y="477"/>
                </a:lnTo>
                <a:lnTo>
                  <a:pt x="404" y="474"/>
                </a:lnTo>
                <a:lnTo>
                  <a:pt x="403" y="472"/>
                </a:lnTo>
                <a:lnTo>
                  <a:pt x="402" y="471"/>
                </a:lnTo>
                <a:lnTo>
                  <a:pt x="396" y="469"/>
                </a:lnTo>
                <a:lnTo>
                  <a:pt x="395" y="466"/>
                </a:lnTo>
                <a:lnTo>
                  <a:pt x="394" y="465"/>
                </a:lnTo>
                <a:lnTo>
                  <a:pt x="391" y="465"/>
                </a:lnTo>
                <a:lnTo>
                  <a:pt x="390" y="465"/>
                </a:lnTo>
                <a:lnTo>
                  <a:pt x="384" y="465"/>
                </a:lnTo>
                <a:lnTo>
                  <a:pt x="383" y="465"/>
                </a:lnTo>
                <a:lnTo>
                  <a:pt x="380" y="465"/>
                </a:lnTo>
                <a:lnTo>
                  <a:pt x="379" y="465"/>
                </a:lnTo>
                <a:lnTo>
                  <a:pt x="378" y="463"/>
                </a:lnTo>
                <a:lnTo>
                  <a:pt x="375" y="460"/>
                </a:lnTo>
                <a:lnTo>
                  <a:pt x="374" y="460"/>
                </a:lnTo>
                <a:lnTo>
                  <a:pt x="371" y="461"/>
                </a:lnTo>
                <a:lnTo>
                  <a:pt x="370" y="461"/>
                </a:lnTo>
                <a:lnTo>
                  <a:pt x="368" y="461"/>
                </a:lnTo>
                <a:lnTo>
                  <a:pt x="367" y="465"/>
                </a:lnTo>
                <a:lnTo>
                  <a:pt x="366" y="465"/>
                </a:lnTo>
                <a:lnTo>
                  <a:pt x="364" y="465"/>
                </a:lnTo>
                <a:lnTo>
                  <a:pt x="360" y="465"/>
                </a:lnTo>
                <a:lnTo>
                  <a:pt x="359" y="463"/>
                </a:lnTo>
                <a:lnTo>
                  <a:pt x="359" y="461"/>
                </a:lnTo>
                <a:lnTo>
                  <a:pt x="354" y="461"/>
                </a:lnTo>
                <a:lnTo>
                  <a:pt x="350" y="463"/>
                </a:lnTo>
                <a:lnTo>
                  <a:pt x="348" y="463"/>
                </a:lnTo>
                <a:lnTo>
                  <a:pt x="348" y="465"/>
                </a:lnTo>
                <a:lnTo>
                  <a:pt x="347" y="466"/>
                </a:lnTo>
                <a:lnTo>
                  <a:pt x="344" y="468"/>
                </a:lnTo>
                <a:lnTo>
                  <a:pt x="343" y="469"/>
                </a:lnTo>
                <a:lnTo>
                  <a:pt x="340" y="469"/>
                </a:lnTo>
                <a:lnTo>
                  <a:pt x="339" y="469"/>
                </a:lnTo>
                <a:lnTo>
                  <a:pt x="338" y="471"/>
                </a:lnTo>
                <a:lnTo>
                  <a:pt x="335" y="472"/>
                </a:lnTo>
                <a:lnTo>
                  <a:pt x="334" y="471"/>
                </a:lnTo>
                <a:lnTo>
                  <a:pt x="331" y="472"/>
                </a:lnTo>
                <a:lnTo>
                  <a:pt x="331" y="474"/>
                </a:lnTo>
                <a:lnTo>
                  <a:pt x="331" y="476"/>
                </a:lnTo>
                <a:lnTo>
                  <a:pt x="330" y="477"/>
                </a:lnTo>
                <a:lnTo>
                  <a:pt x="328" y="477"/>
                </a:lnTo>
                <a:lnTo>
                  <a:pt x="323" y="480"/>
                </a:lnTo>
                <a:lnTo>
                  <a:pt x="320" y="480"/>
                </a:lnTo>
                <a:lnTo>
                  <a:pt x="318" y="480"/>
                </a:lnTo>
                <a:lnTo>
                  <a:pt x="320" y="483"/>
                </a:lnTo>
                <a:lnTo>
                  <a:pt x="322" y="488"/>
                </a:lnTo>
                <a:lnTo>
                  <a:pt x="322" y="490"/>
                </a:lnTo>
                <a:lnTo>
                  <a:pt x="323" y="491"/>
                </a:lnTo>
                <a:lnTo>
                  <a:pt x="315" y="496"/>
                </a:lnTo>
                <a:lnTo>
                  <a:pt x="314" y="494"/>
                </a:lnTo>
                <a:lnTo>
                  <a:pt x="309" y="486"/>
                </a:lnTo>
                <a:lnTo>
                  <a:pt x="306" y="485"/>
                </a:lnTo>
                <a:lnTo>
                  <a:pt x="305" y="483"/>
                </a:lnTo>
                <a:lnTo>
                  <a:pt x="303" y="482"/>
                </a:lnTo>
                <a:lnTo>
                  <a:pt x="302" y="483"/>
                </a:lnTo>
                <a:lnTo>
                  <a:pt x="301" y="485"/>
                </a:lnTo>
                <a:lnTo>
                  <a:pt x="301" y="486"/>
                </a:lnTo>
                <a:lnTo>
                  <a:pt x="299" y="488"/>
                </a:lnTo>
                <a:lnTo>
                  <a:pt x="301" y="490"/>
                </a:lnTo>
                <a:lnTo>
                  <a:pt x="299" y="491"/>
                </a:lnTo>
                <a:lnTo>
                  <a:pt x="295" y="493"/>
                </a:lnTo>
                <a:lnTo>
                  <a:pt x="293" y="504"/>
                </a:lnTo>
                <a:lnTo>
                  <a:pt x="295" y="505"/>
                </a:lnTo>
                <a:lnTo>
                  <a:pt x="297" y="507"/>
                </a:lnTo>
                <a:lnTo>
                  <a:pt x="295" y="508"/>
                </a:lnTo>
                <a:lnTo>
                  <a:pt x="291" y="510"/>
                </a:lnTo>
                <a:lnTo>
                  <a:pt x="289" y="519"/>
                </a:lnTo>
                <a:lnTo>
                  <a:pt x="295" y="521"/>
                </a:lnTo>
                <a:lnTo>
                  <a:pt x="297" y="523"/>
                </a:lnTo>
                <a:lnTo>
                  <a:pt x="298" y="524"/>
                </a:lnTo>
                <a:lnTo>
                  <a:pt x="297" y="526"/>
                </a:lnTo>
                <a:lnTo>
                  <a:pt x="297" y="527"/>
                </a:lnTo>
                <a:lnTo>
                  <a:pt x="298" y="529"/>
                </a:lnTo>
                <a:lnTo>
                  <a:pt x="301" y="532"/>
                </a:lnTo>
                <a:lnTo>
                  <a:pt x="301" y="530"/>
                </a:lnTo>
                <a:lnTo>
                  <a:pt x="305" y="530"/>
                </a:lnTo>
                <a:lnTo>
                  <a:pt x="310" y="530"/>
                </a:lnTo>
                <a:lnTo>
                  <a:pt x="311" y="530"/>
                </a:lnTo>
                <a:lnTo>
                  <a:pt x="313" y="532"/>
                </a:lnTo>
                <a:lnTo>
                  <a:pt x="314" y="534"/>
                </a:lnTo>
                <a:lnTo>
                  <a:pt x="315" y="535"/>
                </a:lnTo>
                <a:lnTo>
                  <a:pt x="317" y="537"/>
                </a:lnTo>
                <a:lnTo>
                  <a:pt x="318" y="537"/>
                </a:lnTo>
                <a:lnTo>
                  <a:pt x="320" y="549"/>
                </a:lnTo>
                <a:lnTo>
                  <a:pt x="317" y="551"/>
                </a:lnTo>
                <a:lnTo>
                  <a:pt x="315" y="549"/>
                </a:lnTo>
                <a:lnTo>
                  <a:pt x="313" y="549"/>
                </a:lnTo>
                <a:lnTo>
                  <a:pt x="313" y="551"/>
                </a:lnTo>
                <a:lnTo>
                  <a:pt x="311" y="552"/>
                </a:lnTo>
                <a:lnTo>
                  <a:pt x="311" y="554"/>
                </a:lnTo>
                <a:lnTo>
                  <a:pt x="314" y="556"/>
                </a:lnTo>
                <a:lnTo>
                  <a:pt x="315" y="556"/>
                </a:lnTo>
                <a:lnTo>
                  <a:pt x="318" y="556"/>
                </a:lnTo>
                <a:lnTo>
                  <a:pt x="319" y="557"/>
                </a:lnTo>
                <a:lnTo>
                  <a:pt x="320" y="557"/>
                </a:lnTo>
                <a:lnTo>
                  <a:pt x="319" y="559"/>
                </a:lnTo>
                <a:lnTo>
                  <a:pt x="315" y="565"/>
                </a:lnTo>
                <a:lnTo>
                  <a:pt x="314" y="565"/>
                </a:lnTo>
                <a:lnTo>
                  <a:pt x="313" y="565"/>
                </a:lnTo>
                <a:lnTo>
                  <a:pt x="311" y="565"/>
                </a:lnTo>
                <a:lnTo>
                  <a:pt x="310" y="562"/>
                </a:lnTo>
                <a:lnTo>
                  <a:pt x="307" y="559"/>
                </a:lnTo>
                <a:lnTo>
                  <a:pt x="309" y="557"/>
                </a:lnTo>
                <a:lnTo>
                  <a:pt x="305" y="557"/>
                </a:lnTo>
                <a:lnTo>
                  <a:pt x="302" y="557"/>
                </a:lnTo>
                <a:lnTo>
                  <a:pt x="305" y="560"/>
                </a:lnTo>
                <a:lnTo>
                  <a:pt x="305" y="563"/>
                </a:lnTo>
                <a:lnTo>
                  <a:pt x="303" y="568"/>
                </a:lnTo>
                <a:lnTo>
                  <a:pt x="301" y="567"/>
                </a:lnTo>
                <a:lnTo>
                  <a:pt x="299" y="574"/>
                </a:lnTo>
                <a:lnTo>
                  <a:pt x="297" y="578"/>
                </a:lnTo>
                <a:lnTo>
                  <a:pt x="297" y="579"/>
                </a:lnTo>
                <a:lnTo>
                  <a:pt x="295" y="581"/>
                </a:lnTo>
                <a:lnTo>
                  <a:pt x="293" y="582"/>
                </a:lnTo>
                <a:lnTo>
                  <a:pt x="293" y="585"/>
                </a:lnTo>
                <a:lnTo>
                  <a:pt x="290" y="589"/>
                </a:lnTo>
                <a:lnTo>
                  <a:pt x="291" y="592"/>
                </a:lnTo>
                <a:lnTo>
                  <a:pt x="294" y="592"/>
                </a:lnTo>
                <a:lnTo>
                  <a:pt x="298" y="595"/>
                </a:lnTo>
                <a:lnTo>
                  <a:pt x="301" y="600"/>
                </a:lnTo>
                <a:lnTo>
                  <a:pt x="301" y="604"/>
                </a:lnTo>
                <a:lnTo>
                  <a:pt x="302" y="604"/>
                </a:lnTo>
                <a:lnTo>
                  <a:pt x="305" y="600"/>
                </a:lnTo>
                <a:lnTo>
                  <a:pt x="305" y="603"/>
                </a:lnTo>
                <a:lnTo>
                  <a:pt x="303" y="609"/>
                </a:lnTo>
                <a:lnTo>
                  <a:pt x="303" y="614"/>
                </a:lnTo>
                <a:lnTo>
                  <a:pt x="303" y="618"/>
                </a:lnTo>
                <a:lnTo>
                  <a:pt x="306" y="620"/>
                </a:lnTo>
                <a:lnTo>
                  <a:pt x="311" y="628"/>
                </a:lnTo>
                <a:lnTo>
                  <a:pt x="315" y="634"/>
                </a:lnTo>
                <a:lnTo>
                  <a:pt x="317" y="636"/>
                </a:lnTo>
                <a:lnTo>
                  <a:pt x="315" y="639"/>
                </a:lnTo>
                <a:lnTo>
                  <a:pt x="315" y="640"/>
                </a:lnTo>
                <a:lnTo>
                  <a:pt x="313" y="640"/>
                </a:lnTo>
                <a:lnTo>
                  <a:pt x="311" y="642"/>
                </a:lnTo>
                <a:lnTo>
                  <a:pt x="309" y="645"/>
                </a:lnTo>
                <a:lnTo>
                  <a:pt x="307" y="647"/>
                </a:lnTo>
                <a:lnTo>
                  <a:pt x="306" y="648"/>
                </a:lnTo>
                <a:lnTo>
                  <a:pt x="301" y="647"/>
                </a:lnTo>
                <a:lnTo>
                  <a:pt x="299" y="647"/>
                </a:lnTo>
                <a:lnTo>
                  <a:pt x="298" y="645"/>
                </a:lnTo>
                <a:lnTo>
                  <a:pt x="297" y="642"/>
                </a:lnTo>
                <a:lnTo>
                  <a:pt x="294" y="640"/>
                </a:lnTo>
                <a:lnTo>
                  <a:pt x="294" y="639"/>
                </a:lnTo>
                <a:lnTo>
                  <a:pt x="290" y="637"/>
                </a:lnTo>
                <a:lnTo>
                  <a:pt x="289" y="637"/>
                </a:lnTo>
                <a:lnTo>
                  <a:pt x="286" y="636"/>
                </a:lnTo>
                <a:lnTo>
                  <a:pt x="285" y="634"/>
                </a:lnTo>
                <a:lnTo>
                  <a:pt x="283" y="634"/>
                </a:lnTo>
                <a:lnTo>
                  <a:pt x="278" y="633"/>
                </a:lnTo>
                <a:lnTo>
                  <a:pt x="275" y="629"/>
                </a:lnTo>
                <a:lnTo>
                  <a:pt x="277" y="626"/>
                </a:lnTo>
                <a:lnTo>
                  <a:pt x="275" y="625"/>
                </a:lnTo>
                <a:lnTo>
                  <a:pt x="273" y="623"/>
                </a:lnTo>
                <a:lnTo>
                  <a:pt x="271" y="623"/>
                </a:lnTo>
                <a:lnTo>
                  <a:pt x="269" y="623"/>
                </a:lnTo>
                <a:lnTo>
                  <a:pt x="267" y="622"/>
                </a:lnTo>
                <a:lnTo>
                  <a:pt x="263" y="620"/>
                </a:lnTo>
                <a:lnTo>
                  <a:pt x="261" y="622"/>
                </a:lnTo>
                <a:lnTo>
                  <a:pt x="259" y="620"/>
                </a:lnTo>
                <a:lnTo>
                  <a:pt x="257" y="620"/>
                </a:lnTo>
                <a:lnTo>
                  <a:pt x="253" y="622"/>
                </a:lnTo>
                <a:lnTo>
                  <a:pt x="251" y="623"/>
                </a:lnTo>
                <a:lnTo>
                  <a:pt x="249" y="623"/>
                </a:lnTo>
                <a:lnTo>
                  <a:pt x="247" y="622"/>
                </a:lnTo>
                <a:lnTo>
                  <a:pt x="246" y="620"/>
                </a:lnTo>
                <a:lnTo>
                  <a:pt x="235" y="615"/>
                </a:lnTo>
                <a:lnTo>
                  <a:pt x="235" y="614"/>
                </a:lnTo>
                <a:lnTo>
                  <a:pt x="233" y="612"/>
                </a:lnTo>
                <a:lnTo>
                  <a:pt x="229" y="612"/>
                </a:lnTo>
                <a:lnTo>
                  <a:pt x="225" y="611"/>
                </a:lnTo>
                <a:lnTo>
                  <a:pt x="218" y="612"/>
                </a:lnTo>
                <a:lnTo>
                  <a:pt x="215" y="612"/>
                </a:lnTo>
                <a:lnTo>
                  <a:pt x="209" y="609"/>
                </a:lnTo>
                <a:lnTo>
                  <a:pt x="205" y="609"/>
                </a:lnTo>
                <a:lnTo>
                  <a:pt x="204" y="607"/>
                </a:lnTo>
                <a:lnTo>
                  <a:pt x="198" y="606"/>
                </a:lnTo>
                <a:lnTo>
                  <a:pt x="197" y="606"/>
                </a:lnTo>
                <a:lnTo>
                  <a:pt x="194" y="606"/>
                </a:lnTo>
                <a:lnTo>
                  <a:pt x="193" y="606"/>
                </a:lnTo>
                <a:lnTo>
                  <a:pt x="188" y="607"/>
                </a:lnTo>
                <a:lnTo>
                  <a:pt x="185" y="604"/>
                </a:lnTo>
                <a:lnTo>
                  <a:pt x="182" y="604"/>
                </a:lnTo>
                <a:lnTo>
                  <a:pt x="181" y="603"/>
                </a:lnTo>
                <a:lnTo>
                  <a:pt x="178" y="600"/>
                </a:lnTo>
                <a:lnTo>
                  <a:pt x="172" y="595"/>
                </a:lnTo>
                <a:lnTo>
                  <a:pt x="160" y="590"/>
                </a:lnTo>
                <a:lnTo>
                  <a:pt x="156" y="587"/>
                </a:lnTo>
                <a:lnTo>
                  <a:pt x="154" y="585"/>
                </a:lnTo>
                <a:lnTo>
                  <a:pt x="153" y="587"/>
                </a:lnTo>
                <a:lnTo>
                  <a:pt x="150" y="585"/>
                </a:lnTo>
                <a:lnTo>
                  <a:pt x="148" y="584"/>
                </a:lnTo>
                <a:lnTo>
                  <a:pt x="146" y="581"/>
                </a:lnTo>
                <a:lnTo>
                  <a:pt x="142" y="578"/>
                </a:lnTo>
                <a:lnTo>
                  <a:pt x="140" y="578"/>
                </a:lnTo>
                <a:lnTo>
                  <a:pt x="142" y="576"/>
                </a:lnTo>
                <a:lnTo>
                  <a:pt x="142" y="574"/>
                </a:lnTo>
                <a:lnTo>
                  <a:pt x="144" y="573"/>
                </a:lnTo>
                <a:lnTo>
                  <a:pt x="148" y="574"/>
                </a:lnTo>
                <a:lnTo>
                  <a:pt x="150" y="574"/>
                </a:lnTo>
                <a:lnTo>
                  <a:pt x="153" y="570"/>
                </a:lnTo>
                <a:lnTo>
                  <a:pt x="156" y="567"/>
                </a:lnTo>
                <a:lnTo>
                  <a:pt x="160" y="562"/>
                </a:lnTo>
                <a:lnTo>
                  <a:pt x="161" y="563"/>
                </a:lnTo>
                <a:lnTo>
                  <a:pt x="162" y="560"/>
                </a:lnTo>
                <a:lnTo>
                  <a:pt x="166" y="562"/>
                </a:lnTo>
                <a:lnTo>
                  <a:pt x="168" y="560"/>
                </a:lnTo>
                <a:lnTo>
                  <a:pt x="165" y="559"/>
                </a:lnTo>
                <a:lnTo>
                  <a:pt x="162" y="556"/>
                </a:lnTo>
                <a:lnTo>
                  <a:pt x="158" y="556"/>
                </a:lnTo>
                <a:lnTo>
                  <a:pt x="156" y="552"/>
                </a:lnTo>
                <a:lnTo>
                  <a:pt x="157" y="551"/>
                </a:lnTo>
                <a:lnTo>
                  <a:pt x="164" y="549"/>
                </a:lnTo>
                <a:lnTo>
                  <a:pt x="166" y="551"/>
                </a:lnTo>
                <a:lnTo>
                  <a:pt x="168" y="551"/>
                </a:lnTo>
                <a:lnTo>
                  <a:pt x="166" y="549"/>
                </a:lnTo>
                <a:lnTo>
                  <a:pt x="166" y="548"/>
                </a:lnTo>
                <a:lnTo>
                  <a:pt x="169" y="546"/>
                </a:lnTo>
                <a:lnTo>
                  <a:pt x="174" y="545"/>
                </a:lnTo>
                <a:lnTo>
                  <a:pt x="177" y="545"/>
                </a:lnTo>
                <a:lnTo>
                  <a:pt x="180" y="543"/>
                </a:lnTo>
                <a:lnTo>
                  <a:pt x="181" y="543"/>
                </a:lnTo>
                <a:lnTo>
                  <a:pt x="180" y="541"/>
                </a:lnTo>
                <a:lnTo>
                  <a:pt x="177" y="541"/>
                </a:lnTo>
                <a:lnTo>
                  <a:pt x="177" y="540"/>
                </a:lnTo>
                <a:lnTo>
                  <a:pt x="176" y="540"/>
                </a:lnTo>
                <a:lnTo>
                  <a:pt x="172" y="540"/>
                </a:lnTo>
                <a:lnTo>
                  <a:pt x="170" y="541"/>
                </a:lnTo>
                <a:lnTo>
                  <a:pt x="168" y="541"/>
                </a:lnTo>
                <a:lnTo>
                  <a:pt x="164" y="543"/>
                </a:lnTo>
                <a:lnTo>
                  <a:pt x="164" y="540"/>
                </a:lnTo>
                <a:lnTo>
                  <a:pt x="164" y="537"/>
                </a:lnTo>
                <a:lnTo>
                  <a:pt x="165" y="534"/>
                </a:lnTo>
                <a:lnTo>
                  <a:pt x="169" y="534"/>
                </a:lnTo>
                <a:lnTo>
                  <a:pt x="172" y="530"/>
                </a:lnTo>
                <a:lnTo>
                  <a:pt x="173" y="529"/>
                </a:lnTo>
                <a:lnTo>
                  <a:pt x="177" y="530"/>
                </a:lnTo>
                <a:lnTo>
                  <a:pt x="180" y="530"/>
                </a:lnTo>
                <a:lnTo>
                  <a:pt x="184" y="530"/>
                </a:lnTo>
                <a:lnTo>
                  <a:pt x="186" y="530"/>
                </a:lnTo>
                <a:lnTo>
                  <a:pt x="188" y="526"/>
                </a:lnTo>
                <a:lnTo>
                  <a:pt x="189" y="521"/>
                </a:lnTo>
                <a:lnTo>
                  <a:pt x="186" y="521"/>
                </a:lnTo>
                <a:lnTo>
                  <a:pt x="188" y="519"/>
                </a:lnTo>
                <a:lnTo>
                  <a:pt x="186" y="518"/>
                </a:lnTo>
                <a:lnTo>
                  <a:pt x="185" y="516"/>
                </a:lnTo>
                <a:lnTo>
                  <a:pt x="185" y="515"/>
                </a:lnTo>
                <a:lnTo>
                  <a:pt x="186" y="513"/>
                </a:lnTo>
                <a:lnTo>
                  <a:pt x="190" y="512"/>
                </a:lnTo>
                <a:lnTo>
                  <a:pt x="189" y="510"/>
                </a:lnTo>
                <a:lnTo>
                  <a:pt x="188" y="510"/>
                </a:lnTo>
                <a:lnTo>
                  <a:pt x="186" y="508"/>
                </a:lnTo>
                <a:lnTo>
                  <a:pt x="190" y="508"/>
                </a:lnTo>
                <a:lnTo>
                  <a:pt x="193" y="505"/>
                </a:lnTo>
                <a:lnTo>
                  <a:pt x="190" y="499"/>
                </a:lnTo>
                <a:lnTo>
                  <a:pt x="192" y="499"/>
                </a:lnTo>
                <a:lnTo>
                  <a:pt x="190" y="497"/>
                </a:lnTo>
                <a:lnTo>
                  <a:pt x="188" y="497"/>
                </a:lnTo>
                <a:lnTo>
                  <a:pt x="186" y="497"/>
                </a:lnTo>
                <a:lnTo>
                  <a:pt x="182" y="496"/>
                </a:lnTo>
                <a:lnTo>
                  <a:pt x="181" y="496"/>
                </a:lnTo>
                <a:lnTo>
                  <a:pt x="177" y="494"/>
                </a:lnTo>
                <a:lnTo>
                  <a:pt x="172" y="494"/>
                </a:lnTo>
                <a:lnTo>
                  <a:pt x="170" y="493"/>
                </a:lnTo>
                <a:lnTo>
                  <a:pt x="169" y="491"/>
                </a:lnTo>
                <a:lnTo>
                  <a:pt x="166" y="491"/>
                </a:lnTo>
                <a:lnTo>
                  <a:pt x="165" y="490"/>
                </a:lnTo>
                <a:lnTo>
                  <a:pt x="162" y="490"/>
                </a:lnTo>
                <a:lnTo>
                  <a:pt x="162" y="491"/>
                </a:lnTo>
                <a:lnTo>
                  <a:pt x="160" y="491"/>
                </a:lnTo>
                <a:lnTo>
                  <a:pt x="157" y="490"/>
                </a:lnTo>
                <a:lnTo>
                  <a:pt x="154" y="485"/>
                </a:lnTo>
                <a:lnTo>
                  <a:pt x="152" y="483"/>
                </a:lnTo>
                <a:lnTo>
                  <a:pt x="150" y="483"/>
                </a:lnTo>
                <a:lnTo>
                  <a:pt x="146" y="485"/>
                </a:lnTo>
                <a:lnTo>
                  <a:pt x="140" y="486"/>
                </a:lnTo>
                <a:lnTo>
                  <a:pt x="137" y="485"/>
                </a:lnTo>
                <a:lnTo>
                  <a:pt x="136" y="485"/>
                </a:lnTo>
                <a:lnTo>
                  <a:pt x="132" y="483"/>
                </a:lnTo>
                <a:lnTo>
                  <a:pt x="130" y="483"/>
                </a:lnTo>
                <a:lnTo>
                  <a:pt x="128" y="483"/>
                </a:lnTo>
                <a:lnTo>
                  <a:pt x="125" y="485"/>
                </a:lnTo>
                <a:lnTo>
                  <a:pt x="124" y="483"/>
                </a:lnTo>
                <a:lnTo>
                  <a:pt x="122" y="482"/>
                </a:lnTo>
                <a:lnTo>
                  <a:pt x="121" y="480"/>
                </a:lnTo>
                <a:lnTo>
                  <a:pt x="122" y="479"/>
                </a:lnTo>
                <a:lnTo>
                  <a:pt x="120" y="474"/>
                </a:lnTo>
                <a:lnTo>
                  <a:pt x="117" y="471"/>
                </a:lnTo>
                <a:lnTo>
                  <a:pt x="116" y="469"/>
                </a:lnTo>
                <a:lnTo>
                  <a:pt x="114" y="469"/>
                </a:lnTo>
                <a:lnTo>
                  <a:pt x="112" y="469"/>
                </a:lnTo>
                <a:lnTo>
                  <a:pt x="108" y="469"/>
                </a:lnTo>
                <a:lnTo>
                  <a:pt x="105" y="468"/>
                </a:lnTo>
                <a:lnTo>
                  <a:pt x="104" y="468"/>
                </a:lnTo>
                <a:lnTo>
                  <a:pt x="102" y="465"/>
                </a:lnTo>
                <a:lnTo>
                  <a:pt x="102" y="463"/>
                </a:lnTo>
                <a:lnTo>
                  <a:pt x="101" y="461"/>
                </a:lnTo>
                <a:lnTo>
                  <a:pt x="104" y="461"/>
                </a:lnTo>
                <a:lnTo>
                  <a:pt x="105" y="460"/>
                </a:lnTo>
                <a:lnTo>
                  <a:pt x="105" y="458"/>
                </a:lnTo>
                <a:lnTo>
                  <a:pt x="104" y="457"/>
                </a:lnTo>
                <a:lnTo>
                  <a:pt x="101" y="455"/>
                </a:lnTo>
                <a:lnTo>
                  <a:pt x="101" y="454"/>
                </a:lnTo>
                <a:lnTo>
                  <a:pt x="100" y="452"/>
                </a:lnTo>
                <a:lnTo>
                  <a:pt x="96" y="450"/>
                </a:lnTo>
                <a:lnTo>
                  <a:pt x="92" y="450"/>
                </a:lnTo>
                <a:lnTo>
                  <a:pt x="88" y="450"/>
                </a:lnTo>
                <a:lnTo>
                  <a:pt x="84" y="450"/>
                </a:lnTo>
                <a:lnTo>
                  <a:pt x="81" y="450"/>
                </a:lnTo>
                <a:lnTo>
                  <a:pt x="76" y="450"/>
                </a:lnTo>
                <a:lnTo>
                  <a:pt x="75" y="452"/>
                </a:lnTo>
                <a:lnTo>
                  <a:pt x="75" y="454"/>
                </a:lnTo>
                <a:lnTo>
                  <a:pt x="72" y="454"/>
                </a:lnTo>
                <a:lnTo>
                  <a:pt x="71" y="455"/>
                </a:lnTo>
                <a:lnTo>
                  <a:pt x="68" y="455"/>
                </a:lnTo>
                <a:lnTo>
                  <a:pt x="67" y="454"/>
                </a:lnTo>
                <a:lnTo>
                  <a:pt x="65" y="449"/>
                </a:lnTo>
                <a:lnTo>
                  <a:pt x="65" y="447"/>
                </a:lnTo>
                <a:lnTo>
                  <a:pt x="65" y="446"/>
                </a:lnTo>
                <a:lnTo>
                  <a:pt x="63" y="446"/>
                </a:lnTo>
                <a:lnTo>
                  <a:pt x="64" y="444"/>
                </a:lnTo>
                <a:lnTo>
                  <a:pt x="63" y="443"/>
                </a:lnTo>
                <a:lnTo>
                  <a:pt x="63" y="441"/>
                </a:lnTo>
                <a:lnTo>
                  <a:pt x="63" y="439"/>
                </a:lnTo>
                <a:lnTo>
                  <a:pt x="59" y="438"/>
                </a:lnTo>
                <a:lnTo>
                  <a:pt x="59" y="436"/>
                </a:lnTo>
                <a:lnTo>
                  <a:pt x="61" y="435"/>
                </a:lnTo>
                <a:lnTo>
                  <a:pt x="61" y="433"/>
                </a:lnTo>
                <a:lnTo>
                  <a:pt x="63" y="433"/>
                </a:lnTo>
                <a:lnTo>
                  <a:pt x="65" y="433"/>
                </a:lnTo>
                <a:lnTo>
                  <a:pt x="68" y="435"/>
                </a:lnTo>
                <a:lnTo>
                  <a:pt x="73" y="435"/>
                </a:lnTo>
                <a:lnTo>
                  <a:pt x="75" y="435"/>
                </a:lnTo>
                <a:lnTo>
                  <a:pt x="79" y="433"/>
                </a:lnTo>
                <a:lnTo>
                  <a:pt x="80" y="432"/>
                </a:lnTo>
                <a:lnTo>
                  <a:pt x="81" y="430"/>
                </a:lnTo>
                <a:lnTo>
                  <a:pt x="81" y="428"/>
                </a:lnTo>
                <a:lnTo>
                  <a:pt x="79" y="427"/>
                </a:lnTo>
                <a:lnTo>
                  <a:pt x="77" y="427"/>
                </a:lnTo>
                <a:lnTo>
                  <a:pt x="79" y="425"/>
                </a:lnTo>
                <a:lnTo>
                  <a:pt x="76" y="424"/>
                </a:lnTo>
                <a:lnTo>
                  <a:pt x="75" y="424"/>
                </a:lnTo>
                <a:lnTo>
                  <a:pt x="68" y="424"/>
                </a:lnTo>
                <a:lnTo>
                  <a:pt x="67" y="422"/>
                </a:lnTo>
                <a:lnTo>
                  <a:pt x="67" y="421"/>
                </a:lnTo>
                <a:lnTo>
                  <a:pt x="67" y="419"/>
                </a:lnTo>
                <a:lnTo>
                  <a:pt x="65" y="419"/>
                </a:lnTo>
                <a:lnTo>
                  <a:pt x="61" y="417"/>
                </a:lnTo>
                <a:lnTo>
                  <a:pt x="60" y="416"/>
                </a:lnTo>
                <a:lnTo>
                  <a:pt x="57" y="411"/>
                </a:lnTo>
                <a:lnTo>
                  <a:pt x="56" y="408"/>
                </a:lnTo>
                <a:lnTo>
                  <a:pt x="52" y="406"/>
                </a:lnTo>
                <a:lnTo>
                  <a:pt x="52" y="405"/>
                </a:lnTo>
                <a:lnTo>
                  <a:pt x="52" y="403"/>
                </a:lnTo>
                <a:lnTo>
                  <a:pt x="55" y="402"/>
                </a:lnTo>
                <a:lnTo>
                  <a:pt x="55" y="400"/>
                </a:lnTo>
                <a:lnTo>
                  <a:pt x="55" y="399"/>
                </a:lnTo>
                <a:lnTo>
                  <a:pt x="53" y="397"/>
                </a:lnTo>
                <a:lnTo>
                  <a:pt x="53" y="395"/>
                </a:lnTo>
                <a:lnTo>
                  <a:pt x="53" y="394"/>
                </a:lnTo>
                <a:lnTo>
                  <a:pt x="53" y="392"/>
                </a:lnTo>
                <a:lnTo>
                  <a:pt x="52" y="392"/>
                </a:lnTo>
                <a:lnTo>
                  <a:pt x="49" y="389"/>
                </a:lnTo>
                <a:lnTo>
                  <a:pt x="47" y="388"/>
                </a:lnTo>
                <a:lnTo>
                  <a:pt x="45" y="388"/>
                </a:lnTo>
                <a:lnTo>
                  <a:pt x="43" y="388"/>
                </a:lnTo>
                <a:lnTo>
                  <a:pt x="39" y="388"/>
                </a:lnTo>
                <a:lnTo>
                  <a:pt x="37" y="388"/>
                </a:lnTo>
                <a:lnTo>
                  <a:pt x="35" y="389"/>
                </a:lnTo>
                <a:lnTo>
                  <a:pt x="31" y="391"/>
                </a:lnTo>
                <a:lnTo>
                  <a:pt x="32" y="386"/>
                </a:lnTo>
                <a:lnTo>
                  <a:pt x="28" y="384"/>
                </a:lnTo>
                <a:lnTo>
                  <a:pt x="25" y="384"/>
                </a:lnTo>
                <a:lnTo>
                  <a:pt x="21" y="384"/>
                </a:lnTo>
                <a:lnTo>
                  <a:pt x="20" y="383"/>
                </a:lnTo>
                <a:lnTo>
                  <a:pt x="19" y="383"/>
                </a:lnTo>
                <a:lnTo>
                  <a:pt x="13" y="383"/>
                </a:lnTo>
                <a:lnTo>
                  <a:pt x="13" y="381"/>
                </a:lnTo>
                <a:lnTo>
                  <a:pt x="13" y="378"/>
                </a:lnTo>
                <a:lnTo>
                  <a:pt x="12" y="377"/>
                </a:lnTo>
                <a:lnTo>
                  <a:pt x="12" y="375"/>
                </a:lnTo>
                <a:lnTo>
                  <a:pt x="8" y="372"/>
                </a:lnTo>
                <a:lnTo>
                  <a:pt x="8" y="370"/>
                </a:lnTo>
                <a:lnTo>
                  <a:pt x="7" y="369"/>
                </a:lnTo>
                <a:lnTo>
                  <a:pt x="4" y="369"/>
                </a:lnTo>
                <a:lnTo>
                  <a:pt x="5" y="367"/>
                </a:lnTo>
                <a:lnTo>
                  <a:pt x="7" y="362"/>
                </a:lnTo>
                <a:lnTo>
                  <a:pt x="7" y="361"/>
                </a:lnTo>
                <a:lnTo>
                  <a:pt x="5" y="361"/>
                </a:lnTo>
                <a:lnTo>
                  <a:pt x="3" y="359"/>
                </a:lnTo>
                <a:lnTo>
                  <a:pt x="3" y="358"/>
                </a:lnTo>
                <a:lnTo>
                  <a:pt x="1" y="358"/>
                </a:lnTo>
                <a:lnTo>
                  <a:pt x="0" y="356"/>
                </a:lnTo>
                <a:lnTo>
                  <a:pt x="3" y="353"/>
                </a:lnTo>
                <a:lnTo>
                  <a:pt x="4" y="351"/>
                </a:lnTo>
                <a:lnTo>
                  <a:pt x="3" y="350"/>
                </a:lnTo>
                <a:lnTo>
                  <a:pt x="5" y="351"/>
                </a:lnTo>
                <a:lnTo>
                  <a:pt x="8" y="353"/>
                </a:lnTo>
                <a:lnTo>
                  <a:pt x="11" y="353"/>
                </a:lnTo>
                <a:lnTo>
                  <a:pt x="11" y="350"/>
                </a:lnTo>
                <a:lnTo>
                  <a:pt x="8" y="347"/>
                </a:lnTo>
                <a:lnTo>
                  <a:pt x="4" y="347"/>
                </a:lnTo>
                <a:lnTo>
                  <a:pt x="1" y="347"/>
                </a:lnTo>
                <a:lnTo>
                  <a:pt x="1" y="345"/>
                </a:lnTo>
                <a:lnTo>
                  <a:pt x="3" y="344"/>
                </a:lnTo>
                <a:lnTo>
                  <a:pt x="5" y="342"/>
                </a:lnTo>
                <a:lnTo>
                  <a:pt x="7" y="340"/>
                </a:lnTo>
                <a:lnTo>
                  <a:pt x="5" y="339"/>
                </a:lnTo>
                <a:lnTo>
                  <a:pt x="5" y="336"/>
                </a:lnTo>
                <a:lnTo>
                  <a:pt x="4" y="333"/>
                </a:lnTo>
                <a:lnTo>
                  <a:pt x="7" y="331"/>
                </a:lnTo>
                <a:lnTo>
                  <a:pt x="9" y="328"/>
                </a:lnTo>
                <a:lnTo>
                  <a:pt x="12" y="326"/>
                </a:lnTo>
                <a:lnTo>
                  <a:pt x="12" y="325"/>
                </a:lnTo>
                <a:lnTo>
                  <a:pt x="12" y="323"/>
                </a:lnTo>
                <a:lnTo>
                  <a:pt x="11" y="323"/>
                </a:lnTo>
                <a:lnTo>
                  <a:pt x="9" y="322"/>
                </a:lnTo>
                <a:lnTo>
                  <a:pt x="8" y="320"/>
                </a:lnTo>
                <a:lnTo>
                  <a:pt x="9" y="318"/>
                </a:lnTo>
                <a:lnTo>
                  <a:pt x="11" y="318"/>
                </a:lnTo>
                <a:lnTo>
                  <a:pt x="12" y="320"/>
                </a:lnTo>
                <a:lnTo>
                  <a:pt x="15" y="320"/>
                </a:lnTo>
                <a:lnTo>
                  <a:pt x="16" y="318"/>
                </a:lnTo>
                <a:lnTo>
                  <a:pt x="17" y="317"/>
                </a:lnTo>
                <a:lnTo>
                  <a:pt x="19" y="318"/>
                </a:lnTo>
                <a:lnTo>
                  <a:pt x="23" y="317"/>
                </a:lnTo>
                <a:lnTo>
                  <a:pt x="24" y="315"/>
                </a:lnTo>
                <a:lnTo>
                  <a:pt x="25" y="315"/>
                </a:lnTo>
                <a:lnTo>
                  <a:pt x="31" y="315"/>
                </a:lnTo>
                <a:lnTo>
                  <a:pt x="37" y="315"/>
                </a:lnTo>
                <a:lnTo>
                  <a:pt x="40" y="315"/>
                </a:lnTo>
                <a:lnTo>
                  <a:pt x="43" y="315"/>
                </a:lnTo>
                <a:lnTo>
                  <a:pt x="41" y="315"/>
                </a:lnTo>
                <a:lnTo>
                  <a:pt x="40" y="314"/>
                </a:lnTo>
                <a:lnTo>
                  <a:pt x="37" y="314"/>
                </a:lnTo>
                <a:lnTo>
                  <a:pt x="39" y="312"/>
                </a:lnTo>
                <a:lnTo>
                  <a:pt x="36" y="311"/>
                </a:lnTo>
                <a:lnTo>
                  <a:pt x="33" y="311"/>
                </a:lnTo>
                <a:lnTo>
                  <a:pt x="28" y="311"/>
                </a:lnTo>
                <a:lnTo>
                  <a:pt x="24" y="311"/>
                </a:lnTo>
                <a:lnTo>
                  <a:pt x="20" y="309"/>
                </a:lnTo>
                <a:lnTo>
                  <a:pt x="19" y="309"/>
                </a:lnTo>
                <a:lnTo>
                  <a:pt x="16" y="307"/>
                </a:lnTo>
                <a:lnTo>
                  <a:pt x="15" y="307"/>
                </a:lnTo>
                <a:lnTo>
                  <a:pt x="15" y="304"/>
                </a:lnTo>
                <a:lnTo>
                  <a:pt x="16" y="304"/>
                </a:lnTo>
                <a:lnTo>
                  <a:pt x="17" y="306"/>
                </a:lnTo>
                <a:lnTo>
                  <a:pt x="17" y="303"/>
                </a:lnTo>
                <a:lnTo>
                  <a:pt x="19" y="303"/>
                </a:lnTo>
                <a:lnTo>
                  <a:pt x="17" y="301"/>
                </a:lnTo>
                <a:lnTo>
                  <a:pt x="13" y="303"/>
                </a:lnTo>
                <a:lnTo>
                  <a:pt x="9" y="304"/>
                </a:lnTo>
                <a:lnTo>
                  <a:pt x="3" y="304"/>
                </a:lnTo>
                <a:lnTo>
                  <a:pt x="13" y="300"/>
                </a:lnTo>
                <a:lnTo>
                  <a:pt x="27" y="292"/>
                </a:lnTo>
                <a:lnTo>
                  <a:pt x="37" y="285"/>
                </a:lnTo>
                <a:lnTo>
                  <a:pt x="52" y="275"/>
                </a:lnTo>
                <a:lnTo>
                  <a:pt x="55" y="271"/>
                </a:lnTo>
                <a:lnTo>
                  <a:pt x="60" y="267"/>
                </a:lnTo>
                <a:lnTo>
                  <a:pt x="60" y="260"/>
                </a:lnTo>
                <a:lnTo>
                  <a:pt x="59" y="262"/>
                </a:lnTo>
                <a:lnTo>
                  <a:pt x="56" y="259"/>
                </a:lnTo>
                <a:lnTo>
                  <a:pt x="55" y="256"/>
                </a:lnTo>
                <a:lnTo>
                  <a:pt x="47" y="253"/>
                </a:lnTo>
                <a:lnTo>
                  <a:pt x="44" y="251"/>
                </a:lnTo>
                <a:lnTo>
                  <a:pt x="43" y="248"/>
                </a:lnTo>
                <a:lnTo>
                  <a:pt x="44" y="246"/>
                </a:lnTo>
                <a:lnTo>
                  <a:pt x="47" y="245"/>
                </a:lnTo>
                <a:lnTo>
                  <a:pt x="48" y="242"/>
                </a:lnTo>
                <a:lnTo>
                  <a:pt x="48" y="238"/>
                </a:lnTo>
                <a:lnTo>
                  <a:pt x="44" y="237"/>
                </a:lnTo>
                <a:lnTo>
                  <a:pt x="41" y="234"/>
                </a:lnTo>
                <a:lnTo>
                  <a:pt x="41" y="232"/>
                </a:lnTo>
                <a:lnTo>
                  <a:pt x="40" y="229"/>
                </a:lnTo>
                <a:lnTo>
                  <a:pt x="35" y="229"/>
                </a:lnTo>
                <a:lnTo>
                  <a:pt x="35" y="226"/>
                </a:lnTo>
                <a:lnTo>
                  <a:pt x="37" y="224"/>
                </a:lnTo>
                <a:lnTo>
                  <a:pt x="36" y="221"/>
                </a:lnTo>
                <a:lnTo>
                  <a:pt x="37" y="218"/>
                </a:lnTo>
                <a:lnTo>
                  <a:pt x="37" y="215"/>
                </a:lnTo>
                <a:lnTo>
                  <a:pt x="41" y="213"/>
                </a:lnTo>
                <a:lnTo>
                  <a:pt x="41" y="212"/>
                </a:lnTo>
                <a:lnTo>
                  <a:pt x="40" y="209"/>
                </a:lnTo>
                <a:lnTo>
                  <a:pt x="37" y="205"/>
                </a:lnTo>
                <a:lnTo>
                  <a:pt x="33" y="201"/>
                </a:lnTo>
                <a:lnTo>
                  <a:pt x="32" y="199"/>
                </a:lnTo>
                <a:lnTo>
                  <a:pt x="31" y="196"/>
                </a:lnTo>
                <a:lnTo>
                  <a:pt x="28" y="194"/>
                </a:lnTo>
                <a:lnTo>
                  <a:pt x="27" y="191"/>
                </a:lnTo>
                <a:lnTo>
                  <a:pt x="29" y="190"/>
                </a:lnTo>
                <a:lnTo>
                  <a:pt x="33" y="185"/>
                </a:lnTo>
                <a:lnTo>
                  <a:pt x="39" y="180"/>
                </a:lnTo>
                <a:lnTo>
                  <a:pt x="39" y="177"/>
                </a:lnTo>
                <a:lnTo>
                  <a:pt x="35" y="176"/>
                </a:lnTo>
                <a:lnTo>
                  <a:pt x="29" y="171"/>
                </a:lnTo>
                <a:lnTo>
                  <a:pt x="25" y="169"/>
                </a:lnTo>
                <a:lnTo>
                  <a:pt x="21" y="169"/>
                </a:lnTo>
                <a:lnTo>
                  <a:pt x="20" y="169"/>
                </a:lnTo>
                <a:lnTo>
                  <a:pt x="19" y="168"/>
                </a:lnTo>
                <a:lnTo>
                  <a:pt x="17" y="165"/>
                </a:lnTo>
                <a:lnTo>
                  <a:pt x="16" y="163"/>
                </a:lnTo>
                <a:lnTo>
                  <a:pt x="16" y="161"/>
                </a:lnTo>
                <a:lnTo>
                  <a:pt x="20" y="158"/>
                </a:lnTo>
                <a:lnTo>
                  <a:pt x="19" y="157"/>
                </a:lnTo>
                <a:lnTo>
                  <a:pt x="17" y="157"/>
                </a:lnTo>
                <a:lnTo>
                  <a:pt x="25" y="154"/>
                </a:lnTo>
                <a:lnTo>
                  <a:pt x="28" y="152"/>
                </a:lnTo>
                <a:lnTo>
                  <a:pt x="29" y="150"/>
                </a:lnTo>
                <a:lnTo>
                  <a:pt x="39" y="147"/>
                </a:lnTo>
                <a:lnTo>
                  <a:pt x="40" y="147"/>
                </a:lnTo>
                <a:lnTo>
                  <a:pt x="41" y="144"/>
                </a:lnTo>
                <a:lnTo>
                  <a:pt x="48" y="146"/>
                </a:lnTo>
                <a:lnTo>
                  <a:pt x="51" y="144"/>
                </a:lnTo>
                <a:lnTo>
                  <a:pt x="52" y="144"/>
                </a:lnTo>
                <a:lnTo>
                  <a:pt x="53" y="143"/>
                </a:lnTo>
                <a:lnTo>
                  <a:pt x="53" y="141"/>
                </a:lnTo>
                <a:lnTo>
                  <a:pt x="52" y="141"/>
                </a:lnTo>
                <a:lnTo>
                  <a:pt x="53" y="141"/>
                </a:lnTo>
                <a:lnTo>
                  <a:pt x="59" y="143"/>
                </a:lnTo>
                <a:lnTo>
                  <a:pt x="61" y="143"/>
                </a:lnTo>
                <a:lnTo>
                  <a:pt x="64" y="143"/>
                </a:lnTo>
                <a:lnTo>
                  <a:pt x="65" y="143"/>
                </a:lnTo>
                <a:lnTo>
                  <a:pt x="64" y="141"/>
                </a:lnTo>
                <a:lnTo>
                  <a:pt x="65" y="141"/>
                </a:lnTo>
                <a:lnTo>
                  <a:pt x="67" y="141"/>
                </a:lnTo>
                <a:lnTo>
                  <a:pt x="68" y="141"/>
                </a:lnTo>
                <a:lnTo>
                  <a:pt x="69" y="139"/>
                </a:lnTo>
                <a:lnTo>
                  <a:pt x="67" y="138"/>
                </a:lnTo>
                <a:lnTo>
                  <a:pt x="72" y="139"/>
                </a:lnTo>
                <a:lnTo>
                  <a:pt x="76" y="139"/>
                </a:lnTo>
                <a:lnTo>
                  <a:pt x="76" y="141"/>
                </a:lnTo>
                <a:lnTo>
                  <a:pt x="79" y="141"/>
                </a:lnTo>
                <a:lnTo>
                  <a:pt x="80" y="141"/>
                </a:lnTo>
                <a:lnTo>
                  <a:pt x="85" y="141"/>
                </a:lnTo>
                <a:lnTo>
                  <a:pt x="85" y="143"/>
                </a:lnTo>
                <a:lnTo>
                  <a:pt x="83" y="144"/>
                </a:lnTo>
                <a:lnTo>
                  <a:pt x="80" y="144"/>
                </a:lnTo>
                <a:lnTo>
                  <a:pt x="77" y="144"/>
                </a:lnTo>
                <a:lnTo>
                  <a:pt x="76" y="144"/>
                </a:lnTo>
                <a:lnTo>
                  <a:pt x="75" y="144"/>
                </a:lnTo>
                <a:lnTo>
                  <a:pt x="72" y="143"/>
                </a:lnTo>
                <a:lnTo>
                  <a:pt x="71" y="141"/>
                </a:lnTo>
                <a:lnTo>
                  <a:pt x="69" y="144"/>
                </a:lnTo>
                <a:lnTo>
                  <a:pt x="73" y="144"/>
                </a:lnTo>
                <a:lnTo>
                  <a:pt x="75" y="146"/>
                </a:lnTo>
                <a:lnTo>
                  <a:pt x="75" y="147"/>
                </a:lnTo>
                <a:lnTo>
                  <a:pt x="79" y="146"/>
                </a:lnTo>
                <a:lnTo>
                  <a:pt x="80" y="146"/>
                </a:lnTo>
                <a:lnTo>
                  <a:pt x="81" y="147"/>
                </a:lnTo>
                <a:lnTo>
                  <a:pt x="84" y="147"/>
                </a:lnTo>
                <a:lnTo>
                  <a:pt x="83" y="149"/>
                </a:lnTo>
                <a:lnTo>
                  <a:pt x="88" y="147"/>
                </a:lnTo>
                <a:lnTo>
                  <a:pt x="88" y="149"/>
                </a:lnTo>
                <a:lnTo>
                  <a:pt x="89" y="150"/>
                </a:lnTo>
                <a:lnTo>
                  <a:pt x="91" y="150"/>
                </a:lnTo>
                <a:lnTo>
                  <a:pt x="92" y="150"/>
                </a:lnTo>
                <a:lnTo>
                  <a:pt x="97" y="150"/>
                </a:lnTo>
                <a:lnTo>
                  <a:pt x="97" y="149"/>
                </a:lnTo>
                <a:lnTo>
                  <a:pt x="101" y="150"/>
                </a:lnTo>
                <a:lnTo>
                  <a:pt x="112" y="150"/>
                </a:lnTo>
                <a:lnTo>
                  <a:pt x="116" y="152"/>
                </a:lnTo>
                <a:lnTo>
                  <a:pt x="117" y="152"/>
                </a:lnTo>
                <a:lnTo>
                  <a:pt x="118" y="152"/>
                </a:lnTo>
                <a:lnTo>
                  <a:pt x="117" y="150"/>
                </a:lnTo>
                <a:lnTo>
                  <a:pt x="126" y="152"/>
                </a:lnTo>
                <a:lnTo>
                  <a:pt x="129" y="152"/>
                </a:lnTo>
                <a:lnTo>
                  <a:pt x="138" y="155"/>
                </a:lnTo>
                <a:lnTo>
                  <a:pt x="140" y="155"/>
                </a:lnTo>
                <a:lnTo>
                  <a:pt x="148" y="158"/>
                </a:lnTo>
                <a:lnTo>
                  <a:pt x="149" y="158"/>
                </a:lnTo>
                <a:lnTo>
                  <a:pt x="154" y="160"/>
                </a:lnTo>
                <a:lnTo>
                  <a:pt x="162" y="165"/>
                </a:lnTo>
                <a:lnTo>
                  <a:pt x="164" y="165"/>
                </a:lnTo>
                <a:lnTo>
                  <a:pt x="165" y="166"/>
                </a:lnTo>
                <a:lnTo>
                  <a:pt x="166" y="168"/>
                </a:lnTo>
                <a:lnTo>
                  <a:pt x="173" y="168"/>
                </a:lnTo>
                <a:lnTo>
                  <a:pt x="170" y="166"/>
                </a:lnTo>
                <a:lnTo>
                  <a:pt x="174" y="168"/>
                </a:lnTo>
                <a:lnTo>
                  <a:pt x="176" y="169"/>
                </a:lnTo>
                <a:lnTo>
                  <a:pt x="176" y="171"/>
                </a:lnTo>
                <a:lnTo>
                  <a:pt x="177" y="169"/>
                </a:lnTo>
                <a:lnTo>
                  <a:pt x="180" y="171"/>
                </a:lnTo>
                <a:lnTo>
                  <a:pt x="185" y="172"/>
                </a:lnTo>
                <a:lnTo>
                  <a:pt x="188" y="172"/>
                </a:lnTo>
                <a:lnTo>
                  <a:pt x="186" y="171"/>
                </a:lnTo>
                <a:lnTo>
                  <a:pt x="188" y="171"/>
                </a:lnTo>
                <a:lnTo>
                  <a:pt x="190" y="171"/>
                </a:lnTo>
                <a:lnTo>
                  <a:pt x="190" y="172"/>
                </a:lnTo>
                <a:lnTo>
                  <a:pt x="194" y="174"/>
                </a:lnTo>
                <a:lnTo>
                  <a:pt x="196" y="176"/>
                </a:lnTo>
                <a:lnTo>
                  <a:pt x="197" y="177"/>
                </a:lnTo>
                <a:lnTo>
                  <a:pt x="200" y="177"/>
                </a:lnTo>
                <a:lnTo>
                  <a:pt x="202" y="177"/>
                </a:lnTo>
                <a:lnTo>
                  <a:pt x="205" y="179"/>
                </a:lnTo>
                <a:lnTo>
                  <a:pt x="205" y="182"/>
                </a:lnTo>
                <a:lnTo>
                  <a:pt x="206" y="183"/>
                </a:lnTo>
                <a:lnTo>
                  <a:pt x="207" y="187"/>
                </a:lnTo>
                <a:lnTo>
                  <a:pt x="210" y="188"/>
                </a:lnTo>
                <a:lnTo>
                  <a:pt x="209" y="191"/>
                </a:lnTo>
                <a:lnTo>
                  <a:pt x="207" y="194"/>
                </a:lnTo>
                <a:lnTo>
                  <a:pt x="201" y="198"/>
                </a:lnTo>
                <a:lnTo>
                  <a:pt x="196" y="201"/>
                </a:lnTo>
                <a:lnTo>
                  <a:pt x="193" y="202"/>
                </a:lnTo>
                <a:lnTo>
                  <a:pt x="190" y="202"/>
                </a:lnTo>
                <a:lnTo>
                  <a:pt x="178" y="205"/>
                </a:lnTo>
                <a:lnTo>
                  <a:pt x="176" y="205"/>
                </a:lnTo>
                <a:lnTo>
                  <a:pt x="172" y="207"/>
                </a:lnTo>
                <a:lnTo>
                  <a:pt x="158" y="207"/>
                </a:lnTo>
                <a:lnTo>
                  <a:pt x="153" y="205"/>
                </a:lnTo>
                <a:lnTo>
                  <a:pt x="150" y="204"/>
                </a:lnTo>
                <a:lnTo>
                  <a:pt x="144" y="204"/>
                </a:lnTo>
                <a:lnTo>
                  <a:pt x="136" y="202"/>
                </a:lnTo>
                <a:lnTo>
                  <a:pt x="132" y="202"/>
                </a:lnTo>
                <a:lnTo>
                  <a:pt x="124" y="201"/>
                </a:lnTo>
                <a:lnTo>
                  <a:pt x="121" y="199"/>
                </a:lnTo>
                <a:lnTo>
                  <a:pt x="117" y="199"/>
                </a:lnTo>
                <a:lnTo>
                  <a:pt x="116" y="198"/>
                </a:lnTo>
                <a:lnTo>
                  <a:pt x="110" y="198"/>
                </a:lnTo>
                <a:lnTo>
                  <a:pt x="106" y="198"/>
                </a:lnTo>
                <a:lnTo>
                  <a:pt x="105" y="198"/>
                </a:lnTo>
                <a:lnTo>
                  <a:pt x="105" y="194"/>
                </a:lnTo>
                <a:lnTo>
                  <a:pt x="104" y="194"/>
                </a:lnTo>
                <a:lnTo>
                  <a:pt x="102" y="196"/>
                </a:lnTo>
                <a:lnTo>
                  <a:pt x="101" y="196"/>
                </a:lnTo>
                <a:lnTo>
                  <a:pt x="98" y="196"/>
                </a:lnTo>
                <a:lnTo>
                  <a:pt x="97" y="196"/>
                </a:lnTo>
                <a:lnTo>
                  <a:pt x="94" y="193"/>
                </a:lnTo>
                <a:lnTo>
                  <a:pt x="93" y="194"/>
                </a:lnTo>
                <a:lnTo>
                  <a:pt x="92" y="194"/>
                </a:lnTo>
                <a:lnTo>
                  <a:pt x="85" y="193"/>
                </a:lnTo>
                <a:lnTo>
                  <a:pt x="83" y="191"/>
                </a:lnTo>
                <a:lnTo>
                  <a:pt x="81" y="190"/>
                </a:lnTo>
                <a:lnTo>
                  <a:pt x="76" y="188"/>
                </a:lnTo>
                <a:lnTo>
                  <a:pt x="71" y="188"/>
                </a:lnTo>
                <a:lnTo>
                  <a:pt x="69" y="190"/>
                </a:lnTo>
                <a:lnTo>
                  <a:pt x="73" y="190"/>
                </a:lnTo>
                <a:lnTo>
                  <a:pt x="75" y="191"/>
                </a:lnTo>
                <a:lnTo>
                  <a:pt x="76" y="193"/>
                </a:lnTo>
                <a:lnTo>
                  <a:pt x="80" y="196"/>
                </a:lnTo>
                <a:lnTo>
                  <a:pt x="79" y="196"/>
                </a:lnTo>
                <a:lnTo>
                  <a:pt x="88" y="199"/>
                </a:lnTo>
                <a:lnTo>
                  <a:pt x="93" y="201"/>
                </a:lnTo>
                <a:lnTo>
                  <a:pt x="93" y="202"/>
                </a:lnTo>
                <a:lnTo>
                  <a:pt x="97" y="204"/>
                </a:lnTo>
                <a:lnTo>
                  <a:pt x="100" y="204"/>
                </a:lnTo>
                <a:lnTo>
                  <a:pt x="101" y="205"/>
                </a:lnTo>
                <a:lnTo>
                  <a:pt x="105" y="205"/>
                </a:lnTo>
                <a:lnTo>
                  <a:pt x="106" y="207"/>
                </a:lnTo>
                <a:lnTo>
                  <a:pt x="109" y="209"/>
                </a:lnTo>
                <a:lnTo>
                  <a:pt x="110" y="210"/>
                </a:lnTo>
                <a:lnTo>
                  <a:pt x="112" y="212"/>
                </a:lnTo>
                <a:lnTo>
                  <a:pt x="110" y="215"/>
                </a:lnTo>
                <a:lnTo>
                  <a:pt x="110" y="218"/>
                </a:lnTo>
                <a:lnTo>
                  <a:pt x="106" y="218"/>
                </a:lnTo>
                <a:lnTo>
                  <a:pt x="105" y="220"/>
                </a:lnTo>
                <a:lnTo>
                  <a:pt x="110" y="224"/>
                </a:lnTo>
                <a:lnTo>
                  <a:pt x="109" y="227"/>
                </a:lnTo>
                <a:lnTo>
                  <a:pt x="113" y="227"/>
                </a:lnTo>
                <a:lnTo>
                  <a:pt x="112" y="231"/>
                </a:lnTo>
                <a:lnTo>
                  <a:pt x="113" y="234"/>
                </a:lnTo>
                <a:lnTo>
                  <a:pt x="110" y="235"/>
                </a:lnTo>
                <a:lnTo>
                  <a:pt x="109" y="235"/>
                </a:lnTo>
                <a:lnTo>
                  <a:pt x="113" y="235"/>
                </a:lnTo>
                <a:lnTo>
                  <a:pt x="114" y="237"/>
                </a:lnTo>
                <a:lnTo>
                  <a:pt x="120" y="238"/>
                </a:lnTo>
                <a:lnTo>
                  <a:pt x="122" y="238"/>
                </a:lnTo>
                <a:lnTo>
                  <a:pt x="124" y="237"/>
                </a:lnTo>
                <a:lnTo>
                  <a:pt x="126" y="238"/>
                </a:lnTo>
                <a:lnTo>
                  <a:pt x="129" y="240"/>
                </a:lnTo>
                <a:lnTo>
                  <a:pt x="130" y="240"/>
                </a:lnTo>
                <a:lnTo>
                  <a:pt x="133" y="242"/>
                </a:lnTo>
                <a:lnTo>
                  <a:pt x="133" y="243"/>
                </a:lnTo>
                <a:lnTo>
                  <a:pt x="138" y="243"/>
                </a:lnTo>
                <a:lnTo>
                  <a:pt x="146" y="246"/>
                </a:lnTo>
                <a:lnTo>
                  <a:pt x="149" y="246"/>
                </a:lnTo>
                <a:lnTo>
                  <a:pt x="153" y="248"/>
                </a:lnTo>
                <a:lnTo>
                  <a:pt x="154" y="246"/>
                </a:lnTo>
                <a:lnTo>
                  <a:pt x="158" y="245"/>
                </a:lnTo>
                <a:lnTo>
                  <a:pt x="164" y="246"/>
                </a:lnTo>
                <a:lnTo>
                  <a:pt x="162" y="245"/>
                </a:lnTo>
                <a:lnTo>
                  <a:pt x="160" y="238"/>
                </a:lnTo>
                <a:lnTo>
                  <a:pt x="158" y="235"/>
                </a:lnTo>
                <a:lnTo>
                  <a:pt x="149" y="237"/>
                </a:lnTo>
                <a:lnTo>
                  <a:pt x="145" y="235"/>
                </a:lnTo>
                <a:lnTo>
                  <a:pt x="142" y="232"/>
                </a:lnTo>
                <a:lnTo>
                  <a:pt x="140" y="231"/>
                </a:lnTo>
                <a:lnTo>
                  <a:pt x="138" y="229"/>
                </a:lnTo>
                <a:lnTo>
                  <a:pt x="137" y="227"/>
                </a:lnTo>
                <a:lnTo>
                  <a:pt x="140" y="227"/>
                </a:lnTo>
                <a:lnTo>
                  <a:pt x="142" y="226"/>
                </a:lnTo>
                <a:lnTo>
                  <a:pt x="144" y="223"/>
                </a:lnTo>
                <a:lnTo>
                  <a:pt x="146" y="223"/>
                </a:lnTo>
                <a:lnTo>
                  <a:pt x="152" y="224"/>
                </a:lnTo>
                <a:lnTo>
                  <a:pt x="156" y="226"/>
                </a:lnTo>
                <a:lnTo>
                  <a:pt x="157" y="227"/>
                </a:lnTo>
                <a:lnTo>
                  <a:pt x="161" y="229"/>
                </a:lnTo>
                <a:lnTo>
                  <a:pt x="165" y="229"/>
                </a:lnTo>
                <a:lnTo>
                  <a:pt x="161" y="231"/>
                </a:lnTo>
                <a:lnTo>
                  <a:pt x="162" y="234"/>
                </a:lnTo>
                <a:lnTo>
                  <a:pt x="164" y="231"/>
                </a:lnTo>
                <a:lnTo>
                  <a:pt x="168" y="229"/>
                </a:lnTo>
                <a:lnTo>
                  <a:pt x="170" y="231"/>
                </a:lnTo>
                <a:lnTo>
                  <a:pt x="174" y="231"/>
                </a:lnTo>
                <a:lnTo>
                  <a:pt x="180" y="232"/>
                </a:lnTo>
                <a:lnTo>
                  <a:pt x="185" y="234"/>
                </a:lnTo>
                <a:lnTo>
                  <a:pt x="189" y="234"/>
                </a:lnTo>
                <a:lnTo>
                  <a:pt x="189" y="232"/>
                </a:lnTo>
                <a:lnTo>
                  <a:pt x="197" y="234"/>
                </a:lnTo>
                <a:lnTo>
                  <a:pt x="198" y="234"/>
                </a:lnTo>
                <a:lnTo>
                  <a:pt x="204" y="235"/>
                </a:lnTo>
                <a:lnTo>
                  <a:pt x="201" y="232"/>
                </a:lnTo>
                <a:lnTo>
                  <a:pt x="197" y="227"/>
                </a:lnTo>
                <a:lnTo>
                  <a:pt x="194" y="226"/>
                </a:lnTo>
                <a:lnTo>
                  <a:pt x="192" y="223"/>
                </a:lnTo>
                <a:lnTo>
                  <a:pt x="188" y="220"/>
                </a:lnTo>
                <a:lnTo>
                  <a:pt x="188" y="216"/>
                </a:lnTo>
                <a:lnTo>
                  <a:pt x="188" y="215"/>
                </a:lnTo>
                <a:lnTo>
                  <a:pt x="190" y="215"/>
                </a:lnTo>
                <a:lnTo>
                  <a:pt x="194" y="213"/>
                </a:lnTo>
                <a:lnTo>
                  <a:pt x="197" y="212"/>
                </a:lnTo>
                <a:lnTo>
                  <a:pt x="200" y="210"/>
                </a:lnTo>
                <a:lnTo>
                  <a:pt x="202" y="209"/>
                </a:lnTo>
                <a:lnTo>
                  <a:pt x="205" y="209"/>
                </a:lnTo>
                <a:lnTo>
                  <a:pt x="211" y="207"/>
                </a:lnTo>
                <a:lnTo>
                  <a:pt x="214" y="205"/>
                </a:lnTo>
                <a:lnTo>
                  <a:pt x="217" y="204"/>
                </a:lnTo>
                <a:lnTo>
                  <a:pt x="221" y="201"/>
                </a:lnTo>
                <a:lnTo>
                  <a:pt x="222" y="201"/>
                </a:lnTo>
                <a:lnTo>
                  <a:pt x="225" y="199"/>
                </a:lnTo>
                <a:lnTo>
                  <a:pt x="230" y="201"/>
                </a:lnTo>
                <a:lnTo>
                  <a:pt x="237" y="201"/>
                </a:lnTo>
                <a:lnTo>
                  <a:pt x="239" y="202"/>
                </a:lnTo>
                <a:lnTo>
                  <a:pt x="243" y="204"/>
                </a:lnTo>
                <a:lnTo>
                  <a:pt x="243" y="205"/>
                </a:lnTo>
                <a:lnTo>
                  <a:pt x="241" y="207"/>
                </a:lnTo>
                <a:lnTo>
                  <a:pt x="245" y="205"/>
                </a:lnTo>
                <a:lnTo>
                  <a:pt x="247" y="205"/>
                </a:lnTo>
                <a:lnTo>
                  <a:pt x="249" y="207"/>
                </a:lnTo>
                <a:lnTo>
                  <a:pt x="250" y="209"/>
                </a:lnTo>
                <a:lnTo>
                  <a:pt x="253" y="210"/>
                </a:lnTo>
                <a:lnTo>
                  <a:pt x="254" y="205"/>
                </a:lnTo>
                <a:lnTo>
                  <a:pt x="251" y="204"/>
                </a:lnTo>
                <a:lnTo>
                  <a:pt x="254" y="201"/>
                </a:lnTo>
                <a:lnTo>
                  <a:pt x="257" y="198"/>
                </a:lnTo>
                <a:lnTo>
                  <a:pt x="258" y="196"/>
                </a:lnTo>
                <a:lnTo>
                  <a:pt x="257" y="194"/>
                </a:lnTo>
                <a:lnTo>
                  <a:pt x="258" y="193"/>
                </a:lnTo>
                <a:lnTo>
                  <a:pt x="258" y="191"/>
                </a:lnTo>
                <a:lnTo>
                  <a:pt x="255" y="188"/>
                </a:lnTo>
                <a:lnTo>
                  <a:pt x="253" y="188"/>
                </a:lnTo>
                <a:lnTo>
                  <a:pt x="250" y="188"/>
                </a:lnTo>
                <a:lnTo>
                  <a:pt x="249" y="187"/>
                </a:lnTo>
                <a:lnTo>
                  <a:pt x="247" y="185"/>
                </a:lnTo>
                <a:lnTo>
                  <a:pt x="247" y="183"/>
                </a:lnTo>
                <a:lnTo>
                  <a:pt x="251" y="177"/>
                </a:lnTo>
                <a:lnTo>
                  <a:pt x="251" y="176"/>
                </a:lnTo>
                <a:lnTo>
                  <a:pt x="253" y="172"/>
                </a:lnTo>
                <a:lnTo>
                  <a:pt x="253" y="171"/>
                </a:lnTo>
                <a:lnTo>
                  <a:pt x="253" y="166"/>
                </a:lnTo>
                <a:lnTo>
                  <a:pt x="239" y="161"/>
                </a:lnTo>
                <a:lnTo>
                  <a:pt x="239" y="160"/>
                </a:lnTo>
                <a:lnTo>
                  <a:pt x="250" y="163"/>
                </a:lnTo>
                <a:lnTo>
                  <a:pt x="253" y="163"/>
                </a:lnTo>
                <a:lnTo>
                  <a:pt x="255" y="163"/>
                </a:lnTo>
                <a:lnTo>
                  <a:pt x="263" y="163"/>
                </a:lnTo>
                <a:lnTo>
                  <a:pt x="269" y="163"/>
                </a:lnTo>
                <a:lnTo>
                  <a:pt x="277" y="165"/>
                </a:lnTo>
                <a:lnTo>
                  <a:pt x="279" y="165"/>
                </a:lnTo>
                <a:lnTo>
                  <a:pt x="279" y="168"/>
                </a:lnTo>
                <a:lnTo>
                  <a:pt x="281" y="168"/>
                </a:lnTo>
                <a:lnTo>
                  <a:pt x="283" y="169"/>
                </a:lnTo>
                <a:lnTo>
                  <a:pt x="286" y="169"/>
                </a:lnTo>
                <a:lnTo>
                  <a:pt x="287" y="171"/>
                </a:lnTo>
                <a:lnTo>
                  <a:pt x="287" y="174"/>
                </a:lnTo>
                <a:lnTo>
                  <a:pt x="290" y="176"/>
                </a:lnTo>
                <a:lnTo>
                  <a:pt x="275" y="177"/>
                </a:lnTo>
                <a:lnTo>
                  <a:pt x="271" y="177"/>
                </a:lnTo>
                <a:lnTo>
                  <a:pt x="270" y="179"/>
                </a:lnTo>
                <a:lnTo>
                  <a:pt x="267" y="180"/>
                </a:lnTo>
                <a:lnTo>
                  <a:pt x="265" y="180"/>
                </a:lnTo>
                <a:lnTo>
                  <a:pt x="265" y="183"/>
                </a:lnTo>
                <a:lnTo>
                  <a:pt x="266" y="185"/>
                </a:lnTo>
                <a:lnTo>
                  <a:pt x="269" y="185"/>
                </a:lnTo>
                <a:lnTo>
                  <a:pt x="275" y="188"/>
                </a:lnTo>
                <a:lnTo>
                  <a:pt x="277" y="190"/>
                </a:lnTo>
                <a:lnTo>
                  <a:pt x="279" y="193"/>
                </a:lnTo>
                <a:lnTo>
                  <a:pt x="282" y="194"/>
                </a:lnTo>
                <a:lnTo>
                  <a:pt x="285" y="194"/>
                </a:lnTo>
                <a:lnTo>
                  <a:pt x="287" y="193"/>
                </a:lnTo>
                <a:lnTo>
                  <a:pt x="289" y="194"/>
                </a:lnTo>
                <a:lnTo>
                  <a:pt x="290" y="196"/>
                </a:lnTo>
                <a:lnTo>
                  <a:pt x="291" y="194"/>
                </a:lnTo>
                <a:lnTo>
                  <a:pt x="297" y="193"/>
                </a:lnTo>
                <a:lnTo>
                  <a:pt x="299" y="193"/>
                </a:lnTo>
                <a:lnTo>
                  <a:pt x="305" y="191"/>
                </a:lnTo>
                <a:lnTo>
                  <a:pt x="306" y="190"/>
                </a:lnTo>
                <a:lnTo>
                  <a:pt x="306" y="187"/>
                </a:lnTo>
                <a:lnTo>
                  <a:pt x="306" y="185"/>
                </a:lnTo>
                <a:lnTo>
                  <a:pt x="309" y="182"/>
                </a:lnTo>
                <a:lnTo>
                  <a:pt x="310" y="180"/>
                </a:lnTo>
                <a:lnTo>
                  <a:pt x="313" y="180"/>
                </a:lnTo>
                <a:lnTo>
                  <a:pt x="315" y="179"/>
                </a:lnTo>
                <a:lnTo>
                  <a:pt x="320" y="179"/>
                </a:lnTo>
                <a:lnTo>
                  <a:pt x="323" y="179"/>
                </a:lnTo>
                <a:lnTo>
                  <a:pt x="322" y="177"/>
                </a:lnTo>
                <a:lnTo>
                  <a:pt x="322" y="176"/>
                </a:lnTo>
                <a:lnTo>
                  <a:pt x="324" y="176"/>
                </a:lnTo>
                <a:lnTo>
                  <a:pt x="344" y="169"/>
                </a:lnTo>
                <a:lnTo>
                  <a:pt x="352" y="166"/>
                </a:lnTo>
                <a:lnTo>
                  <a:pt x="354" y="166"/>
                </a:lnTo>
                <a:lnTo>
                  <a:pt x="355" y="166"/>
                </a:lnTo>
                <a:lnTo>
                  <a:pt x="366" y="165"/>
                </a:lnTo>
                <a:lnTo>
                  <a:pt x="364" y="165"/>
                </a:lnTo>
                <a:lnTo>
                  <a:pt x="372" y="163"/>
                </a:lnTo>
                <a:lnTo>
                  <a:pt x="374" y="165"/>
                </a:lnTo>
                <a:lnTo>
                  <a:pt x="375" y="166"/>
                </a:lnTo>
                <a:lnTo>
                  <a:pt x="376" y="166"/>
                </a:lnTo>
                <a:lnTo>
                  <a:pt x="379" y="165"/>
                </a:lnTo>
                <a:lnTo>
                  <a:pt x="380" y="165"/>
                </a:lnTo>
                <a:lnTo>
                  <a:pt x="379" y="163"/>
                </a:lnTo>
                <a:lnTo>
                  <a:pt x="379" y="161"/>
                </a:lnTo>
                <a:lnTo>
                  <a:pt x="376" y="161"/>
                </a:lnTo>
                <a:lnTo>
                  <a:pt x="383" y="160"/>
                </a:lnTo>
                <a:lnTo>
                  <a:pt x="384" y="160"/>
                </a:lnTo>
                <a:lnTo>
                  <a:pt x="383" y="160"/>
                </a:lnTo>
                <a:lnTo>
                  <a:pt x="384" y="161"/>
                </a:lnTo>
                <a:lnTo>
                  <a:pt x="386" y="161"/>
                </a:lnTo>
                <a:lnTo>
                  <a:pt x="390" y="161"/>
                </a:lnTo>
                <a:lnTo>
                  <a:pt x="390" y="160"/>
                </a:lnTo>
                <a:lnTo>
                  <a:pt x="388" y="158"/>
                </a:lnTo>
                <a:lnTo>
                  <a:pt x="390" y="158"/>
                </a:lnTo>
                <a:lnTo>
                  <a:pt x="391" y="158"/>
                </a:lnTo>
                <a:lnTo>
                  <a:pt x="391" y="157"/>
                </a:lnTo>
                <a:lnTo>
                  <a:pt x="398" y="155"/>
                </a:lnTo>
                <a:lnTo>
                  <a:pt x="402" y="155"/>
                </a:lnTo>
                <a:lnTo>
                  <a:pt x="403" y="155"/>
                </a:lnTo>
                <a:lnTo>
                  <a:pt x="408" y="155"/>
                </a:lnTo>
                <a:lnTo>
                  <a:pt x="410" y="155"/>
                </a:lnTo>
                <a:lnTo>
                  <a:pt x="406" y="155"/>
                </a:lnTo>
                <a:lnTo>
                  <a:pt x="399" y="157"/>
                </a:lnTo>
                <a:lnTo>
                  <a:pt x="396" y="157"/>
                </a:lnTo>
                <a:lnTo>
                  <a:pt x="396" y="158"/>
                </a:lnTo>
                <a:lnTo>
                  <a:pt x="398" y="158"/>
                </a:lnTo>
                <a:lnTo>
                  <a:pt x="398" y="157"/>
                </a:lnTo>
                <a:lnTo>
                  <a:pt x="399" y="157"/>
                </a:lnTo>
                <a:lnTo>
                  <a:pt x="402" y="158"/>
                </a:lnTo>
                <a:lnTo>
                  <a:pt x="400" y="160"/>
                </a:lnTo>
                <a:lnTo>
                  <a:pt x="399" y="161"/>
                </a:lnTo>
                <a:lnTo>
                  <a:pt x="399" y="163"/>
                </a:lnTo>
                <a:lnTo>
                  <a:pt x="400" y="163"/>
                </a:lnTo>
                <a:lnTo>
                  <a:pt x="400" y="166"/>
                </a:lnTo>
                <a:lnTo>
                  <a:pt x="403" y="169"/>
                </a:lnTo>
                <a:lnTo>
                  <a:pt x="406" y="168"/>
                </a:lnTo>
                <a:lnTo>
                  <a:pt x="407" y="168"/>
                </a:lnTo>
                <a:lnTo>
                  <a:pt x="408" y="169"/>
                </a:lnTo>
                <a:lnTo>
                  <a:pt x="411" y="169"/>
                </a:lnTo>
                <a:lnTo>
                  <a:pt x="414" y="169"/>
                </a:lnTo>
                <a:lnTo>
                  <a:pt x="415" y="166"/>
                </a:lnTo>
                <a:lnTo>
                  <a:pt x="416" y="165"/>
                </a:lnTo>
                <a:lnTo>
                  <a:pt x="422" y="163"/>
                </a:lnTo>
                <a:lnTo>
                  <a:pt x="426" y="163"/>
                </a:lnTo>
                <a:lnTo>
                  <a:pt x="432" y="161"/>
                </a:lnTo>
                <a:lnTo>
                  <a:pt x="436" y="161"/>
                </a:lnTo>
                <a:lnTo>
                  <a:pt x="441" y="161"/>
                </a:lnTo>
                <a:lnTo>
                  <a:pt x="445" y="161"/>
                </a:lnTo>
                <a:lnTo>
                  <a:pt x="447" y="163"/>
                </a:lnTo>
                <a:lnTo>
                  <a:pt x="451" y="163"/>
                </a:lnTo>
                <a:lnTo>
                  <a:pt x="456" y="160"/>
                </a:lnTo>
                <a:lnTo>
                  <a:pt x="460" y="158"/>
                </a:lnTo>
                <a:lnTo>
                  <a:pt x="463" y="157"/>
                </a:lnTo>
                <a:lnTo>
                  <a:pt x="473" y="155"/>
                </a:lnTo>
                <a:lnTo>
                  <a:pt x="476" y="155"/>
                </a:lnTo>
                <a:lnTo>
                  <a:pt x="483" y="160"/>
                </a:lnTo>
                <a:lnTo>
                  <a:pt x="480" y="160"/>
                </a:lnTo>
                <a:lnTo>
                  <a:pt x="479" y="161"/>
                </a:lnTo>
                <a:lnTo>
                  <a:pt x="477" y="163"/>
                </a:lnTo>
                <a:lnTo>
                  <a:pt x="477" y="165"/>
                </a:lnTo>
                <a:lnTo>
                  <a:pt x="480" y="166"/>
                </a:lnTo>
                <a:lnTo>
                  <a:pt x="484" y="166"/>
                </a:lnTo>
                <a:lnTo>
                  <a:pt x="487" y="166"/>
                </a:lnTo>
                <a:lnTo>
                  <a:pt x="491" y="165"/>
                </a:lnTo>
                <a:lnTo>
                  <a:pt x="489" y="163"/>
                </a:lnTo>
                <a:lnTo>
                  <a:pt x="488" y="161"/>
                </a:lnTo>
                <a:lnTo>
                  <a:pt x="489" y="160"/>
                </a:lnTo>
                <a:lnTo>
                  <a:pt x="497" y="160"/>
                </a:lnTo>
                <a:lnTo>
                  <a:pt x="503" y="157"/>
                </a:lnTo>
                <a:lnTo>
                  <a:pt x="505" y="152"/>
                </a:lnTo>
                <a:lnTo>
                  <a:pt x="504" y="152"/>
                </a:lnTo>
                <a:lnTo>
                  <a:pt x="504" y="154"/>
                </a:lnTo>
                <a:lnTo>
                  <a:pt x="501" y="149"/>
                </a:lnTo>
                <a:lnTo>
                  <a:pt x="497" y="147"/>
                </a:lnTo>
                <a:lnTo>
                  <a:pt x="496" y="144"/>
                </a:lnTo>
                <a:lnTo>
                  <a:pt x="501" y="143"/>
                </a:lnTo>
                <a:lnTo>
                  <a:pt x="503" y="141"/>
                </a:lnTo>
                <a:lnTo>
                  <a:pt x="503" y="139"/>
                </a:lnTo>
                <a:lnTo>
                  <a:pt x="504" y="139"/>
                </a:lnTo>
                <a:lnTo>
                  <a:pt x="508" y="139"/>
                </a:lnTo>
                <a:lnTo>
                  <a:pt x="512" y="141"/>
                </a:lnTo>
                <a:lnTo>
                  <a:pt x="513" y="141"/>
                </a:lnTo>
                <a:lnTo>
                  <a:pt x="528" y="141"/>
                </a:lnTo>
                <a:lnTo>
                  <a:pt x="532" y="141"/>
                </a:lnTo>
                <a:lnTo>
                  <a:pt x="537" y="143"/>
                </a:lnTo>
                <a:lnTo>
                  <a:pt x="540" y="143"/>
                </a:lnTo>
                <a:lnTo>
                  <a:pt x="548" y="144"/>
                </a:lnTo>
                <a:lnTo>
                  <a:pt x="553" y="146"/>
                </a:lnTo>
                <a:lnTo>
                  <a:pt x="561" y="149"/>
                </a:lnTo>
                <a:lnTo>
                  <a:pt x="565" y="149"/>
                </a:lnTo>
                <a:lnTo>
                  <a:pt x="572" y="152"/>
                </a:lnTo>
                <a:lnTo>
                  <a:pt x="576" y="152"/>
                </a:lnTo>
                <a:lnTo>
                  <a:pt x="577" y="152"/>
                </a:lnTo>
                <a:lnTo>
                  <a:pt x="576" y="152"/>
                </a:lnTo>
                <a:lnTo>
                  <a:pt x="574" y="154"/>
                </a:lnTo>
                <a:lnTo>
                  <a:pt x="582" y="155"/>
                </a:lnTo>
                <a:lnTo>
                  <a:pt x="589" y="157"/>
                </a:lnTo>
                <a:lnTo>
                  <a:pt x="593" y="157"/>
                </a:lnTo>
                <a:lnTo>
                  <a:pt x="597" y="158"/>
                </a:lnTo>
                <a:lnTo>
                  <a:pt x="606" y="163"/>
                </a:lnTo>
                <a:lnTo>
                  <a:pt x="612" y="165"/>
                </a:lnTo>
                <a:lnTo>
                  <a:pt x="614" y="166"/>
                </a:lnTo>
                <a:lnTo>
                  <a:pt x="613" y="168"/>
                </a:lnTo>
                <a:lnTo>
                  <a:pt x="616" y="169"/>
                </a:lnTo>
                <a:lnTo>
                  <a:pt x="618" y="168"/>
                </a:lnTo>
                <a:lnTo>
                  <a:pt x="620" y="166"/>
                </a:lnTo>
                <a:lnTo>
                  <a:pt x="622" y="163"/>
                </a:lnTo>
                <a:lnTo>
                  <a:pt x="625" y="160"/>
                </a:lnTo>
                <a:lnTo>
                  <a:pt x="628" y="157"/>
                </a:lnTo>
                <a:lnTo>
                  <a:pt x="626" y="157"/>
                </a:lnTo>
                <a:lnTo>
                  <a:pt x="626" y="155"/>
                </a:lnTo>
                <a:lnTo>
                  <a:pt x="622" y="157"/>
                </a:lnTo>
                <a:lnTo>
                  <a:pt x="618" y="155"/>
                </a:lnTo>
                <a:lnTo>
                  <a:pt x="616" y="152"/>
                </a:lnTo>
                <a:lnTo>
                  <a:pt x="614" y="150"/>
                </a:lnTo>
                <a:lnTo>
                  <a:pt x="612" y="149"/>
                </a:lnTo>
                <a:lnTo>
                  <a:pt x="613" y="146"/>
                </a:lnTo>
                <a:lnTo>
                  <a:pt x="612" y="146"/>
                </a:lnTo>
                <a:lnTo>
                  <a:pt x="609" y="146"/>
                </a:lnTo>
                <a:lnTo>
                  <a:pt x="606" y="144"/>
                </a:lnTo>
                <a:lnTo>
                  <a:pt x="600" y="143"/>
                </a:lnTo>
                <a:lnTo>
                  <a:pt x="596" y="144"/>
                </a:lnTo>
                <a:lnTo>
                  <a:pt x="596" y="146"/>
                </a:lnTo>
                <a:lnTo>
                  <a:pt x="594" y="144"/>
                </a:lnTo>
                <a:lnTo>
                  <a:pt x="593" y="139"/>
                </a:lnTo>
                <a:lnTo>
                  <a:pt x="594" y="136"/>
                </a:lnTo>
                <a:lnTo>
                  <a:pt x="596" y="138"/>
                </a:lnTo>
                <a:lnTo>
                  <a:pt x="598" y="138"/>
                </a:lnTo>
                <a:lnTo>
                  <a:pt x="601" y="135"/>
                </a:lnTo>
                <a:lnTo>
                  <a:pt x="600" y="135"/>
                </a:lnTo>
                <a:lnTo>
                  <a:pt x="598" y="132"/>
                </a:lnTo>
                <a:lnTo>
                  <a:pt x="601" y="130"/>
                </a:lnTo>
                <a:lnTo>
                  <a:pt x="601" y="125"/>
                </a:lnTo>
                <a:lnTo>
                  <a:pt x="602" y="124"/>
                </a:lnTo>
                <a:lnTo>
                  <a:pt x="600" y="122"/>
                </a:lnTo>
                <a:lnTo>
                  <a:pt x="597" y="122"/>
                </a:lnTo>
                <a:lnTo>
                  <a:pt x="594" y="124"/>
                </a:lnTo>
                <a:lnTo>
                  <a:pt x="590" y="124"/>
                </a:lnTo>
                <a:lnTo>
                  <a:pt x="589" y="122"/>
                </a:lnTo>
                <a:lnTo>
                  <a:pt x="590" y="121"/>
                </a:lnTo>
                <a:lnTo>
                  <a:pt x="596" y="119"/>
                </a:lnTo>
                <a:lnTo>
                  <a:pt x="597" y="119"/>
                </a:lnTo>
                <a:lnTo>
                  <a:pt x="597" y="117"/>
                </a:lnTo>
                <a:lnTo>
                  <a:pt x="596" y="116"/>
                </a:lnTo>
                <a:lnTo>
                  <a:pt x="593" y="119"/>
                </a:lnTo>
                <a:lnTo>
                  <a:pt x="592" y="117"/>
                </a:lnTo>
                <a:lnTo>
                  <a:pt x="593" y="114"/>
                </a:lnTo>
                <a:lnTo>
                  <a:pt x="601" y="113"/>
                </a:lnTo>
                <a:lnTo>
                  <a:pt x="605" y="111"/>
                </a:lnTo>
                <a:lnTo>
                  <a:pt x="612" y="108"/>
                </a:lnTo>
                <a:lnTo>
                  <a:pt x="617" y="105"/>
                </a:lnTo>
                <a:lnTo>
                  <a:pt x="617" y="103"/>
                </a:lnTo>
                <a:lnTo>
                  <a:pt x="620" y="99"/>
                </a:lnTo>
                <a:lnTo>
                  <a:pt x="621" y="97"/>
                </a:lnTo>
                <a:lnTo>
                  <a:pt x="622" y="94"/>
                </a:lnTo>
                <a:lnTo>
                  <a:pt x="624" y="91"/>
                </a:lnTo>
                <a:lnTo>
                  <a:pt x="626" y="89"/>
                </a:lnTo>
                <a:lnTo>
                  <a:pt x="629" y="88"/>
                </a:lnTo>
                <a:lnTo>
                  <a:pt x="630" y="86"/>
                </a:lnTo>
                <a:lnTo>
                  <a:pt x="632" y="84"/>
                </a:lnTo>
                <a:lnTo>
                  <a:pt x="638" y="84"/>
                </a:lnTo>
                <a:lnTo>
                  <a:pt x="637" y="84"/>
                </a:lnTo>
                <a:lnTo>
                  <a:pt x="640" y="86"/>
                </a:lnTo>
                <a:lnTo>
                  <a:pt x="648" y="86"/>
                </a:lnTo>
                <a:lnTo>
                  <a:pt x="653" y="86"/>
                </a:lnTo>
                <a:lnTo>
                  <a:pt x="665" y="86"/>
                </a:lnTo>
                <a:lnTo>
                  <a:pt x="669" y="86"/>
                </a:lnTo>
                <a:lnTo>
                  <a:pt x="679" y="88"/>
                </a:lnTo>
                <a:lnTo>
                  <a:pt x="681" y="88"/>
                </a:lnTo>
                <a:lnTo>
                  <a:pt x="679" y="89"/>
                </a:lnTo>
                <a:lnTo>
                  <a:pt x="681" y="89"/>
                </a:lnTo>
                <a:lnTo>
                  <a:pt x="679" y="92"/>
                </a:lnTo>
                <a:lnTo>
                  <a:pt x="681" y="94"/>
                </a:lnTo>
                <a:lnTo>
                  <a:pt x="681" y="95"/>
                </a:lnTo>
                <a:lnTo>
                  <a:pt x="681" y="97"/>
                </a:lnTo>
                <a:lnTo>
                  <a:pt x="679" y="99"/>
                </a:lnTo>
                <a:lnTo>
                  <a:pt x="677" y="102"/>
                </a:lnTo>
                <a:lnTo>
                  <a:pt x="675" y="103"/>
                </a:lnTo>
                <a:lnTo>
                  <a:pt x="675" y="105"/>
                </a:lnTo>
                <a:lnTo>
                  <a:pt x="673" y="106"/>
                </a:lnTo>
                <a:lnTo>
                  <a:pt x="673" y="108"/>
                </a:lnTo>
                <a:lnTo>
                  <a:pt x="667" y="108"/>
                </a:lnTo>
                <a:lnTo>
                  <a:pt x="667" y="110"/>
                </a:lnTo>
                <a:lnTo>
                  <a:pt x="671" y="113"/>
                </a:lnTo>
                <a:lnTo>
                  <a:pt x="674" y="114"/>
                </a:lnTo>
                <a:lnTo>
                  <a:pt x="679" y="116"/>
                </a:lnTo>
                <a:lnTo>
                  <a:pt x="679" y="117"/>
                </a:lnTo>
                <a:lnTo>
                  <a:pt x="682" y="122"/>
                </a:lnTo>
                <a:lnTo>
                  <a:pt x="682" y="124"/>
                </a:lnTo>
                <a:lnTo>
                  <a:pt x="681" y="125"/>
                </a:lnTo>
                <a:lnTo>
                  <a:pt x="682" y="128"/>
                </a:lnTo>
                <a:lnTo>
                  <a:pt x="682" y="130"/>
                </a:lnTo>
                <a:lnTo>
                  <a:pt x="678" y="132"/>
                </a:lnTo>
                <a:lnTo>
                  <a:pt x="677" y="132"/>
                </a:lnTo>
                <a:lnTo>
                  <a:pt x="678" y="133"/>
                </a:lnTo>
                <a:lnTo>
                  <a:pt x="679" y="135"/>
                </a:lnTo>
                <a:lnTo>
                  <a:pt x="679" y="136"/>
                </a:lnTo>
                <a:lnTo>
                  <a:pt x="679" y="138"/>
                </a:lnTo>
                <a:lnTo>
                  <a:pt x="679" y="139"/>
                </a:lnTo>
                <a:lnTo>
                  <a:pt x="681" y="139"/>
                </a:lnTo>
                <a:lnTo>
                  <a:pt x="681" y="143"/>
                </a:lnTo>
                <a:lnTo>
                  <a:pt x="679" y="144"/>
                </a:lnTo>
                <a:lnTo>
                  <a:pt x="681" y="146"/>
                </a:lnTo>
                <a:lnTo>
                  <a:pt x="679" y="147"/>
                </a:lnTo>
                <a:lnTo>
                  <a:pt x="679" y="149"/>
                </a:lnTo>
                <a:lnTo>
                  <a:pt x="679" y="150"/>
                </a:lnTo>
                <a:lnTo>
                  <a:pt x="678" y="152"/>
                </a:lnTo>
                <a:lnTo>
                  <a:pt x="678" y="155"/>
                </a:lnTo>
                <a:lnTo>
                  <a:pt x="683" y="158"/>
                </a:lnTo>
                <a:lnTo>
                  <a:pt x="693" y="161"/>
                </a:lnTo>
                <a:lnTo>
                  <a:pt x="693" y="165"/>
                </a:lnTo>
                <a:lnTo>
                  <a:pt x="689" y="168"/>
                </a:lnTo>
                <a:lnTo>
                  <a:pt x="687" y="169"/>
                </a:lnTo>
                <a:lnTo>
                  <a:pt x="687" y="171"/>
                </a:lnTo>
                <a:lnTo>
                  <a:pt x="687" y="176"/>
                </a:lnTo>
                <a:lnTo>
                  <a:pt x="686" y="177"/>
                </a:lnTo>
                <a:lnTo>
                  <a:pt x="687" y="177"/>
                </a:lnTo>
                <a:lnTo>
                  <a:pt x="685" y="179"/>
                </a:lnTo>
                <a:lnTo>
                  <a:pt x="681" y="180"/>
                </a:lnTo>
                <a:lnTo>
                  <a:pt x="679" y="182"/>
                </a:lnTo>
                <a:lnTo>
                  <a:pt x="678" y="183"/>
                </a:lnTo>
                <a:lnTo>
                  <a:pt x="677" y="185"/>
                </a:lnTo>
                <a:lnTo>
                  <a:pt x="674" y="185"/>
                </a:lnTo>
                <a:lnTo>
                  <a:pt x="673" y="188"/>
                </a:lnTo>
                <a:lnTo>
                  <a:pt x="667" y="188"/>
                </a:lnTo>
                <a:lnTo>
                  <a:pt x="662" y="187"/>
                </a:lnTo>
                <a:lnTo>
                  <a:pt x="661" y="188"/>
                </a:lnTo>
                <a:lnTo>
                  <a:pt x="663" y="190"/>
                </a:lnTo>
                <a:lnTo>
                  <a:pt x="665" y="188"/>
                </a:lnTo>
                <a:lnTo>
                  <a:pt x="670" y="188"/>
                </a:lnTo>
                <a:lnTo>
                  <a:pt x="671" y="190"/>
                </a:lnTo>
                <a:lnTo>
                  <a:pt x="670" y="191"/>
                </a:lnTo>
                <a:lnTo>
                  <a:pt x="666" y="191"/>
                </a:lnTo>
                <a:lnTo>
                  <a:pt x="663" y="191"/>
                </a:lnTo>
                <a:lnTo>
                  <a:pt x="662" y="191"/>
                </a:lnTo>
                <a:lnTo>
                  <a:pt x="661" y="193"/>
                </a:lnTo>
                <a:lnTo>
                  <a:pt x="657" y="193"/>
                </a:lnTo>
                <a:lnTo>
                  <a:pt x="656" y="193"/>
                </a:lnTo>
                <a:lnTo>
                  <a:pt x="653" y="194"/>
                </a:lnTo>
                <a:lnTo>
                  <a:pt x="650" y="194"/>
                </a:lnTo>
                <a:lnTo>
                  <a:pt x="649" y="196"/>
                </a:lnTo>
                <a:lnTo>
                  <a:pt x="645" y="196"/>
                </a:lnTo>
                <a:lnTo>
                  <a:pt x="644" y="194"/>
                </a:lnTo>
                <a:lnTo>
                  <a:pt x="641" y="193"/>
                </a:lnTo>
                <a:lnTo>
                  <a:pt x="638" y="194"/>
                </a:lnTo>
                <a:lnTo>
                  <a:pt x="637" y="194"/>
                </a:lnTo>
                <a:lnTo>
                  <a:pt x="638" y="196"/>
                </a:lnTo>
                <a:lnTo>
                  <a:pt x="641" y="196"/>
                </a:lnTo>
                <a:lnTo>
                  <a:pt x="642" y="199"/>
                </a:lnTo>
                <a:lnTo>
                  <a:pt x="641" y="199"/>
                </a:lnTo>
                <a:lnTo>
                  <a:pt x="641" y="201"/>
                </a:lnTo>
                <a:lnTo>
                  <a:pt x="642" y="201"/>
                </a:lnTo>
                <a:lnTo>
                  <a:pt x="649" y="202"/>
                </a:lnTo>
                <a:lnTo>
                  <a:pt x="652" y="202"/>
                </a:lnTo>
                <a:lnTo>
                  <a:pt x="656" y="201"/>
                </a:lnTo>
                <a:lnTo>
                  <a:pt x="661" y="202"/>
                </a:lnTo>
                <a:lnTo>
                  <a:pt x="671" y="204"/>
                </a:lnTo>
                <a:lnTo>
                  <a:pt x="675" y="204"/>
                </a:lnTo>
                <a:lnTo>
                  <a:pt x="677" y="201"/>
                </a:lnTo>
                <a:lnTo>
                  <a:pt x="675" y="199"/>
                </a:lnTo>
                <a:lnTo>
                  <a:pt x="677" y="198"/>
                </a:lnTo>
                <a:lnTo>
                  <a:pt x="683" y="196"/>
                </a:lnTo>
                <a:lnTo>
                  <a:pt x="686" y="194"/>
                </a:lnTo>
                <a:lnTo>
                  <a:pt x="691" y="194"/>
                </a:lnTo>
                <a:lnTo>
                  <a:pt x="694" y="193"/>
                </a:lnTo>
                <a:lnTo>
                  <a:pt x="698" y="190"/>
                </a:lnTo>
                <a:lnTo>
                  <a:pt x="699" y="187"/>
                </a:lnTo>
                <a:lnTo>
                  <a:pt x="699" y="185"/>
                </a:lnTo>
                <a:lnTo>
                  <a:pt x="699" y="183"/>
                </a:lnTo>
                <a:lnTo>
                  <a:pt x="707" y="180"/>
                </a:lnTo>
                <a:lnTo>
                  <a:pt x="711" y="179"/>
                </a:lnTo>
                <a:lnTo>
                  <a:pt x="713" y="176"/>
                </a:lnTo>
                <a:lnTo>
                  <a:pt x="713" y="172"/>
                </a:lnTo>
                <a:lnTo>
                  <a:pt x="711" y="171"/>
                </a:lnTo>
                <a:lnTo>
                  <a:pt x="710" y="171"/>
                </a:lnTo>
                <a:lnTo>
                  <a:pt x="710" y="169"/>
                </a:lnTo>
                <a:lnTo>
                  <a:pt x="709" y="168"/>
                </a:lnTo>
                <a:lnTo>
                  <a:pt x="707" y="168"/>
                </a:lnTo>
                <a:lnTo>
                  <a:pt x="706" y="166"/>
                </a:lnTo>
                <a:lnTo>
                  <a:pt x="705" y="165"/>
                </a:lnTo>
                <a:lnTo>
                  <a:pt x="706" y="165"/>
                </a:lnTo>
                <a:lnTo>
                  <a:pt x="707" y="163"/>
                </a:lnTo>
                <a:lnTo>
                  <a:pt x="707" y="161"/>
                </a:lnTo>
                <a:lnTo>
                  <a:pt x="707" y="160"/>
                </a:lnTo>
                <a:lnTo>
                  <a:pt x="710" y="160"/>
                </a:lnTo>
                <a:lnTo>
                  <a:pt x="715" y="158"/>
                </a:lnTo>
                <a:lnTo>
                  <a:pt x="719" y="157"/>
                </a:lnTo>
                <a:lnTo>
                  <a:pt x="729" y="157"/>
                </a:lnTo>
                <a:lnTo>
                  <a:pt x="733" y="155"/>
                </a:lnTo>
                <a:lnTo>
                  <a:pt x="741" y="155"/>
                </a:lnTo>
                <a:lnTo>
                  <a:pt x="742" y="157"/>
                </a:lnTo>
                <a:lnTo>
                  <a:pt x="742" y="158"/>
                </a:lnTo>
                <a:lnTo>
                  <a:pt x="742" y="160"/>
                </a:lnTo>
                <a:lnTo>
                  <a:pt x="745" y="160"/>
                </a:lnTo>
                <a:lnTo>
                  <a:pt x="746" y="161"/>
                </a:lnTo>
                <a:lnTo>
                  <a:pt x="749" y="161"/>
                </a:lnTo>
                <a:lnTo>
                  <a:pt x="751" y="163"/>
                </a:lnTo>
                <a:lnTo>
                  <a:pt x="751" y="165"/>
                </a:lnTo>
                <a:lnTo>
                  <a:pt x="751" y="166"/>
                </a:lnTo>
                <a:lnTo>
                  <a:pt x="750" y="166"/>
                </a:lnTo>
                <a:lnTo>
                  <a:pt x="750" y="168"/>
                </a:lnTo>
                <a:lnTo>
                  <a:pt x="750" y="169"/>
                </a:lnTo>
                <a:lnTo>
                  <a:pt x="751" y="169"/>
                </a:lnTo>
                <a:lnTo>
                  <a:pt x="753" y="169"/>
                </a:lnTo>
                <a:lnTo>
                  <a:pt x="750" y="171"/>
                </a:lnTo>
                <a:lnTo>
                  <a:pt x="750" y="172"/>
                </a:lnTo>
                <a:lnTo>
                  <a:pt x="750" y="174"/>
                </a:lnTo>
                <a:lnTo>
                  <a:pt x="750" y="176"/>
                </a:lnTo>
                <a:lnTo>
                  <a:pt x="749" y="176"/>
                </a:lnTo>
                <a:lnTo>
                  <a:pt x="749" y="177"/>
                </a:lnTo>
                <a:lnTo>
                  <a:pt x="755" y="179"/>
                </a:lnTo>
                <a:lnTo>
                  <a:pt x="757" y="180"/>
                </a:lnTo>
                <a:lnTo>
                  <a:pt x="763" y="180"/>
                </a:lnTo>
                <a:lnTo>
                  <a:pt x="767" y="182"/>
                </a:lnTo>
                <a:lnTo>
                  <a:pt x="774" y="180"/>
                </a:lnTo>
                <a:lnTo>
                  <a:pt x="775" y="180"/>
                </a:lnTo>
                <a:lnTo>
                  <a:pt x="769" y="179"/>
                </a:lnTo>
                <a:lnTo>
                  <a:pt x="765" y="179"/>
                </a:lnTo>
                <a:lnTo>
                  <a:pt x="759" y="177"/>
                </a:lnTo>
                <a:lnTo>
                  <a:pt x="755" y="177"/>
                </a:lnTo>
                <a:lnTo>
                  <a:pt x="754" y="177"/>
                </a:lnTo>
                <a:lnTo>
                  <a:pt x="754" y="174"/>
                </a:lnTo>
                <a:lnTo>
                  <a:pt x="754" y="171"/>
                </a:lnTo>
                <a:lnTo>
                  <a:pt x="755" y="169"/>
                </a:lnTo>
                <a:lnTo>
                  <a:pt x="758" y="169"/>
                </a:lnTo>
                <a:lnTo>
                  <a:pt x="762" y="169"/>
                </a:lnTo>
                <a:lnTo>
                  <a:pt x="763" y="168"/>
                </a:lnTo>
                <a:lnTo>
                  <a:pt x="763" y="166"/>
                </a:lnTo>
                <a:lnTo>
                  <a:pt x="762" y="166"/>
                </a:lnTo>
                <a:lnTo>
                  <a:pt x="758" y="161"/>
                </a:lnTo>
                <a:lnTo>
                  <a:pt x="758" y="160"/>
                </a:lnTo>
                <a:lnTo>
                  <a:pt x="758" y="158"/>
                </a:lnTo>
                <a:lnTo>
                  <a:pt x="757" y="157"/>
                </a:lnTo>
                <a:lnTo>
                  <a:pt x="751" y="157"/>
                </a:lnTo>
                <a:lnTo>
                  <a:pt x="743" y="154"/>
                </a:lnTo>
                <a:lnTo>
                  <a:pt x="741" y="154"/>
                </a:lnTo>
                <a:lnTo>
                  <a:pt x="731" y="150"/>
                </a:lnTo>
                <a:lnTo>
                  <a:pt x="726" y="150"/>
                </a:lnTo>
                <a:lnTo>
                  <a:pt x="719" y="152"/>
                </a:lnTo>
                <a:lnTo>
                  <a:pt x="718" y="154"/>
                </a:lnTo>
                <a:lnTo>
                  <a:pt x="714" y="154"/>
                </a:lnTo>
                <a:lnTo>
                  <a:pt x="710" y="152"/>
                </a:lnTo>
                <a:lnTo>
                  <a:pt x="707" y="152"/>
                </a:lnTo>
                <a:lnTo>
                  <a:pt x="703" y="154"/>
                </a:lnTo>
                <a:lnTo>
                  <a:pt x="699" y="154"/>
                </a:lnTo>
                <a:lnTo>
                  <a:pt x="698" y="150"/>
                </a:lnTo>
                <a:lnTo>
                  <a:pt x="699" y="149"/>
                </a:lnTo>
                <a:lnTo>
                  <a:pt x="699" y="146"/>
                </a:lnTo>
                <a:lnTo>
                  <a:pt x="698" y="144"/>
                </a:lnTo>
                <a:lnTo>
                  <a:pt x="694" y="141"/>
                </a:lnTo>
                <a:lnTo>
                  <a:pt x="695" y="139"/>
                </a:lnTo>
                <a:lnTo>
                  <a:pt x="695" y="138"/>
                </a:lnTo>
                <a:lnTo>
                  <a:pt x="698" y="136"/>
                </a:lnTo>
                <a:lnTo>
                  <a:pt x="698" y="135"/>
                </a:lnTo>
                <a:lnTo>
                  <a:pt x="698" y="133"/>
                </a:lnTo>
                <a:lnTo>
                  <a:pt x="702" y="132"/>
                </a:lnTo>
                <a:lnTo>
                  <a:pt x="702" y="130"/>
                </a:lnTo>
                <a:lnTo>
                  <a:pt x="705" y="128"/>
                </a:lnTo>
                <a:lnTo>
                  <a:pt x="706" y="125"/>
                </a:lnTo>
                <a:lnTo>
                  <a:pt x="703" y="122"/>
                </a:lnTo>
                <a:lnTo>
                  <a:pt x="699" y="121"/>
                </a:lnTo>
                <a:lnTo>
                  <a:pt x="698" y="117"/>
                </a:lnTo>
                <a:lnTo>
                  <a:pt x="695" y="114"/>
                </a:lnTo>
                <a:lnTo>
                  <a:pt x="691" y="113"/>
                </a:lnTo>
                <a:lnTo>
                  <a:pt x="686" y="110"/>
                </a:lnTo>
                <a:lnTo>
                  <a:pt x="690" y="108"/>
                </a:lnTo>
                <a:lnTo>
                  <a:pt x="691" y="106"/>
                </a:lnTo>
                <a:lnTo>
                  <a:pt x="691" y="105"/>
                </a:lnTo>
                <a:lnTo>
                  <a:pt x="699" y="102"/>
                </a:lnTo>
                <a:lnTo>
                  <a:pt x="705" y="102"/>
                </a:lnTo>
                <a:lnTo>
                  <a:pt x="714" y="99"/>
                </a:lnTo>
                <a:lnTo>
                  <a:pt x="715" y="97"/>
                </a:lnTo>
                <a:lnTo>
                  <a:pt x="715" y="92"/>
                </a:lnTo>
                <a:lnTo>
                  <a:pt x="714" y="89"/>
                </a:lnTo>
                <a:lnTo>
                  <a:pt x="713" y="88"/>
                </a:lnTo>
                <a:lnTo>
                  <a:pt x="717" y="86"/>
                </a:lnTo>
                <a:lnTo>
                  <a:pt x="718" y="88"/>
                </a:lnTo>
                <a:lnTo>
                  <a:pt x="722" y="89"/>
                </a:lnTo>
                <a:lnTo>
                  <a:pt x="722" y="91"/>
                </a:lnTo>
                <a:lnTo>
                  <a:pt x="725" y="92"/>
                </a:lnTo>
                <a:lnTo>
                  <a:pt x="723" y="92"/>
                </a:lnTo>
                <a:lnTo>
                  <a:pt x="723" y="94"/>
                </a:lnTo>
                <a:lnTo>
                  <a:pt x="726" y="97"/>
                </a:lnTo>
                <a:lnTo>
                  <a:pt x="722" y="100"/>
                </a:lnTo>
                <a:lnTo>
                  <a:pt x="719" y="102"/>
                </a:lnTo>
                <a:lnTo>
                  <a:pt x="722" y="102"/>
                </a:lnTo>
                <a:lnTo>
                  <a:pt x="719" y="105"/>
                </a:lnTo>
                <a:lnTo>
                  <a:pt x="721" y="106"/>
                </a:lnTo>
                <a:lnTo>
                  <a:pt x="723" y="108"/>
                </a:lnTo>
                <a:lnTo>
                  <a:pt x="723" y="110"/>
                </a:lnTo>
                <a:lnTo>
                  <a:pt x="723" y="111"/>
                </a:lnTo>
                <a:lnTo>
                  <a:pt x="719" y="111"/>
                </a:lnTo>
                <a:lnTo>
                  <a:pt x="722" y="113"/>
                </a:lnTo>
                <a:lnTo>
                  <a:pt x="725" y="114"/>
                </a:lnTo>
                <a:lnTo>
                  <a:pt x="733" y="114"/>
                </a:lnTo>
                <a:lnTo>
                  <a:pt x="742" y="116"/>
                </a:lnTo>
                <a:lnTo>
                  <a:pt x="745" y="116"/>
                </a:lnTo>
                <a:lnTo>
                  <a:pt x="755" y="116"/>
                </a:lnTo>
                <a:lnTo>
                  <a:pt x="758" y="117"/>
                </a:lnTo>
                <a:lnTo>
                  <a:pt x="758" y="119"/>
                </a:lnTo>
                <a:lnTo>
                  <a:pt x="761" y="119"/>
                </a:lnTo>
                <a:lnTo>
                  <a:pt x="763" y="121"/>
                </a:lnTo>
                <a:lnTo>
                  <a:pt x="767" y="121"/>
                </a:lnTo>
                <a:lnTo>
                  <a:pt x="767" y="119"/>
                </a:lnTo>
                <a:lnTo>
                  <a:pt x="765" y="117"/>
                </a:lnTo>
                <a:lnTo>
                  <a:pt x="763" y="114"/>
                </a:lnTo>
                <a:lnTo>
                  <a:pt x="761" y="114"/>
                </a:lnTo>
                <a:lnTo>
                  <a:pt x="759" y="114"/>
                </a:lnTo>
                <a:lnTo>
                  <a:pt x="761" y="113"/>
                </a:lnTo>
                <a:lnTo>
                  <a:pt x="758" y="113"/>
                </a:lnTo>
                <a:lnTo>
                  <a:pt x="754" y="114"/>
                </a:lnTo>
                <a:lnTo>
                  <a:pt x="753" y="113"/>
                </a:lnTo>
                <a:lnTo>
                  <a:pt x="751" y="113"/>
                </a:lnTo>
                <a:lnTo>
                  <a:pt x="749" y="111"/>
                </a:lnTo>
                <a:lnTo>
                  <a:pt x="745" y="111"/>
                </a:lnTo>
                <a:lnTo>
                  <a:pt x="738" y="110"/>
                </a:lnTo>
                <a:lnTo>
                  <a:pt x="737" y="110"/>
                </a:lnTo>
                <a:lnTo>
                  <a:pt x="735" y="108"/>
                </a:lnTo>
                <a:lnTo>
                  <a:pt x="734" y="106"/>
                </a:lnTo>
                <a:lnTo>
                  <a:pt x="733" y="105"/>
                </a:lnTo>
                <a:lnTo>
                  <a:pt x="731" y="103"/>
                </a:lnTo>
                <a:lnTo>
                  <a:pt x="734" y="102"/>
                </a:lnTo>
                <a:lnTo>
                  <a:pt x="737" y="102"/>
                </a:lnTo>
                <a:lnTo>
                  <a:pt x="739" y="103"/>
                </a:lnTo>
                <a:lnTo>
                  <a:pt x="743" y="105"/>
                </a:lnTo>
                <a:lnTo>
                  <a:pt x="743" y="106"/>
                </a:lnTo>
                <a:lnTo>
                  <a:pt x="750" y="106"/>
                </a:lnTo>
                <a:lnTo>
                  <a:pt x="754" y="105"/>
                </a:lnTo>
                <a:lnTo>
                  <a:pt x="759" y="105"/>
                </a:lnTo>
                <a:lnTo>
                  <a:pt x="762" y="103"/>
                </a:lnTo>
                <a:lnTo>
                  <a:pt x="763" y="102"/>
                </a:lnTo>
                <a:lnTo>
                  <a:pt x="759" y="100"/>
                </a:lnTo>
                <a:lnTo>
                  <a:pt x="751" y="100"/>
                </a:lnTo>
                <a:lnTo>
                  <a:pt x="753" y="99"/>
                </a:lnTo>
                <a:lnTo>
                  <a:pt x="759" y="97"/>
                </a:lnTo>
                <a:lnTo>
                  <a:pt x="763" y="95"/>
                </a:lnTo>
                <a:lnTo>
                  <a:pt x="767" y="95"/>
                </a:lnTo>
                <a:lnTo>
                  <a:pt x="782" y="95"/>
                </a:lnTo>
                <a:lnTo>
                  <a:pt x="788" y="97"/>
                </a:lnTo>
                <a:lnTo>
                  <a:pt x="791" y="97"/>
                </a:lnTo>
                <a:lnTo>
                  <a:pt x="798" y="100"/>
                </a:lnTo>
                <a:lnTo>
                  <a:pt x="804" y="100"/>
                </a:lnTo>
                <a:lnTo>
                  <a:pt x="804" y="102"/>
                </a:lnTo>
                <a:lnTo>
                  <a:pt x="806" y="102"/>
                </a:lnTo>
                <a:lnTo>
                  <a:pt x="808" y="103"/>
                </a:lnTo>
                <a:lnTo>
                  <a:pt x="811" y="105"/>
                </a:lnTo>
                <a:lnTo>
                  <a:pt x="815" y="106"/>
                </a:lnTo>
                <a:lnTo>
                  <a:pt x="819" y="106"/>
                </a:lnTo>
                <a:lnTo>
                  <a:pt x="827" y="106"/>
                </a:lnTo>
                <a:lnTo>
                  <a:pt x="835" y="106"/>
                </a:lnTo>
                <a:lnTo>
                  <a:pt x="842" y="108"/>
                </a:lnTo>
                <a:lnTo>
                  <a:pt x="840" y="110"/>
                </a:lnTo>
                <a:lnTo>
                  <a:pt x="839" y="110"/>
                </a:lnTo>
                <a:lnTo>
                  <a:pt x="838" y="111"/>
                </a:lnTo>
                <a:lnTo>
                  <a:pt x="836" y="113"/>
                </a:lnTo>
                <a:lnTo>
                  <a:pt x="828" y="114"/>
                </a:lnTo>
                <a:lnTo>
                  <a:pt x="826" y="116"/>
                </a:lnTo>
                <a:lnTo>
                  <a:pt x="827" y="117"/>
                </a:lnTo>
                <a:lnTo>
                  <a:pt x="827" y="119"/>
                </a:lnTo>
                <a:lnTo>
                  <a:pt x="826" y="121"/>
                </a:lnTo>
                <a:lnTo>
                  <a:pt x="827" y="124"/>
                </a:lnTo>
                <a:lnTo>
                  <a:pt x="826" y="127"/>
                </a:lnTo>
                <a:lnTo>
                  <a:pt x="826" y="132"/>
                </a:lnTo>
                <a:lnTo>
                  <a:pt x="826" y="133"/>
                </a:lnTo>
                <a:lnTo>
                  <a:pt x="828" y="135"/>
                </a:lnTo>
                <a:lnTo>
                  <a:pt x="834" y="135"/>
                </a:lnTo>
                <a:lnTo>
                  <a:pt x="840" y="136"/>
                </a:lnTo>
                <a:lnTo>
                  <a:pt x="842" y="135"/>
                </a:lnTo>
                <a:lnTo>
                  <a:pt x="839" y="133"/>
                </a:lnTo>
                <a:lnTo>
                  <a:pt x="839" y="132"/>
                </a:lnTo>
                <a:lnTo>
                  <a:pt x="842" y="132"/>
                </a:lnTo>
                <a:lnTo>
                  <a:pt x="844" y="132"/>
                </a:lnTo>
                <a:lnTo>
                  <a:pt x="847" y="130"/>
                </a:lnTo>
                <a:lnTo>
                  <a:pt x="848" y="128"/>
                </a:lnTo>
                <a:lnTo>
                  <a:pt x="848" y="127"/>
                </a:lnTo>
                <a:lnTo>
                  <a:pt x="848" y="125"/>
                </a:lnTo>
                <a:lnTo>
                  <a:pt x="847" y="124"/>
                </a:lnTo>
                <a:lnTo>
                  <a:pt x="846" y="121"/>
                </a:lnTo>
                <a:lnTo>
                  <a:pt x="842" y="117"/>
                </a:lnTo>
                <a:lnTo>
                  <a:pt x="842" y="116"/>
                </a:lnTo>
                <a:lnTo>
                  <a:pt x="840" y="114"/>
                </a:lnTo>
                <a:lnTo>
                  <a:pt x="843" y="113"/>
                </a:lnTo>
                <a:lnTo>
                  <a:pt x="843" y="111"/>
                </a:lnTo>
                <a:lnTo>
                  <a:pt x="846" y="111"/>
                </a:lnTo>
                <a:lnTo>
                  <a:pt x="847" y="108"/>
                </a:lnTo>
                <a:lnTo>
                  <a:pt x="844" y="106"/>
                </a:lnTo>
                <a:lnTo>
                  <a:pt x="844" y="105"/>
                </a:lnTo>
                <a:lnTo>
                  <a:pt x="843" y="105"/>
                </a:lnTo>
                <a:lnTo>
                  <a:pt x="840" y="105"/>
                </a:lnTo>
                <a:lnTo>
                  <a:pt x="835" y="103"/>
                </a:lnTo>
                <a:lnTo>
                  <a:pt x="832" y="103"/>
                </a:lnTo>
                <a:lnTo>
                  <a:pt x="831" y="102"/>
                </a:lnTo>
                <a:lnTo>
                  <a:pt x="828" y="100"/>
                </a:lnTo>
                <a:lnTo>
                  <a:pt x="826" y="100"/>
                </a:lnTo>
                <a:lnTo>
                  <a:pt x="827" y="100"/>
                </a:lnTo>
                <a:lnTo>
                  <a:pt x="828" y="99"/>
                </a:lnTo>
                <a:lnTo>
                  <a:pt x="827" y="97"/>
                </a:lnTo>
                <a:lnTo>
                  <a:pt x="824" y="97"/>
                </a:lnTo>
                <a:lnTo>
                  <a:pt x="820" y="95"/>
                </a:lnTo>
                <a:lnTo>
                  <a:pt x="814" y="95"/>
                </a:lnTo>
                <a:lnTo>
                  <a:pt x="810" y="95"/>
                </a:lnTo>
                <a:lnTo>
                  <a:pt x="806" y="94"/>
                </a:lnTo>
                <a:lnTo>
                  <a:pt x="804" y="92"/>
                </a:lnTo>
                <a:lnTo>
                  <a:pt x="804" y="91"/>
                </a:lnTo>
                <a:lnTo>
                  <a:pt x="803" y="91"/>
                </a:lnTo>
                <a:lnTo>
                  <a:pt x="803" y="89"/>
                </a:lnTo>
                <a:lnTo>
                  <a:pt x="804" y="88"/>
                </a:lnTo>
                <a:lnTo>
                  <a:pt x="806" y="86"/>
                </a:lnTo>
                <a:lnTo>
                  <a:pt x="807" y="86"/>
                </a:lnTo>
                <a:lnTo>
                  <a:pt x="806" y="84"/>
                </a:lnTo>
                <a:lnTo>
                  <a:pt x="804" y="83"/>
                </a:lnTo>
                <a:lnTo>
                  <a:pt x="803" y="83"/>
                </a:lnTo>
                <a:lnTo>
                  <a:pt x="802" y="83"/>
                </a:lnTo>
                <a:lnTo>
                  <a:pt x="802" y="81"/>
                </a:lnTo>
                <a:lnTo>
                  <a:pt x="796" y="80"/>
                </a:lnTo>
                <a:lnTo>
                  <a:pt x="800" y="80"/>
                </a:lnTo>
                <a:lnTo>
                  <a:pt x="800" y="78"/>
                </a:lnTo>
                <a:lnTo>
                  <a:pt x="798" y="78"/>
                </a:lnTo>
                <a:lnTo>
                  <a:pt x="796" y="78"/>
                </a:lnTo>
                <a:lnTo>
                  <a:pt x="798" y="77"/>
                </a:lnTo>
                <a:lnTo>
                  <a:pt x="800" y="78"/>
                </a:lnTo>
                <a:lnTo>
                  <a:pt x="800" y="77"/>
                </a:lnTo>
                <a:lnTo>
                  <a:pt x="803" y="77"/>
                </a:lnTo>
                <a:lnTo>
                  <a:pt x="804" y="75"/>
                </a:lnTo>
                <a:lnTo>
                  <a:pt x="803" y="75"/>
                </a:lnTo>
                <a:lnTo>
                  <a:pt x="802" y="75"/>
                </a:lnTo>
                <a:lnTo>
                  <a:pt x="800" y="75"/>
                </a:lnTo>
                <a:lnTo>
                  <a:pt x="800" y="74"/>
                </a:lnTo>
                <a:lnTo>
                  <a:pt x="804" y="74"/>
                </a:lnTo>
                <a:lnTo>
                  <a:pt x="807" y="74"/>
                </a:lnTo>
                <a:lnTo>
                  <a:pt x="810" y="74"/>
                </a:lnTo>
                <a:lnTo>
                  <a:pt x="811" y="74"/>
                </a:lnTo>
                <a:lnTo>
                  <a:pt x="820" y="72"/>
                </a:lnTo>
                <a:lnTo>
                  <a:pt x="826" y="72"/>
                </a:lnTo>
                <a:lnTo>
                  <a:pt x="831" y="72"/>
                </a:lnTo>
                <a:lnTo>
                  <a:pt x="834" y="72"/>
                </a:lnTo>
                <a:lnTo>
                  <a:pt x="847" y="72"/>
                </a:lnTo>
                <a:lnTo>
                  <a:pt x="852" y="70"/>
                </a:lnTo>
                <a:lnTo>
                  <a:pt x="860" y="70"/>
                </a:lnTo>
                <a:lnTo>
                  <a:pt x="863" y="70"/>
                </a:lnTo>
                <a:lnTo>
                  <a:pt x="864" y="70"/>
                </a:lnTo>
                <a:lnTo>
                  <a:pt x="870" y="70"/>
                </a:lnTo>
                <a:lnTo>
                  <a:pt x="874" y="70"/>
                </a:lnTo>
                <a:lnTo>
                  <a:pt x="874" y="69"/>
                </a:lnTo>
                <a:lnTo>
                  <a:pt x="876" y="69"/>
                </a:lnTo>
                <a:lnTo>
                  <a:pt x="879" y="69"/>
                </a:lnTo>
                <a:lnTo>
                  <a:pt x="883" y="69"/>
                </a:lnTo>
                <a:lnTo>
                  <a:pt x="889" y="69"/>
                </a:lnTo>
                <a:lnTo>
                  <a:pt x="892" y="67"/>
                </a:lnTo>
                <a:lnTo>
                  <a:pt x="891" y="67"/>
                </a:lnTo>
                <a:lnTo>
                  <a:pt x="889" y="66"/>
                </a:lnTo>
                <a:lnTo>
                  <a:pt x="891" y="66"/>
                </a:lnTo>
                <a:lnTo>
                  <a:pt x="893" y="66"/>
                </a:lnTo>
                <a:lnTo>
                  <a:pt x="895" y="66"/>
                </a:lnTo>
                <a:lnTo>
                  <a:pt x="893" y="64"/>
                </a:lnTo>
                <a:lnTo>
                  <a:pt x="892" y="64"/>
                </a:lnTo>
                <a:lnTo>
                  <a:pt x="891" y="61"/>
                </a:lnTo>
                <a:lnTo>
                  <a:pt x="882" y="61"/>
                </a:lnTo>
                <a:lnTo>
                  <a:pt x="880" y="59"/>
                </a:lnTo>
                <a:lnTo>
                  <a:pt x="879" y="59"/>
                </a:lnTo>
                <a:lnTo>
                  <a:pt x="880" y="59"/>
                </a:lnTo>
                <a:lnTo>
                  <a:pt x="883" y="59"/>
                </a:lnTo>
                <a:lnTo>
                  <a:pt x="882" y="58"/>
                </a:lnTo>
                <a:lnTo>
                  <a:pt x="885" y="58"/>
                </a:lnTo>
                <a:lnTo>
                  <a:pt x="887" y="58"/>
                </a:lnTo>
                <a:lnTo>
                  <a:pt x="889" y="58"/>
                </a:lnTo>
                <a:lnTo>
                  <a:pt x="891" y="58"/>
                </a:lnTo>
                <a:lnTo>
                  <a:pt x="889" y="56"/>
                </a:lnTo>
                <a:lnTo>
                  <a:pt x="891" y="56"/>
                </a:lnTo>
                <a:lnTo>
                  <a:pt x="887" y="55"/>
                </a:lnTo>
                <a:lnTo>
                  <a:pt x="885" y="55"/>
                </a:lnTo>
                <a:lnTo>
                  <a:pt x="878" y="55"/>
                </a:lnTo>
                <a:lnTo>
                  <a:pt x="876" y="55"/>
                </a:lnTo>
                <a:lnTo>
                  <a:pt x="878" y="53"/>
                </a:lnTo>
                <a:lnTo>
                  <a:pt x="882" y="53"/>
                </a:lnTo>
                <a:lnTo>
                  <a:pt x="880" y="52"/>
                </a:lnTo>
                <a:lnTo>
                  <a:pt x="884" y="52"/>
                </a:lnTo>
                <a:lnTo>
                  <a:pt x="885" y="53"/>
                </a:lnTo>
                <a:lnTo>
                  <a:pt x="889" y="53"/>
                </a:lnTo>
                <a:lnTo>
                  <a:pt x="892" y="55"/>
                </a:lnTo>
                <a:lnTo>
                  <a:pt x="893" y="55"/>
                </a:lnTo>
                <a:lnTo>
                  <a:pt x="892" y="53"/>
                </a:lnTo>
                <a:lnTo>
                  <a:pt x="895" y="53"/>
                </a:lnTo>
                <a:lnTo>
                  <a:pt x="896" y="52"/>
                </a:lnTo>
                <a:lnTo>
                  <a:pt x="897" y="50"/>
                </a:lnTo>
                <a:lnTo>
                  <a:pt x="899" y="50"/>
                </a:lnTo>
                <a:lnTo>
                  <a:pt x="899" y="48"/>
                </a:lnTo>
                <a:lnTo>
                  <a:pt x="900" y="48"/>
                </a:lnTo>
                <a:lnTo>
                  <a:pt x="901" y="48"/>
                </a:lnTo>
                <a:lnTo>
                  <a:pt x="903" y="48"/>
                </a:lnTo>
                <a:lnTo>
                  <a:pt x="905" y="48"/>
                </a:lnTo>
                <a:lnTo>
                  <a:pt x="907" y="48"/>
                </a:lnTo>
                <a:lnTo>
                  <a:pt x="900" y="47"/>
                </a:lnTo>
                <a:lnTo>
                  <a:pt x="896" y="47"/>
                </a:lnTo>
                <a:lnTo>
                  <a:pt x="895" y="47"/>
                </a:lnTo>
                <a:lnTo>
                  <a:pt x="896" y="47"/>
                </a:lnTo>
                <a:lnTo>
                  <a:pt x="897" y="45"/>
                </a:lnTo>
                <a:lnTo>
                  <a:pt x="904" y="45"/>
                </a:lnTo>
                <a:lnTo>
                  <a:pt x="907" y="45"/>
                </a:lnTo>
                <a:lnTo>
                  <a:pt x="908" y="47"/>
                </a:lnTo>
                <a:lnTo>
                  <a:pt x="912" y="47"/>
                </a:lnTo>
                <a:lnTo>
                  <a:pt x="912" y="45"/>
                </a:lnTo>
                <a:lnTo>
                  <a:pt x="916" y="44"/>
                </a:lnTo>
                <a:lnTo>
                  <a:pt x="919" y="42"/>
                </a:lnTo>
                <a:lnTo>
                  <a:pt x="921" y="42"/>
                </a:lnTo>
                <a:lnTo>
                  <a:pt x="927" y="41"/>
                </a:lnTo>
                <a:lnTo>
                  <a:pt x="925" y="41"/>
                </a:lnTo>
                <a:lnTo>
                  <a:pt x="924" y="41"/>
                </a:lnTo>
                <a:lnTo>
                  <a:pt x="928" y="41"/>
                </a:lnTo>
                <a:lnTo>
                  <a:pt x="929" y="39"/>
                </a:lnTo>
                <a:lnTo>
                  <a:pt x="935" y="41"/>
                </a:lnTo>
                <a:lnTo>
                  <a:pt x="937" y="39"/>
                </a:lnTo>
                <a:lnTo>
                  <a:pt x="943" y="39"/>
                </a:lnTo>
                <a:lnTo>
                  <a:pt x="940" y="39"/>
                </a:lnTo>
                <a:lnTo>
                  <a:pt x="944" y="37"/>
                </a:lnTo>
                <a:lnTo>
                  <a:pt x="949" y="37"/>
                </a:lnTo>
                <a:lnTo>
                  <a:pt x="955" y="36"/>
                </a:lnTo>
                <a:lnTo>
                  <a:pt x="957" y="37"/>
                </a:lnTo>
                <a:lnTo>
                  <a:pt x="961" y="36"/>
                </a:lnTo>
                <a:lnTo>
                  <a:pt x="965" y="36"/>
                </a:lnTo>
                <a:lnTo>
                  <a:pt x="965" y="37"/>
                </a:lnTo>
                <a:lnTo>
                  <a:pt x="965" y="36"/>
                </a:lnTo>
                <a:lnTo>
                  <a:pt x="967" y="36"/>
                </a:lnTo>
                <a:lnTo>
                  <a:pt x="975" y="34"/>
                </a:lnTo>
                <a:lnTo>
                  <a:pt x="993" y="33"/>
                </a:lnTo>
                <a:lnTo>
                  <a:pt x="995" y="33"/>
                </a:lnTo>
                <a:lnTo>
                  <a:pt x="995" y="31"/>
                </a:lnTo>
                <a:lnTo>
                  <a:pt x="992" y="31"/>
                </a:lnTo>
                <a:lnTo>
                  <a:pt x="992" y="33"/>
                </a:lnTo>
                <a:lnTo>
                  <a:pt x="991" y="31"/>
                </a:lnTo>
                <a:lnTo>
                  <a:pt x="985" y="31"/>
                </a:lnTo>
                <a:lnTo>
                  <a:pt x="984" y="31"/>
                </a:lnTo>
                <a:lnTo>
                  <a:pt x="984" y="30"/>
                </a:lnTo>
                <a:lnTo>
                  <a:pt x="985" y="30"/>
                </a:lnTo>
                <a:lnTo>
                  <a:pt x="987" y="30"/>
                </a:lnTo>
                <a:lnTo>
                  <a:pt x="991" y="30"/>
                </a:lnTo>
                <a:lnTo>
                  <a:pt x="992" y="30"/>
                </a:lnTo>
                <a:lnTo>
                  <a:pt x="991" y="30"/>
                </a:lnTo>
                <a:lnTo>
                  <a:pt x="992" y="30"/>
                </a:lnTo>
                <a:lnTo>
                  <a:pt x="998" y="30"/>
                </a:lnTo>
                <a:lnTo>
                  <a:pt x="996" y="30"/>
                </a:lnTo>
                <a:lnTo>
                  <a:pt x="997" y="28"/>
                </a:lnTo>
                <a:lnTo>
                  <a:pt x="1004" y="28"/>
                </a:lnTo>
                <a:lnTo>
                  <a:pt x="1006" y="30"/>
                </a:lnTo>
                <a:lnTo>
                  <a:pt x="1009" y="28"/>
                </a:lnTo>
                <a:lnTo>
                  <a:pt x="1010" y="28"/>
                </a:lnTo>
                <a:lnTo>
                  <a:pt x="1020" y="28"/>
                </a:lnTo>
                <a:lnTo>
                  <a:pt x="1021" y="28"/>
                </a:lnTo>
                <a:lnTo>
                  <a:pt x="1029" y="28"/>
                </a:lnTo>
                <a:lnTo>
                  <a:pt x="1033" y="28"/>
                </a:lnTo>
                <a:lnTo>
                  <a:pt x="1032" y="31"/>
                </a:lnTo>
                <a:lnTo>
                  <a:pt x="1026" y="33"/>
                </a:lnTo>
                <a:lnTo>
                  <a:pt x="1029" y="33"/>
                </a:lnTo>
                <a:lnTo>
                  <a:pt x="1032" y="31"/>
                </a:lnTo>
                <a:lnTo>
                  <a:pt x="1037" y="31"/>
                </a:lnTo>
                <a:lnTo>
                  <a:pt x="1038" y="30"/>
                </a:lnTo>
                <a:lnTo>
                  <a:pt x="1038" y="31"/>
                </a:lnTo>
                <a:lnTo>
                  <a:pt x="1041" y="31"/>
                </a:lnTo>
                <a:lnTo>
                  <a:pt x="1038" y="33"/>
                </a:lnTo>
                <a:lnTo>
                  <a:pt x="1040" y="33"/>
                </a:lnTo>
                <a:lnTo>
                  <a:pt x="1042" y="31"/>
                </a:lnTo>
                <a:lnTo>
                  <a:pt x="1045" y="31"/>
                </a:lnTo>
                <a:lnTo>
                  <a:pt x="1048" y="31"/>
                </a:lnTo>
                <a:lnTo>
                  <a:pt x="1049" y="30"/>
                </a:lnTo>
                <a:lnTo>
                  <a:pt x="1049" y="31"/>
                </a:lnTo>
                <a:lnTo>
                  <a:pt x="1054" y="31"/>
                </a:lnTo>
                <a:lnTo>
                  <a:pt x="1057" y="31"/>
                </a:lnTo>
                <a:lnTo>
                  <a:pt x="1058" y="31"/>
                </a:lnTo>
                <a:lnTo>
                  <a:pt x="1058" y="30"/>
                </a:lnTo>
                <a:lnTo>
                  <a:pt x="1056" y="30"/>
                </a:lnTo>
                <a:lnTo>
                  <a:pt x="1057" y="30"/>
                </a:lnTo>
                <a:lnTo>
                  <a:pt x="1060" y="28"/>
                </a:lnTo>
                <a:lnTo>
                  <a:pt x="1061" y="30"/>
                </a:lnTo>
                <a:lnTo>
                  <a:pt x="1062" y="30"/>
                </a:lnTo>
                <a:lnTo>
                  <a:pt x="1062" y="28"/>
                </a:lnTo>
                <a:lnTo>
                  <a:pt x="1061" y="28"/>
                </a:lnTo>
                <a:lnTo>
                  <a:pt x="1072" y="26"/>
                </a:lnTo>
                <a:lnTo>
                  <a:pt x="1073" y="26"/>
                </a:lnTo>
                <a:lnTo>
                  <a:pt x="1078" y="26"/>
                </a:lnTo>
                <a:lnTo>
                  <a:pt x="1077" y="28"/>
                </a:lnTo>
                <a:lnTo>
                  <a:pt x="1084" y="28"/>
                </a:lnTo>
                <a:lnTo>
                  <a:pt x="1084" y="30"/>
                </a:lnTo>
                <a:lnTo>
                  <a:pt x="1088" y="30"/>
                </a:lnTo>
                <a:lnTo>
                  <a:pt x="1089" y="30"/>
                </a:lnTo>
                <a:lnTo>
                  <a:pt x="1089" y="28"/>
                </a:lnTo>
                <a:lnTo>
                  <a:pt x="1090" y="26"/>
                </a:lnTo>
                <a:lnTo>
                  <a:pt x="1089" y="26"/>
                </a:lnTo>
                <a:lnTo>
                  <a:pt x="1088" y="25"/>
                </a:lnTo>
                <a:lnTo>
                  <a:pt x="1082" y="25"/>
                </a:lnTo>
                <a:lnTo>
                  <a:pt x="1081" y="25"/>
                </a:lnTo>
                <a:lnTo>
                  <a:pt x="1077" y="25"/>
                </a:lnTo>
                <a:lnTo>
                  <a:pt x="1077" y="23"/>
                </a:lnTo>
                <a:lnTo>
                  <a:pt x="1076" y="23"/>
                </a:lnTo>
                <a:lnTo>
                  <a:pt x="1076" y="22"/>
                </a:lnTo>
                <a:lnTo>
                  <a:pt x="1074" y="22"/>
                </a:lnTo>
                <a:lnTo>
                  <a:pt x="1088" y="23"/>
                </a:lnTo>
                <a:lnTo>
                  <a:pt x="1092" y="22"/>
                </a:lnTo>
                <a:lnTo>
                  <a:pt x="1097" y="22"/>
                </a:lnTo>
                <a:lnTo>
                  <a:pt x="1101" y="22"/>
                </a:lnTo>
                <a:lnTo>
                  <a:pt x="1109" y="20"/>
                </a:lnTo>
                <a:lnTo>
                  <a:pt x="1110" y="20"/>
                </a:lnTo>
                <a:lnTo>
                  <a:pt x="1109" y="20"/>
                </a:lnTo>
                <a:lnTo>
                  <a:pt x="1109" y="19"/>
                </a:lnTo>
                <a:lnTo>
                  <a:pt x="1113" y="19"/>
                </a:lnTo>
                <a:lnTo>
                  <a:pt x="1111" y="19"/>
                </a:lnTo>
                <a:lnTo>
                  <a:pt x="1110" y="17"/>
                </a:lnTo>
                <a:lnTo>
                  <a:pt x="1106" y="17"/>
                </a:lnTo>
                <a:lnTo>
                  <a:pt x="1105" y="17"/>
                </a:lnTo>
                <a:lnTo>
                  <a:pt x="1105" y="15"/>
                </a:lnTo>
                <a:lnTo>
                  <a:pt x="1108" y="14"/>
                </a:lnTo>
                <a:lnTo>
                  <a:pt x="1109" y="14"/>
                </a:lnTo>
                <a:lnTo>
                  <a:pt x="1110" y="14"/>
                </a:lnTo>
                <a:lnTo>
                  <a:pt x="1110" y="12"/>
                </a:lnTo>
                <a:lnTo>
                  <a:pt x="1111" y="11"/>
                </a:lnTo>
                <a:lnTo>
                  <a:pt x="1118" y="9"/>
                </a:lnTo>
                <a:lnTo>
                  <a:pt x="1118" y="8"/>
                </a:lnTo>
                <a:lnTo>
                  <a:pt x="1125" y="8"/>
                </a:lnTo>
                <a:lnTo>
                  <a:pt x="1126" y="6"/>
                </a:lnTo>
                <a:lnTo>
                  <a:pt x="1131" y="3"/>
                </a:lnTo>
                <a:lnTo>
                  <a:pt x="1137" y="3"/>
                </a:lnTo>
                <a:lnTo>
                  <a:pt x="1138" y="1"/>
                </a:lnTo>
                <a:lnTo>
                  <a:pt x="1145" y="1"/>
                </a:lnTo>
                <a:lnTo>
                  <a:pt x="1146" y="1"/>
                </a:lnTo>
                <a:lnTo>
                  <a:pt x="1147" y="1"/>
                </a:lnTo>
                <a:lnTo>
                  <a:pt x="1151" y="0"/>
                </a:lnTo>
                <a:lnTo>
                  <a:pt x="1154" y="0"/>
                </a:lnTo>
                <a:lnTo>
                  <a:pt x="1157" y="0"/>
                </a:lnTo>
                <a:lnTo>
                  <a:pt x="1157" y="1"/>
                </a:lnTo>
                <a:lnTo>
                  <a:pt x="1159" y="1"/>
                </a:lnTo>
                <a:lnTo>
                  <a:pt x="1161" y="0"/>
                </a:lnTo>
                <a:lnTo>
                  <a:pt x="1165" y="3"/>
                </a:lnTo>
                <a:lnTo>
                  <a:pt x="1170" y="3"/>
                </a:lnTo>
                <a:lnTo>
                  <a:pt x="1174" y="3"/>
                </a:lnTo>
                <a:lnTo>
                  <a:pt x="1175" y="3"/>
                </a:lnTo>
                <a:lnTo>
                  <a:pt x="1178" y="3"/>
                </a:lnTo>
                <a:lnTo>
                  <a:pt x="1181" y="6"/>
                </a:lnTo>
                <a:lnTo>
                  <a:pt x="1183" y="6"/>
                </a:lnTo>
                <a:lnTo>
                  <a:pt x="1181" y="6"/>
                </a:lnTo>
                <a:lnTo>
                  <a:pt x="1177" y="6"/>
                </a:lnTo>
                <a:lnTo>
                  <a:pt x="1174" y="8"/>
                </a:lnTo>
                <a:lnTo>
                  <a:pt x="1171" y="8"/>
                </a:lnTo>
                <a:lnTo>
                  <a:pt x="1169" y="9"/>
                </a:lnTo>
                <a:lnTo>
                  <a:pt x="1162" y="12"/>
                </a:lnTo>
                <a:lnTo>
                  <a:pt x="1159" y="12"/>
                </a:lnTo>
                <a:lnTo>
                  <a:pt x="1157" y="14"/>
                </a:lnTo>
                <a:lnTo>
                  <a:pt x="1171" y="11"/>
                </a:lnTo>
                <a:lnTo>
                  <a:pt x="1177" y="11"/>
                </a:lnTo>
                <a:lnTo>
                  <a:pt x="1179" y="11"/>
                </a:lnTo>
                <a:lnTo>
                  <a:pt x="1178" y="12"/>
                </a:lnTo>
                <a:lnTo>
                  <a:pt x="1182" y="12"/>
                </a:lnTo>
                <a:lnTo>
                  <a:pt x="1185" y="12"/>
                </a:lnTo>
                <a:lnTo>
                  <a:pt x="1186" y="12"/>
                </a:lnTo>
                <a:lnTo>
                  <a:pt x="1189" y="12"/>
                </a:lnTo>
                <a:lnTo>
                  <a:pt x="1191" y="12"/>
                </a:lnTo>
                <a:lnTo>
                  <a:pt x="1193" y="12"/>
                </a:lnTo>
                <a:lnTo>
                  <a:pt x="1194" y="12"/>
                </a:lnTo>
                <a:lnTo>
                  <a:pt x="1202" y="12"/>
                </a:lnTo>
                <a:lnTo>
                  <a:pt x="1201" y="14"/>
                </a:lnTo>
                <a:lnTo>
                  <a:pt x="1203" y="14"/>
                </a:lnTo>
                <a:lnTo>
                  <a:pt x="1201" y="14"/>
                </a:lnTo>
                <a:lnTo>
                  <a:pt x="1201" y="15"/>
                </a:lnTo>
                <a:lnTo>
                  <a:pt x="1202" y="15"/>
                </a:lnTo>
                <a:lnTo>
                  <a:pt x="1199" y="17"/>
                </a:lnTo>
                <a:lnTo>
                  <a:pt x="1195" y="17"/>
                </a:lnTo>
                <a:lnTo>
                  <a:pt x="1194" y="19"/>
                </a:lnTo>
                <a:lnTo>
                  <a:pt x="1193" y="19"/>
                </a:lnTo>
                <a:lnTo>
                  <a:pt x="1190" y="22"/>
                </a:lnTo>
                <a:lnTo>
                  <a:pt x="1189" y="20"/>
                </a:lnTo>
                <a:lnTo>
                  <a:pt x="1185" y="22"/>
                </a:lnTo>
                <a:lnTo>
                  <a:pt x="1190" y="22"/>
                </a:lnTo>
                <a:lnTo>
                  <a:pt x="1194" y="23"/>
                </a:lnTo>
                <a:lnTo>
                  <a:pt x="1197" y="22"/>
                </a:lnTo>
                <a:lnTo>
                  <a:pt x="1203" y="22"/>
                </a:lnTo>
                <a:lnTo>
                  <a:pt x="1205" y="22"/>
                </a:lnTo>
                <a:lnTo>
                  <a:pt x="1207" y="22"/>
                </a:lnTo>
                <a:lnTo>
                  <a:pt x="1209" y="20"/>
                </a:lnTo>
                <a:lnTo>
                  <a:pt x="1211" y="20"/>
                </a:lnTo>
                <a:lnTo>
                  <a:pt x="1213" y="19"/>
                </a:lnTo>
                <a:lnTo>
                  <a:pt x="1210" y="19"/>
                </a:lnTo>
                <a:lnTo>
                  <a:pt x="1211" y="19"/>
                </a:lnTo>
                <a:lnTo>
                  <a:pt x="1211" y="17"/>
                </a:lnTo>
                <a:lnTo>
                  <a:pt x="1214" y="17"/>
                </a:lnTo>
                <a:lnTo>
                  <a:pt x="1215" y="17"/>
                </a:lnTo>
                <a:lnTo>
                  <a:pt x="1217" y="17"/>
                </a:lnTo>
                <a:lnTo>
                  <a:pt x="1215" y="19"/>
                </a:lnTo>
                <a:lnTo>
                  <a:pt x="1218" y="17"/>
                </a:lnTo>
                <a:lnTo>
                  <a:pt x="1219" y="19"/>
                </a:lnTo>
                <a:lnTo>
                  <a:pt x="1227" y="17"/>
                </a:lnTo>
                <a:lnTo>
                  <a:pt x="1230" y="17"/>
                </a:lnTo>
                <a:lnTo>
                  <a:pt x="1232" y="17"/>
                </a:lnTo>
                <a:lnTo>
                  <a:pt x="1238" y="19"/>
                </a:lnTo>
                <a:lnTo>
                  <a:pt x="1240" y="19"/>
                </a:lnTo>
                <a:lnTo>
                  <a:pt x="1242" y="19"/>
                </a:lnTo>
                <a:lnTo>
                  <a:pt x="1247" y="17"/>
                </a:lnTo>
                <a:lnTo>
                  <a:pt x="1255" y="17"/>
                </a:lnTo>
                <a:lnTo>
                  <a:pt x="1259" y="17"/>
                </a:lnTo>
                <a:lnTo>
                  <a:pt x="1259" y="19"/>
                </a:lnTo>
                <a:lnTo>
                  <a:pt x="1260" y="19"/>
                </a:lnTo>
                <a:lnTo>
                  <a:pt x="1262" y="19"/>
                </a:lnTo>
                <a:lnTo>
                  <a:pt x="1264" y="19"/>
                </a:lnTo>
                <a:lnTo>
                  <a:pt x="1266" y="19"/>
                </a:lnTo>
                <a:lnTo>
                  <a:pt x="1264" y="20"/>
                </a:lnTo>
                <a:lnTo>
                  <a:pt x="1270" y="20"/>
                </a:lnTo>
                <a:lnTo>
                  <a:pt x="1274" y="22"/>
                </a:lnTo>
                <a:lnTo>
                  <a:pt x="1274" y="23"/>
                </a:lnTo>
                <a:lnTo>
                  <a:pt x="1276" y="23"/>
                </a:lnTo>
                <a:lnTo>
                  <a:pt x="1283" y="25"/>
                </a:lnTo>
                <a:lnTo>
                  <a:pt x="1283" y="26"/>
                </a:lnTo>
                <a:lnTo>
                  <a:pt x="1280" y="26"/>
                </a:lnTo>
                <a:lnTo>
                  <a:pt x="1283" y="28"/>
                </a:lnTo>
                <a:lnTo>
                  <a:pt x="1286" y="30"/>
                </a:lnTo>
                <a:lnTo>
                  <a:pt x="1287" y="30"/>
                </a:lnTo>
                <a:lnTo>
                  <a:pt x="1287" y="28"/>
                </a:lnTo>
                <a:lnTo>
                  <a:pt x="1290" y="28"/>
                </a:lnTo>
                <a:lnTo>
                  <a:pt x="1288" y="26"/>
                </a:lnTo>
                <a:lnTo>
                  <a:pt x="1291" y="26"/>
                </a:lnTo>
                <a:lnTo>
                  <a:pt x="1295" y="28"/>
                </a:lnTo>
                <a:lnTo>
                  <a:pt x="1295" y="30"/>
                </a:lnTo>
                <a:lnTo>
                  <a:pt x="1295" y="31"/>
                </a:lnTo>
                <a:lnTo>
                  <a:pt x="1298" y="31"/>
                </a:lnTo>
                <a:lnTo>
                  <a:pt x="1300" y="31"/>
                </a:lnTo>
                <a:lnTo>
                  <a:pt x="1300" y="33"/>
                </a:lnTo>
                <a:lnTo>
                  <a:pt x="1300" y="34"/>
                </a:lnTo>
                <a:lnTo>
                  <a:pt x="1298" y="37"/>
                </a:lnTo>
                <a:lnTo>
                  <a:pt x="1295" y="37"/>
                </a:lnTo>
                <a:lnTo>
                  <a:pt x="1294" y="37"/>
                </a:lnTo>
                <a:lnTo>
                  <a:pt x="1295" y="36"/>
                </a:lnTo>
                <a:lnTo>
                  <a:pt x="1287" y="34"/>
                </a:lnTo>
                <a:lnTo>
                  <a:pt x="1283" y="33"/>
                </a:lnTo>
                <a:lnTo>
                  <a:pt x="1280" y="33"/>
                </a:lnTo>
                <a:lnTo>
                  <a:pt x="1279" y="34"/>
                </a:lnTo>
                <a:lnTo>
                  <a:pt x="1282" y="34"/>
                </a:lnTo>
                <a:lnTo>
                  <a:pt x="1286" y="36"/>
                </a:lnTo>
                <a:lnTo>
                  <a:pt x="1284" y="36"/>
                </a:lnTo>
                <a:lnTo>
                  <a:pt x="1286" y="37"/>
                </a:lnTo>
                <a:lnTo>
                  <a:pt x="1287" y="37"/>
                </a:lnTo>
                <a:lnTo>
                  <a:pt x="1288" y="37"/>
                </a:lnTo>
                <a:lnTo>
                  <a:pt x="1291" y="36"/>
                </a:lnTo>
                <a:lnTo>
                  <a:pt x="1291" y="37"/>
                </a:lnTo>
                <a:lnTo>
                  <a:pt x="1295" y="39"/>
                </a:lnTo>
                <a:lnTo>
                  <a:pt x="1299" y="39"/>
                </a:lnTo>
                <a:lnTo>
                  <a:pt x="1299" y="41"/>
                </a:lnTo>
                <a:lnTo>
                  <a:pt x="1296" y="41"/>
                </a:lnTo>
                <a:lnTo>
                  <a:pt x="1298" y="41"/>
                </a:lnTo>
                <a:lnTo>
                  <a:pt x="1299" y="41"/>
                </a:lnTo>
                <a:lnTo>
                  <a:pt x="1299" y="42"/>
                </a:lnTo>
                <a:lnTo>
                  <a:pt x="1296" y="44"/>
                </a:lnTo>
                <a:lnTo>
                  <a:pt x="1292" y="45"/>
                </a:lnTo>
                <a:lnTo>
                  <a:pt x="1292" y="47"/>
                </a:lnTo>
                <a:lnTo>
                  <a:pt x="1290" y="47"/>
                </a:lnTo>
                <a:lnTo>
                  <a:pt x="1287" y="47"/>
                </a:lnTo>
                <a:lnTo>
                  <a:pt x="1286" y="48"/>
                </a:lnTo>
                <a:lnTo>
                  <a:pt x="1287" y="48"/>
                </a:lnTo>
                <a:lnTo>
                  <a:pt x="1284" y="48"/>
                </a:lnTo>
                <a:lnTo>
                  <a:pt x="1283" y="50"/>
                </a:lnTo>
                <a:lnTo>
                  <a:pt x="1282" y="50"/>
                </a:lnTo>
                <a:lnTo>
                  <a:pt x="1276" y="50"/>
                </a:lnTo>
                <a:lnTo>
                  <a:pt x="1275" y="50"/>
                </a:lnTo>
                <a:lnTo>
                  <a:pt x="1279" y="52"/>
                </a:lnTo>
                <a:lnTo>
                  <a:pt x="1270" y="52"/>
                </a:lnTo>
                <a:lnTo>
                  <a:pt x="1272" y="53"/>
                </a:lnTo>
                <a:lnTo>
                  <a:pt x="1271" y="53"/>
                </a:lnTo>
                <a:lnTo>
                  <a:pt x="1270" y="55"/>
                </a:lnTo>
                <a:lnTo>
                  <a:pt x="1266" y="53"/>
                </a:lnTo>
                <a:lnTo>
                  <a:pt x="1262" y="55"/>
                </a:lnTo>
                <a:lnTo>
                  <a:pt x="1259" y="55"/>
                </a:lnTo>
                <a:lnTo>
                  <a:pt x="1259" y="56"/>
                </a:lnTo>
                <a:lnTo>
                  <a:pt x="1256" y="56"/>
                </a:lnTo>
                <a:lnTo>
                  <a:pt x="1255" y="56"/>
                </a:lnTo>
                <a:lnTo>
                  <a:pt x="1254" y="56"/>
                </a:lnTo>
                <a:lnTo>
                  <a:pt x="1252" y="56"/>
                </a:lnTo>
                <a:lnTo>
                  <a:pt x="1250" y="56"/>
                </a:lnTo>
                <a:lnTo>
                  <a:pt x="1248" y="58"/>
                </a:lnTo>
                <a:lnTo>
                  <a:pt x="1243" y="59"/>
                </a:lnTo>
                <a:lnTo>
                  <a:pt x="1242" y="61"/>
                </a:lnTo>
                <a:lnTo>
                  <a:pt x="1239" y="63"/>
                </a:lnTo>
                <a:lnTo>
                  <a:pt x="1235" y="64"/>
                </a:lnTo>
                <a:lnTo>
                  <a:pt x="1231" y="64"/>
                </a:lnTo>
                <a:lnTo>
                  <a:pt x="1223" y="67"/>
                </a:lnTo>
                <a:lnTo>
                  <a:pt x="1223" y="69"/>
                </a:lnTo>
                <a:lnTo>
                  <a:pt x="1221" y="69"/>
                </a:lnTo>
                <a:lnTo>
                  <a:pt x="1215" y="74"/>
                </a:lnTo>
                <a:lnTo>
                  <a:pt x="1214" y="72"/>
                </a:lnTo>
                <a:lnTo>
                  <a:pt x="1211" y="72"/>
                </a:lnTo>
                <a:lnTo>
                  <a:pt x="1199" y="72"/>
                </a:lnTo>
                <a:lnTo>
                  <a:pt x="1199" y="74"/>
                </a:lnTo>
                <a:lnTo>
                  <a:pt x="1195" y="77"/>
                </a:lnTo>
                <a:lnTo>
                  <a:pt x="1194" y="78"/>
                </a:lnTo>
                <a:lnTo>
                  <a:pt x="1187" y="78"/>
                </a:lnTo>
                <a:lnTo>
                  <a:pt x="1186" y="78"/>
                </a:lnTo>
                <a:lnTo>
                  <a:pt x="1183" y="80"/>
                </a:lnTo>
                <a:lnTo>
                  <a:pt x="1182" y="81"/>
                </a:lnTo>
                <a:lnTo>
                  <a:pt x="1181" y="81"/>
                </a:lnTo>
                <a:lnTo>
                  <a:pt x="1177" y="84"/>
                </a:lnTo>
                <a:lnTo>
                  <a:pt x="1174" y="86"/>
                </a:lnTo>
                <a:lnTo>
                  <a:pt x="1171" y="88"/>
                </a:lnTo>
                <a:lnTo>
                  <a:pt x="1167" y="88"/>
                </a:lnTo>
                <a:lnTo>
                  <a:pt x="1165" y="88"/>
                </a:lnTo>
                <a:lnTo>
                  <a:pt x="1163" y="88"/>
                </a:lnTo>
                <a:lnTo>
                  <a:pt x="1161" y="89"/>
                </a:lnTo>
                <a:lnTo>
                  <a:pt x="1155" y="91"/>
                </a:lnTo>
                <a:lnTo>
                  <a:pt x="1157" y="92"/>
                </a:lnTo>
                <a:lnTo>
                  <a:pt x="1158" y="91"/>
                </a:lnTo>
                <a:lnTo>
                  <a:pt x="1161" y="91"/>
                </a:lnTo>
                <a:lnTo>
                  <a:pt x="1162" y="91"/>
                </a:lnTo>
                <a:lnTo>
                  <a:pt x="1161" y="91"/>
                </a:lnTo>
                <a:lnTo>
                  <a:pt x="1165" y="89"/>
                </a:lnTo>
                <a:lnTo>
                  <a:pt x="1169" y="89"/>
                </a:lnTo>
                <a:lnTo>
                  <a:pt x="1171" y="88"/>
                </a:lnTo>
                <a:lnTo>
                  <a:pt x="1175" y="88"/>
                </a:lnTo>
                <a:lnTo>
                  <a:pt x="1178" y="88"/>
                </a:lnTo>
                <a:lnTo>
                  <a:pt x="1179" y="86"/>
                </a:lnTo>
                <a:lnTo>
                  <a:pt x="1181" y="86"/>
                </a:lnTo>
                <a:lnTo>
                  <a:pt x="1183" y="84"/>
                </a:lnTo>
                <a:lnTo>
                  <a:pt x="1186" y="84"/>
                </a:lnTo>
                <a:lnTo>
                  <a:pt x="1193" y="86"/>
                </a:lnTo>
                <a:lnTo>
                  <a:pt x="1195" y="86"/>
                </a:lnTo>
                <a:lnTo>
                  <a:pt x="1197" y="86"/>
                </a:lnTo>
                <a:lnTo>
                  <a:pt x="1187" y="84"/>
                </a:lnTo>
                <a:lnTo>
                  <a:pt x="1186" y="83"/>
                </a:lnTo>
                <a:lnTo>
                  <a:pt x="1185" y="81"/>
                </a:lnTo>
                <a:lnTo>
                  <a:pt x="1189" y="80"/>
                </a:lnTo>
                <a:lnTo>
                  <a:pt x="1195" y="81"/>
                </a:lnTo>
                <a:lnTo>
                  <a:pt x="1198" y="80"/>
                </a:lnTo>
                <a:lnTo>
                  <a:pt x="1206" y="81"/>
                </a:lnTo>
                <a:lnTo>
                  <a:pt x="1207" y="81"/>
                </a:lnTo>
                <a:lnTo>
                  <a:pt x="1213" y="80"/>
                </a:lnTo>
                <a:lnTo>
                  <a:pt x="1218" y="80"/>
                </a:lnTo>
                <a:lnTo>
                  <a:pt x="1217" y="78"/>
                </a:lnTo>
                <a:lnTo>
                  <a:pt x="1221" y="78"/>
                </a:lnTo>
                <a:lnTo>
                  <a:pt x="1230" y="77"/>
                </a:lnTo>
                <a:lnTo>
                  <a:pt x="1231" y="77"/>
                </a:lnTo>
                <a:lnTo>
                  <a:pt x="1231" y="75"/>
                </a:lnTo>
                <a:lnTo>
                  <a:pt x="1232" y="77"/>
                </a:lnTo>
                <a:lnTo>
                  <a:pt x="1230" y="74"/>
                </a:lnTo>
                <a:lnTo>
                  <a:pt x="1235" y="77"/>
                </a:lnTo>
                <a:lnTo>
                  <a:pt x="1238" y="77"/>
                </a:lnTo>
                <a:lnTo>
                  <a:pt x="1244" y="74"/>
                </a:lnTo>
                <a:lnTo>
                  <a:pt x="1246" y="75"/>
                </a:lnTo>
                <a:lnTo>
                  <a:pt x="1247" y="74"/>
                </a:lnTo>
                <a:lnTo>
                  <a:pt x="1256" y="72"/>
                </a:lnTo>
                <a:lnTo>
                  <a:pt x="1254" y="70"/>
                </a:lnTo>
                <a:lnTo>
                  <a:pt x="1251" y="70"/>
                </a:lnTo>
                <a:lnTo>
                  <a:pt x="1250" y="70"/>
                </a:lnTo>
                <a:lnTo>
                  <a:pt x="1247" y="70"/>
                </a:lnTo>
                <a:lnTo>
                  <a:pt x="1246" y="72"/>
                </a:lnTo>
                <a:lnTo>
                  <a:pt x="1240" y="72"/>
                </a:lnTo>
                <a:lnTo>
                  <a:pt x="1238" y="72"/>
                </a:lnTo>
                <a:lnTo>
                  <a:pt x="1239" y="72"/>
                </a:lnTo>
                <a:lnTo>
                  <a:pt x="1238" y="72"/>
                </a:lnTo>
                <a:lnTo>
                  <a:pt x="1236" y="72"/>
                </a:lnTo>
                <a:lnTo>
                  <a:pt x="1235" y="70"/>
                </a:lnTo>
                <a:lnTo>
                  <a:pt x="1235" y="69"/>
                </a:lnTo>
                <a:lnTo>
                  <a:pt x="1239" y="67"/>
                </a:lnTo>
                <a:lnTo>
                  <a:pt x="1240" y="66"/>
                </a:lnTo>
                <a:lnTo>
                  <a:pt x="1243" y="66"/>
                </a:lnTo>
                <a:lnTo>
                  <a:pt x="1247" y="66"/>
                </a:lnTo>
                <a:lnTo>
                  <a:pt x="1251" y="66"/>
                </a:lnTo>
                <a:lnTo>
                  <a:pt x="1254" y="67"/>
                </a:lnTo>
                <a:lnTo>
                  <a:pt x="1255" y="67"/>
                </a:lnTo>
                <a:lnTo>
                  <a:pt x="1256" y="67"/>
                </a:lnTo>
                <a:lnTo>
                  <a:pt x="1259" y="66"/>
                </a:lnTo>
                <a:lnTo>
                  <a:pt x="1266" y="66"/>
                </a:lnTo>
                <a:lnTo>
                  <a:pt x="1263" y="67"/>
                </a:lnTo>
                <a:lnTo>
                  <a:pt x="1262" y="66"/>
                </a:lnTo>
                <a:lnTo>
                  <a:pt x="1260" y="67"/>
                </a:lnTo>
                <a:lnTo>
                  <a:pt x="1262" y="69"/>
                </a:lnTo>
                <a:lnTo>
                  <a:pt x="1268" y="70"/>
                </a:lnTo>
                <a:lnTo>
                  <a:pt x="1268" y="72"/>
                </a:lnTo>
                <a:lnTo>
                  <a:pt x="1271" y="70"/>
                </a:lnTo>
                <a:lnTo>
                  <a:pt x="1279" y="72"/>
                </a:lnTo>
                <a:lnTo>
                  <a:pt x="1284" y="70"/>
                </a:lnTo>
                <a:lnTo>
                  <a:pt x="1286" y="70"/>
                </a:lnTo>
                <a:lnTo>
                  <a:pt x="1287" y="69"/>
                </a:lnTo>
                <a:lnTo>
                  <a:pt x="1284" y="66"/>
                </a:lnTo>
                <a:lnTo>
                  <a:pt x="1288" y="67"/>
                </a:lnTo>
                <a:lnTo>
                  <a:pt x="1291" y="69"/>
                </a:lnTo>
                <a:lnTo>
                  <a:pt x="1291" y="70"/>
                </a:lnTo>
                <a:lnTo>
                  <a:pt x="1292" y="70"/>
                </a:lnTo>
                <a:lnTo>
                  <a:pt x="1294" y="72"/>
                </a:lnTo>
                <a:lnTo>
                  <a:pt x="1294" y="74"/>
                </a:lnTo>
                <a:lnTo>
                  <a:pt x="1291" y="77"/>
                </a:lnTo>
                <a:lnTo>
                  <a:pt x="1292" y="77"/>
                </a:lnTo>
                <a:lnTo>
                  <a:pt x="1291" y="78"/>
                </a:lnTo>
                <a:lnTo>
                  <a:pt x="1296" y="78"/>
                </a:lnTo>
                <a:lnTo>
                  <a:pt x="1295" y="78"/>
                </a:lnTo>
                <a:lnTo>
                  <a:pt x="1291" y="78"/>
                </a:lnTo>
                <a:lnTo>
                  <a:pt x="1290" y="80"/>
                </a:lnTo>
                <a:lnTo>
                  <a:pt x="1295" y="80"/>
                </a:lnTo>
                <a:lnTo>
                  <a:pt x="1300" y="78"/>
                </a:lnTo>
                <a:lnTo>
                  <a:pt x="1302" y="78"/>
                </a:lnTo>
                <a:lnTo>
                  <a:pt x="1300" y="77"/>
                </a:lnTo>
                <a:lnTo>
                  <a:pt x="1296" y="75"/>
                </a:lnTo>
                <a:lnTo>
                  <a:pt x="1306" y="74"/>
                </a:lnTo>
                <a:lnTo>
                  <a:pt x="1312" y="74"/>
                </a:lnTo>
                <a:lnTo>
                  <a:pt x="1316" y="74"/>
                </a:lnTo>
                <a:lnTo>
                  <a:pt x="1323" y="72"/>
                </a:lnTo>
                <a:lnTo>
                  <a:pt x="1328" y="72"/>
                </a:lnTo>
                <a:lnTo>
                  <a:pt x="1334" y="72"/>
                </a:lnTo>
                <a:lnTo>
                  <a:pt x="1339" y="72"/>
                </a:lnTo>
                <a:lnTo>
                  <a:pt x="1343" y="72"/>
                </a:lnTo>
                <a:lnTo>
                  <a:pt x="1345" y="74"/>
                </a:lnTo>
                <a:lnTo>
                  <a:pt x="1348" y="74"/>
                </a:lnTo>
                <a:lnTo>
                  <a:pt x="1352" y="74"/>
                </a:lnTo>
                <a:lnTo>
                  <a:pt x="1359" y="74"/>
                </a:lnTo>
                <a:lnTo>
                  <a:pt x="1364" y="74"/>
                </a:lnTo>
                <a:lnTo>
                  <a:pt x="1367" y="74"/>
                </a:lnTo>
                <a:lnTo>
                  <a:pt x="1375" y="74"/>
                </a:lnTo>
                <a:lnTo>
                  <a:pt x="1376" y="75"/>
                </a:lnTo>
                <a:lnTo>
                  <a:pt x="1377" y="75"/>
                </a:lnTo>
                <a:lnTo>
                  <a:pt x="1376" y="75"/>
                </a:lnTo>
                <a:lnTo>
                  <a:pt x="1375" y="75"/>
                </a:lnTo>
                <a:lnTo>
                  <a:pt x="1372" y="75"/>
                </a:lnTo>
                <a:lnTo>
                  <a:pt x="1371" y="77"/>
                </a:lnTo>
                <a:lnTo>
                  <a:pt x="1369" y="77"/>
                </a:lnTo>
                <a:lnTo>
                  <a:pt x="1371" y="78"/>
                </a:lnTo>
                <a:lnTo>
                  <a:pt x="1369" y="78"/>
                </a:lnTo>
                <a:lnTo>
                  <a:pt x="1369" y="80"/>
                </a:lnTo>
                <a:lnTo>
                  <a:pt x="1371" y="80"/>
                </a:lnTo>
                <a:lnTo>
                  <a:pt x="1372" y="80"/>
                </a:lnTo>
                <a:lnTo>
                  <a:pt x="1380" y="81"/>
                </a:lnTo>
                <a:lnTo>
                  <a:pt x="1384" y="83"/>
                </a:lnTo>
                <a:lnTo>
                  <a:pt x="1392" y="84"/>
                </a:lnTo>
                <a:lnTo>
                  <a:pt x="1393" y="84"/>
                </a:lnTo>
                <a:lnTo>
                  <a:pt x="1393" y="83"/>
                </a:lnTo>
                <a:lnTo>
                  <a:pt x="1396" y="83"/>
                </a:lnTo>
                <a:lnTo>
                  <a:pt x="1404" y="84"/>
                </a:lnTo>
                <a:lnTo>
                  <a:pt x="1409" y="84"/>
                </a:lnTo>
                <a:lnTo>
                  <a:pt x="1411" y="84"/>
                </a:lnTo>
                <a:lnTo>
                  <a:pt x="1417" y="84"/>
                </a:lnTo>
                <a:lnTo>
                  <a:pt x="1420" y="84"/>
                </a:lnTo>
                <a:lnTo>
                  <a:pt x="1423" y="84"/>
                </a:lnTo>
                <a:lnTo>
                  <a:pt x="1427" y="84"/>
                </a:lnTo>
                <a:lnTo>
                  <a:pt x="1428" y="84"/>
                </a:lnTo>
                <a:lnTo>
                  <a:pt x="1429" y="84"/>
                </a:lnTo>
                <a:lnTo>
                  <a:pt x="1431" y="84"/>
                </a:lnTo>
                <a:lnTo>
                  <a:pt x="1435" y="83"/>
                </a:lnTo>
                <a:lnTo>
                  <a:pt x="1443" y="83"/>
                </a:lnTo>
                <a:lnTo>
                  <a:pt x="1445" y="81"/>
                </a:lnTo>
                <a:lnTo>
                  <a:pt x="1443" y="78"/>
                </a:lnTo>
                <a:lnTo>
                  <a:pt x="1441" y="77"/>
                </a:lnTo>
                <a:lnTo>
                  <a:pt x="1443" y="75"/>
                </a:lnTo>
                <a:lnTo>
                  <a:pt x="1441" y="75"/>
                </a:lnTo>
                <a:lnTo>
                  <a:pt x="1444" y="72"/>
                </a:lnTo>
                <a:lnTo>
                  <a:pt x="1444" y="70"/>
                </a:lnTo>
                <a:lnTo>
                  <a:pt x="1444" y="69"/>
                </a:lnTo>
                <a:lnTo>
                  <a:pt x="1447" y="70"/>
                </a:lnTo>
                <a:lnTo>
                  <a:pt x="1450" y="72"/>
                </a:lnTo>
                <a:lnTo>
                  <a:pt x="1452" y="70"/>
                </a:lnTo>
                <a:lnTo>
                  <a:pt x="1452" y="69"/>
                </a:lnTo>
                <a:lnTo>
                  <a:pt x="1453" y="69"/>
                </a:lnTo>
                <a:lnTo>
                  <a:pt x="1457" y="69"/>
                </a:lnTo>
                <a:lnTo>
                  <a:pt x="1462" y="70"/>
                </a:lnTo>
                <a:lnTo>
                  <a:pt x="1464" y="70"/>
                </a:lnTo>
                <a:lnTo>
                  <a:pt x="1466" y="70"/>
                </a:lnTo>
                <a:lnTo>
                  <a:pt x="1469" y="72"/>
                </a:lnTo>
                <a:lnTo>
                  <a:pt x="1470" y="70"/>
                </a:lnTo>
                <a:lnTo>
                  <a:pt x="1472" y="72"/>
                </a:lnTo>
                <a:lnTo>
                  <a:pt x="1474" y="74"/>
                </a:lnTo>
                <a:lnTo>
                  <a:pt x="1476" y="72"/>
                </a:lnTo>
                <a:lnTo>
                  <a:pt x="1477" y="74"/>
                </a:lnTo>
                <a:lnTo>
                  <a:pt x="1478" y="74"/>
                </a:lnTo>
                <a:lnTo>
                  <a:pt x="1481" y="74"/>
                </a:lnTo>
                <a:lnTo>
                  <a:pt x="1482" y="74"/>
                </a:lnTo>
                <a:lnTo>
                  <a:pt x="1485" y="74"/>
                </a:lnTo>
                <a:lnTo>
                  <a:pt x="1486" y="74"/>
                </a:lnTo>
                <a:lnTo>
                  <a:pt x="1492" y="75"/>
                </a:lnTo>
                <a:lnTo>
                  <a:pt x="1492" y="77"/>
                </a:lnTo>
                <a:lnTo>
                  <a:pt x="1493" y="77"/>
                </a:lnTo>
                <a:lnTo>
                  <a:pt x="1496" y="75"/>
                </a:lnTo>
                <a:lnTo>
                  <a:pt x="1498" y="75"/>
                </a:lnTo>
                <a:lnTo>
                  <a:pt x="1500" y="74"/>
                </a:lnTo>
                <a:lnTo>
                  <a:pt x="1504" y="75"/>
                </a:lnTo>
                <a:lnTo>
                  <a:pt x="1509" y="75"/>
                </a:lnTo>
                <a:lnTo>
                  <a:pt x="1512" y="75"/>
                </a:lnTo>
                <a:lnTo>
                  <a:pt x="1516" y="75"/>
                </a:lnTo>
                <a:lnTo>
                  <a:pt x="1518" y="77"/>
                </a:lnTo>
                <a:lnTo>
                  <a:pt x="1517" y="77"/>
                </a:lnTo>
                <a:lnTo>
                  <a:pt x="1518" y="77"/>
                </a:lnTo>
                <a:lnTo>
                  <a:pt x="1521" y="77"/>
                </a:lnTo>
                <a:lnTo>
                  <a:pt x="1522" y="78"/>
                </a:lnTo>
                <a:lnTo>
                  <a:pt x="1521" y="78"/>
                </a:lnTo>
                <a:lnTo>
                  <a:pt x="1528" y="80"/>
                </a:lnTo>
                <a:lnTo>
                  <a:pt x="1530" y="81"/>
                </a:lnTo>
                <a:lnTo>
                  <a:pt x="1532" y="81"/>
                </a:lnTo>
                <a:lnTo>
                  <a:pt x="1536" y="83"/>
                </a:lnTo>
                <a:lnTo>
                  <a:pt x="1537" y="84"/>
                </a:lnTo>
                <a:lnTo>
                  <a:pt x="1536" y="84"/>
                </a:lnTo>
                <a:lnTo>
                  <a:pt x="1536" y="86"/>
                </a:lnTo>
                <a:lnTo>
                  <a:pt x="1534" y="86"/>
                </a:lnTo>
                <a:lnTo>
                  <a:pt x="1534" y="88"/>
                </a:lnTo>
                <a:lnTo>
                  <a:pt x="1536" y="88"/>
                </a:lnTo>
                <a:lnTo>
                  <a:pt x="1534" y="88"/>
                </a:lnTo>
                <a:lnTo>
                  <a:pt x="1534" y="89"/>
                </a:lnTo>
                <a:lnTo>
                  <a:pt x="1533" y="89"/>
                </a:lnTo>
                <a:lnTo>
                  <a:pt x="1533" y="91"/>
                </a:lnTo>
                <a:lnTo>
                  <a:pt x="1536" y="92"/>
                </a:lnTo>
                <a:lnTo>
                  <a:pt x="1533" y="92"/>
                </a:lnTo>
                <a:lnTo>
                  <a:pt x="1538" y="94"/>
                </a:lnTo>
                <a:lnTo>
                  <a:pt x="1536" y="97"/>
                </a:lnTo>
                <a:lnTo>
                  <a:pt x="1537" y="97"/>
                </a:lnTo>
                <a:lnTo>
                  <a:pt x="1536" y="99"/>
                </a:lnTo>
                <a:lnTo>
                  <a:pt x="1537" y="99"/>
                </a:lnTo>
                <a:lnTo>
                  <a:pt x="1536" y="99"/>
                </a:lnTo>
                <a:lnTo>
                  <a:pt x="1533" y="100"/>
                </a:lnTo>
                <a:lnTo>
                  <a:pt x="1532" y="100"/>
                </a:lnTo>
                <a:lnTo>
                  <a:pt x="1533" y="100"/>
                </a:lnTo>
                <a:lnTo>
                  <a:pt x="1532" y="100"/>
                </a:lnTo>
                <a:lnTo>
                  <a:pt x="1530" y="100"/>
                </a:lnTo>
                <a:lnTo>
                  <a:pt x="1525" y="103"/>
                </a:lnTo>
                <a:lnTo>
                  <a:pt x="1525" y="105"/>
                </a:lnTo>
                <a:lnTo>
                  <a:pt x="1526" y="106"/>
                </a:lnTo>
                <a:lnTo>
                  <a:pt x="1528" y="106"/>
                </a:lnTo>
                <a:lnTo>
                  <a:pt x="1526" y="108"/>
                </a:lnTo>
                <a:lnTo>
                  <a:pt x="1528" y="108"/>
                </a:lnTo>
                <a:lnTo>
                  <a:pt x="1530" y="108"/>
                </a:lnTo>
                <a:lnTo>
                  <a:pt x="1532" y="108"/>
                </a:lnTo>
                <a:lnTo>
                  <a:pt x="1533" y="110"/>
                </a:lnTo>
                <a:lnTo>
                  <a:pt x="1533" y="111"/>
                </a:lnTo>
                <a:lnTo>
                  <a:pt x="1534" y="111"/>
                </a:lnTo>
                <a:lnTo>
                  <a:pt x="1534" y="113"/>
                </a:lnTo>
                <a:lnTo>
                  <a:pt x="1537" y="114"/>
                </a:lnTo>
                <a:lnTo>
                  <a:pt x="1540" y="114"/>
                </a:lnTo>
                <a:lnTo>
                  <a:pt x="1541" y="116"/>
                </a:lnTo>
                <a:lnTo>
                  <a:pt x="1541" y="117"/>
                </a:lnTo>
                <a:lnTo>
                  <a:pt x="1542" y="117"/>
                </a:lnTo>
                <a:lnTo>
                  <a:pt x="1544" y="119"/>
                </a:lnTo>
                <a:lnTo>
                  <a:pt x="1545" y="117"/>
                </a:lnTo>
                <a:lnTo>
                  <a:pt x="1548" y="119"/>
                </a:lnTo>
                <a:lnTo>
                  <a:pt x="1549" y="121"/>
                </a:lnTo>
                <a:lnTo>
                  <a:pt x="1552" y="121"/>
                </a:lnTo>
                <a:lnTo>
                  <a:pt x="1553" y="121"/>
                </a:lnTo>
                <a:lnTo>
                  <a:pt x="1554" y="122"/>
                </a:lnTo>
                <a:lnTo>
                  <a:pt x="1557" y="122"/>
                </a:lnTo>
                <a:lnTo>
                  <a:pt x="1557" y="121"/>
                </a:lnTo>
                <a:lnTo>
                  <a:pt x="1558" y="121"/>
                </a:lnTo>
                <a:lnTo>
                  <a:pt x="1561" y="124"/>
                </a:lnTo>
                <a:lnTo>
                  <a:pt x="1565" y="124"/>
                </a:lnTo>
                <a:lnTo>
                  <a:pt x="1565" y="122"/>
                </a:lnTo>
                <a:lnTo>
                  <a:pt x="1567" y="122"/>
                </a:lnTo>
                <a:lnTo>
                  <a:pt x="1569" y="119"/>
                </a:lnTo>
                <a:lnTo>
                  <a:pt x="1570" y="119"/>
                </a:lnTo>
                <a:lnTo>
                  <a:pt x="1573" y="116"/>
                </a:lnTo>
                <a:lnTo>
                  <a:pt x="1574" y="116"/>
                </a:lnTo>
                <a:lnTo>
                  <a:pt x="1574" y="113"/>
                </a:lnTo>
                <a:lnTo>
                  <a:pt x="1575" y="111"/>
                </a:lnTo>
                <a:lnTo>
                  <a:pt x="1575" y="110"/>
                </a:lnTo>
                <a:lnTo>
                  <a:pt x="1578" y="108"/>
                </a:lnTo>
                <a:lnTo>
                  <a:pt x="1582" y="103"/>
                </a:lnTo>
                <a:lnTo>
                  <a:pt x="1583" y="102"/>
                </a:lnTo>
                <a:lnTo>
                  <a:pt x="1585" y="102"/>
                </a:lnTo>
                <a:lnTo>
                  <a:pt x="1586" y="102"/>
                </a:lnTo>
                <a:lnTo>
                  <a:pt x="1586" y="103"/>
                </a:lnTo>
                <a:lnTo>
                  <a:pt x="1587" y="105"/>
                </a:lnTo>
                <a:lnTo>
                  <a:pt x="1590" y="106"/>
                </a:lnTo>
                <a:lnTo>
                  <a:pt x="1593" y="110"/>
                </a:lnTo>
                <a:lnTo>
                  <a:pt x="1595" y="110"/>
                </a:lnTo>
                <a:lnTo>
                  <a:pt x="1599" y="111"/>
                </a:lnTo>
                <a:lnTo>
                  <a:pt x="1602" y="111"/>
                </a:lnTo>
                <a:lnTo>
                  <a:pt x="1605" y="111"/>
                </a:lnTo>
                <a:lnTo>
                  <a:pt x="1613" y="111"/>
                </a:lnTo>
                <a:lnTo>
                  <a:pt x="1614" y="111"/>
                </a:lnTo>
                <a:lnTo>
                  <a:pt x="1617" y="113"/>
                </a:lnTo>
                <a:lnTo>
                  <a:pt x="1617" y="111"/>
                </a:lnTo>
                <a:lnTo>
                  <a:pt x="1617" y="110"/>
                </a:lnTo>
                <a:lnTo>
                  <a:pt x="1619" y="108"/>
                </a:lnTo>
                <a:lnTo>
                  <a:pt x="1629" y="108"/>
                </a:lnTo>
                <a:lnTo>
                  <a:pt x="1631" y="108"/>
                </a:lnTo>
                <a:lnTo>
                  <a:pt x="1634" y="108"/>
                </a:lnTo>
                <a:lnTo>
                  <a:pt x="1635" y="110"/>
                </a:lnTo>
                <a:lnTo>
                  <a:pt x="1639" y="110"/>
                </a:lnTo>
                <a:lnTo>
                  <a:pt x="1643" y="110"/>
                </a:lnTo>
                <a:lnTo>
                  <a:pt x="1651" y="111"/>
                </a:lnTo>
                <a:lnTo>
                  <a:pt x="1653" y="111"/>
                </a:lnTo>
                <a:lnTo>
                  <a:pt x="1655" y="113"/>
                </a:lnTo>
                <a:lnTo>
                  <a:pt x="1657" y="114"/>
                </a:lnTo>
                <a:lnTo>
                  <a:pt x="1659" y="114"/>
                </a:lnTo>
                <a:lnTo>
                  <a:pt x="1661" y="116"/>
                </a:lnTo>
                <a:lnTo>
                  <a:pt x="1662" y="116"/>
                </a:lnTo>
                <a:lnTo>
                  <a:pt x="1665" y="116"/>
                </a:lnTo>
                <a:lnTo>
                  <a:pt x="1666" y="116"/>
                </a:lnTo>
                <a:lnTo>
                  <a:pt x="1669" y="116"/>
                </a:lnTo>
                <a:lnTo>
                  <a:pt x="1670" y="114"/>
                </a:lnTo>
                <a:lnTo>
                  <a:pt x="1673" y="114"/>
                </a:lnTo>
                <a:lnTo>
                  <a:pt x="1674" y="113"/>
                </a:lnTo>
                <a:lnTo>
                  <a:pt x="1679" y="111"/>
                </a:lnTo>
                <a:lnTo>
                  <a:pt x="1680" y="111"/>
                </a:lnTo>
                <a:lnTo>
                  <a:pt x="1684" y="111"/>
                </a:lnTo>
                <a:lnTo>
                  <a:pt x="1686" y="110"/>
                </a:lnTo>
                <a:lnTo>
                  <a:pt x="1692" y="111"/>
                </a:lnTo>
                <a:lnTo>
                  <a:pt x="1694" y="111"/>
                </a:lnTo>
                <a:lnTo>
                  <a:pt x="1695" y="110"/>
                </a:lnTo>
                <a:lnTo>
                  <a:pt x="1694" y="108"/>
                </a:lnTo>
                <a:lnTo>
                  <a:pt x="1692" y="106"/>
                </a:lnTo>
                <a:lnTo>
                  <a:pt x="1691" y="106"/>
                </a:lnTo>
                <a:lnTo>
                  <a:pt x="1690" y="103"/>
                </a:lnTo>
                <a:lnTo>
                  <a:pt x="1692" y="103"/>
                </a:lnTo>
                <a:lnTo>
                  <a:pt x="1691" y="102"/>
                </a:lnTo>
                <a:lnTo>
                  <a:pt x="1691" y="100"/>
                </a:lnTo>
                <a:lnTo>
                  <a:pt x="1694" y="100"/>
                </a:lnTo>
                <a:lnTo>
                  <a:pt x="1696" y="99"/>
                </a:lnTo>
                <a:lnTo>
                  <a:pt x="1700" y="99"/>
                </a:lnTo>
                <a:lnTo>
                  <a:pt x="1702" y="97"/>
                </a:lnTo>
                <a:lnTo>
                  <a:pt x="1704" y="95"/>
                </a:lnTo>
                <a:lnTo>
                  <a:pt x="1706" y="94"/>
                </a:lnTo>
                <a:lnTo>
                  <a:pt x="1707" y="92"/>
                </a:lnTo>
                <a:lnTo>
                  <a:pt x="1710" y="91"/>
                </a:lnTo>
                <a:lnTo>
                  <a:pt x="1712" y="91"/>
                </a:lnTo>
                <a:lnTo>
                  <a:pt x="1710" y="89"/>
                </a:lnTo>
                <a:lnTo>
                  <a:pt x="1707" y="88"/>
                </a:lnTo>
                <a:lnTo>
                  <a:pt x="1710" y="86"/>
                </a:lnTo>
                <a:lnTo>
                  <a:pt x="1711" y="86"/>
                </a:lnTo>
                <a:lnTo>
                  <a:pt x="1714" y="86"/>
                </a:lnTo>
                <a:lnTo>
                  <a:pt x="1716" y="88"/>
                </a:lnTo>
                <a:lnTo>
                  <a:pt x="1718" y="88"/>
                </a:lnTo>
                <a:lnTo>
                  <a:pt x="1720" y="88"/>
                </a:lnTo>
                <a:lnTo>
                  <a:pt x="1735" y="89"/>
                </a:lnTo>
                <a:lnTo>
                  <a:pt x="1748" y="89"/>
                </a:lnTo>
                <a:lnTo>
                  <a:pt x="1751" y="89"/>
                </a:lnTo>
                <a:lnTo>
                  <a:pt x="1763" y="89"/>
                </a:lnTo>
                <a:lnTo>
                  <a:pt x="1770" y="91"/>
                </a:lnTo>
                <a:lnTo>
                  <a:pt x="1780" y="91"/>
                </a:lnTo>
                <a:lnTo>
                  <a:pt x="1782" y="91"/>
                </a:lnTo>
                <a:lnTo>
                  <a:pt x="1788" y="94"/>
                </a:lnTo>
                <a:lnTo>
                  <a:pt x="1792" y="94"/>
                </a:lnTo>
                <a:lnTo>
                  <a:pt x="1796" y="94"/>
                </a:lnTo>
                <a:lnTo>
                  <a:pt x="1803" y="95"/>
                </a:lnTo>
                <a:lnTo>
                  <a:pt x="1805" y="94"/>
                </a:lnTo>
                <a:lnTo>
                  <a:pt x="1813" y="94"/>
                </a:lnTo>
                <a:lnTo>
                  <a:pt x="1816" y="95"/>
                </a:lnTo>
                <a:lnTo>
                  <a:pt x="1817" y="95"/>
                </a:lnTo>
                <a:lnTo>
                  <a:pt x="1823" y="95"/>
                </a:lnTo>
                <a:lnTo>
                  <a:pt x="1828" y="95"/>
                </a:lnTo>
                <a:lnTo>
                  <a:pt x="1829" y="95"/>
                </a:lnTo>
                <a:lnTo>
                  <a:pt x="1833" y="97"/>
                </a:lnTo>
                <a:lnTo>
                  <a:pt x="1837" y="97"/>
                </a:lnTo>
                <a:lnTo>
                  <a:pt x="1841" y="99"/>
                </a:lnTo>
                <a:lnTo>
                  <a:pt x="1845" y="102"/>
                </a:lnTo>
                <a:lnTo>
                  <a:pt x="1845" y="103"/>
                </a:lnTo>
                <a:lnTo>
                  <a:pt x="1843" y="105"/>
                </a:lnTo>
                <a:lnTo>
                  <a:pt x="1840" y="103"/>
                </a:lnTo>
                <a:lnTo>
                  <a:pt x="1837" y="103"/>
                </a:lnTo>
                <a:lnTo>
                  <a:pt x="1835" y="103"/>
                </a:lnTo>
                <a:lnTo>
                  <a:pt x="1831" y="106"/>
                </a:lnTo>
                <a:lnTo>
                  <a:pt x="1832" y="106"/>
                </a:lnTo>
                <a:lnTo>
                  <a:pt x="1836" y="106"/>
                </a:lnTo>
                <a:lnTo>
                  <a:pt x="1837" y="108"/>
                </a:lnTo>
                <a:lnTo>
                  <a:pt x="1840" y="108"/>
                </a:lnTo>
                <a:lnTo>
                  <a:pt x="1841" y="106"/>
                </a:lnTo>
                <a:lnTo>
                  <a:pt x="1847" y="108"/>
                </a:lnTo>
                <a:lnTo>
                  <a:pt x="1849" y="108"/>
                </a:lnTo>
                <a:lnTo>
                  <a:pt x="1851" y="110"/>
                </a:lnTo>
                <a:lnTo>
                  <a:pt x="1855" y="110"/>
                </a:lnTo>
                <a:lnTo>
                  <a:pt x="1855" y="111"/>
                </a:lnTo>
                <a:lnTo>
                  <a:pt x="1856" y="113"/>
                </a:lnTo>
                <a:lnTo>
                  <a:pt x="1859" y="113"/>
                </a:lnTo>
                <a:lnTo>
                  <a:pt x="1864" y="111"/>
                </a:lnTo>
                <a:lnTo>
                  <a:pt x="1869" y="111"/>
                </a:lnTo>
                <a:lnTo>
                  <a:pt x="1871" y="113"/>
                </a:lnTo>
                <a:lnTo>
                  <a:pt x="1881" y="116"/>
                </a:lnTo>
                <a:lnTo>
                  <a:pt x="1880" y="117"/>
                </a:lnTo>
                <a:lnTo>
                  <a:pt x="1879" y="119"/>
                </a:lnTo>
                <a:lnTo>
                  <a:pt x="1872" y="119"/>
                </a:lnTo>
                <a:lnTo>
                  <a:pt x="1873" y="121"/>
                </a:lnTo>
                <a:lnTo>
                  <a:pt x="1877" y="121"/>
                </a:lnTo>
                <a:lnTo>
                  <a:pt x="1883" y="122"/>
                </a:lnTo>
                <a:lnTo>
                  <a:pt x="1884" y="122"/>
                </a:lnTo>
                <a:lnTo>
                  <a:pt x="1887" y="122"/>
                </a:lnTo>
                <a:lnTo>
                  <a:pt x="1889" y="122"/>
                </a:lnTo>
                <a:lnTo>
                  <a:pt x="1896" y="121"/>
                </a:lnTo>
                <a:lnTo>
                  <a:pt x="1899" y="121"/>
                </a:lnTo>
                <a:lnTo>
                  <a:pt x="1900" y="121"/>
                </a:lnTo>
                <a:lnTo>
                  <a:pt x="1906" y="121"/>
                </a:lnTo>
                <a:lnTo>
                  <a:pt x="1909" y="121"/>
                </a:lnTo>
                <a:lnTo>
                  <a:pt x="1912" y="121"/>
                </a:lnTo>
                <a:lnTo>
                  <a:pt x="1914" y="119"/>
                </a:lnTo>
                <a:lnTo>
                  <a:pt x="1916" y="119"/>
                </a:lnTo>
                <a:lnTo>
                  <a:pt x="1924" y="121"/>
                </a:lnTo>
                <a:lnTo>
                  <a:pt x="1926" y="121"/>
                </a:lnTo>
                <a:lnTo>
                  <a:pt x="1929" y="119"/>
                </a:lnTo>
                <a:lnTo>
                  <a:pt x="1934" y="119"/>
                </a:lnTo>
                <a:lnTo>
                  <a:pt x="1936" y="119"/>
                </a:lnTo>
                <a:lnTo>
                  <a:pt x="1940" y="119"/>
                </a:lnTo>
                <a:lnTo>
                  <a:pt x="1946" y="119"/>
                </a:lnTo>
                <a:lnTo>
                  <a:pt x="1953" y="119"/>
                </a:lnTo>
                <a:lnTo>
                  <a:pt x="1960" y="119"/>
                </a:lnTo>
                <a:lnTo>
                  <a:pt x="1964" y="119"/>
                </a:lnTo>
                <a:lnTo>
                  <a:pt x="1974" y="119"/>
                </a:lnTo>
                <a:lnTo>
                  <a:pt x="1978" y="121"/>
                </a:lnTo>
                <a:lnTo>
                  <a:pt x="1981" y="121"/>
                </a:lnTo>
                <a:lnTo>
                  <a:pt x="1982" y="122"/>
                </a:lnTo>
                <a:lnTo>
                  <a:pt x="1986" y="124"/>
                </a:lnTo>
                <a:lnTo>
                  <a:pt x="1988" y="124"/>
                </a:lnTo>
                <a:lnTo>
                  <a:pt x="1990" y="125"/>
                </a:lnTo>
                <a:lnTo>
                  <a:pt x="1993" y="127"/>
                </a:lnTo>
                <a:lnTo>
                  <a:pt x="1996" y="130"/>
                </a:lnTo>
                <a:lnTo>
                  <a:pt x="1996" y="132"/>
                </a:lnTo>
                <a:lnTo>
                  <a:pt x="1996" y="133"/>
                </a:lnTo>
                <a:lnTo>
                  <a:pt x="1990" y="139"/>
                </a:lnTo>
                <a:lnTo>
                  <a:pt x="1992" y="141"/>
                </a:lnTo>
                <a:lnTo>
                  <a:pt x="1996" y="141"/>
                </a:lnTo>
                <a:lnTo>
                  <a:pt x="1997" y="141"/>
                </a:lnTo>
                <a:lnTo>
                  <a:pt x="2000" y="141"/>
                </a:lnTo>
                <a:lnTo>
                  <a:pt x="2002" y="141"/>
                </a:lnTo>
                <a:lnTo>
                  <a:pt x="2006" y="143"/>
                </a:lnTo>
                <a:lnTo>
                  <a:pt x="2009" y="143"/>
                </a:lnTo>
                <a:lnTo>
                  <a:pt x="2010" y="144"/>
                </a:lnTo>
                <a:lnTo>
                  <a:pt x="2012" y="146"/>
                </a:lnTo>
                <a:lnTo>
                  <a:pt x="2014" y="144"/>
                </a:lnTo>
                <a:lnTo>
                  <a:pt x="2015" y="146"/>
                </a:lnTo>
                <a:lnTo>
                  <a:pt x="2015" y="147"/>
                </a:lnTo>
                <a:lnTo>
                  <a:pt x="2017" y="147"/>
                </a:lnTo>
                <a:lnTo>
                  <a:pt x="2019" y="147"/>
                </a:lnTo>
                <a:lnTo>
                  <a:pt x="2021" y="146"/>
                </a:lnTo>
                <a:lnTo>
                  <a:pt x="2026" y="146"/>
                </a:lnTo>
                <a:lnTo>
                  <a:pt x="2026" y="144"/>
                </a:lnTo>
                <a:lnTo>
                  <a:pt x="2029" y="144"/>
                </a:lnTo>
                <a:lnTo>
                  <a:pt x="2030" y="143"/>
                </a:lnTo>
                <a:lnTo>
                  <a:pt x="2031" y="143"/>
                </a:lnTo>
                <a:lnTo>
                  <a:pt x="2033" y="143"/>
                </a:lnTo>
                <a:lnTo>
                  <a:pt x="2037" y="143"/>
                </a:lnTo>
                <a:lnTo>
                  <a:pt x="2042" y="141"/>
                </a:lnTo>
                <a:lnTo>
                  <a:pt x="2050" y="143"/>
                </a:lnTo>
                <a:lnTo>
                  <a:pt x="2057" y="141"/>
                </a:lnTo>
                <a:lnTo>
                  <a:pt x="2061" y="144"/>
                </a:lnTo>
                <a:lnTo>
                  <a:pt x="2065" y="144"/>
                </a:lnTo>
                <a:lnTo>
                  <a:pt x="2071" y="144"/>
                </a:lnTo>
                <a:lnTo>
                  <a:pt x="2073" y="144"/>
                </a:lnTo>
                <a:lnTo>
                  <a:pt x="2075" y="144"/>
                </a:lnTo>
                <a:lnTo>
                  <a:pt x="2085" y="144"/>
                </a:lnTo>
                <a:lnTo>
                  <a:pt x="2090" y="146"/>
                </a:lnTo>
                <a:lnTo>
                  <a:pt x="2097" y="146"/>
                </a:lnTo>
                <a:lnTo>
                  <a:pt x="2098" y="146"/>
                </a:lnTo>
                <a:lnTo>
                  <a:pt x="2101" y="146"/>
                </a:lnTo>
                <a:lnTo>
                  <a:pt x="2109" y="141"/>
                </a:lnTo>
                <a:lnTo>
                  <a:pt x="2110" y="141"/>
                </a:lnTo>
                <a:lnTo>
                  <a:pt x="2113" y="141"/>
                </a:lnTo>
                <a:lnTo>
                  <a:pt x="2117" y="141"/>
                </a:lnTo>
                <a:lnTo>
                  <a:pt x="2117" y="143"/>
                </a:lnTo>
                <a:lnTo>
                  <a:pt x="2114" y="143"/>
                </a:lnTo>
                <a:lnTo>
                  <a:pt x="2114" y="144"/>
                </a:lnTo>
                <a:lnTo>
                  <a:pt x="2119" y="144"/>
                </a:lnTo>
                <a:lnTo>
                  <a:pt x="2119" y="146"/>
                </a:lnTo>
                <a:lnTo>
                  <a:pt x="2119" y="149"/>
                </a:lnTo>
                <a:lnTo>
                  <a:pt x="2119" y="150"/>
                </a:lnTo>
                <a:lnTo>
                  <a:pt x="2122" y="152"/>
                </a:lnTo>
                <a:lnTo>
                  <a:pt x="2128" y="152"/>
                </a:lnTo>
                <a:lnTo>
                  <a:pt x="2131" y="152"/>
                </a:lnTo>
                <a:lnTo>
                  <a:pt x="2131" y="154"/>
                </a:lnTo>
                <a:lnTo>
                  <a:pt x="2135" y="154"/>
                </a:lnTo>
                <a:lnTo>
                  <a:pt x="2136" y="155"/>
                </a:lnTo>
                <a:lnTo>
                  <a:pt x="2139" y="158"/>
                </a:lnTo>
                <a:lnTo>
                  <a:pt x="2140" y="158"/>
                </a:lnTo>
                <a:lnTo>
                  <a:pt x="2147" y="158"/>
                </a:lnTo>
                <a:lnTo>
                  <a:pt x="2152" y="157"/>
                </a:lnTo>
                <a:lnTo>
                  <a:pt x="2162" y="154"/>
                </a:lnTo>
                <a:lnTo>
                  <a:pt x="2159" y="150"/>
                </a:lnTo>
                <a:lnTo>
                  <a:pt x="2159" y="149"/>
                </a:lnTo>
                <a:lnTo>
                  <a:pt x="2158" y="149"/>
                </a:lnTo>
                <a:lnTo>
                  <a:pt x="2155" y="144"/>
                </a:lnTo>
                <a:lnTo>
                  <a:pt x="2147" y="144"/>
                </a:lnTo>
                <a:lnTo>
                  <a:pt x="2148" y="143"/>
                </a:lnTo>
                <a:lnTo>
                  <a:pt x="2154" y="141"/>
                </a:lnTo>
                <a:lnTo>
                  <a:pt x="2154" y="139"/>
                </a:lnTo>
                <a:lnTo>
                  <a:pt x="2152" y="138"/>
                </a:lnTo>
                <a:lnTo>
                  <a:pt x="2152" y="136"/>
                </a:lnTo>
                <a:lnTo>
                  <a:pt x="2155" y="136"/>
                </a:lnTo>
                <a:lnTo>
                  <a:pt x="2163" y="136"/>
                </a:lnTo>
                <a:lnTo>
                  <a:pt x="2182" y="138"/>
                </a:lnTo>
                <a:lnTo>
                  <a:pt x="2183" y="138"/>
                </a:lnTo>
                <a:lnTo>
                  <a:pt x="2191" y="139"/>
                </a:lnTo>
                <a:lnTo>
                  <a:pt x="2195" y="139"/>
                </a:lnTo>
                <a:lnTo>
                  <a:pt x="2198" y="139"/>
                </a:lnTo>
                <a:lnTo>
                  <a:pt x="2204" y="139"/>
                </a:lnTo>
                <a:lnTo>
                  <a:pt x="2208" y="139"/>
                </a:lnTo>
                <a:lnTo>
                  <a:pt x="2212" y="139"/>
                </a:lnTo>
                <a:lnTo>
                  <a:pt x="2215" y="139"/>
                </a:lnTo>
                <a:lnTo>
                  <a:pt x="2219" y="139"/>
                </a:lnTo>
                <a:lnTo>
                  <a:pt x="2220" y="139"/>
                </a:lnTo>
                <a:lnTo>
                  <a:pt x="2235" y="139"/>
                </a:lnTo>
                <a:lnTo>
                  <a:pt x="2238" y="139"/>
                </a:lnTo>
                <a:lnTo>
                  <a:pt x="2245" y="143"/>
                </a:lnTo>
                <a:lnTo>
                  <a:pt x="2249" y="143"/>
                </a:lnTo>
                <a:lnTo>
                  <a:pt x="2255" y="144"/>
                </a:lnTo>
                <a:lnTo>
                  <a:pt x="2257" y="144"/>
                </a:lnTo>
                <a:lnTo>
                  <a:pt x="2261" y="146"/>
                </a:lnTo>
                <a:lnTo>
                  <a:pt x="2271" y="147"/>
                </a:lnTo>
                <a:lnTo>
                  <a:pt x="2272" y="147"/>
                </a:lnTo>
                <a:lnTo>
                  <a:pt x="2275" y="149"/>
                </a:lnTo>
                <a:lnTo>
                  <a:pt x="2277" y="149"/>
                </a:lnTo>
                <a:lnTo>
                  <a:pt x="2284" y="150"/>
                </a:lnTo>
                <a:lnTo>
                  <a:pt x="2296" y="157"/>
                </a:lnTo>
                <a:lnTo>
                  <a:pt x="2296" y="224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19" name="Freeform 1043"/>
          <p:cNvSpPr>
            <a:spLocks/>
          </p:cNvSpPr>
          <p:nvPr/>
        </p:nvSpPr>
        <p:spPr bwMode="auto">
          <a:xfrm>
            <a:off x="10146955" y="2134372"/>
            <a:ext cx="270887" cy="414488"/>
          </a:xfrm>
          <a:custGeom>
            <a:avLst/>
            <a:gdLst/>
            <a:ahLst/>
            <a:cxnLst>
              <a:cxn ang="0">
                <a:pos x="108" y="102"/>
              </a:cxn>
              <a:cxn ang="0">
                <a:pos x="114" y="108"/>
              </a:cxn>
              <a:cxn ang="0">
                <a:pos x="112" y="119"/>
              </a:cxn>
              <a:cxn ang="0">
                <a:pos x="109" y="113"/>
              </a:cxn>
              <a:cxn ang="0">
                <a:pos x="105" y="111"/>
              </a:cxn>
              <a:cxn ang="0">
                <a:pos x="97" y="117"/>
              </a:cxn>
              <a:cxn ang="0">
                <a:pos x="92" y="128"/>
              </a:cxn>
              <a:cxn ang="0">
                <a:pos x="98" y="141"/>
              </a:cxn>
              <a:cxn ang="0">
                <a:pos x="86" y="146"/>
              </a:cxn>
              <a:cxn ang="0">
                <a:pos x="68" y="152"/>
              </a:cxn>
              <a:cxn ang="0">
                <a:pos x="65" y="166"/>
              </a:cxn>
              <a:cxn ang="0">
                <a:pos x="56" y="169"/>
              </a:cxn>
              <a:cxn ang="0">
                <a:pos x="45" y="172"/>
              </a:cxn>
              <a:cxn ang="0">
                <a:pos x="44" y="180"/>
              </a:cxn>
              <a:cxn ang="0">
                <a:pos x="35" y="198"/>
              </a:cxn>
              <a:cxn ang="0">
                <a:pos x="23" y="207"/>
              </a:cxn>
              <a:cxn ang="0">
                <a:pos x="16" y="198"/>
              </a:cxn>
              <a:cxn ang="0">
                <a:pos x="9" y="176"/>
              </a:cxn>
              <a:cxn ang="0">
                <a:pos x="5" y="155"/>
              </a:cxn>
              <a:cxn ang="0">
                <a:pos x="1" y="143"/>
              </a:cxn>
              <a:cxn ang="0">
                <a:pos x="1" y="121"/>
              </a:cxn>
              <a:cxn ang="0">
                <a:pos x="11" y="103"/>
              </a:cxn>
              <a:cxn ang="0">
                <a:pos x="21" y="89"/>
              </a:cxn>
              <a:cxn ang="0">
                <a:pos x="31" y="86"/>
              </a:cxn>
              <a:cxn ang="0">
                <a:pos x="47" y="78"/>
              </a:cxn>
              <a:cxn ang="0">
                <a:pos x="64" y="67"/>
              </a:cxn>
              <a:cxn ang="0">
                <a:pos x="73" y="56"/>
              </a:cxn>
              <a:cxn ang="0">
                <a:pos x="94" y="44"/>
              </a:cxn>
              <a:cxn ang="0">
                <a:pos x="104" y="37"/>
              </a:cxn>
              <a:cxn ang="0">
                <a:pos x="117" y="34"/>
              </a:cxn>
              <a:cxn ang="0">
                <a:pos x="120" y="29"/>
              </a:cxn>
              <a:cxn ang="0">
                <a:pos x="125" y="23"/>
              </a:cxn>
              <a:cxn ang="0">
                <a:pos x="128" y="14"/>
              </a:cxn>
              <a:cxn ang="0">
                <a:pos x="132" y="6"/>
              </a:cxn>
              <a:cxn ang="0">
                <a:pos x="137" y="1"/>
              </a:cxn>
              <a:cxn ang="0">
                <a:pos x="116" y="6"/>
              </a:cxn>
              <a:cxn ang="0">
                <a:pos x="113" y="14"/>
              </a:cxn>
              <a:cxn ang="0">
                <a:pos x="113" y="20"/>
              </a:cxn>
              <a:cxn ang="0">
                <a:pos x="108" y="18"/>
              </a:cxn>
              <a:cxn ang="0">
                <a:pos x="93" y="25"/>
              </a:cxn>
              <a:cxn ang="0">
                <a:pos x="75" y="34"/>
              </a:cxn>
              <a:cxn ang="0">
                <a:pos x="71" y="33"/>
              </a:cxn>
              <a:cxn ang="0">
                <a:pos x="64" y="31"/>
              </a:cxn>
              <a:cxn ang="0">
                <a:pos x="65" y="25"/>
              </a:cxn>
              <a:cxn ang="0">
                <a:pos x="72" y="12"/>
              </a:cxn>
              <a:cxn ang="0">
                <a:pos x="59" y="15"/>
              </a:cxn>
              <a:cxn ang="0">
                <a:pos x="51" y="14"/>
              </a:cxn>
              <a:cxn ang="0">
                <a:pos x="28" y="17"/>
              </a:cxn>
              <a:cxn ang="0">
                <a:pos x="16" y="26"/>
              </a:cxn>
            </a:cxnLst>
            <a:rect l="0" t="0" r="r" b="b"/>
            <a:pathLst>
              <a:path w="142" h="210">
                <a:moveTo>
                  <a:pt x="109" y="94"/>
                </a:moveTo>
                <a:lnTo>
                  <a:pt x="108" y="95"/>
                </a:lnTo>
                <a:lnTo>
                  <a:pt x="108" y="99"/>
                </a:lnTo>
                <a:lnTo>
                  <a:pt x="108" y="102"/>
                </a:lnTo>
                <a:lnTo>
                  <a:pt x="108" y="106"/>
                </a:lnTo>
                <a:lnTo>
                  <a:pt x="109" y="106"/>
                </a:lnTo>
                <a:lnTo>
                  <a:pt x="113" y="106"/>
                </a:lnTo>
                <a:lnTo>
                  <a:pt x="114" y="108"/>
                </a:lnTo>
                <a:lnTo>
                  <a:pt x="116" y="114"/>
                </a:lnTo>
                <a:lnTo>
                  <a:pt x="116" y="116"/>
                </a:lnTo>
                <a:lnTo>
                  <a:pt x="113" y="119"/>
                </a:lnTo>
                <a:lnTo>
                  <a:pt x="112" y="119"/>
                </a:lnTo>
                <a:lnTo>
                  <a:pt x="109" y="119"/>
                </a:lnTo>
                <a:lnTo>
                  <a:pt x="106" y="114"/>
                </a:lnTo>
                <a:lnTo>
                  <a:pt x="108" y="113"/>
                </a:lnTo>
                <a:lnTo>
                  <a:pt x="109" y="113"/>
                </a:lnTo>
                <a:lnTo>
                  <a:pt x="112" y="110"/>
                </a:lnTo>
                <a:lnTo>
                  <a:pt x="110" y="110"/>
                </a:lnTo>
                <a:lnTo>
                  <a:pt x="109" y="111"/>
                </a:lnTo>
                <a:lnTo>
                  <a:pt x="105" y="111"/>
                </a:lnTo>
                <a:lnTo>
                  <a:pt x="100" y="113"/>
                </a:lnTo>
                <a:lnTo>
                  <a:pt x="101" y="114"/>
                </a:lnTo>
                <a:lnTo>
                  <a:pt x="102" y="116"/>
                </a:lnTo>
                <a:lnTo>
                  <a:pt x="97" y="117"/>
                </a:lnTo>
                <a:lnTo>
                  <a:pt x="96" y="121"/>
                </a:lnTo>
                <a:lnTo>
                  <a:pt x="94" y="122"/>
                </a:lnTo>
                <a:lnTo>
                  <a:pt x="92" y="125"/>
                </a:lnTo>
                <a:lnTo>
                  <a:pt x="92" y="128"/>
                </a:lnTo>
                <a:lnTo>
                  <a:pt x="92" y="130"/>
                </a:lnTo>
                <a:lnTo>
                  <a:pt x="92" y="132"/>
                </a:lnTo>
                <a:lnTo>
                  <a:pt x="93" y="135"/>
                </a:lnTo>
                <a:lnTo>
                  <a:pt x="98" y="141"/>
                </a:lnTo>
                <a:lnTo>
                  <a:pt x="97" y="143"/>
                </a:lnTo>
                <a:lnTo>
                  <a:pt x="93" y="146"/>
                </a:lnTo>
                <a:lnTo>
                  <a:pt x="90" y="146"/>
                </a:lnTo>
                <a:lnTo>
                  <a:pt x="86" y="146"/>
                </a:lnTo>
                <a:lnTo>
                  <a:pt x="85" y="144"/>
                </a:lnTo>
                <a:lnTo>
                  <a:pt x="81" y="144"/>
                </a:lnTo>
                <a:lnTo>
                  <a:pt x="76" y="147"/>
                </a:lnTo>
                <a:lnTo>
                  <a:pt x="68" y="152"/>
                </a:lnTo>
                <a:lnTo>
                  <a:pt x="65" y="154"/>
                </a:lnTo>
                <a:lnTo>
                  <a:pt x="65" y="157"/>
                </a:lnTo>
                <a:lnTo>
                  <a:pt x="65" y="165"/>
                </a:lnTo>
                <a:lnTo>
                  <a:pt x="65" y="166"/>
                </a:lnTo>
                <a:lnTo>
                  <a:pt x="67" y="168"/>
                </a:lnTo>
                <a:lnTo>
                  <a:pt x="67" y="169"/>
                </a:lnTo>
                <a:lnTo>
                  <a:pt x="63" y="168"/>
                </a:lnTo>
                <a:lnTo>
                  <a:pt x="56" y="169"/>
                </a:lnTo>
                <a:lnTo>
                  <a:pt x="51" y="172"/>
                </a:lnTo>
                <a:lnTo>
                  <a:pt x="48" y="174"/>
                </a:lnTo>
                <a:lnTo>
                  <a:pt x="47" y="174"/>
                </a:lnTo>
                <a:lnTo>
                  <a:pt x="45" y="172"/>
                </a:lnTo>
                <a:lnTo>
                  <a:pt x="44" y="176"/>
                </a:lnTo>
                <a:lnTo>
                  <a:pt x="45" y="176"/>
                </a:lnTo>
                <a:lnTo>
                  <a:pt x="45" y="179"/>
                </a:lnTo>
                <a:lnTo>
                  <a:pt x="44" y="180"/>
                </a:lnTo>
                <a:lnTo>
                  <a:pt x="44" y="183"/>
                </a:lnTo>
                <a:lnTo>
                  <a:pt x="44" y="187"/>
                </a:lnTo>
                <a:lnTo>
                  <a:pt x="40" y="193"/>
                </a:lnTo>
                <a:lnTo>
                  <a:pt x="35" y="198"/>
                </a:lnTo>
                <a:lnTo>
                  <a:pt x="31" y="199"/>
                </a:lnTo>
                <a:lnTo>
                  <a:pt x="29" y="202"/>
                </a:lnTo>
                <a:lnTo>
                  <a:pt x="27" y="204"/>
                </a:lnTo>
                <a:lnTo>
                  <a:pt x="23" y="207"/>
                </a:lnTo>
                <a:lnTo>
                  <a:pt x="19" y="210"/>
                </a:lnTo>
                <a:lnTo>
                  <a:pt x="19" y="207"/>
                </a:lnTo>
                <a:lnTo>
                  <a:pt x="16" y="202"/>
                </a:lnTo>
                <a:lnTo>
                  <a:pt x="16" y="198"/>
                </a:lnTo>
                <a:lnTo>
                  <a:pt x="15" y="188"/>
                </a:lnTo>
                <a:lnTo>
                  <a:pt x="13" y="185"/>
                </a:lnTo>
                <a:lnTo>
                  <a:pt x="11" y="180"/>
                </a:lnTo>
                <a:lnTo>
                  <a:pt x="9" y="176"/>
                </a:lnTo>
                <a:lnTo>
                  <a:pt x="9" y="171"/>
                </a:lnTo>
                <a:lnTo>
                  <a:pt x="8" y="166"/>
                </a:lnTo>
                <a:lnTo>
                  <a:pt x="7" y="161"/>
                </a:lnTo>
                <a:lnTo>
                  <a:pt x="5" y="155"/>
                </a:lnTo>
                <a:lnTo>
                  <a:pt x="4" y="155"/>
                </a:lnTo>
                <a:lnTo>
                  <a:pt x="4" y="154"/>
                </a:lnTo>
                <a:lnTo>
                  <a:pt x="3" y="146"/>
                </a:lnTo>
                <a:lnTo>
                  <a:pt x="1" y="143"/>
                </a:lnTo>
                <a:lnTo>
                  <a:pt x="1" y="138"/>
                </a:lnTo>
                <a:lnTo>
                  <a:pt x="1" y="133"/>
                </a:lnTo>
                <a:lnTo>
                  <a:pt x="0" y="128"/>
                </a:lnTo>
                <a:lnTo>
                  <a:pt x="1" y="121"/>
                </a:lnTo>
                <a:lnTo>
                  <a:pt x="4" y="111"/>
                </a:lnTo>
                <a:lnTo>
                  <a:pt x="5" y="106"/>
                </a:lnTo>
                <a:lnTo>
                  <a:pt x="7" y="105"/>
                </a:lnTo>
                <a:lnTo>
                  <a:pt x="11" y="103"/>
                </a:lnTo>
                <a:lnTo>
                  <a:pt x="15" y="100"/>
                </a:lnTo>
                <a:lnTo>
                  <a:pt x="19" y="99"/>
                </a:lnTo>
                <a:lnTo>
                  <a:pt x="23" y="92"/>
                </a:lnTo>
                <a:lnTo>
                  <a:pt x="21" y="89"/>
                </a:lnTo>
                <a:lnTo>
                  <a:pt x="20" y="86"/>
                </a:lnTo>
                <a:lnTo>
                  <a:pt x="23" y="86"/>
                </a:lnTo>
                <a:lnTo>
                  <a:pt x="28" y="88"/>
                </a:lnTo>
                <a:lnTo>
                  <a:pt x="31" y="86"/>
                </a:lnTo>
                <a:lnTo>
                  <a:pt x="32" y="84"/>
                </a:lnTo>
                <a:lnTo>
                  <a:pt x="37" y="84"/>
                </a:lnTo>
                <a:lnTo>
                  <a:pt x="43" y="81"/>
                </a:lnTo>
                <a:lnTo>
                  <a:pt x="47" y="78"/>
                </a:lnTo>
                <a:lnTo>
                  <a:pt x="51" y="77"/>
                </a:lnTo>
                <a:lnTo>
                  <a:pt x="55" y="73"/>
                </a:lnTo>
                <a:lnTo>
                  <a:pt x="57" y="72"/>
                </a:lnTo>
                <a:lnTo>
                  <a:pt x="64" y="67"/>
                </a:lnTo>
                <a:lnTo>
                  <a:pt x="64" y="64"/>
                </a:lnTo>
                <a:lnTo>
                  <a:pt x="69" y="59"/>
                </a:lnTo>
                <a:lnTo>
                  <a:pt x="72" y="59"/>
                </a:lnTo>
                <a:lnTo>
                  <a:pt x="73" y="56"/>
                </a:lnTo>
                <a:lnTo>
                  <a:pt x="80" y="53"/>
                </a:lnTo>
                <a:lnTo>
                  <a:pt x="88" y="48"/>
                </a:lnTo>
                <a:lnTo>
                  <a:pt x="90" y="45"/>
                </a:lnTo>
                <a:lnTo>
                  <a:pt x="94" y="44"/>
                </a:lnTo>
                <a:lnTo>
                  <a:pt x="96" y="42"/>
                </a:lnTo>
                <a:lnTo>
                  <a:pt x="96" y="40"/>
                </a:lnTo>
                <a:lnTo>
                  <a:pt x="96" y="39"/>
                </a:lnTo>
                <a:lnTo>
                  <a:pt x="104" y="37"/>
                </a:lnTo>
                <a:lnTo>
                  <a:pt x="106" y="37"/>
                </a:lnTo>
                <a:lnTo>
                  <a:pt x="110" y="34"/>
                </a:lnTo>
                <a:lnTo>
                  <a:pt x="113" y="34"/>
                </a:lnTo>
                <a:lnTo>
                  <a:pt x="117" y="34"/>
                </a:lnTo>
                <a:lnTo>
                  <a:pt x="120" y="33"/>
                </a:lnTo>
                <a:lnTo>
                  <a:pt x="122" y="33"/>
                </a:lnTo>
                <a:lnTo>
                  <a:pt x="122" y="31"/>
                </a:lnTo>
                <a:lnTo>
                  <a:pt x="120" y="29"/>
                </a:lnTo>
                <a:lnTo>
                  <a:pt x="121" y="28"/>
                </a:lnTo>
                <a:lnTo>
                  <a:pt x="122" y="26"/>
                </a:lnTo>
                <a:lnTo>
                  <a:pt x="125" y="25"/>
                </a:lnTo>
                <a:lnTo>
                  <a:pt x="125" y="23"/>
                </a:lnTo>
                <a:lnTo>
                  <a:pt x="124" y="22"/>
                </a:lnTo>
                <a:lnTo>
                  <a:pt x="124" y="20"/>
                </a:lnTo>
                <a:lnTo>
                  <a:pt x="128" y="18"/>
                </a:lnTo>
                <a:lnTo>
                  <a:pt x="128" y="14"/>
                </a:lnTo>
                <a:lnTo>
                  <a:pt x="128" y="12"/>
                </a:lnTo>
                <a:lnTo>
                  <a:pt x="129" y="11"/>
                </a:lnTo>
                <a:lnTo>
                  <a:pt x="129" y="8"/>
                </a:lnTo>
                <a:lnTo>
                  <a:pt x="132" y="6"/>
                </a:lnTo>
                <a:lnTo>
                  <a:pt x="137" y="4"/>
                </a:lnTo>
                <a:lnTo>
                  <a:pt x="140" y="4"/>
                </a:lnTo>
                <a:lnTo>
                  <a:pt x="142" y="3"/>
                </a:lnTo>
                <a:lnTo>
                  <a:pt x="137" y="1"/>
                </a:lnTo>
                <a:lnTo>
                  <a:pt x="133" y="0"/>
                </a:lnTo>
                <a:lnTo>
                  <a:pt x="121" y="3"/>
                </a:lnTo>
                <a:lnTo>
                  <a:pt x="117" y="4"/>
                </a:lnTo>
                <a:lnTo>
                  <a:pt x="116" y="6"/>
                </a:lnTo>
                <a:lnTo>
                  <a:pt x="116" y="8"/>
                </a:lnTo>
                <a:lnTo>
                  <a:pt x="113" y="9"/>
                </a:lnTo>
                <a:lnTo>
                  <a:pt x="113" y="11"/>
                </a:lnTo>
                <a:lnTo>
                  <a:pt x="113" y="14"/>
                </a:lnTo>
                <a:lnTo>
                  <a:pt x="112" y="15"/>
                </a:lnTo>
                <a:lnTo>
                  <a:pt x="113" y="17"/>
                </a:lnTo>
                <a:lnTo>
                  <a:pt x="116" y="17"/>
                </a:lnTo>
                <a:lnTo>
                  <a:pt x="113" y="20"/>
                </a:lnTo>
                <a:lnTo>
                  <a:pt x="112" y="20"/>
                </a:lnTo>
                <a:lnTo>
                  <a:pt x="110" y="18"/>
                </a:lnTo>
                <a:lnTo>
                  <a:pt x="109" y="17"/>
                </a:lnTo>
                <a:lnTo>
                  <a:pt x="108" y="18"/>
                </a:lnTo>
                <a:lnTo>
                  <a:pt x="106" y="18"/>
                </a:lnTo>
                <a:lnTo>
                  <a:pt x="102" y="18"/>
                </a:lnTo>
                <a:lnTo>
                  <a:pt x="97" y="23"/>
                </a:lnTo>
                <a:lnTo>
                  <a:pt x="93" y="25"/>
                </a:lnTo>
                <a:lnTo>
                  <a:pt x="90" y="26"/>
                </a:lnTo>
                <a:lnTo>
                  <a:pt x="88" y="28"/>
                </a:lnTo>
                <a:lnTo>
                  <a:pt x="77" y="34"/>
                </a:lnTo>
                <a:lnTo>
                  <a:pt x="75" y="34"/>
                </a:lnTo>
                <a:lnTo>
                  <a:pt x="72" y="37"/>
                </a:lnTo>
                <a:lnTo>
                  <a:pt x="69" y="37"/>
                </a:lnTo>
                <a:lnTo>
                  <a:pt x="69" y="36"/>
                </a:lnTo>
                <a:lnTo>
                  <a:pt x="71" y="33"/>
                </a:lnTo>
                <a:lnTo>
                  <a:pt x="73" y="29"/>
                </a:lnTo>
                <a:lnTo>
                  <a:pt x="69" y="29"/>
                </a:lnTo>
                <a:lnTo>
                  <a:pt x="65" y="31"/>
                </a:lnTo>
                <a:lnTo>
                  <a:pt x="64" y="31"/>
                </a:lnTo>
                <a:lnTo>
                  <a:pt x="65" y="29"/>
                </a:lnTo>
                <a:lnTo>
                  <a:pt x="67" y="28"/>
                </a:lnTo>
                <a:lnTo>
                  <a:pt x="65" y="26"/>
                </a:lnTo>
                <a:lnTo>
                  <a:pt x="65" y="25"/>
                </a:lnTo>
                <a:lnTo>
                  <a:pt x="67" y="23"/>
                </a:lnTo>
                <a:lnTo>
                  <a:pt x="68" y="22"/>
                </a:lnTo>
                <a:lnTo>
                  <a:pt x="71" y="20"/>
                </a:lnTo>
                <a:lnTo>
                  <a:pt x="72" y="12"/>
                </a:lnTo>
                <a:lnTo>
                  <a:pt x="67" y="15"/>
                </a:lnTo>
                <a:lnTo>
                  <a:pt x="64" y="17"/>
                </a:lnTo>
                <a:lnTo>
                  <a:pt x="60" y="18"/>
                </a:lnTo>
                <a:lnTo>
                  <a:pt x="59" y="15"/>
                </a:lnTo>
                <a:lnTo>
                  <a:pt x="57" y="15"/>
                </a:lnTo>
                <a:lnTo>
                  <a:pt x="53" y="14"/>
                </a:lnTo>
                <a:lnTo>
                  <a:pt x="52" y="14"/>
                </a:lnTo>
                <a:lnTo>
                  <a:pt x="51" y="14"/>
                </a:lnTo>
                <a:lnTo>
                  <a:pt x="49" y="15"/>
                </a:lnTo>
                <a:lnTo>
                  <a:pt x="39" y="17"/>
                </a:lnTo>
                <a:lnTo>
                  <a:pt x="31" y="15"/>
                </a:lnTo>
                <a:lnTo>
                  <a:pt x="28" y="17"/>
                </a:lnTo>
                <a:lnTo>
                  <a:pt x="25" y="18"/>
                </a:lnTo>
                <a:lnTo>
                  <a:pt x="20" y="20"/>
                </a:lnTo>
                <a:lnTo>
                  <a:pt x="17" y="22"/>
                </a:lnTo>
                <a:lnTo>
                  <a:pt x="16" y="26"/>
                </a:lnTo>
                <a:lnTo>
                  <a:pt x="13" y="28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20" name="Freeform 1044"/>
          <p:cNvSpPr>
            <a:spLocks/>
          </p:cNvSpPr>
          <p:nvPr/>
        </p:nvSpPr>
        <p:spPr bwMode="auto">
          <a:xfrm>
            <a:off x="9562310" y="2188063"/>
            <a:ext cx="609980" cy="285632"/>
          </a:xfrm>
          <a:custGeom>
            <a:avLst/>
            <a:gdLst/>
            <a:ahLst/>
            <a:cxnLst>
              <a:cxn ang="0">
                <a:pos x="311" y="6"/>
              </a:cxn>
              <a:cxn ang="0">
                <a:pos x="294" y="16"/>
              </a:cxn>
              <a:cxn ang="0">
                <a:pos x="286" y="22"/>
              </a:cxn>
              <a:cxn ang="0">
                <a:pos x="286" y="30"/>
              </a:cxn>
              <a:cxn ang="0">
                <a:pos x="299" y="33"/>
              </a:cxn>
              <a:cxn ang="0">
                <a:pos x="294" y="34"/>
              </a:cxn>
              <a:cxn ang="0">
                <a:pos x="283" y="36"/>
              </a:cxn>
              <a:cxn ang="0">
                <a:pos x="273" y="36"/>
              </a:cxn>
              <a:cxn ang="0">
                <a:pos x="262" y="39"/>
              </a:cxn>
              <a:cxn ang="0">
                <a:pos x="252" y="41"/>
              </a:cxn>
              <a:cxn ang="0">
                <a:pos x="240" y="36"/>
              </a:cxn>
              <a:cxn ang="0">
                <a:pos x="257" y="34"/>
              </a:cxn>
              <a:cxn ang="0">
                <a:pos x="246" y="28"/>
              </a:cxn>
              <a:cxn ang="0">
                <a:pos x="236" y="30"/>
              </a:cxn>
              <a:cxn ang="0">
                <a:pos x="226" y="27"/>
              </a:cxn>
              <a:cxn ang="0">
                <a:pos x="208" y="27"/>
              </a:cxn>
              <a:cxn ang="0">
                <a:pos x="204" y="30"/>
              </a:cxn>
              <a:cxn ang="0">
                <a:pos x="202" y="34"/>
              </a:cxn>
              <a:cxn ang="0">
                <a:pos x="192" y="31"/>
              </a:cxn>
              <a:cxn ang="0">
                <a:pos x="169" y="30"/>
              </a:cxn>
              <a:cxn ang="0">
                <a:pos x="164" y="34"/>
              </a:cxn>
              <a:cxn ang="0">
                <a:pos x="159" y="31"/>
              </a:cxn>
              <a:cxn ang="0">
                <a:pos x="144" y="31"/>
              </a:cxn>
              <a:cxn ang="0">
                <a:pos x="107" y="36"/>
              </a:cxn>
              <a:cxn ang="0">
                <a:pos x="84" y="50"/>
              </a:cxn>
              <a:cxn ang="0">
                <a:pos x="75" y="60"/>
              </a:cxn>
              <a:cxn ang="0">
                <a:pos x="63" y="69"/>
              </a:cxn>
              <a:cxn ang="0">
                <a:pos x="50" y="77"/>
              </a:cxn>
              <a:cxn ang="0">
                <a:pos x="44" y="82"/>
              </a:cxn>
              <a:cxn ang="0">
                <a:pos x="24" y="97"/>
              </a:cxn>
              <a:cxn ang="0">
                <a:pos x="16" y="102"/>
              </a:cxn>
              <a:cxn ang="0">
                <a:pos x="0" y="113"/>
              </a:cxn>
              <a:cxn ang="0">
                <a:pos x="20" y="115"/>
              </a:cxn>
              <a:cxn ang="0">
                <a:pos x="24" y="121"/>
              </a:cxn>
              <a:cxn ang="0">
                <a:pos x="23" y="130"/>
              </a:cxn>
              <a:cxn ang="0">
                <a:pos x="30" y="127"/>
              </a:cxn>
              <a:cxn ang="0">
                <a:pos x="32" y="121"/>
              </a:cxn>
              <a:cxn ang="0">
                <a:pos x="32" y="124"/>
              </a:cxn>
              <a:cxn ang="0">
                <a:pos x="35" y="130"/>
              </a:cxn>
              <a:cxn ang="0">
                <a:pos x="40" y="133"/>
              </a:cxn>
              <a:cxn ang="0">
                <a:pos x="48" y="132"/>
              </a:cxn>
              <a:cxn ang="0">
                <a:pos x="53" y="127"/>
              </a:cxn>
              <a:cxn ang="0">
                <a:pos x="61" y="122"/>
              </a:cxn>
              <a:cxn ang="0">
                <a:pos x="69" y="124"/>
              </a:cxn>
              <a:cxn ang="0">
                <a:pos x="76" y="130"/>
              </a:cxn>
              <a:cxn ang="0">
                <a:pos x="91" y="138"/>
              </a:cxn>
              <a:cxn ang="0">
                <a:pos x="89" y="144"/>
              </a:cxn>
              <a:cxn ang="0">
                <a:pos x="76" y="140"/>
              </a:cxn>
              <a:cxn ang="0">
                <a:pos x="76" y="141"/>
              </a:cxn>
            </a:cxnLst>
            <a:rect l="0" t="0" r="r" b="b"/>
            <a:pathLst>
              <a:path w="319" h="144">
                <a:moveTo>
                  <a:pt x="319" y="0"/>
                </a:moveTo>
                <a:lnTo>
                  <a:pt x="313" y="3"/>
                </a:lnTo>
                <a:lnTo>
                  <a:pt x="311" y="5"/>
                </a:lnTo>
                <a:lnTo>
                  <a:pt x="311" y="6"/>
                </a:lnTo>
                <a:lnTo>
                  <a:pt x="302" y="11"/>
                </a:lnTo>
                <a:lnTo>
                  <a:pt x="298" y="12"/>
                </a:lnTo>
                <a:lnTo>
                  <a:pt x="295" y="14"/>
                </a:lnTo>
                <a:lnTo>
                  <a:pt x="294" y="16"/>
                </a:lnTo>
                <a:lnTo>
                  <a:pt x="293" y="19"/>
                </a:lnTo>
                <a:lnTo>
                  <a:pt x="289" y="23"/>
                </a:lnTo>
                <a:lnTo>
                  <a:pt x="287" y="23"/>
                </a:lnTo>
                <a:lnTo>
                  <a:pt x="286" y="22"/>
                </a:lnTo>
                <a:lnTo>
                  <a:pt x="285" y="23"/>
                </a:lnTo>
                <a:lnTo>
                  <a:pt x="287" y="27"/>
                </a:lnTo>
                <a:lnTo>
                  <a:pt x="286" y="28"/>
                </a:lnTo>
                <a:lnTo>
                  <a:pt x="286" y="30"/>
                </a:lnTo>
                <a:lnTo>
                  <a:pt x="291" y="28"/>
                </a:lnTo>
                <a:lnTo>
                  <a:pt x="297" y="30"/>
                </a:lnTo>
                <a:lnTo>
                  <a:pt x="299" y="31"/>
                </a:lnTo>
                <a:lnTo>
                  <a:pt x="299" y="33"/>
                </a:lnTo>
                <a:lnTo>
                  <a:pt x="299" y="34"/>
                </a:lnTo>
                <a:lnTo>
                  <a:pt x="297" y="34"/>
                </a:lnTo>
                <a:lnTo>
                  <a:pt x="295" y="36"/>
                </a:lnTo>
                <a:lnTo>
                  <a:pt x="294" y="34"/>
                </a:lnTo>
                <a:lnTo>
                  <a:pt x="290" y="34"/>
                </a:lnTo>
                <a:lnTo>
                  <a:pt x="289" y="36"/>
                </a:lnTo>
                <a:lnTo>
                  <a:pt x="286" y="36"/>
                </a:lnTo>
                <a:lnTo>
                  <a:pt x="283" y="36"/>
                </a:lnTo>
                <a:lnTo>
                  <a:pt x="281" y="34"/>
                </a:lnTo>
                <a:lnTo>
                  <a:pt x="277" y="34"/>
                </a:lnTo>
                <a:lnTo>
                  <a:pt x="274" y="34"/>
                </a:lnTo>
                <a:lnTo>
                  <a:pt x="273" y="36"/>
                </a:lnTo>
                <a:lnTo>
                  <a:pt x="269" y="36"/>
                </a:lnTo>
                <a:lnTo>
                  <a:pt x="268" y="38"/>
                </a:lnTo>
                <a:lnTo>
                  <a:pt x="266" y="39"/>
                </a:lnTo>
                <a:lnTo>
                  <a:pt x="262" y="39"/>
                </a:lnTo>
                <a:lnTo>
                  <a:pt x="261" y="38"/>
                </a:lnTo>
                <a:lnTo>
                  <a:pt x="258" y="38"/>
                </a:lnTo>
                <a:lnTo>
                  <a:pt x="256" y="39"/>
                </a:lnTo>
                <a:lnTo>
                  <a:pt x="252" y="41"/>
                </a:lnTo>
                <a:lnTo>
                  <a:pt x="249" y="41"/>
                </a:lnTo>
                <a:lnTo>
                  <a:pt x="244" y="41"/>
                </a:lnTo>
                <a:lnTo>
                  <a:pt x="240" y="38"/>
                </a:lnTo>
                <a:lnTo>
                  <a:pt x="240" y="36"/>
                </a:lnTo>
                <a:lnTo>
                  <a:pt x="242" y="34"/>
                </a:lnTo>
                <a:lnTo>
                  <a:pt x="249" y="36"/>
                </a:lnTo>
                <a:lnTo>
                  <a:pt x="253" y="34"/>
                </a:lnTo>
                <a:lnTo>
                  <a:pt x="257" y="34"/>
                </a:lnTo>
                <a:lnTo>
                  <a:pt x="256" y="33"/>
                </a:lnTo>
                <a:lnTo>
                  <a:pt x="250" y="33"/>
                </a:lnTo>
                <a:lnTo>
                  <a:pt x="249" y="31"/>
                </a:lnTo>
                <a:lnTo>
                  <a:pt x="246" y="28"/>
                </a:lnTo>
                <a:lnTo>
                  <a:pt x="244" y="28"/>
                </a:lnTo>
                <a:lnTo>
                  <a:pt x="240" y="27"/>
                </a:lnTo>
                <a:lnTo>
                  <a:pt x="237" y="28"/>
                </a:lnTo>
                <a:lnTo>
                  <a:pt x="236" y="30"/>
                </a:lnTo>
                <a:lnTo>
                  <a:pt x="233" y="30"/>
                </a:lnTo>
                <a:lnTo>
                  <a:pt x="233" y="28"/>
                </a:lnTo>
                <a:lnTo>
                  <a:pt x="230" y="27"/>
                </a:lnTo>
                <a:lnTo>
                  <a:pt x="226" y="27"/>
                </a:lnTo>
                <a:lnTo>
                  <a:pt x="218" y="25"/>
                </a:lnTo>
                <a:lnTo>
                  <a:pt x="214" y="25"/>
                </a:lnTo>
                <a:lnTo>
                  <a:pt x="212" y="25"/>
                </a:lnTo>
                <a:lnTo>
                  <a:pt x="208" y="27"/>
                </a:lnTo>
                <a:lnTo>
                  <a:pt x="209" y="28"/>
                </a:lnTo>
                <a:lnTo>
                  <a:pt x="209" y="30"/>
                </a:lnTo>
                <a:lnTo>
                  <a:pt x="206" y="30"/>
                </a:lnTo>
                <a:lnTo>
                  <a:pt x="204" y="30"/>
                </a:lnTo>
                <a:lnTo>
                  <a:pt x="205" y="31"/>
                </a:lnTo>
                <a:lnTo>
                  <a:pt x="206" y="31"/>
                </a:lnTo>
                <a:lnTo>
                  <a:pt x="205" y="33"/>
                </a:lnTo>
                <a:lnTo>
                  <a:pt x="202" y="34"/>
                </a:lnTo>
                <a:lnTo>
                  <a:pt x="201" y="33"/>
                </a:lnTo>
                <a:lnTo>
                  <a:pt x="200" y="33"/>
                </a:lnTo>
                <a:lnTo>
                  <a:pt x="197" y="31"/>
                </a:lnTo>
                <a:lnTo>
                  <a:pt x="192" y="31"/>
                </a:lnTo>
                <a:lnTo>
                  <a:pt x="189" y="31"/>
                </a:lnTo>
                <a:lnTo>
                  <a:pt x="189" y="33"/>
                </a:lnTo>
                <a:lnTo>
                  <a:pt x="185" y="33"/>
                </a:lnTo>
                <a:lnTo>
                  <a:pt x="169" y="30"/>
                </a:lnTo>
                <a:lnTo>
                  <a:pt x="168" y="30"/>
                </a:lnTo>
                <a:lnTo>
                  <a:pt x="168" y="33"/>
                </a:lnTo>
                <a:lnTo>
                  <a:pt x="166" y="34"/>
                </a:lnTo>
                <a:lnTo>
                  <a:pt x="164" y="34"/>
                </a:lnTo>
                <a:lnTo>
                  <a:pt x="163" y="34"/>
                </a:lnTo>
                <a:lnTo>
                  <a:pt x="161" y="33"/>
                </a:lnTo>
                <a:lnTo>
                  <a:pt x="161" y="31"/>
                </a:lnTo>
                <a:lnTo>
                  <a:pt x="159" y="31"/>
                </a:lnTo>
                <a:lnTo>
                  <a:pt x="155" y="30"/>
                </a:lnTo>
                <a:lnTo>
                  <a:pt x="152" y="31"/>
                </a:lnTo>
                <a:lnTo>
                  <a:pt x="149" y="30"/>
                </a:lnTo>
                <a:lnTo>
                  <a:pt x="144" y="31"/>
                </a:lnTo>
                <a:lnTo>
                  <a:pt x="135" y="31"/>
                </a:lnTo>
                <a:lnTo>
                  <a:pt x="120" y="31"/>
                </a:lnTo>
                <a:lnTo>
                  <a:pt x="111" y="34"/>
                </a:lnTo>
                <a:lnTo>
                  <a:pt x="107" y="36"/>
                </a:lnTo>
                <a:lnTo>
                  <a:pt x="101" y="39"/>
                </a:lnTo>
                <a:lnTo>
                  <a:pt x="99" y="42"/>
                </a:lnTo>
                <a:lnTo>
                  <a:pt x="96" y="45"/>
                </a:lnTo>
                <a:lnTo>
                  <a:pt x="84" y="50"/>
                </a:lnTo>
                <a:lnTo>
                  <a:pt x="80" y="53"/>
                </a:lnTo>
                <a:lnTo>
                  <a:pt x="80" y="56"/>
                </a:lnTo>
                <a:lnTo>
                  <a:pt x="77" y="60"/>
                </a:lnTo>
                <a:lnTo>
                  <a:pt x="75" y="60"/>
                </a:lnTo>
                <a:lnTo>
                  <a:pt x="71" y="63"/>
                </a:lnTo>
                <a:lnTo>
                  <a:pt x="69" y="61"/>
                </a:lnTo>
                <a:lnTo>
                  <a:pt x="68" y="64"/>
                </a:lnTo>
                <a:lnTo>
                  <a:pt x="63" y="69"/>
                </a:lnTo>
                <a:lnTo>
                  <a:pt x="60" y="67"/>
                </a:lnTo>
                <a:lnTo>
                  <a:pt x="56" y="72"/>
                </a:lnTo>
                <a:lnTo>
                  <a:pt x="52" y="74"/>
                </a:lnTo>
                <a:lnTo>
                  <a:pt x="50" y="77"/>
                </a:lnTo>
                <a:lnTo>
                  <a:pt x="48" y="77"/>
                </a:lnTo>
                <a:lnTo>
                  <a:pt x="48" y="78"/>
                </a:lnTo>
                <a:lnTo>
                  <a:pt x="46" y="80"/>
                </a:lnTo>
                <a:lnTo>
                  <a:pt x="44" y="82"/>
                </a:lnTo>
                <a:lnTo>
                  <a:pt x="43" y="85"/>
                </a:lnTo>
                <a:lnTo>
                  <a:pt x="40" y="85"/>
                </a:lnTo>
                <a:lnTo>
                  <a:pt x="38" y="88"/>
                </a:lnTo>
                <a:lnTo>
                  <a:pt x="24" y="97"/>
                </a:lnTo>
                <a:lnTo>
                  <a:pt x="22" y="97"/>
                </a:lnTo>
                <a:lnTo>
                  <a:pt x="20" y="99"/>
                </a:lnTo>
                <a:lnTo>
                  <a:pt x="18" y="99"/>
                </a:lnTo>
                <a:lnTo>
                  <a:pt x="16" y="102"/>
                </a:lnTo>
                <a:lnTo>
                  <a:pt x="11" y="105"/>
                </a:lnTo>
                <a:lnTo>
                  <a:pt x="8" y="105"/>
                </a:lnTo>
                <a:lnTo>
                  <a:pt x="2" y="110"/>
                </a:lnTo>
                <a:lnTo>
                  <a:pt x="0" y="113"/>
                </a:lnTo>
                <a:lnTo>
                  <a:pt x="4" y="115"/>
                </a:lnTo>
                <a:lnTo>
                  <a:pt x="8" y="116"/>
                </a:lnTo>
                <a:lnTo>
                  <a:pt x="14" y="116"/>
                </a:lnTo>
                <a:lnTo>
                  <a:pt x="20" y="115"/>
                </a:lnTo>
                <a:lnTo>
                  <a:pt x="23" y="116"/>
                </a:lnTo>
                <a:lnTo>
                  <a:pt x="24" y="118"/>
                </a:lnTo>
                <a:lnTo>
                  <a:pt x="23" y="119"/>
                </a:lnTo>
                <a:lnTo>
                  <a:pt x="24" y="121"/>
                </a:lnTo>
                <a:lnTo>
                  <a:pt x="23" y="122"/>
                </a:lnTo>
                <a:lnTo>
                  <a:pt x="23" y="124"/>
                </a:lnTo>
                <a:lnTo>
                  <a:pt x="23" y="127"/>
                </a:lnTo>
                <a:lnTo>
                  <a:pt x="23" y="130"/>
                </a:lnTo>
                <a:lnTo>
                  <a:pt x="24" y="130"/>
                </a:lnTo>
                <a:lnTo>
                  <a:pt x="24" y="129"/>
                </a:lnTo>
                <a:lnTo>
                  <a:pt x="27" y="129"/>
                </a:lnTo>
                <a:lnTo>
                  <a:pt x="30" y="127"/>
                </a:lnTo>
                <a:lnTo>
                  <a:pt x="31" y="126"/>
                </a:lnTo>
                <a:lnTo>
                  <a:pt x="28" y="124"/>
                </a:lnTo>
                <a:lnTo>
                  <a:pt x="30" y="122"/>
                </a:lnTo>
                <a:lnTo>
                  <a:pt x="32" y="121"/>
                </a:lnTo>
                <a:lnTo>
                  <a:pt x="36" y="121"/>
                </a:lnTo>
                <a:lnTo>
                  <a:pt x="36" y="122"/>
                </a:lnTo>
                <a:lnTo>
                  <a:pt x="34" y="124"/>
                </a:lnTo>
                <a:lnTo>
                  <a:pt x="32" y="124"/>
                </a:lnTo>
                <a:lnTo>
                  <a:pt x="34" y="127"/>
                </a:lnTo>
                <a:lnTo>
                  <a:pt x="36" y="127"/>
                </a:lnTo>
                <a:lnTo>
                  <a:pt x="38" y="129"/>
                </a:lnTo>
                <a:lnTo>
                  <a:pt x="35" y="130"/>
                </a:lnTo>
                <a:lnTo>
                  <a:pt x="34" y="132"/>
                </a:lnTo>
                <a:lnTo>
                  <a:pt x="31" y="133"/>
                </a:lnTo>
                <a:lnTo>
                  <a:pt x="35" y="135"/>
                </a:lnTo>
                <a:lnTo>
                  <a:pt x="40" y="133"/>
                </a:lnTo>
                <a:lnTo>
                  <a:pt x="44" y="132"/>
                </a:lnTo>
                <a:lnTo>
                  <a:pt x="50" y="127"/>
                </a:lnTo>
                <a:lnTo>
                  <a:pt x="51" y="130"/>
                </a:lnTo>
                <a:lnTo>
                  <a:pt x="48" y="132"/>
                </a:lnTo>
                <a:lnTo>
                  <a:pt x="47" y="135"/>
                </a:lnTo>
                <a:lnTo>
                  <a:pt x="51" y="133"/>
                </a:lnTo>
                <a:lnTo>
                  <a:pt x="52" y="130"/>
                </a:lnTo>
                <a:lnTo>
                  <a:pt x="53" y="127"/>
                </a:lnTo>
                <a:lnTo>
                  <a:pt x="53" y="126"/>
                </a:lnTo>
                <a:lnTo>
                  <a:pt x="53" y="121"/>
                </a:lnTo>
                <a:lnTo>
                  <a:pt x="59" y="122"/>
                </a:lnTo>
                <a:lnTo>
                  <a:pt x="61" y="122"/>
                </a:lnTo>
                <a:lnTo>
                  <a:pt x="65" y="122"/>
                </a:lnTo>
                <a:lnTo>
                  <a:pt x="68" y="122"/>
                </a:lnTo>
                <a:lnTo>
                  <a:pt x="69" y="122"/>
                </a:lnTo>
                <a:lnTo>
                  <a:pt x="69" y="124"/>
                </a:lnTo>
                <a:lnTo>
                  <a:pt x="72" y="124"/>
                </a:lnTo>
                <a:lnTo>
                  <a:pt x="75" y="126"/>
                </a:lnTo>
                <a:lnTo>
                  <a:pt x="76" y="127"/>
                </a:lnTo>
                <a:lnTo>
                  <a:pt x="76" y="130"/>
                </a:lnTo>
                <a:lnTo>
                  <a:pt x="77" y="130"/>
                </a:lnTo>
                <a:lnTo>
                  <a:pt x="80" y="132"/>
                </a:lnTo>
                <a:lnTo>
                  <a:pt x="83" y="135"/>
                </a:lnTo>
                <a:lnTo>
                  <a:pt x="91" y="138"/>
                </a:lnTo>
                <a:lnTo>
                  <a:pt x="93" y="138"/>
                </a:lnTo>
                <a:lnTo>
                  <a:pt x="93" y="141"/>
                </a:lnTo>
                <a:lnTo>
                  <a:pt x="91" y="143"/>
                </a:lnTo>
                <a:lnTo>
                  <a:pt x="89" y="144"/>
                </a:lnTo>
                <a:lnTo>
                  <a:pt x="84" y="141"/>
                </a:lnTo>
                <a:lnTo>
                  <a:pt x="81" y="141"/>
                </a:lnTo>
                <a:lnTo>
                  <a:pt x="80" y="141"/>
                </a:lnTo>
                <a:lnTo>
                  <a:pt x="76" y="140"/>
                </a:lnTo>
                <a:lnTo>
                  <a:pt x="72" y="140"/>
                </a:lnTo>
                <a:lnTo>
                  <a:pt x="71" y="141"/>
                </a:lnTo>
                <a:lnTo>
                  <a:pt x="73" y="141"/>
                </a:lnTo>
                <a:lnTo>
                  <a:pt x="76" y="141"/>
                </a:lnTo>
                <a:lnTo>
                  <a:pt x="80" y="143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21" name="Freeform 1045"/>
          <p:cNvSpPr>
            <a:spLocks/>
          </p:cNvSpPr>
          <p:nvPr/>
        </p:nvSpPr>
        <p:spPr bwMode="auto">
          <a:xfrm>
            <a:off x="8979615" y="2458661"/>
            <a:ext cx="763936" cy="390865"/>
          </a:xfrm>
          <a:custGeom>
            <a:avLst/>
            <a:gdLst/>
            <a:ahLst/>
            <a:cxnLst>
              <a:cxn ang="0">
                <a:pos x="394" y="9"/>
              </a:cxn>
              <a:cxn ang="0">
                <a:pos x="400" y="22"/>
              </a:cxn>
              <a:cxn ang="0">
                <a:pos x="394" y="29"/>
              </a:cxn>
              <a:cxn ang="0">
                <a:pos x="388" y="39"/>
              </a:cxn>
              <a:cxn ang="0">
                <a:pos x="384" y="48"/>
              </a:cxn>
              <a:cxn ang="0">
                <a:pos x="385" y="62"/>
              </a:cxn>
              <a:cxn ang="0">
                <a:pos x="382" y="78"/>
              </a:cxn>
              <a:cxn ang="0">
                <a:pos x="378" y="89"/>
              </a:cxn>
              <a:cxn ang="0">
                <a:pos x="368" y="100"/>
              </a:cxn>
              <a:cxn ang="0">
                <a:pos x="353" y="122"/>
              </a:cxn>
              <a:cxn ang="0">
                <a:pos x="344" y="135"/>
              </a:cxn>
              <a:cxn ang="0">
                <a:pos x="321" y="158"/>
              </a:cxn>
              <a:cxn ang="0">
                <a:pos x="313" y="166"/>
              </a:cxn>
              <a:cxn ang="0">
                <a:pos x="291" y="185"/>
              </a:cxn>
              <a:cxn ang="0">
                <a:pos x="276" y="191"/>
              </a:cxn>
              <a:cxn ang="0">
                <a:pos x="264" y="188"/>
              </a:cxn>
              <a:cxn ang="0">
                <a:pos x="263" y="183"/>
              </a:cxn>
              <a:cxn ang="0">
                <a:pos x="256" y="182"/>
              </a:cxn>
              <a:cxn ang="0">
                <a:pos x="253" y="183"/>
              </a:cxn>
              <a:cxn ang="0">
                <a:pos x="245" y="191"/>
              </a:cxn>
              <a:cxn ang="0">
                <a:pos x="239" y="196"/>
              </a:cxn>
              <a:cxn ang="0">
                <a:pos x="235" y="188"/>
              </a:cxn>
              <a:cxn ang="0">
                <a:pos x="244" y="158"/>
              </a:cxn>
              <a:cxn ang="0">
                <a:pos x="268" y="149"/>
              </a:cxn>
              <a:cxn ang="0">
                <a:pos x="279" y="138"/>
              </a:cxn>
              <a:cxn ang="0">
                <a:pos x="291" y="108"/>
              </a:cxn>
              <a:cxn ang="0">
                <a:pos x="297" y="95"/>
              </a:cxn>
              <a:cxn ang="0">
                <a:pos x="281" y="94"/>
              </a:cxn>
              <a:cxn ang="0">
                <a:pos x="253" y="102"/>
              </a:cxn>
              <a:cxn ang="0">
                <a:pos x="239" y="95"/>
              </a:cxn>
              <a:cxn ang="0">
                <a:pos x="236" y="83"/>
              </a:cxn>
              <a:cxn ang="0">
                <a:pos x="227" y="78"/>
              </a:cxn>
              <a:cxn ang="0">
                <a:pos x="204" y="69"/>
              </a:cxn>
              <a:cxn ang="0">
                <a:pos x="188" y="62"/>
              </a:cxn>
              <a:cxn ang="0">
                <a:pos x="183" y="45"/>
              </a:cxn>
              <a:cxn ang="0">
                <a:pos x="174" y="26"/>
              </a:cxn>
              <a:cxn ang="0">
                <a:pos x="171" y="20"/>
              </a:cxn>
              <a:cxn ang="0">
                <a:pos x="162" y="11"/>
              </a:cxn>
              <a:cxn ang="0">
                <a:pos x="147" y="6"/>
              </a:cxn>
              <a:cxn ang="0">
                <a:pos x="130" y="0"/>
              </a:cxn>
              <a:cxn ang="0">
                <a:pos x="98" y="3"/>
              </a:cxn>
              <a:cxn ang="0">
                <a:pos x="75" y="14"/>
              </a:cxn>
              <a:cxn ang="0">
                <a:pos x="86" y="17"/>
              </a:cxn>
              <a:cxn ang="0">
                <a:pos x="79" y="31"/>
              </a:cxn>
              <a:cxn ang="0">
                <a:pos x="69" y="47"/>
              </a:cxn>
              <a:cxn ang="0">
                <a:pos x="65" y="58"/>
              </a:cxn>
              <a:cxn ang="0">
                <a:pos x="43" y="69"/>
              </a:cxn>
              <a:cxn ang="0">
                <a:pos x="21" y="61"/>
              </a:cxn>
              <a:cxn ang="0">
                <a:pos x="5" y="62"/>
              </a:cxn>
            </a:cxnLst>
            <a:rect l="0" t="0" r="r" b="b"/>
            <a:pathLst>
              <a:path w="400" h="196">
                <a:moveTo>
                  <a:pt x="385" y="6"/>
                </a:moveTo>
                <a:lnTo>
                  <a:pt x="388" y="6"/>
                </a:lnTo>
                <a:lnTo>
                  <a:pt x="392" y="7"/>
                </a:lnTo>
                <a:lnTo>
                  <a:pt x="394" y="9"/>
                </a:lnTo>
                <a:lnTo>
                  <a:pt x="396" y="12"/>
                </a:lnTo>
                <a:lnTo>
                  <a:pt x="396" y="14"/>
                </a:lnTo>
                <a:lnTo>
                  <a:pt x="394" y="18"/>
                </a:lnTo>
                <a:lnTo>
                  <a:pt x="400" y="22"/>
                </a:lnTo>
                <a:lnTo>
                  <a:pt x="397" y="25"/>
                </a:lnTo>
                <a:lnTo>
                  <a:pt x="397" y="26"/>
                </a:lnTo>
                <a:lnTo>
                  <a:pt x="396" y="28"/>
                </a:lnTo>
                <a:lnTo>
                  <a:pt x="394" y="29"/>
                </a:lnTo>
                <a:lnTo>
                  <a:pt x="393" y="31"/>
                </a:lnTo>
                <a:lnTo>
                  <a:pt x="389" y="36"/>
                </a:lnTo>
                <a:lnTo>
                  <a:pt x="388" y="37"/>
                </a:lnTo>
                <a:lnTo>
                  <a:pt x="388" y="39"/>
                </a:lnTo>
                <a:lnTo>
                  <a:pt x="386" y="39"/>
                </a:lnTo>
                <a:lnTo>
                  <a:pt x="386" y="42"/>
                </a:lnTo>
                <a:lnTo>
                  <a:pt x="386" y="45"/>
                </a:lnTo>
                <a:lnTo>
                  <a:pt x="384" y="48"/>
                </a:lnTo>
                <a:lnTo>
                  <a:pt x="384" y="51"/>
                </a:lnTo>
                <a:lnTo>
                  <a:pt x="386" y="58"/>
                </a:lnTo>
                <a:lnTo>
                  <a:pt x="388" y="59"/>
                </a:lnTo>
                <a:lnTo>
                  <a:pt x="385" y="62"/>
                </a:lnTo>
                <a:lnTo>
                  <a:pt x="386" y="69"/>
                </a:lnTo>
                <a:lnTo>
                  <a:pt x="385" y="72"/>
                </a:lnTo>
                <a:lnTo>
                  <a:pt x="384" y="75"/>
                </a:lnTo>
                <a:lnTo>
                  <a:pt x="382" y="78"/>
                </a:lnTo>
                <a:lnTo>
                  <a:pt x="382" y="80"/>
                </a:lnTo>
                <a:lnTo>
                  <a:pt x="382" y="83"/>
                </a:lnTo>
                <a:lnTo>
                  <a:pt x="381" y="87"/>
                </a:lnTo>
                <a:lnTo>
                  <a:pt x="378" y="89"/>
                </a:lnTo>
                <a:lnTo>
                  <a:pt x="377" y="91"/>
                </a:lnTo>
                <a:lnTo>
                  <a:pt x="376" y="92"/>
                </a:lnTo>
                <a:lnTo>
                  <a:pt x="373" y="95"/>
                </a:lnTo>
                <a:lnTo>
                  <a:pt x="368" y="100"/>
                </a:lnTo>
                <a:lnTo>
                  <a:pt x="364" y="106"/>
                </a:lnTo>
                <a:lnTo>
                  <a:pt x="357" y="111"/>
                </a:lnTo>
                <a:lnTo>
                  <a:pt x="356" y="114"/>
                </a:lnTo>
                <a:lnTo>
                  <a:pt x="353" y="122"/>
                </a:lnTo>
                <a:lnTo>
                  <a:pt x="349" y="128"/>
                </a:lnTo>
                <a:lnTo>
                  <a:pt x="348" y="130"/>
                </a:lnTo>
                <a:lnTo>
                  <a:pt x="345" y="131"/>
                </a:lnTo>
                <a:lnTo>
                  <a:pt x="344" y="135"/>
                </a:lnTo>
                <a:lnTo>
                  <a:pt x="329" y="147"/>
                </a:lnTo>
                <a:lnTo>
                  <a:pt x="327" y="152"/>
                </a:lnTo>
                <a:lnTo>
                  <a:pt x="324" y="153"/>
                </a:lnTo>
                <a:lnTo>
                  <a:pt x="321" y="158"/>
                </a:lnTo>
                <a:lnTo>
                  <a:pt x="317" y="160"/>
                </a:lnTo>
                <a:lnTo>
                  <a:pt x="315" y="161"/>
                </a:lnTo>
                <a:lnTo>
                  <a:pt x="313" y="164"/>
                </a:lnTo>
                <a:lnTo>
                  <a:pt x="313" y="166"/>
                </a:lnTo>
                <a:lnTo>
                  <a:pt x="309" y="171"/>
                </a:lnTo>
                <a:lnTo>
                  <a:pt x="307" y="174"/>
                </a:lnTo>
                <a:lnTo>
                  <a:pt x="303" y="179"/>
                </a:lnTo>
                <a:lnTo>
                  <a:pt x="291" y="185"/>
                </a:lnTo>
                <a:lnTo>
                  <a:pt x="287" y="188"/>
                </a:lnTo>
                <a:lnTo>
                  <a:pt x="284" y="190"/>
                </a:lnTo>
                <a:lnTo>
                  <a:pt x="283" y="190"/>
                </a:lnTo>
                <a:lnTo>
                  <a:pt x="276" y="191"/>
                </a:lnTo>
                <a:lnTo>
                  <a:pt x="273" y="190"/>
                </a:lnTo>
                <a:lnTo>
                  <a:pt x="271" y="190"/>
                </a:lnTo>
                <a:lnTo>
                  <a:pt x="268" y="188"/>
                </a:lnTo>
                <a:lnTo>
                  <a:pt x="264" y="188"/>
                </a:lnTo>
                <a:lnTo>
                  <a:pt x="263" y="188"/>
                </a:lnTo>
                <a:lnTo>
                  <a:pt x="261" y="186"/>
                </a:lnTo>
                <a:lnTo>
                  <a:pt x="261" y="185"/>
                </a:lnTo>
                <a:lnTo>
                  <a:pt x="263" y="183"/>
                </a:lnTo>
                <a:lnTo>
                  <a:pt x="263" y="180"/>
                </a:lnTo>
                <a:lnTo>
                  <a:pt x="260" y="182"/>
                </a:lnTo>
                <a:lnTo>
                  <a:pt x="257" y="183"/>
                </a:lnTo>
                <a:lnTo>
                  <a:pt x="256" y="182"/>
                </a:lnTo>
                <a:lnTo>
                  <a:pt x="257" y="180"/>
                </a:lnTo>
                <a:lnTo>
                  <a:pt x="255" y="180"/>
                </a:lnTo>
                <a:lnTo>
                  <a:pt x="255" y="177"/>
                </a:lnTo>
                <a:lnTo>
                  <a:pt x="253" y="183"/>
                </a:lnTo>
                <a:lnTo>
                  <a:pt x="249" y="186"/>
                </a:lnTo>
                <a:lnTo>
                  <a:pt x="248" y="188"/>
                </a:lnTo>
                <a:lnTo>
                  <a:pt x="247" y="190"/>
                </a:lnTo>
                <a:lnTo>
                  <a:pt x="245" y="191"/>
                </a:lnTo>
                <a:lnTo>
                  <a:pt x="240" y="191"/>
                </a:lnTo>
                <a:lnTo>
                  <a:pt x="238" y="193"/>
                </a:lnTo>
                <a:lnTo>
                  <a:pt x="239" y="193"/>
                </a:lnTo>
                <a:lnTo>
                  <a:pt x="239" y="196"/>
                </a:lnTo>
                <a:lnTo>
                  <a:pt x="236" y="196"/>
                </a:lnTo>
                <a:lnTo>
                  <a:pt x="236" y="194"/>
                </a:lnTo>
                <a:lnTo>
                  <a:pt x="235" y="193"/>
                </a:lnTo>
                <a:lnTo>
                  <a:pt x="235" y="188"/>
                </a:lnTo>
                <a:lnTo>
                  <a:pt x="242" y="185"/>
                </a:lnTo>
                <a:lnTo>
                  <a:pt x="245" y="179"/>
                </a:lnTo>
                <a:lnTo>
                  <a:pt x="245" y="164"/>
                </a:lnTo>
                <a:lnTo>
                  <a:pt x="244" y="158"/>
                </a:lnTo>
                <a:lnTo>
                  <a:pt x="242" y="155"/>
                </a:lnTo>
                <a:lnTo>
                  <a:pt x="251" y="147"/>
                </a:lnTo>
                <a:lnTo>
                  <a:pt x="255" y="146"/>
                </a:lnTo>
                <a:lnTo>
                  <a:pt x="268" y="149"/>
                </a:lnTo>
                <a:lnTo>
                  <a:pt x="271" y="149"/>
                </a:lnTo>
                <a:lnTo>
                  <a:pt x="273" y="147"/>
                </a:lnTo>
                <a:lnTo>
                  <a:pt x="275" y="142"/>
                </a:lnTo>
                <a:lnTo>
                  <a:pt x="279" y="138"/>
                </a:lnTo>
                <a:lnTo>
                  <a:pt x="284" y="130"/>
                </a:lnTo>
                <a:lnTo>
                  <a:pt x="285" y="120"/>
                </a:lnTo>
                <a:lnTo>
                  <a:pt x="289" y="113"/>
                </a:lnTo>
                <a:lnTo>
                  <a:pt x="291" y="108"/>
                </a:lnTo>
                <a:lnTo>
                  <a:pt x="295" y="105"/>
                </a:lnTo>
                <a:lnTo>
                  <a:pt x="297" y="103"/>
                </a:lnTo>
                <a:lnTo>
                  <a:pt x="299" y="98"/>
                </a:lnTo>
                <a:lnTo>
                  <a:pt x="297" y="95"/>
                </a:lnTo>
                <a:lnTo>
                  <a:pt x="297" y="91"/>
                </a:lnTo>
                <a:lnTo>
                  <a:pt x="299" y="87"/>
                </a:lnTo>
                <a:lnTo>
                  <a:pt x="291" y="89"/>
                </a:lnTo>
                <a:lnTo>
                  <a:pt x="281" y="94"/>
                </a:lnTo>
                <a:lnTo>
                  <a:pt x="276" y="94"/>
                </a:lnTo>
                <a:lnTo>
                  <a:pt x="267" y="98"/>
                </a:lnTo>
                <a:lnTo>
                  <a:pt x="257" y="102"/>
                </a:lnTo>
                <a:lnTo>
                  <a:pt x="253" y="102"/>
                </a:lnTo>
                <a:lnTo>
                  <a:pt x="248" y="102"/>
                </a:lnTo>
                <a:lnTo>
                  <a:pt x="243" y="102"/>
                </a:lnTo>
                <a:lnTo>
                  <a:pt x="242" y="98"/>
                </a:lnTo>
                <a:lnTo>
                  <a:pt x="239" y="95"/>
                </a:lnTo>
                <a:lnTo>
                  <a:pt x="238" y="91"/>
                </a:lnTo>
                <a:lnTo>
                  <a:pt x="239" y="87"/>
                </a:lnTo>
                <a:lnTo>
                  <a:pt x="236" y="86"/>
                </a:lnTo>
                <a:lnTo>
                  <a:pt x="236" y="83"/>
                </a:lnTo>
                <a:lnTo>
                  <a:pt x="236" y="81"/>
                </a:lnTo>
                <a:lnTo>
                  <a:pt x="235" y="80"/>
                </a:lnTo>
                <a:lnTo>
                  <a:pt x="231" y="80"/>
                </a:lnTo>
                <a:lnTo>
                  <a:pt x="227" y="78"/>
                </a:lnTo>
                <a:lnTo>
                  <a:pt x="219" y="72"/>
                </a:lnTo>
                <a:lnTo>
                  <a:pt x="214" y="70"/>
                </a:lnTo>
                <a:lnTo>
                  <a:pt x="208" y="70"/>
                </a:lnTo>
                <a:lnTo>
                  <a:pt x="204" y="69"/>
                </a:lnTo>
                <a:lnTo>
                  <a:pt x="198" y="70"/>
                </a:lnTo>
                <a:lnTo>
                  <a:pt x="192" y="69"/>
                </a:lnTo>
                <a:lnTo>
                  <a:pt x="188" y="67"/>
                </a:lnTo>
                <a:lnTo>
                  <a:pt x="188" y="62"/>
                </a:lnTo>
                <a:lnTo>
                  <a:pt x="188" y="58"/>
                </a:lnTo>
                <a:lnTo>
                  <a:pt x="187" y="58"/>
                </a:lnTo>
                <a:lnTo>
                  <a:pt x="186" y="53"/>
                </a:lnTo>
                <a:lnTo>
                  <a:pt x="183" y="45"/>
                </a:lnTo>
                <a:lnTo>
                  <a:pt x="178" y="37"/>
                </a:lnTo>
                <a:lnTo>
                  <a:pt x="176" y="33"/>
                </a:lnTo>
                <a:lnTo>
                  <a:pt x="174" y="29"/>
                </a:lnTo>
                <a:lnTo>
                  <a:pt x="174" y="26"/>
                </a:lnTo>
                <a:lnTo>
                  <a:pt x="172" y="23"/>
                </a:lnTo>
                <a:lnTo>
                  <a:pt x="171" y="20"/>
                </a:lnTo>
                <a:lnTo>
                  <a:pt x="171" y="22"/>
                </a:lnTo>
                <a:lnTo>
                  <a:pt x="171" y="20"/>
                </a:lnTo>
                <a:lnTo>
                  <a:pt x="168" y="18"/>
                </a:lnTo>
                <a:lnTo>
                  <a:pt x="166" y="17"/>
                </a:lnTo>
                <a:lnTo>
                  <a:pt x="166" y="14"/>
                </a:lnTo>
                <a:lnTo>
                  <a:pt x="162" y="11"/>
                </a:lnTo>
                <a:lnTo>
                  <a:pt x="160" y="7"/>
                </a:lnTo>
                <a:lnTo>
                  <a:pt x="156" y="7"/>
                </a:lnTo>
                <a:lnTo>
                  <a:pt x="152" y="6"/>
                </a:lnTo>
                <a:lnTo>
                  <a:pt x="147" y="6"/>
                </a:lnTo>
                <a:lnTo>
                  <a:pt x="142" y="6"/>
                </a:lnTo>
                <a:lnTo>
                  <a:pt x="139" y="3"/>
                </a:lnTo>
                <a:lnTo>
                  <a:pt x="135" y="1"/>
                </a:lnTo>
                <a:lnTo>
                  <a:pt x="130" y="0"/>
                </a:lnTo>
                <a:lnTo>
                  <a:pt x="126" y="0"/>
                </a:lnTo>
                <a:lnTo>
                  <a:pt x="117" y="1"/>
                </a:lnTo>
                <a:lnTo>
                  <a:pt x="110" y="0"/>
                </a:lnTo>
                <a:lnTo>
                  <a:pt x="98" y="3"/>
                </a:lnTo>
                <a:lnTo>
                  <a:pt x="89" y="4"/>
                </a:lnTo>
                <a:lnTo>
                  <a:pt x="85" y="7"/>
                </a:lnTo>
                <a:lnTo>
                  <a:pt x="82" y="9"/>
                </a:lnTo>
                <a:lnTo>
                  <a:pt x="75" y="14"/>
                </a:lnTo>
                <a:lnTo>
                  <a:pt x="75" y="17"/>
                </a:lnTo>
                <a:lnTo>
                  <a:pt x="81" y="17"/>
                </a:lnTo>
                <a:lnTo>
                  <a:pt x="83" y="17"/>
                </a:lnTo>
                <a:lnTo>
                  <a:pt x="86" y="17"/>
                </a:lnTo>
                <a:lnTo>
                  <a:pt x="85" y="23"/>
                </a:lnTo>
                <a:lnTo>
                  <a:pt x="86" y="25"/>
                </a:lnTo>
                <a:lnTo>
                  <a:pt x="86" y="26"/>
                </a:lnTo>
                <a:lnTo>
                  <a:pt x="79" y="31"/>
                </a:lnTo>
                <a:lnTo>
                  <a:pt x="75" y="33"/>
                </a:lnTo>
                <a:lnTo>
                  <a:pt x="73" y="37"/>
                </a:lnTo>
                <a:lnTo>
                  <a:pt x="71" y="40"/>
                </a:lnTo>
                <a:lnTo>
                  <a:pt x="69" y="47"/>
                </a:lnTo>
                <a:lnTo>
                  <a:pt x="67" y="50"/>
                </a:lnTo>
                <a:lnTo>
                  <a:pt x="65" y="51"/>
                </a:lnTo>
                <a:lnTo>
                  <a:pt x="63" y="54"/>
                </a:lnTo>
                <a:lnTo>
                  <a:pt x="65" y="58"/>
                </a:lnTo>
                <a:lnTo>
                  <a:pt x="63" y="59"/>
                </a:lnTo>
                <a:lnTo>
                  <a:pt x="50" y="65"/>
                </a:lnTo>
                <a:lnTo>
                  <a:pt x="46" y="67"/>
                </a:lnTo>
                <a:lnTo>
                  <a:pt x="43" y="69"/>
                </a:lnTo>
                <a:lnTo>
                  <a:pt x="35" y="65"/>
                </a:lnTo>
                <a:lnTo>
                  <a:pt x="27" y="64"/>
                </a:lnTo>
                <a:lnTo>
                  <a:pt x="23" y="61"/>
                </a:lnTo>
                <a:lnTo>
                  <a:pt x="21" y="61"/>
                </a:lnTo>
                <a:lnTo>
                  <a:pt x="19" y="61"/>
                </a:lnTo>
                <a:lnTo>
                  <a:pt x="16" y="62"/>
                </a:lnTo>
                <a:lnTo>
                  <a:pt x="10" y="62"/>
                </a:lnTo>
                <a:lnTo>
                  <a:pt x="5" y="62"/>
                </a:lnTo>
                <a:lnTo>
                  <a:pt x="0" y="59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22" name="Freeform 1046"/>
          <p:cNvSpPr>
            <a:spLocks/>
          </p:cNvSpPr>
          <p:nvPr/>
        </p:nvSpPr>
        <p:spPr bwMode="auto">
          <a:xfrm>
            <a:off x="7732374" y="2422150"/>
            <a:ext cx="1247241" cy="199728"/>
          </a:xfrm>
          <a:custGeom>
            <a:avLst/>
            <a:gdLst/>
            <a:ahLst/>
            <a:cxnLst>
              <a:cxn ang="0">
                <a:pos x="633" y="81"/>
              </a:cxn>
              <a:cxn ang="0">
                <a:pos x="590" y="94"/>
              </a:cxn>
              <a:cxn ang="0">
                <a:pos x="567" y="91"/>
              </a:cxn>
              <a:cxn ang="0">
                <a:pos x="542" y="80"/>
              </a:cxn>
              <a:cxn ang="0">
                <a:pos x="525" y="73"/>
              </a:cxn>
              <a:cxn ang="0">
                <a:pos x="489" y="73"/>
              </a:cxn>
              <a:cxn ang="0">
                <a:pos x="461" y="66"/>
              </a:cxn>
              <a:cxn ang="0">
                <a:pos x="456" y="53"/>
              </a:cxn>
              <a:cxn ang="0">
                <a:pos x="436" y="47"/>
              </a:cxn>
              <a:cxn ang="0">
                <a:pos x="412" y="41"/>
              </a:cxn>
              <a:cxn ang="0">
                <a:pos x="396" y="53"/>
              </a:cxn>
              <a:cxn ang="0">
                <a:pos x="399" y="67"/>
              </a:cxn>
              <a:cxn ang="0">
                <a:pos x="397" y="78"/>
              </a:cxn>
              <a:cxn ang="0">
                <a:pos x="368" y="78"/>
              </a:cxn>
              <a:cxn ang="0">
                <a:pos x="340" y="72"/>
              </a:cxn>
              <a:cxn ang="0">
                <a:pos x="322" y="70"/>
              </a:cxn>
              <a:cxn ang="0">
                <a:pos x="298" y="70"/>
              </a:cxn>
              <a:cxn ang="0">
                <a:pos x="267" y="83"/>
              </a:cxn>
              <a:cxn ang="0">
                <a:pos x="247" y="92"/>
              </a:cxn>
              <a:cxn ang="0">
                <a:pos x="231" y="99"/>
              </a:cxn>
              <a:cxn ang="0">
                <a:pos x="230" y="88"/>
              </a:cxn>
              <a:cxn ang="0">
                <a:pos x="223" y="84"/>
              </a:cxn>
              <a:cxn ang="0">
                <a:pos x="217" y="88"/>
              </a:cxn>
              <a:cxn ang="0">
                <a:pos x="206" y="84"/>
              </a:cxn>
              <a:cxn ang="0">
                <a:pos x="201" y="78"/>
              </a:cxn>
              <a:cxn ang="0">
                <a:pos x="190" y="73"/>
              </a:cxn>
              <a:cxn ang="0">
                <a:pos x="187" y="67"/>
              </a:cxn>
              <a:cxn ang="0">
                <a:pos x="179" y="61"/>
              </a:cxn>
              <a:cxn ang="0">
                <a:pos x="170" y="64"/>
              </a:cxn>
              <a:cxn ang="0">
                <a:pos x="162" y="66"/>
              </a:cxn>
              <a:cxn ang="0">
                <a:pos x="147" y="63"/>
              </a:cxn>
              <a:cxn ang="0">
                <a:pos x="142" y="58"/>
              </a:cxn>
              <a:cxn ang="0">
                <a:pos x="133" y="59"/>
              </a:cxn>
              <a:cxn ang="0">
                <a:pos x="96" y="22"/>
              </a:cxn>
              <a:cxn ang="0">
                <a:pos x="74" y="4"/>
              </a:cxn>
              <a:cxn ang="0">
                <a:pos x="78" y="1"/>
              </a:cxn>
              <a:cxn ang="0">
                <a:pos x="69" y="3"/>
              </a:cxn>
              <a:cxn ang="0">
                <a:pos x="58" y="6"/>
              </a:cxn>
              <a:cxn ang="0">
                <a:pos x="46" y="14"/>
              </a:cxn>
              <a:cxn ang="0">
                <a:pos x="41" y="15"/>
              </a:cxn>
              <a:cxn ang="0">
                <a:pos x="30" y="15"/>
              </a:cxn>
              <a:cxn ang="0">
                <a:pos x="26" y="14"/>
              </a:cxn>
              <a:cxn ang="0">
                <a:pos x="32" y="9"/>
              </a:cxn>
              <a:cxn ang="0">
                <a:pos x="28" y="9"/>
              </a:cxn>
              <a:cxn ang="0">
                <a:pos x="21" y="6"/>
              </a:cxn>
              <a:cxn ang="0">
                <a:pos x="16" y="9"/>
              </a:cxn>
              <a:cxn ang="0">
                <a:pos x="12" y="4"/>
              </a:cxn>
              <a:cxn ang="0">
                <a:pos x="8" y="3"/>
              </a:cxn>
              <a:cxn ang="0">
                <a:pos x="2" y="6"/>
              </a:cxn>
            </a:cxnLst>
            <a:rect l="0" t="0" r="r" b="b"/>
            <a:pathLst>
              <a:path w="653" h="100">
                <a:moveTo>
                  <a:pt x="653" y="78"/>
                </a:moveTo>
                <a:lnTo>
                  <a:pt x="646" y="75"/>
                </a:lnTo>
                <a:lnTo>
                  <a:pt x="639" y="77"/>
                </a:lnTo>
                <a:lnTo>
                  <a:pt x="633" y="81"/>
                </a:lnTo>
                <a:lnTo>
                  <a:pt x="622" y="88"/>
                </a:lnTo>
                <a:lnTo>
                  <a:pt x="615" y="88"/>
                </a:lnTo>
                <a:lnTo>
                  <a:pt x="606" y="89"/>
                </a:lnTo>
                <a:lnTo>
                  <a:pt x="590" y="94"/>
                </a:lnTo>
                <a:lnTo>
                  <a:pt x="585" y="92"/>
                </a:lnTo>
                <a:lnTo>
                  <a:pt x="578" y="92"/>
                </a:lnTo>
                <a:lnTo>
                  <a:pt x="574" y="92"/>
                </a:lnTo>
                <a:lnTo>
                  <a:pt x="567" y="91"/>
                </a:lnTo>
                <a:lnTo>
                  <a:pt x="558" y="89"/>
                </a:lnTo>
                <a:lnTo>
                  <a:pt x="552" y="86"/>
                </a:lnTo>
                <a:lnTo>
                  <a:pt x="548" y="81"/>
                </a:lnTo>
                <a:lnTo>
                  <a:pt x="542" y="80"/>
                </a:lnTo>
                <a:lnTo>
                  <a:pt x="536" y="80"/>
                </a:lnTo>
                <a:lnTo>
                  <a:pt x="530" y="77"/>
                </a:lnTo>
                <a:lnTo>
                  <a:pt x="528" y="75"/>
                </a:lnTo>
                <a:lnTo>
                  <a:pt x="525" y="73"/>
                </a:lnTo>
                <a:lnTo>
                  <a:pt x="512" y="69"/>
                </a:lnTo>
                <a:lnTo>
                  <a:pt x="504" y="67"/>
                </a:lnTo>
                <a:lnTo>
                  <a:pt x="496" y="70"/>
                </a:lnTo>
                <a:lnTo>
                  <a:pt x="489" y="73"/>
                </a:lnTo>
                <a:lnTo>
                  <a:pt x="481" y="75"/>
                </a:lnTo>
                <a:lnTo>
                  <a:pt x="472" y="72"/>
                </a:lnTo>
                <a:lnTo>
                  <a:pt x="465" y="69"/>
                </a:lnTo>
                <a:lnTo>
                  <a:pt x="461" y="66"/>
                </a:lnTo>
                <a:lnTo>
                  <a:pt x="460" y="66"/>
                </a:lnTo>
                <a:lnTo>
                  <a:pt x="460" y="63"/>
                </a:lnTo>
                <a:lnTo>
                  <a:pt x="458" y="56"/>
                </a:lnTo>
                <a:lnTo>
                  <a:pt x="456" y="53"/>
                </a:lnTo>
                <a:lnTo>
                  <a:pt x="452" y="52"/>
                </a:lnTo>
                <a:lnTo>
                  <a:pt x="445" y="50"/>
                </a:lnTo>
                <a:lnTo>
                  <a:pt x="439" y="50"/>
                </a:lnTo>
                <a:lnTo>
                  <a:pt x="436" y="47"/>
                </a:lnTo>
                <a:lnTo>
                  <a:pt x="425" y="44"/>
                </a:lnTo>
                <a:lnTo>
                  <a:pt x="421" y="42"/>
                </a:lnTo>
                <a:lnTo>
                  <a:pt x="416" y="41"/>
                </a:lnTo>
                <a:lnTo>
                  <a:pt x="412" y="41"/>
                </a:lnTo>
                <a:lnTo>
                  <a:pt x="409" y="45"/>
                </a:lnTo>
                <a:lnTo>
                  <a:pt x="404" y="47"/>
                </a:lnTo>
                <a:lnTo>
                  <a:pt x="400" y="50"/>
                </a:lnTo>
                <a:lnTo>
                  <a:pt x="396" y="53"/>
                </a:lnTo>
                <a:lnTo>
                  <a:pt x="395" y="58"/>
                </a:lnTo>
                <a:lnTo>
                  <a:pt x="396" y="61"/>
                </a:lnTo>
                <a:lnTo>
                  <a:pt x="399" y="64"/>
                </a:lnTo>
                <a:lnTo>
                  <a:pt x="399" y="67"/>
                </a:lnTo>
                <a:lnTo>
                  <a:pt x="396" y="70"/>
                </a:lnTo>
                <a:lnTo>
                  <a:pt x="396" y="73"/>
                </a:lnTo>
                <a:lnTo>
                  <a:pt x="397" y="77"/>
                </a:lnTo>
                <a:lnTo>
                  <a:pt x="397" y="78"/>
                </a:lnTo>
                <a:lnTo>
                  <a:pt x="395" y="78"/>
                </a:lnTo>
                <a:lnTo>
                  <a:pt x="384" y="80"/>
                </a:lnTo>
                <a:lnTo>
                  <a:pt x="372" y="80"/>
                </a:lnTo>
                <a:lnTo>
                  <a:pt x="368" y="78"/>
                </a:lnTo>
                <a:lnTo>
                  <a:pt x="355" y="80"/>
                </a:lnTo>
                <a:lnTo>
                  <a:pt x="351" y="80"/>
                </a:lnTo>
                <a:lnTo>
                  <a:pt x="349" y="78"/>
                </a:lnTo>
                <a:lnTo>
                  <a:pt x="340" y="72"/>
                </a:lnTo>
                <a:lnTo>
                  <a:pt x="336" y="70"/>
                </a:lnTo>
                <a:lnTo>
                  <a:pt x="330" y="72"/>
                </a:lnTo>
                <a:lnTo>
                  <a:pt x="326" y="72"/>
                </a:lnTo>
                <a:lnTo>
                  <a:pt x="322" y="70"/>
                </a:lnTo>
                <a:lnTo>
                  <a:pt x="316" y="69"/>
                </a:lnTo>
                <a:lnTo>
                  <a:pt x="311" y="67"/>
                </a:lnTo>
                <a:lnTo>
                  <a:pt x="304" y="69"/>
                </a:lnTo>
                <a:lnTo>
                  <a:pt x="298" y="70"/>
                </a:lnTo>
                <a:lnTo>
                  <a:pt x="287" y="73"/>
                </a:lnTo>
                <a:lnTo>
                  <a:pt x="279" y="78"/>
                </a:lnTo>
                <a:lnTo>
                  <a:pt x="272" y="80"/>
                </a:lnTo>
                <a:lnTo>
                  <a:pt x="267" y="83"/>
                </a:lnTo>
                <a:lnTo>
                  <a:pt x="262" y="86"/>
                </a:lnTo>
                <a:lnTo>
                  <a:pt x="256" y="88"/>
                </a:lnTo>
                <a:lnTo>
                  <a:pt x="252" y="89"/>
                </a:lnTo>
                <a:lnTo>
                  <a:pt x="247" y="92"/>
                </a:lnTo>
                <a:lnTo>
                  <a:pt x="244" y="97"/>
                </a:lnTo>
                <a:lnTo>
                  <a:pt x="243" y="97"/>
                </a:lnTo>
                <a:lnTo>
                  <a:pt x="238" y="100"/>
                </a:lnTo>
                <a:lnTo>
                  <a:pt x="231" y="99"/>
                </a:lnTo>
                <a:lnTo>
                  <a:pt x="235" y="94"/>
                </a:lnTo>
                <a:lnTo>
                  <a:pt x="234" y="92"/>
                </a:lnTo>
                <a:lnTo>
                  <a:pt x="232" y="91"/>
                </a:lnTo>
                <a:lnTo>
                  <a:pt x="230" y="88"/>
                </a:lnTo>
                <a:lnTo>
                  <a:pt x="228" y="88"/>
                </a:lnTo>
                <a:lnTo>
                  <a:pt x="227" y="86"/>
                </a:lnTo>
                <a:lnTo>
                  <a:pt x="227" y="84"/>
                </a:lnTo>
                <a:lnTo>
                  <a:pt x="223" y="84"/>
                </a:lnTo>
                <a:lnTo>
                  <a:pt x="222" y="86"/>
                </a:lnTo>
                <a:lnTo>
                  <a:pt x="220" y="88"/>
                </a:lnTo>
                <a:lnTo>
                  <a:pt x="218" y="88"/>
                </a:lnTo>
                <a:lnTo>
                  <a:pt x="217" y="88"/>
                </a:lnTo>
                <a:lnTo>
                  <a:pt x="214" y="88"/>
                </a:lnTo>
                <a:lnTo>
                  <a:pt x="213" y="86"/>
                </a:lnTo>
                <a:lnTo>
                  <a:pt x="207" y="86"/>
                </a:lnTo>
                <a:lnTo>
                  <a:pt x="206" y="84"/>
                </a:lnTo>
                <a:lnTo>
                  <a:pt x="203" y="81"/>
                </a:lnTo>
                <a:lnTo>
                  <a:pt x="202" y="81"/>
                </a:lnTo>
                <a:lnTo>
                  <a:pt x="201" y="80"/>
                </a:lnTo>
                <a:lnTo>
                  <a:pt x="201" y="78"/>
                </a:lnTo>
                <a:lnTo>
                  <a:pt x="199" y="77"/>
                </a:lnTo>
                <a:lnTo>
                  <a:pt x="194" y="75"/>
                </a:lnTo>
                <a:lnTo>
                  <a:pt x="191" y="75"/>
                </a:lnTo>
                <a:lnTo>
                  <a:pt x="190" y="73"/>
                </a:lnTo>
                <a:lnTo>
                  <a:pt x="190" y="72"/>
                </a:lnTo>
                <a:lnTo>
                  <a:pt x="190" y="69"/>
                </a:lnTo>
                <a:lnTo>
                  <a:pt x="190" y="67"/>
                </a:lnTo>
                <a:lnTo>
                  <a:pt x="187" y="67"/>
                </a:lnTo>
                <a:lnTo>
                  <a:pt x="185" y="64"/>
                </a:lnTo>
                <a:lnTo>
                  <a:pt x="183" y="64"/>
                </a:lnTo>
                <a:lnTo>
                  <a:pt x="182" y="63"/>
                </a:lnTo>
                <a:lnTo>
                  <a:pt x="179" y="61"/>
                </a:lnTo>
                <a:lnTo>
                  <a:pt x="175" y="61"/>
                </a:lnTo>
                <a:lnTo>
                  <a:pt x="174" y="61"/>
                </a:lnTo>
                <a:lnTo>
                  <a:pt x="173" y="63"/>
                </a:lnTo>
                <a:lnTo>
                  <a:pt x="170" y="64"/>
                </a:lnTo>
                <a:lnTo>
                  <a:pt x="169" y="63"/>
                </a:lnTo>
                <a:lnTo>
                  <a:pt x="167" y="64"/>
                </a:lnTo>
                <a:lnTo>
                  <a:pt x="166" y="66"/>
                </a:lnTo>
                <a:lnTo>
                  <a:pt x="162" y="66"/>
                </a:lnTo>
                <a:lnTo>
                  <a:pt x="159" y="66"/>
                </a:lnTo>
                <a:lnTo>
                  <a:pt x="155" y="66"/>
                </a:lnTo>
                <a:lnTo>
                  <a:pt x="149" y="66"/>
                </a:lnTo>
                <a:lnTo>
                  <a:pt x="147" y="63"/>
                </a:lnTo>
                <a:lnTo>
                  <a:pt x="146" y="63"/>
                </a:lnTo>
                <a:lnTo>
                  <a:pt x="145" y="61"/>
                </a:lnTo>
                <a:lnTo>
                  <a:pt x="145" y="59"/>
                </a:lnTo>
                <a:lnTo>
                  <a:pt x="142" y="58"/>
                </a:lnTo>
                <a:lnTo>
                  <a:pt x="139" y="58"/>
                </a:lnTo>
                <a:lnTo>
                  <a:pt x="138" y="56"/>
                </a:lnTo>
                <a:lnTo>
                  <a:pt x="135" y="56"/>
                </a:lnTo>
                <a:lnTo>
                  <a:pt x="133" y="59"/>
                </a:lnTo>
                <a:lnTo>
                  <a:pt x="133" y="61"/>
                </a:lnTo>
                <a:lnTo>
                  <a:pt x="131" y="63"/>
                </a:lnTo>
                <a:lnTo>
                  <a:pt x="129" y="64"/>
                </a:lnTo>
                <a:lnTo>
                  <a:pt x="96" y="22"/>
                </a:lnTo>
                <a:lnTo>
                  <a:pt x="76" y="8"/>
                </a:lnTo>
                <a:lnTo>
                  <a:pt x="74" y="8"/>
                </a:lnTo>
                <a:lnTo>
                  <a:pt x="73" y="6"/>
                </a:lnTo>
                <a:lnTo>
                  <a:pt x="74" y="4"/>
                </a:lnTo>
                <a:lnTo>
                  <a:pt x="76" y="4"/>
                </a:lnTo>
                <a:lnTo>
                  <a:pt x="78" y="4"/>
                </a:lnTo>
                <a:lnTo>
                  <a:pt x="80" y="3"/>
                </a:lnTo>
                <a:lnTo>
                  <a:pt x="78" y="1"/>
                </a:lnTo>
                <a:lnTo>
                  <a:pt x="78" y="0"/>
                </a:lnTo>
                <a:lnTo>
                  <a:pt x="74" y="1"/>
                </a:lnTo>
                <a:lnTo>
                  <a:pt x="70" y="3"/>
                </a:lnTo>
                <a:lnTo>
                  <a:pt x="69" y="3"/>
                </a:lnTo>
                <a:lnTo>
                  <a:pt x="66" y="4"/>
                </a:lnTo>
                <a:lnTo>
                  <a:pt x="62" y="4"/>
                </a:lnTo>
                <a:lnTo>
                  <a:pt x="60" y="4"/>
                </a:lnTo>
                <a:lnTo>
                  <a:pt x="58" y="6"/>
                </a:lnTo>
                <a:lnTo>
                  <a:pt x="57" y="8"/>
                </a:lnTo>
                <a:lnTo>
                  <a:pt x="53" y="11"/>
                </a:lnTo>
                <a:lnTo>
                  <a:pt x="49" y="11"/>
                </a:lnTo>
                <a:lnTo>
                  <a:pt x="46" y="14"/>
                </a:lnTo>
                <a:lnTo>
                  <a:pt x="44" y="14"/>
                </a:lnTo>
                <a:lnTo>
                  <a:pt x="42" y="14"/>
                </a:lnTo>
                <a:lnTo>
                  <a:pt x="44" y="15"/>
                </a:lnTo>
                <a:lnTo>
                  <a:pt x="41" y="15"/>
                </a:lnTo>
                <a:lnTo>
                  <a:pt x="40" y="15"/>
                </a:lnTo>
                <a:lnTo>
                  <a:pt x="37" y="15"/>
                </a:lnTo>
                <a:lnTo>
                  <a:pt x="36" y="14"/>
                </a:lnTo>
                <a:lnTo>
                  <a:pt x="30" y="15"/>
                </a:lnTo>
                <a:lnTo>
                  <a:pt x="29" y="17"/>
                </a:lnTo>
                <a:lnTo>
                  <a:pt x="28" y="17"/>
                </a:lnTo>
                <a:lnTo>
                  <a:pt x="26" y="15"/>
                </a:lnTo>
                <a:lnTo>
                  <a:pt x="26" y="14"/>
                </a:lnTo>
                <a:lnTo>
                  <a:pt x="26" y="12"/>
                </a:lnTo>
                <a:lnTo>
                  <a:pt x="28" y="11"/>
                </a:lnTo>
                <a:lnTo>
                  <a:pt x="29" y="11"/>
                </a:lnTo>
                <a:lnTo>
                  <a:pt x="32" y="9"/>
                </a:lnTo>
                <a:lnTo>
                  <a:pt x="32" y="8"/>
                </a:lnTo>
                <a:lnTo>
                  <a:pt x="32" y="6"/>
                </a:lnTo>
                <a:lnTo>
                  <a:pt x="29" y="8"/>
                </a:lnTo>
                <a:lnTo>
                  <a:pt x="28" y="9"/>
                </a:lnTo>
                <a:lnTo>
                  <a:pt x="26" y="9"/>
                </a:lnTo>
                <a:lnTo>
                  <a:pt x="24" y="8"/>
                </a:lnTo>
                <a:lnTo>
                  <a:pt x="22" y="8"/>
                </a:lnTo>
                <a:lnTo>
                  <a:pt x="21" y="6"/>
                </a:lnTo>
                <a:lnTo>
                  <a:pt x="16" y="6"/>
                </a:lnTo>
                <a:lnTo>
                  <a:pt x="14" y="6"/>
                </a:lnTo>
                <a:lnTo>
                  <a:pt x="16" y="8"/>
                </a:lnTo>
                <a:lnTo>
                  <a:pt x="16" y="9"/>
                </a:lnTo>
                <a:lnTo>
                  <a:pt x="12" y="8"/>
                </a:lnTo>
                <a:lnTo>
                  <a:pt x="12" y="6"/>
                </a:lnTo>
                <a:lnTo>
                  <a:pt x="13" y="6"/>
                </a:lnTo>
                <a:lnTo>
                  <a:pt x="12" y="4"/>
                </a:lnTo>
                <a:lnTo>
                  <a:pt x="10" y="3"/>
                </a:lnTo>
                <a:lnTo>
                  <a:pt x="10" y="1"/>
                </a:lnTo>
                <a:lnTo>
                  <a:pt x="8" y="1"/>
                </a:lnTo>
                <a:lnTo>
                  <a:pt x="8" y="3"/>
                </a:lnTo>
                <a:lnTo>
                  <a:pt x="6" y="4"/>
                </a:lnTo>
                <a:lnTo>
                  <a:pt x="5" y="3"/>
                </a:lnTo>
                <a:lnTo>
                  <a:pt x="2" y="4"/>
                </a:lnTo>
                <a:lnTo>
                  <a:pt x="2" y="6"/>
                </a:lnTo>
                <a:lnTo>
                  <a:pt x="0" y="6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23" name="Freeform 1047"/>
          <p:cNvSpPr>
            <a:spLocks/>
          </p:cNvSpPr>
          <p:nvPr/>
        </p:nvSpPr>
        <p:spPr bwMode="auto">
          <a:xfrm>
            <a:off x="7137985" y="2387789"/>
            <a:ext cx="594389" cy="171808"/>
          </a:xfrm>
          <a:custGeom>
            <a:avLst/>
            <a:gdLst/>
            <a:ahLst/>
            <a:cxnLst>
              <a:cxn ang="0">
                <a:pos x="304" y="22"/>
              </a:cxn>
              <a:cxn ang="0">
                <a:pos x="305" y="15"/>
              </a:cxn>
              <a:cxn ang="0">
                <a:pos x="303" y="8"/>
              </a:cxn>
              <a:cxn ang="0">
                <a:pos x="298" y="2"/>
              </a:cxn>
              <a:cxn ang="0">
                <a:pos x="286" y="4"/>
              </a:cxn>
              <a:cxn ang="0">
                <a:pos x="278" y="0"/>
              </a:cxn>
              <a:cxn ang="0">
                <a:pos x="271" y="2"/>
              </a:cxn>
              <a:cxn ang="0">
                <a:pos x="263" y="4"/>
              </a:cxn>
              <a:cxn ang="0">
                <a:pos x="260" y="8"/>
              </a:cxn>
              <a:cxn ang="0">
                <a:pos x="246" y="11"/>
              </a:cxn>
              <a:cxn ang="0">
                <a:pos x="220" y="15"/>
              </a:cxn>
              <a:cxn ang="0">
                <a:pos x="214" y="18"/>
              </a:cxn>
              <a:cxn ang="0">
                <a:pos x="207" y="19"/>
              </a:cxn>
              <a:cxn ang="0">
                <a:pos x="198" y="22"/>
              </a:cxn>
              <a:cxn ang="0">
                <a:pos x="189" y="22"/>
              </a:cxn>
              <a:cxn ang="0">
                <a:pos x="178" y="26"/>
              </a:cxn>
              <a:cxn ang="0">
                <a:pos x="165" y="26"/>
              </a:cxn>
              <a:cxn ang="0">
                <a:pos x="157" y="26"/>
              </a:cxn>
              <a:cxn ang="0">
                <a:pos x="153" y="30"/>
              </a:cxn>
              <a:cxn ang="0">
                <a:pos x="158" y="32"/>
              </a:cxn>
              <a:cxn ang="0">
                <a:pos x="155" y="35"/>
              </a:cxn>
              <a:cxn ang="0">
                <a:pos x="169" y="40"/>
              </a:cxn>
              <a:cxn ang="0">
                <a:pos x="162" y="44"/>
              </a:cxn>
              <a:cxn ang="0">
                <a:pos x="153" y="43"/>
              </a:cxn>
              <a:cxn ang="0">
                <a:pos x="147" y="48"/>
              </a:cxn>
              <a:cxn ang="0">
                <a:pos x="147" y="59"/>
              </a:cxn>
              <a:cxn ang="0">
                <a:pos x="137" y="63"/>
              </a:cxn>
              <a:cxn ang="0">
                <a:pos x="145" y="68"/>
              </a:cxn>
              <a:cxn ang="0">
                <a:pos x="157" y="71"/>
              </a:cxn>
              <a:cxn ang="0">
                <a:pos x="161" y="74"/>
              </a:cxn>
              <a:cxn ang="0">
                <a:pos x="147" y="85"/>
              </a:cxn>
              <a:cxn ang="0">
                <a:pos x="137" y="84"/>
              </a:cxn>
              <a:cxn ang="0">
                <a:pos x="127" y="85"/>
              </a:cxn>
              <a:cxn ang="0">
                <a:pos x="115" y="82"/>
              </a:cxn>
              <a:cxn ang="0">
                <a:pos x="107" y="77"/>
              </a:cxn>
              <a:cxn ang="0">
                <a:pos x="95" y="79"/>
              </a:cxn>
              <a:cxn ang="0">
                <a:pos x="87" y="77"/>
              </a:cxn>
              <a:cxn ang="0">
                <a:pos x="81" y="81"/>
              </a:cxn>
              <a:cxn ang="0">
                <a:pos x="72" y="87"/>
              </a:cxn>
              <a:cxn ang="0">
                <a:pos x="61" y="81"/>
              </a:cxn>
              <a:cxn ang="0">
                <a:pos x="56" y="81"/>
              </a:cxn>
              <a:cxn ang="0">
                <a:pos x="57" y="87"/>
              </a:cxn>
              <a:cxn ang="0">
                <a:pos x="53" y="82"/>
              </a:cxn>
              <a:cxn ang="0">
                <a:pos x="42" y="74"/>
              </a:cxn>
              <a:cxn ang="0">
                <a:pos x="36" y="70"/>
              </a:cxn>
              <a:cxn ang="0">
                <a:pos x="25" y="70"/>
              </a:cxn>
              <a:cxn ang="0">
                <a:pos x="17" y="66"/>
              </a:cxn>
              <a:cxn ang="0">
                <a:pos x="12" y="70"/>
              </a:cxn>
              <a:cxn ang="0">
                <a:pos x="5" y="66"/>
              </a:cxn>
            </a:cxnLst>
            <a:rect l="0" t="0" r="r" b="b"/>
            <a:pathLst>
              <a:path w="311" h="87">
                <a:moveTo>
                  <a:pt x="311" y="24"/>
                </a:moveTo>
                <a:lnTo>
                  <a:pt x="309" y="22"/>
                </a:lnTo>
                <a:lnTo>
                  <a:pt x="304" y="24"/>
                </a:lnTo>
                <a:lnTo>
                  <a:pt x="304" y="22"/>
                </a:lnTo>
                <a:lnTo>
                  <a:pt x="303" y="21"/>
                </a:lnTo>
                <a:lnTo>
                  <a:pt x="304" y="19"/>
                </a:lnTo>
                <a:lnTo>
                  <a:pt x="305" y="18"/>
                </a:lnTo>
                <a:lnTo>
                  <a:pt x="305" y="15"/>
                </a:lnTo>
                <a:lnTo>
                  <a:pt x="307" y="13"/>
                </a:lnTo>
                <a:lnTo>
                  <a:pt x="303" y="11"/>
                </a:lnTo>
                <a:lnTo>
                  <a:pt x="303" y="10"/>
                </a:lnTo>
                <a:lnTo>
                  <a:pt x="303" y="8"/>
                </a:lnTo>
                <a:lnTo>
                  <a:pt x="303" y="5"/>
                </a:lnTo>
                <a:lnTo>
                  <a:pt x="302" y="4"/>
                </a:lnTo>
                <a:lnTo>
                  <a:pt x="300" y="4"/>
                </a:lnTo>
                <a:lnTo>
                  <a:pt x="298" y="2"/>
                </a:lnTo>
                <a:lnTo>
                  <a:pt x="294" y="4"/>
                </a:lnTo>
                <a:lnTo>
                  <a:pt x="291" y="4"/>
                </a:lnTo>
                <a:lnTo>
                  <a:pt x="290" y="5"/>
                </a:lnTo>
                <a:lnTo>
                  <a:pt x="286" y="4"/>
                </a:lnTo>
                <a:lnTo>
                  <a:pt x="284" y="2"/>
                </a:lnTo>
                <a:lnTo>
                  <a:pt x="282" y="2"/>
                </a:lnTo>
                <a:lnTo>
                  <a:pt x="280" y="2"/>
                </a:lnTo>
                <a:lnTo>
                  <a:pt x="278" y="0"/>
                </a:lnTo>
                <a:lnTo>
                  <a:pt x="276" y="2"/>
                </a:lnTo>
                <a:lnTo>
                  <a:pt x="274" y="0"/>
                </a:lnTo>
                <a:lnTo>
                  <a:pt x="272" y="0"/>
                </a:lnTo>
                <a:lnTo>
                  <a:pt x="271" y="2"/>
                </a:lnTo>
                <a:lnTo>
                  <a:pt x="268" y="2"/>
                </a:lnTo>
                <a:lnTo>
                  <a:pt x="267" y="2"/>
                </a:lnTo>
                <a:lnTo>
                  <a:pt x="266" y="4"/>
                </a:lnTo>
                <a:lnTo>
                  <a:pt x="263" y="4"/>
                </a:lnTo>
                <a:lnTo>
                  <a:pt x="260" y="4"/>
                </a:lnTo>
                <a:lnTo>
                  <a:pt x="260" y="5"/>
                </a:lnTo>
                <a:lnTo>
                  <a:pt x="262" y="7"/>
                </a:lnTo>
                <a:lnTo>
                  <a:pt x="260" y="8"/>
                </a:lnTo>
                <a:lnTo>
                  <a:pt x="258" y="8"/>
                </a:lnTo>
                <a:lnTo>
                  <a:pt x="255" y="8"/>
                </a:lnTo>
                <a:lnTo>
                  <a:pt x="254" y="10"/>
                </a:lnTo>
                <a:lnTo>
                  <a:pt x="246" y="11"/>
                </a:lnTo>
                <a:lnTo>
                  <a:pt x="236" y="11"/>
                </a:lnTo>
                <a:lnTo>
                  <a:pt x="227" y="13"/>
                </a:lnTo>
                <a:lnTo>
                  <a:pt x="222" y="15"/>
                </a:lnTo>
                <a:lnTo>
                  <a:pt x="220" y="15"/>
                </a:lnTo>
                <a:lnTo>
                  <a:pt x="218" y="15"/>
                </a:lnTo>
                <a:lnTo>
                  <a:pt x="215" y="15"/>
                </a:lnTo>
                <a:lnTo>
                  <a:pt x="215" y="16"/>
                </a:lnTo>
                <a:lnTo>
                  <a:pt x="214" y="18"/>
                </a:lnTo>
                <a:lnTo>
                  <a:pt x="214" y="19"/>
                </a:lnTo>
                <a:lnTo>
                  <a:pt x="211" y="19"/>
                </a:lnTo>
                <a:lnTo>
                  <a:pt x="208" y="19"/>
                </a:lnTo>
                <a:lnTo>
                  <a:pt x="207" y="19"/>
                </a:lnTo>
                <a:lnTo>
                  <a:pt x="204" y="19"/>
                </a:lnTo>
                <a:lnTo>
                  <a:pt x="203" y="21"/>
                </a:lnTo>
                <a:lnTo>
                  <a:pt x="198" y="21"/>
                </a:lnTo>
                <a:lnTo>
                  <a:pt x="198" y="22"/>
                </a:lnTo>
                <a:lnTo>
                  <a:pt x="195" y="22"/>
                </a:lnTo>
                <a:lnTo>
                  <a:pt x="194" y="21"/>
                </a:lnTo>
                <a:lnTo>
                  <a:pt x="191" y="21"/>
                </a:lnTo>
                <a:lnTo>
                  <a:pt x="189" y="22"/>
                </a:lnTo>
                <a:lnTo>
                  <a:pt x="186" y="24"/>
                </a:lnTo>
                <a:lnTo>
                  <a:pt x="185" y="24"/>
                </a:lnTo>
                <a:lnTo>
                  <a:pt x="179" y="24"/>
                </a:lnTo>
                <a:lnTo>
                  <a:pt x="178" y="26"/>
                </a:lnTo>
                <a:lnTo>
                  <a:pt x="175" y="27"/>
                </a:lnTo>
                <a:lnTo>
                  <a:pt x="174" y="26"/>
                </a:lnTo>
                <a:lnTo>
                  <a:pt x="167" y="26"/>
                </a:lnTo>
                <a:lnTo>
                  <a:pt x="165" y="26"/>
                </a:lnTo>
                <a:lnTo>
                  <a:pt x="163" y="26"/>
                </a:lnTo>
                <a:lnTo>
                  <a:pt x="161" y="26"/>
                </a:lnTo>
                <a:lnTo>
                  <a:pt x="159" y="26"/>
                </a:lnTo>
                <a:lnTo>
                  <a:pt x="157" y="26"/>
                </a:lnTo>
                <a:lnTo>
                  <a:pt x="155" y="26"/>
                </a:lnTo>
                <a:lnTo>
                  <a:pt x="151" y="27"/>
                </a:lnTo>
                <a:lnTo>
                  <a:pt x="154" y="29"/>
                </a:lnTo>
                <a:lnTo>
                  <a:pt x="153" y="30"/>
                </a:lnTo>
                <a:lnTo>
                  <a:pt x="153" y="32"/>
                </a:lnTo>
                <a:lnTo>
                  <a:pt x="153" y="33"/>
                </a:lnTo>
                <a:lnTo>
                  <a:pt x="157" y="33"/>
                </a:lnTo>
                <a:lnTo>
                  <a:pt x="158" y="32"/>
                </a:lnTo>
                <a:lnTo>
                  <a:pt x="161" y="33"/>
                </a:lnTo>
                <a:lnTo>
                  <a:pt x="159" y="35"/>
                </a:lnTo>
                <a:lnTo>
                  <a:pt x="157" y="35"/>
                </a:lnTo>
                <a:lnTo>
                  <a:pt x="155" y="35"/>
                </a:lnTo>
                <a:lnTo>
                  <a:pt x="154" y="37"/>
                </a:lnTo>
                <a:lnTo>
                  <a:pt x="155" y="38"/>
                </a:lnTo>
                <a:lnTo>
                  <a:pt x="165" y="38"/>
                </a:lnTo>
                <a:lnTo>
                  <a:pt x="169" y="40"/>
                </a:lnTo>
                <a:lnTo>
                  <a:pt x="170" y="41"/>
                </a:lnTo>
                <a:lnTo>
                  <a:pt x="169" y="43"/>
                </a:lnTo>
                <a:lnTo>
                  <a:pt x="166" y="44"/>
                </a:lnTo>
                <a:lnTo>
                  <a:pt x="162" y="44"/>
                </a:lnTo>
                <a:lnTo>
                  <a:pt x="159" y="43"/>
                </a:lnTo>
                <a:lnTo>
                  <a:pt x="158" y="44"/>
                </a:lnTo>
                <a:lnTo>
                  <a:pt x="155" y="43"/>
                </a:lnTo>
                <a:lnTo>
                  <a:pt x="153" y="43"/>
                </a:lnTo>
                <a:lnTo>
                  <a:pt x="151" y="44"/>
                </a:lnTo>
                <a:lnTo>
                  <a:pt x="151" y="46"/>
                </a:lnTo>
                <a:lnTo>
                  <a:pt x="149" y="48"/>
                </a:lnTo>
                <a:lnTo>
                  <a:pt x="147" y="48"/>
                </a:lnTo>
                <a:lnTo>
                  <a:pt x="153" y="54"/>
                </a:lnTo>
                <a:lnTo>
                  <a:pt x="151" y="55"/>
                </a:lnTo>
                <a:lnTo>
                  <a:pt x="151" y="57"/>
                </a:lnTo>
                <a:lnTo>
                  <a:pt x="147" y="59"/>
                </a:lnTo>
                <a:lnTo>
                  <a:pt x="142" y="59"/>
                </a:lnTo>
                <a:lnTo>
                  <a:pt x="139" y="62"/>
                </a:lnTo>
                <a:lnTo>
                  <a:pt x="137" y="62"/>
                </a:lnTo>
                <a:lnTo>
                  <a:pt x="137" y="63"/>
                </a:lnTo>
                <a:lnTo>
                  <a:pt x="142" y="63"/>
                </a:lnTo>
                <a:lnTo>
                  <a:pt x="142" y="65"/>
                </a:lnTo>
                <a:lnTo>
                  <a:pt x="142" y="66"/>
                </a:lnTo>
                <a:lnTo>
                  <a:pt x="145" y="68"/>
                </a:lnTo>
                <a:lnTo>
                  <a:pt x="149" y="68"/>
                </a:lnTo>
                <a:lnTo>
                  <a:pt x="150" y="70"/>
                </a:lnTo>
                <a:lnTo>
                  <a:pt x="151" y="71"/>
                </a:lnTo>
                <a:lnTo>
                  <a:pt x="157" y="71"/>
                </a:lnTo>
                <a:lnTo>
                  <a:pt x="159" y="71"/>
                </a:lnTo>
                <a:lnTo>
                  <a:pt x="161" y="73"/>
                </a:lnTo>
                <a:lnTo>
                  <a:pt x="162" y="73"/>
                </a:lnTo>
                <a:lnTo>
                  <a:pt x="161" y="74"/>
                </a:lnTo>
                <a:lnTo>
                  <a:pt x="158" y="82"/>
                </a:lnTo>
                <a:lnTo>
                  <a:pt x="154" y="84"/>
                </a:lnTo>
                <a:lnTo>
                  <a:pt x="151" y="85"/>
                </a:lnTo>
                <a:lnTo>
                  <a:pt x="147" y="85"/>
                </a:lnTo>
                <a:lnTo>
                  <a:pt x="142" y="85"/>
                </a:lnTo>
                <a:lnTo>
                  <a:pt x="139" y="82"/>
                </a:lnTo>
                <a:lnTo>
                  <a:pt x="138" y="82"/>
                </a:lnTo>
                <a:lnTo>
                  <a:pt x="137" y="84"/>
                </a:lnTo>
                <a:lnTo>
                  <a:pt x="134" y="87"/>
                </a:lnTo>
                <a:lnTo>
                  <a:pt x="133" y="87"/>
                </a:lnTo>
                <a:lnTo>
                  <a:pt x="129" y="87"/>
                </a:lnTo>
                <a:lnTo>
                  <a:pt x="127" y="85"/>
                </a:lnTo>
                <a:lnTo>
                  <a:pt x="123" y="85"/>
                </a:lnTo>
                <a:lnTo>
                  <a:pt x="119" y="85"/>
                </a:lnTo>
                <a:lnTo>
                  <a:pt x="118" y="84"/>
                </a:lnTo>
                <a:lnTo>
                  <a:pt x="115" y="82"/>
                </a:lnTo>
                <a:lnTo>
                  <a:pt x="115" y="79"/>
                </a:lnTo>
                <a:lnTo>
                  <a:pt x="114" y="77"/>
                </a:lnTo>
                <a:lnTo>
                  <a:pt x="110" y="77"/>
                </a:lnTo>
                <a:lnTo>
                  <a:pt x="107" y="77"/>
                </a:lnTo>
                <a:lnTo>
                  <a:pt x="103" y="77"/>
                </a:lnTo>
                <a:lnTo>
                  <a:pt x="103" y="79"/>
                </a:lnTo>
                <a:lnTo>
                  <a:pt x="99" y="81"/>
                </a:lnTo>
                <a:lnTo>
                  <a:pt x="95" y="79"/>
                </a:lnTo>
                <a:lnTo>
                  <a:pt x="94" y="77"/>
                </a:lnTo>
                <a:lnTo>
                  <a:pt x="91" y="79"/>
                </a:lnTo>
                <a:lnTo>
                  <a:pt x="90" y="77"/>
                </a:lnTo>
                <a:lnTo>
                  <a:pt x="87" y="77"/>
                </a:lnTo>
                <a:lnTo>
                  <a:pt x="87" y="81"/>
                </a:lnTo>
                <a:lnTo>
                  <a:pt x="85" y="79"/>
                </a:lnTo>
                <a:lnTo>
                  <a:pt x="83" y="79"/>
                </a:lnTo>
                <a:lnTo>
                  <a:pt x="81" y="81"/>
                </a:lnTo>
                <a:lnTo>
                  <a:pt x="79" y="81"/>
                </a:lnTo>
                <a:lnTo>
                  <a:pt x="79" y="84"/>
                </a:lnTo>
                <a:lnTo>
                  <a:pt x="74" y="85"/>
                </a:lnTo>
                <a:lnTo>
                  <a:pt x="72" y="87"/>
                </a:lnTo>
                <a:lnTo>
                  <a:pt x="68" y="85"/>
                </a:lnTo>
                <a:lnTo>
                  <a:pt x="64" y="84"/>
                </a:lnTo>
                <a:lnTo>
                  <a:pt x="62" y="82"/>
                </a:lnTo>
                <a:lnTo>
                  <a:pt x="61" y="81"/>
                </a:lnTo>
                <a:lnTo>
                  <a:pt x="60" y="81"/>
                </a:lnTo>
                <a:lnTo>
                  <a:pt x="58" y="79"/>
                </a:lnTo>
                <a:lnTo>
                  <a:pt x="57" y="79"/>
                </a:lnTo>
                <a:lnTo>
                  <a:pt x="56" y="81"/>
                </a:lnTo>
                <a:lnTo>
                  <a:pt x="57" y="81"/>
                </a:lnTo>
                <a:lnTo>
                  <a:pt x="57" y="82"/>
                </a:lnTo>
                <a:lnTo>
                  <a:pt x="57" y="84"/>
                </a:lnTo>
                <a:lnTo>
                  <a:pt x="57" y="87"/>
                </a:lnTo>
                <a:lnTo>
                  <a:pt x="54" y="87"/>
                </a:lnTo>
                <a:lnTo>
                  <a:pt x="53" y="85"/>
                </a:lnTo>
                <a:lnTo>
                  <a:pt x="53" y="84"/>
                </a:lnTo>
                <a:lnTo>
                  <a:pt x="53" y="82"/>
                </a:lnTo>
                <a:lnTo>
                  <a:pt x="50" y="79"/>
                </a:lnTo>
                <a:lnTo>
                  <a:pt x="49" y="77"/>
                </a:lnTo>
                <a:lnTo>
                  <a:pt x="48" y="76"/>
                </a:lnTo>
                <a:lnTo>
                  <a:pt x="42" y="74"/>
                </a:lnTo>
                <a:lnTo>
                  <a:pt x="41" y="71"/>
                </a:lnTo>
                <a:lnTo>
                  <a:pt x="40" y="70"/>
                </a:lnTo>
                <a:lnTo>
                  <a:pt x="37" y="70"/>
                </a:lnTo>
                <a:lnTo>
                  <a:pt x="36" y="70"/>
                </a:lnTo>
                <a:lnTo>
                  <a:pt x="30" y="70"/>
                </a:lnTo>
                <a:lnTo>
                  <a:pt x="29" y="70"/>
                </a:lnTo>
                <a:lnTo>
                  <a:pt x="26" y="70"/>
                </a:lnTo>
                <a:lnTo>
                  <a:pt x="25" y="70"/>
                </a:lnTo>
                <a:lnTo>
                  <a:pt x="24" y="68"/>
                </a:lnTo>
                <a:lnTo>
                  <a:pt x="21" y="65"/>
                </a:lnTo>
                <a:lnTo>
                  <a:pt x="20" y="65"/>
                </a:lnTo>
                <a:lnTo>
                  <a:pt x="17" y="66"/>
                </a:lnTo>
                <a:lnTo>
                  <a:pt x="16" y="66"/>
                </a:lnTo>
                <a:lnTo>
                  <a:pt x="14" y="66"/>
                </a:lnTo>
                <a:lnTo>
                  <a:pt x="13" y="70"/>
                </a:lnTo>
                <a:lnTo>
                  <a:pt x="12" y="70"/>
                </a:lnTo>
                <a:lnTo>
                  <a:pt x="10" y="70"/>
                </a:lnTo>
                <a:lnTo>
                  <a:pt x="6" y="70"/>
                </a:lnTo>
                <a:lnTo>
                  <a:pt x="5" y="68"/>
                </a:lnTo>
                <a:lnTo>
                  <a:pt x="5" y="66"/>
                </a:lnTo>
                <a:lnTo>
                  <a:pt x="0" y="66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24" name="Freeform 1048"/>
          <p:cNvSpPr>
            <a:spLocks/>
          </p:cNvSpPr>
          <p:nvPr/>
        </p:nvSpPr>
        <p:spPr bwMode="auto">
          <a:xfrm>
            <a:off x="6728734" y="2518794"/>
            <a:ext cx="409251" cy="371535"/>
          </a:xfrm>
          <a:custGeom>
            <a:avLst/>
            <a:gdLst/>
            <a:ahLst/>
            <a:cxnLst>
              <a:cxn ang="0">
                <a:pos x="208" y="4"/>
              </a:cxn>
              <a:cxn ang="0">
                <a:pos x="200" y="8"/>
              </a:cxn>
              <a:cxn ang="0">
                <a:pos x="194" y="10"/>
              </a:cxn>
              <a:cxn ang="0">
                <a:pos x="190" y="16"/>
              </a:cxn>
              <a:cxn ang="0">
                <a:pos x="178" y="19"/>
              </a:cxn>
              <a:cxn ang="0">
                <a:pos x="183" y="30"/>
              </a:cxn>
              <a:cxn ang="0">
                <a:pos x="166" y="24"/>
              </a:cxn>
              <a:cxn ang="0">
                <a:pos x="161" y="24"/>
              </a:cxn>
              <a:cxn ang="0">
                <a:pos x="159" y="30"/>
              </a:cxn>
              <a:cxn ang="0">
                <a:pos x="157" y="46"/>
              </a:cxn>
              <a:cxn ang="0">
                <a:pos x="155" y="60"/>
              </a:cxn>
              <a:cxn ang="0">
                <a:pos x="157" y="66"/>
              </a:cxn>
              <a:cxn ang="0">
                <a:pos x="165" y="69"/>
              </a:cxn>
              <a:cxn ang="0">
                <a:pos x="174" y="73"/>
              </a:cxn>
              <a:cxn ang="0">
                <a:pos x="180" y="88"/>
              </a:cxn>
              <a:cxn ang="0">
                <a:pos x="173" y="90"/>
              </a:cxn>
              <a:cxn ang="0">
                <a:pos x="175" y="95"/>
              </a:cxn>
              <a:cxn ang="0">
                <a:pos x="179" y="98"/>
              </a:cxn>
              <a:cxn ang="0">
                <a:pos x="171" y="104"/>
              </a:cxn>
              <a:cxn ang="0">
                <a:pos x="165" y="96"/>
              </a:cxn>
              <a:cxn ang="0">
                <a:pos x="163" y="107"/>
              </a:cxn>
              <a:cxn ang="0">
                <a:pos x="157" y="118"/>
              </a:cxn>
              <a:cxn ang="0">
                <a:pos x="150" y="128"/>
              </a:cxn>
              <a:cxn ang="0">
                <a:pos x="161" y="139"/>
              </a:cxn>
              <a:cxn ang="0">
                <a:pos x="165" y="142"/>
              </a:cxn>
              <a:cxn ang="0">
                <a:pos x="166" y="159"/>
              </a:cxn>
              <a:cxn ang="0">
                <a:pos x="175" y="178"/>
              </a:cxn>
              <a:cxn ang="0">
                <a:pos x="169" y="184"/>
              </a:cxn>
              <a:cxn ang="0">
                <a:pos x="159" y="186"/>
              </a:cxn>
              <a:cxn ang="0">
                <a:pos x="154" y="178"/>
              </a:cxn>
              <a:cxn ang="0">
                <a:pos x="145" y="173"/>
              </a:cxn>
              <a:cxn ang="0">
                <a:pos x="137" y="165"/>
              </a:cxn>
              <a:cxn ang="0">
                <a:pos x="129" y="162"/>
              </a:cxn>
              <a:cxn ang="0">
                <a:pos x="119" y="159"/>
              </a:cxn>
              <a:cxn ang="0">
                <a:pos x="109" y="162"/>
              </a:cxn>
              <a:cxn ang="0">
                <a:pos x="95" y="153"/>
              </a:cxn>
              <a:cxn ang="0">
                <a:pos x="78" y="151"/>
              </a:cxn>
              <a:cxn ang="0">
                <a:pos x="64" y="146"/>
              </a:cxn>
              <a:cxn ang="0">
                <a:pos x="53" y="145"/>
              </a:cxn>
              <a:cxn ang="0">
                <a:pos x="41" y="142"/>
              </a:cxn>
              <a:cxn ang="0">
                <a:pos x="16" y="126"/>
              </a:cxn>
              <a:cxn ang="0">
                <a:pos x="8" y="123"/>
              </a:cxn>
              <a:cxn ang="0">
                <a:pos x="2" y="115"/>
              </a:cxn>
              <a:cxn ang="0">
                <a:pos x="10" y="113"/>
              </a:cxn>
              <a:cxn ang="0">
                <a:pos x="21" y="102"/>
              </a:cxn>
              <a:cxn ang="0">
                <a:pos x="25" y="98"/>
              </a:cxn>
              <a:cxn ang="0">
                <a:pos x="17" y="90"/>
              </a:cxn>
              <a:cxn ang="0">
                <a:pos x="26" y="88"/>
              </a:cxn>
              <a:cxn ang="0">
                <a:pos x="37" y="84"/>
              </a:cxn>
            </a:cxnLst>
            <a:rect l="0" t="0" r="r" b="b"/>
            <a:pathLst>
              <a:path w="214" h="187">
                <a:moveTo>
                  <a:pt x="214" y="0"/>
                </a:moveTo>
                <a:lnTo>
                  <a:pt x="210" y="2"/>
                </a:lnTo>
                <a:lnTo>
                  <a:pt x="208" y="2"/>
                </a:lnTo>
                <a:lnTo>
                  <a:pt x="208" y="4"/>
                </a:lnTo>
                <a:lnTo>
                  <a:pt x="207" y="5"/>
                </a:lnTo>
                <a:lnTo>
                  <a:pt x="204" y="7"/>
                </a:lnTo>
                <a:lnTo>
                  <a:pt x="203" y="8"/>
                </a:lnTo>
                <a:lnTo>
                  <a:pt x="200" y="8"/>
                </a:lnTo>
                <a:lnTo>
                  <a:pt x="199" y="8"/>
                </a:lnTo>
                <a:lnTo>
                  <a:pt x="198" y="10"/>
                </a:lnTo>
                <a:lnTo>
                  <a:pt x="195" y="11"/>
                </a:lnTo>
                <a:lnTo>
                  <a:pt x="194" y="10"/>
                </a:lnTo>
                <a:lnTo>
                  <a:pt x="191" y="11"/>
                </a:lnTo>
                <a:lnTo>
                  <a:pt x="191" y="13"/>
                </a:lnTo>
                <a:lnTo>
                  <a:pt x="191" y="15"/>
                </a:lnTo>
                <a:lnTo>
                  <a:pt x="190" y="16"/>
                </a:lnTo>
                <a:lnTo>
                  <a:pt x="188" y="16"/>
                </a:lnTo>
                <a:lnTo>
                  <a:pt x="183" y="19"/>
                </a:lnTo>
                <a:lnTo>
                  <a:pt x="180" y="19"/>
                </a:lnTo>
                <a:lnTo>
                  <a:pt x="178" y="19"/>
                </a:lnTo>
                <a:lnTo>
                  <a:pt x="180" y="22"/>
                </a:lnTo>
                <a:lnTo>
                  <a:pt x="182" y="27"/>
                </a:lnTo>
                <a:lnTo>
                  <a:pt x="182" y="29"/>
                </a:lnTo>
                <a:lnTo>
                  <a:pt x="183" y="30"/>
                </a:lnTo>
                <a:lnTo>
                  <a:pt x="175" y="35"/>
                </a:lnTo>
                <a:lnTo>
                  <a:pt x="174" y="33"/>
                </a:lnTo>
                <a:lnTo>
                  <a:pt x="169" y="25"/>
                </a:lnTo>
                <a:lnTo>
                  <a:pt x="166" y="24"/>
                </a:lnTo>
                <a:lnTo>
                  <a:pt x="165" y="22"/>
                </a:lnTo>
                <a:lnTo>
                  <a:pt x="163" y="21"/>
                </a:lnTo>
                <a:lnTo>
                  <a:pt x="162" y="22"/>
                </a:lnTo>
                <a:lnTo>
                  <a:pt x="161" y="24"/>
                </a:lnTo>
                <a:lnTo>
                  <a:pt x="161" y="25"/>
                </a:lnTo>
                <a:lnTo>
                  <a:pt x="159" y="27"/>
                </a:lnTo>
                <a:lnTo>
                  <a:pt x="161" y="29"/>
                </a:lnTo>
                <a:lnTo>
                  <a:pt x="159" y="30"/>
                </a:lnTo>
                <a:lnTo>
                  <a:pt x="155" y="32"/>
                </a:lnTo>
                <a:lnTo>
                  <a:pt x="153" y="43"/>
                </a:lnTo>
                <a:lnTo>
                  <a:pt x="155" y="44"/>
                </a:lnTo>
                <a:lnTo>
                  <a:pt x="157" y="46"/>
                </a:lnTo>
                <a:lnTo>
                  <a:pt x="155" y="47"/>
                </a:lnTo>
                <a:lnTo>
                  <a:pt x="151" y="49"/>
                </a:lnTo>
                <a:lnTo>
                  <a:pt x="149" y="58"/>
                </a:lnTo>
                <a:lnTo>
                  <a:pt x="155" y="60"/>
                </a:lnTo>
                <a:lnTo>
                  <a:pt x="157" y="62"/>
                </a:lnTo>
                <a:lnTo>
                  <a:pt x="158" y="63"/>
                </a:lnTo>
                <a:lnTo>
                  <a:pt x="157" y="65"/>
                </a:lnTo>
                <a:lnTo>
                  <a:pt x="157" y="66"/>
                </a:lnTo>
                <a:lnTo>
                  <a:pt x="158" y="68"/>
                </a:lnTo>
                <a:lnTo>
                  <a:pt x="161" y="71"/>
                </a:lnTo>
                <a:lnTo>
                  <a:pt x="161" y="69"/>
                </a:lnTo>
                <a:lnTo>
                  <a:pt x="165" y="69"/>
                </a:lnTo>
                <a:lnTo>
                  <a:pt x="170" y="69"/>
                </a:lnTo>
                <a:lnTo>
                  <a:pt x="171" y="69"/>
                </a:lnTo>
                <a:lnTo>
                  <a:pt x="173" y="71"/>
                </a:lnTo>
                <a:lnTo>
                  <a:pt x="174" y="73"/>
                </a:lnTo>
                <a:lnTo>
                  <a:pt x="175" y="74"/>
                </a:lnTo>
                <a:lnTo>
                  <a:pt x="177" y="76"/>
                </a:lnTo>
                <a:lnTo>
                  <a:pt x="178" y="76"/>
                </a:lnTo>
                <a:lnTo>
                  <a:pt x="180" y="88"/>
                </a:lnTo>
                <a:lnTo>
                  <a:pt x="177" y="90"/>
                </a:lnTo>
                <a:lnTo>
                  <a:pt x="175" y="88"/>
                </a:lnTo>
                <a:lnTo>
                  <a:pt x="173" y="88"/>
                </a:lnTo>
                <a:lnTo>
                  <a:pt x="173" y="90"/>
                </a:lnTo>
                <a:lnTo>
                  <a:pt x="171" y="91"/>
                </a:lnTo>
                <a:lnTo>
                  <a:pt x="171" y="93"/>
                </a:lnTo>
                <a:lnTo>
                  <a:pt x="174" y="95"/>
                </a:lnTo>
                <a:lnTo>
                  <a:pt x="175" y="95"/>
                </a:lnTo>
                <a:lnTo>
                  <a:pt x="178" y="95"/>
                </a:lnTo>
                <a:lnTo>
                  <a:pt x="179" y="96"/>
                </a:lnTo>
                <a:lnTo>
                  <a:pt x="180" y="96"/>
                </a:lnTo>
                <a:lnTo>
                  <a:pt x="179" y="98"/>
                </a:lnTo>
                <a:lnTo>
                  <a:pt x="175" y="104"/>
                </a:lnTo>
                <a:lnTo>
                  <a:pt x="174" y="104"/>
                </a:lnTo>
                <a:lnTo>
                  <a:pt x="173" y="104"/>
                </a:lnTo>
                <a:lnTo>
                  <a:pt x="171" y="104"/>
                </a:lnTo>
                <a:lnTo>
                  <a:pt x="170" y="101"/>
                </a:lnTo>
                <a:lnTo>
                  <a:pt x="167" y="98"/>
                </a:lnTo>
                <a:lnTo>
                  <a:pt x="169" y="96"/>
                </a:lnTo>
                <a:lnTo>
                  <a:pt x="165" y="96"/>
                </a:lnTo>
                <a:lnTo>
                  <a:pt x="162" y="96"/>
                </a:lnTo>
                <a:lnTo>
                  <a:pt x="165" y="99"/>
                </a:lnTo>
                <a:lnTo>
                  <a:pt x="165" y="102"/>
                </a:lnTo>
                <a:lnTo>
                  <a:pt x="163" y="107"/>
                </a:lnTo>
                <a:lnTo>
                  <a:pt x="161" y="106"/>
                </a:lnTo>
                <a:lnTo>
                  <a:pt x="159" y="113"/>
                </a:lnTo>
                <a:lnTo>
                  <a:pt x="157" y="117"/>
                </a:lnTo>
                <a:lnTo>
                  <a:pt x="157" y="118"/>
                </a:lnTo>
                <a:lnTo>
                  <a:pt x="155" y="120"/>
                </a:lnTo>
                <a:lnTo>
                  <a:pt x="153" y="121"/>
                </a:lnTo>
                <a:lnTo>
                  <a:pt x="153" y="124"/>
                </a:lnTo>
                <a:lnTo>
                  <a:pt x="150" y="128"/>
                </a:lnTo>
                <a:lnTo>
                  <a:pt x="151" y="131"/>
                </a:lnTo>
                <a:lnTo>
                  <a:pt x="154" y="131"/>
                </a:lnTo>
                <a:lnTo>
                  <a:pt x="158" y="134"/>
                </a:lnTo>
                <a:lnTo>
                  <a:pt x="161" y="139"/>
                </a:lnTo>
                <a:lnTo>
                  <a:pt x="161" y="143"/>
                </a:lnTo>
                <a:lnTo>
                  <a:pt x="162" y="143"/>
                </a:lnTo>
                <a:lnTo>
                  <a:pt x="165" y="139"/>
                </a:lnTo>
                <a:lnTo>
                  <a:pt x="165" y="142"/>
                </a:lnTo>
                <a:lnTo>
                  <a:pt x="163" y="148"/>
                </a:lnTo>
                <a:lnTo>
                  <a:pt x="163" y="153"/>
                </a:lnTo>
                <a:lnTo>
                  <a:pt x="163" y="157"/>
                </a:lnTo>
                <a:lnTo>
                  <a:pt x="166" y="159"/>
                </a:lnTo>
                <a:lnTo>
                  <a:pt x="171" y="167"/>
                </a:lnTo>
                <a:lnTo>
                  <a:pt x="175" y="173"/>
                </a:lnTo>
                <a:lnTo>
                  <a:pt x="177" y="175"/>
                </a:lnTo>
                <a:lnTo>
                  <a:pt x="175" y="178"/>
                </a:lnTo>
                <a:lnTo>
                  <a:pt x="175" y="179"/>
                </a:lnTo>
                <a:lnTo>
                  <a:pt x="173" y="179"/>
                </a:lnTo>
                <a:lnTo>
                  <a:pt x="171" y="181"/>
                </a:lnTo>
                <a:lnTo>
                  <a:pt x="169" y="184"/>
                </a:lnTo>
                <a:lnTo>
                  <a:pt x="167" y="186"/>
                </a:lnTo>
                <a:lnTo>
                  <a:pt x="166" y="187"/>
                </a:lnTo>
                <a:lnTo>
                  <a:pt x="161" y="186"/>
                </a:lnTo>
                <a:lnTo>
                  <a:pt x="159" y="186"/>
                </a:lnTo>
                <a:lnTo>
                  <a:pt x="158" y="184"/>
                </a:lnTo>
                <a:lnTo>
                  <a:pt x="157" y="181"/>
                </a:lnTo>
                <a:lnTo>
                  <a:pt x="154" y="179"/>
                </a:lnTo>
                <a:lnTo>
                  <a:pt x="154" y="178"/>
                </a:lnTo>
                <a:lnTo>
                  <a:pt x="150" y="176"/>
                </a:lnTo>
                <a:lnTo>
                  <a:pt x="149" y="176"/>
                </a:lnTo>
                <a:lnTo>
                  <a:pt x="146" y="175"/>
                </a:lnTo>
                <a:lnTo>
                  <a:pt x="145" y="173"/>
                </a:lnTo>
                <a:lnTo>
                  <a:pt x="143" y="173"/>
                </a:lnTo>
                <a:lnTo>
                  <a:pt x="138" y="172"/>
                </a:lnTo>
                <a:lnTo>
                  <a:pt x="135" y="168"/>
                </a:lnTo>
                <a:lnTo>
                  <a:pt x="137" y="165"/>
                </a:lnTo>
                <a:lnTo>
                  <a:pt x="135" y="164"/>
                </a:lnTo>
                <a:lnTo>
                  <a:pt x="133" y="162"/>
                </a:lnTo>
                <a:lnTo>
                  <a:pt x="131" y="162"/>
                </a:lnTo>
                <a:lnTo>
                  <a:pt x="129" y="162"/>
                </a:lnTo>
                <a:lnTo>
                  <a:pt x="127" y="161"/>
                </a:lnTo>
                <a:lnTo>
                  <a:pt x="123" y="159"/>
                </a:lnTo>
                <a:lnTo>
                  <a:pt x="121" y="161"/>
                </a:lnTo>
                <a:lnTo>
                  <a:pt x="119" y="159"/>
                </a:lnTo>
                <a:lnTo>
                  <a:pt x="117" y="159"/>
                </a:lnTo>
                <a:lnTo>
                  <a:pt x="113" y="161"/>
                </a:lnTo>
                <a:lnTo>
                  <a:pt x="111" y="162"/>
                </a:lnTo>
                <a:lnTo>
                  <a:pt x="109" y="162"/>
                </a:lnTo>
                <a:lnTo>
                  <a:pt x="107" y="161"/>
                </a:lnTo>
                <a:lnTo>
                  <a:pt x="106" y="159"/>
                </a:lnTo>
                <a:lnTo>
                  <a:pt x="95" y="154"/>
                </a:lnTo>
                <a:lnTo>
                  <a:pt x="95" y="153"/>
                </a:lnTo>
                <a:lnTo>
                  <a:pt x="93" y="151"/>
                </a:lnTo>
                <a:lnTo>
                  <a:pt x="89" y="151"/>
                </a:lnTo>
                <a:lnTo>
                  <a:pt x="85" y="150"/>
                </a:lnTo>
                <a:lnTo>
                  <a:pt x="78" y="151"/>
                </a:lnTo>
                <a:lnTo>
                  <a:pt x="75" y="151"/>
                </a:lnTo>
                <a:lnTo>
                  <a:pt x="69" y="148"/>
                </a:lnTo>
                <a:lnTo>
                  <a:pt x="65" y="148"/>
                </a:lnTo>
                <a:lnTo>
                  <a:pt x="64" y="146"/>
                </a:lnTo>
                <a:lnTo>
                  <a:pt x="58" y="145"/>
                </a:lnTo>
                <a:lnTo>
                  <a:pt x="57" y="145"/>
                </a:lnTo>
                <a:lnTo>
                  <a:pt x="54" y="145"/>
                </a:lnTo>
                <a:lnTo>
                  <a:pt x="53" y="145"/>
                </a:lnTo>
                <a:lnTo>
                  <a:pt x="48" y="146"/>
                </a:lnTo>
                <a:lnTo>
                  <a:pt x="45" y="143"/>
                </a:lnTo>
                <a:lnTo>
                  <a:pt x="42" y="143"/>
                </a:lnTo>
                <a:lnTo>
                  <a:pt x="41" y="142"/>
                </a:lnTo>
                <a:lnTo>
                  <a:pt x="38" y="139"/>
                </a:lnTo>
                <a:lnTo>
                  <a:pt x="32" y="134"/>
                </a:lnTo>
                <a:lnTo>
                  <a:pt x="20" y="129"/>
                </a:lnTo>
                <a:lnTo>
                  <a:pt x="16" y="126"/>
                </a:lnTo>
                <a:lnTo>
                  <a:pt x="14" y="124"/>
                </a:lnTo>
                <a:lnTo>
                  <a:pt x="13" y="126"/>
                </a:lnTo>
                <a:lnTo>
                  <a:pt x="10" y="124"/>
                </a:lnTo>
                <a:lnTo>
                  <a:pt x="8" y="123"/>
                </a:lnTo>
                <a:lnTo>
                  <a:pt x="6" y="120"/>
                </a:lnTo>
                <a:lnTo>
                  <a:pt x="2" y="117"/>
                </a:lnTo>
                <a:lnTo>
                  <a:pt x="0" y="117"/>
                </a:lnTo>
                <a:lnTo>
                  <a:pt x="2" y="115"/>
                </a:lnTo>
                <a:lnTo>
                  <a:pt x="2" y="113"/>
                </a:lnTo>
                <a:lnTo>
                  <a:pt x="4" y="112"/>
                </a:lnTo>
                <a:lnTo>
                  <a:pt x="8" y="113"/>
                </a:lnTo>
                <a:lnTo>
                  <a:pt x="10" y="113"/>
                </a:lnTo>
                <a:lnTo>
                  <a:pt x="13" y="109"/>
                </a:lnTo>
                <a:lnTo>
                  <a:pt x="16" y="106"/>
                </a:lnTo>
                <a:lnTo>
                  <a:pt x="20" y="101"/>
                </a:lnTo>
                <a:lnTo>
                  <a:pt x="21" y="102"/>
                </a:lnTo>
                <a:lnTo>
                  <a:pt x="22" y="99"/>
                </a:lnTo>
                <a:lnTo>
                  <a:pt x="26" y="101"/>
                </a:lnTo>
                <a:lnTo>
                  <a:pt x="28" y="99"/>
                </a:lnTo>
                <a:lnTo>
                  <a:pt x="25" y="98"/>
                </a:lnTo>
                <a:lnTo>
                  <a:pt x="22" y="95"/>
                </a:lnTo>
                <a:lnTo>
                  <a:pt x="18" y="95"/>
                </a:lnTo>
                <a:lnTo>
                  <a:pt x="16" y="91"/>
                </a:lnTo>
                <a:lnTo>
                  <a:pt x="17" y="90"/>
                </a:lnTo>
                <a:lnTo>
                  <a:pt x="24" y="88"/>
                </a:lnTo>
                <a:lnTo>
                  <a:pt x="26" y="90"/>
                </a:lnTo>
                <a:lnTo>
                  <a:pt x="28" y="90"/>
                </a:lnTo>
                <a:lnTo>
                  <a:pt x="26" y="88"/>
                </a:lnTo>
                <a:lnTo>
                  <a:pt x="26" y="87"/>
                </a:lnTo>
                <a:lnTo>
                  <a:pt x="29" y="85"/>
                </a:lnTo>
                <a:lnTo>
                  <a:pt x="34" y="84"/>
                </a:lnTo>
                <a:lnTo>
                  <a:pt x="37" y="84"/>
                </a:lnTo>
                <a:lnTo>
                  <a:pt x="40" y="82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25" name="Freeform 1049"/>
          <p:cNvSpPr>
            <a:spLocks/>
          </p:cNvSpPr>
          <p:nvPr/>
        </p:nvSpPr>
        <p:spPr bwMode="auto">
          <a:xfrm>
            <a:off x="6461747" y="2243899"/>
            <a:ext cx="368325" cy="435964"/>
          </a:xfrm>
          <a:custGeom>
            <a:avLst/>
            <a:gdLst/>
            <a:ahLst/>
            <a:cxnLst>
              <a:cxn ang="0">
                <a:pos x="177" y="219"/>
              </a:cxn>
              <a:cxn ang="0">
                <a:pos x="170" y="219"/>
              </a:cxn>
              <a:cxn ang="0">
                <a:pos x="164" y="215"/>
              </a:cxn>
              <a:cxn ang="0">
                <a:pos x="173" y="207"/>
              </a:cxn>
              <a:cxn ang="0">
                <a:pos x="186" y="208"/>
              </a:cxn>
              <a:cxn ang="0">
                <a:pos x="188" y="197"/>
              </a:cxn>
              <a:cxn ang="0">
                <a:pos x="186" y="191"/>
              </a:cxn>
              <a:cxn ang="0">
                <a:pos x="186" y="186"/>
              </a:cxn>
              <a:cxn ang="0">
                <a:pos x="192" y="177"/>
              </a:cxn>
              <a:cxn ang="0">
                <a:pos x="182" y="174"/>
              </a:cxn>
              <a:cxn ang="0">
                <a:pos x="170" y="171"/>
              </a:cxn>
              <a:cxn ang="0">
                <a:pos x="162" y="168"/>
              </a:cxn>
              <a:cxn ang="0">
                <a:pos x="154" y="163"/>
              </a:cxn>
              <a:cxn ang="0">
                <a:pos x="140" y="164"/>
              </a:cxn>
              <a:cxn ang="0">
                <a:pos x="130" y="161"/>
              </a:cxn>
              <a:cxn ang="0">
                <a:pos x="122" y="160"/>
              </a:cxn>
              <a:cxn ang="0">
                <a:pos x="117" y="149"/>
              </a:cxn>
              <a:cxn ang="0">
                <a:pos x="108" y="147"/>
              </a:cxn>
              <a:cxn ang="0">
                <a:pos x="102" y="141"/>
              </a:cxn>
              <a:cxn ang="0">
                <a:pos x="105" y="136"/>
              </a:cxn>
              <a:cxn ang="0">
                <a:pos x="100" y="130"/>
              </a:cxn>
              <a:cxn ang="0">
                <a:pos x="84" y="128"/>
              </a:cxn>
              <a:cxn ang="0">
                <a:pos x="75" y="132"/>
              </a:cxn>
              <a:cxn ang="0">
                <a:pos x="67" y="132"/>
              </a:cxn>
              <a:cxn ang="0">
                <a:pos x="63" y="124"/>
              </a:cxn>
              <a:cxn ang="0">
                <a:pos x="63" y="117"/>
              </a:cxn>
              <a:cxn ang="0">
                <a:pos x="61" y="111"/>
              </a:cxn>
              <a:cxn ang="0">
                <a:pos x="73" y="113"/>
              </a:cxn>
              <a:cxn ang="0">
                <a:pos x="81" y="108"/>
              </a:cxn>
              <a:cxn ang="0">
                <a:pos x="79" y="103"/>
              </a:cxn>
              <a:cxn ang="0">
                <a:pos x="67" y="100"/>
              </a:cxn>
              <a:cxn ang="0">
                <a:pos x="61" y="95"/>
              </a:cxn>
              <a:cxn ang="0">
                <a:pos x="52" y="84"/>
              </a:cxn>
              <a:cxn ang="0">
                <a:pos x="55" y="78"/>
              </a:cxn>
              <a:cxn ang="0">
                <a:pos x="53" y="72"/>
              </a:cxn>
              <a:cxn ang="0">
                <a:pos x="47" y="66"/>
              </a:cxn>
              <a:cxn ang="0">
                <a:pos x="37" y="66"/>
              </a:cxn>
              <a:cxn ang="0">
                <a:pos x="28" y="62"/>
              </a:cxn>
              <a:cxn ang="0">
                <a:pos x="19" y="61"/>
              </a:cxn>
              <a:cxn ang="0">
                <a:pos x="12" y="55"/>
              </a:cxn>
              <a:cxn ang="0">
                <a:pos x="7" y="47"/>
              </a:cxn>
              <a:cxn ang="0">
                <a:pos x="7" y="39"/>
              </a:cxn>
              <a:cxn ang="0">
                <a:pos x="1" y="36"/>
              </a:cxn>
              <a:cxn ang="0">
                <a:pos x="3" y="28"/>
              </a:cxn>
              <a:cxn ang="0">
                <a:pos x="11" y="28"/>
              </a:cxn>
              <a:cxn ang="0">
                <a:pos x="1" y="23"/>
              </a:cxn>
              <a:cxn ang="0">
                <a:pos x="5" y="17"/>
              </a:cxn>
              <a:cxn ang="0">
                <a:pos x="9" y="6"/>
              </a:cxn>
              <a:cxn ang="0">
                <a:pos x="11" y="1"/>
              </a:cxn>
            </a:cxnLst>
            <a:rect l="0" t="0" r="r" b="b"/>
            <a:pathLst>
              <a:path w="193" h="221">
                <a:moveTo>
                  <a:pt x="180" y="221"/>
                </a:moveTo>
                <a:lnTo>
                  <a:pt x="181" y="221"/>
                </a:lnTo>
                <a:lnTo>
                  <a:pt x="180" y="219"/>
                </a:lnTo>
                <a:lnTo>
                  <a:pt x="177" y="219"/>
                </a:lnTo>
                <a:lnTo>
                  <a:pt x="177" y="218"/>
                </a:lnTo>
                <a:lnTo>
                  <a:pt x="176" y="218"/>
                </a:lnTo>
                <a:lnTo>
                  <a:pt x="172" y="218"/>
                </a:lnTo>
                <a:lnTo>
                  <a:pt x="170" y="219"/>
                </a:lnTo>
                <a:lnTo>
                  <a:pt x="168" y="219"/>
                </a:lnTo>
                <a:lnTo>
                  <a:pt x="164" y="221"/>
                </a:lnTo>
                <a:lnTo>
                  <a:pt x="164" y="218"/>
                </a:lnTo>
                <a:lnTo>
                  <a:pt x="164" y="215"/>
                </a:lnTo>
                <a:lnTo>
                  <a:pt x="165" y="212"/>
                </a:lnTo>
                <a:lnTo>
                  <a:pt x="169" y="212"/>
                </a:lnTo>
                <a:lnTo>
                  <a:pt x="172" y="208"/>
                </a:lnTo>
                <a:lnTo>
                  <a:pt x="173" y="207"/>
                </a:lnTo>
                <a:lnTo>
                  <a:pt x="177" y="208"/>
                </a:lnTo>
                <a:lnTo>
                  <a:pt x="180" y="208"/>
                </a:lnTo>
                <a:lnTo>
                  <a:pt x="184" y="208"/>
                </a:lnTo>
                <a:lnTo>
                  <a:pt x="186" y="208"/>
                </a:lnTo>
                <a:lnTo>
                  <a:pt x="188" y="204"/>
                </a:lnTo>
                <a:lnTo>
                  <a:pt x="189" y="199"/>
                </a:lnTo>
                <a:lnTo>
                  <a:pt x="186" y="199"/>
                </a:lnTo>
                <a:lnTo>
                  <a:pt x="188" y="197"/>
                </a:lnTo>
                <a:lnTo>
                  <a:pt x="186" y="196"/>
                </a:lnTo>
                <a:lnTo>
                  <a:pt x="185" y="194"/>
                </a:lnTo>
                <a:lnTo>
                  <a:pt x="185" y="193"/>
                </a:lnTo>
                <a:lnTo>
                  <a:pt x="186" y="191"/>
                </a:lnTo>
                <a:lnTo>
                  <a:pt x="190" y="190"/>
                </a:lnTo>
                <a:lnTo>
                  <a:pt x="189" y="188"/>
                </a:lnTo>
                <a:lnTo>
                  <a:pt x="188" y="188"/>
                </a:lnTo>
                <a:lnTo>
                  <a:pt x="186" y="186"/>
                </a:lnTo>
                <a:lnTo>
                  <a:pt x="190" y="186"/>
                </a:lnTo>
                <a:lnTo>
                  <a:pt x="193" y="183"/>
                </a:lnTo>
                <a:lnTo>
                  <a:pt x="190" y="177"/>
                </a:lnTo>
                <a:lnTo>
                  <a:pt x="192" y="177"/>
                </a:lnTo>
                <a:lnTo>
                  <a:pt x="190" y="175"/>
                </a:lnTo>
                <a:lnTo>
                  <a:pt x="188" y="175"/>
                </a:lnTo>
                <a:lnTo>
                  <a:pt x="186" y="175"/>
                </a:lnTo>
                <a:lnTo>
                  <a:pt x="182" y="174"/>
                </a:lnTo>
                <a:lnTo>
                  <a:pt x="181" y="174"/>
                </a:lnTo>
                <a:lnTo>
                  <a:pt x="177" y="172"/>
                </a:lnTo>
                <a:lnTo>
                  <a:pt x="172" y="172"/>
                </a:lnTo>
                <a:lnTo>
                  <a:pt x="170" y="171"/>
                </a:lnTo>
                <a:lnTo>
                  <a:pt x="169" y="169"/>
                </a:lnTo>
                <a:lnTo>
                  <a:pt x="166" y="169"/>
                </a:lnTo>
                <a:lnTo>
                  <a:pt x="165" y="168"/>
                </a:lnTo>
                <a:lnTo>
                  <a:pt x="162" y="168"/>
                </a:lnTo>
                <a:lnTo>
                  <a:pt x="162" y="169"/>
                </a:lnTo>
                <a:lnTo>
                  <a:pt x="160" y="169"/>
                </a:lnTo>
                <a:lnTo>
                  <a:pt x="157" y="168"/>
                </a:lnTo>
                <a:lnTo>
                  <a:pt x="154" y="163"/>
                </a:lnTo>
                <a:lnTo>
                  <a:pt x="152" y="161"/>
                </a:lnTo>
                <a:lnTo>
                  <a:pt x="150" y="161"/>
                </a:lnTo>
                <a:lnTo>
                  <a:pt x="146" y="163"/>
                </a:lnTo>
                <a:lnTo>
                  <a:pt x="140" y="164"/>
                </a:lnTo>
                <a:lnTo>
                  <a:pt x="137" y="163"/>
                </a:lnTo>
                <a:lnTo>
                  <a:pt x="136" y="163"/>
                </a:lnTo>
                <a:lnTo>
                  <a:pt x="132" y="161"/>
                </a:lnTo>
                <a:lnTo>
                  <a:pt x="130" y="161"/>
                </a:lnTo>
                <a:lnTo>
                  <a:pt x="128" y="161"/>
                </a:lnTo>
                <a:lnTo>
                  <a:pt x="125" y="163"/>
                </a:lnTo>
                <a:lnTo>
                  <a:pt x="124" y="161"/>
                </a:lnTo>
                <a:lnTo>
                  <a:pt x="122" y="160"/>
                </a:lnTo>
                <a:lnTo>
                  <a:pt x="121" y="158"/>
                </a:lnTo>
                <a:lnTo>
                  <a:pt x="122" y="157"/>
                </a:lnTo>
                <a:lnTo>
                  <a:pt x="120" y="152"/>
                </a:lnTo>
                <a:lnTo>
                  <a:pt x="117" y="149"/>
                </a:lnTo>
                <a:lnTo>
                  <a:pt x="116" y="147"/>
                </a:lnTo>
                <a:lnTo>
                  <a:pt x="114" y="147"/>
                </a:lnTo>
                <a:lnTo>
                  <a:pt x="112" y="147"/>
                </a:lnTo>
                <a:lnTo>
                  <a:pt x="108" y="147"/>
                </a:lnTo>
                <a:lnTo>
                  <a:pt x="105" y="146"/>
                </a:lnTo>
                <a:lnTo>
                  <a:pt x="104" y="146"/>
                </a:lnTo>
                <a:lnTo>
                  <a:pt x="102" y="143"/>
                </a:lnTo>
                <a:lnTo>
                  <a:pt x="102" y="141"/>
                </a:lnTo>
                <a:lnTo>
                  <a:pt x="101" y="139"/>
                </a:lnTo>
                <a:lnTo>
                  <a:pt x="104" y="139"/>
                </a:lnTo>
                <a:lnTo>
                  <a:pt x="105" y="138"/>
                </a:lnTo>
                <a:lnTo>
                  <a:pt x="105" y="136"/>
                </a:lnTo>
                <a:lnTo>
                  <a:pt x="104" y="135"/>
                </a:lnTo>
                <a:lnTo>
                  <a:pt x="101" y="133"/>
                </a:lnTo>
                <a:lnTo>
                  <a:pt x="101" y="132"/>
                </a:lnTo>
                <a:lnTo>
                  <a:pt x="100" y="130"/>
                </a:lnTo>
                <a:lnTo>
                  <a:pt x="96" y="128"/>
                </a:lnTo>
                <a:lnTo>
                  <a:pt x="92" y="128"/>
                </a:lnTo>
                <a:lnTo>
                  <a:pt x="88" y="128"/>
                </a:lnTo>
                <a:lnTo>
                  <a:pt x="84" y="128"/>
                </a:lnTo>
                <a:lnTo>
                  <a:pt x="81" y="128"/>
                </a:lnTo>
                <a:lnTo>
                  <a:pt x="76" y="128"/>
                </a:lnTo>
                <a:lnTo>
                  <a:pt x="75" y="130"/>
                </a:lnTo>
                <a:lnTo>
                  <a:pt x="75" y="132"/>
                </a:lnTo>
                <a:lnTo>
                  <a:pt x="72" y="132"/>
                </a:lnTo>
                <a:lnTo>
                  <a:pt x="71" y="133"/>
                </a:lnTo>
                <a:lnTo>
                  <a:pt x="68" y="133"/>
                </a:lnTo>
                <a:lnTo>
                  <a:pt x="67" y="132"/>
                </a:lnTo>
                <a:lnTo>
                  <a:pt x="65" y="127"/>
                </a:lnTo>
                <a:lnTo>
                  <a:pt x="65" y="125"/>
                </a:lnTo>
                <a:lnTo>
                  <a:pt x="65" y="124"/>
                </a:lnTo>
                <a:lnTo>
                  <a:pt x="63" y="124"/>
                </a:lnTo>
                <a:lnTo>
                  <a:pt x="64" y="122"/>
                </a:lnTo>
                <a:lnTo>
                  <a:pt x="63" y="121"/>
                </a:lnTo>
                <a:lnTo>
                  <a:pt x="63" y="119"/>
                </a:lnTo>
                <a:lnTo>
                  <a:pt x="63" y="117"/>
                </a:lnTo>
                <a:lnTo>
                  <a:pt x="59" y="116"/>
                </a:lnTo>
                <a:lnTo>
                  <a:pt x="59" y="114"/>
                </a:lnTo>
                <a:lnTo>
                  <a:pt x="61" y="113"/>
                </a:lnTo>
                <a:lnTo>
                  <a:pt x="61" y="111"/>
                </a:lnTo>
                <a:lnTo>
                  <a:pt x="63" y="111"/>
                </a:lnTo>
                <a:lnTo>
                  <a:pt x="65" y="111"/>
                </a:lnTo>
                <a:lnTo>
                  <a:pt x="68" y="113"/>
                </a:lnTo>
                <a:lnTo>
                  <a:pt x="73" y="113"/>
                </a:lnTo>
                <a:lnTo>
                  <a:pt x="75" y="113"/>
                </a:lnTo>
                <a:lnTo>
                  <a:pt x="79" y="111"/>
                </a:lnTo>
                <a:lnTo>
                  <a:pt x="80" y="110"/>
                </a:lnTo>
                <a:lnTo>
                  <a:pt x="81" y="108"/>
                </a:lnTo>
                <a:lnTo>
                  <a:pt x="81" y="106"/>
                </a:lnTo>
                <a:lnTo>
                  <a:pt x="79" y="105"/>
                </a:lnTo>
                <a:lnTo>
                  <a:pt x="77" y="105"/>
                </a:lnTo>
                <a:lnTo>
                  <a:pt x="79" y="103"/>
                </a:lnTo>
                <a:lnTo>
                  <a:pt x="76" y="102"/>
                </a:lnTo>
                <a:lnTo>
                  <a:pt x="75" y="102"/>
                </a:lnTo>
                <a:lnTo>
                  <a:pt x="68" y="102"/>
                </a:lnTo>
                <a:lnTo>
                  <a:pt x="67" y="100"/>
                </a:lnTo>
                <a:lnTo>
                  <a:pt x="67" y="99"/>
                </a:lnTo>
                <a:lnTo>
                  <a:pt x="67" y="97"/>
                </a:lnTo>
                <a:lnTo>
                  <a:pt x="65" y="97"/>
                </a:lnTo>
                <a:lnTo>
                  <a:pt x="61" y="95"/>
                </a:lnTo>
                <a:lnTo>
                  <a:pt x="60" y="94"/>
                </a:lnTo>
                <a:lnTo>
                  <a:pt x="57" y="89"/>
                </a:lnTo>
                <a:lnTo>
                  <a:pt x="56" y="86"/>
                </a:lnTo>
                <a:lnTo>
                  <a:pt x="52" y="84"/>
                </a:lnTo>
                <a:lnTo>
                  <a:pt x="52" y="83"/>
                </a:lnTo>
                <a:lnTo>
                  <a:pt x="52" y="81"/>
                </a:lnTo>
                <a:lnTo>
                  <a:pt x="55" y="80"/>
                </a:lnTo>
                <a:lnTo>
                  <a:pt x="55" y="78"/>
                </a:lnTo>
                <a:lnTo>
                  <a:pt x="55" y="77"/>
                </a:lnTo>
                <a:lnTo>
                  <a:pt x="53" y="75"/>
                </a:lnTo>
                <a:lnTo>
                  <a:pt x="53" y="73"/>
                </a:lnTo>
                <a:lnTo>
                  <a:pt x="53" y="72"/>
                </a:lnTo>
                <a:lnTo>
                  <a:pt x="53" y="70"/>
                </a:lnTo>
                <a:lnTo>
                  <a:pt x="52" y="70"/>
                </a:lnTo>
                <a:lnTo>
                  <a:pt x="49" y="67"/>
                </a:lnTo>
                <a:lnTo>
                  <a:pt x="47" y="66"/>
                </a:lnTo>
                <a:lnTo>
                  <a:pt x="45" y="66"/>
                </a:lnTo>
                <a:lnTo>
                  <a:pt x="43" y="66"/>
                </a:lnTo>
                <a:lnTo>
                  <a:pt x="39" y="66"/>
                </a:lnTo>
                <a:lnTo>
                  <a:pt x="37" y="66"/>
                </a:lnTo>
                <a:lnTo>
                  <a:pt x="35" y="67"/>
                </a:lnTo>
                <a:lnTo>
                  <a:pt x="31" y="69"/>
                </a:lnTo>
                <a:lnTo>
                  <a:pt x="32" y="64"/>
                </a:lnTo>
                <a:lnTo>
                  <a:pt x="28" y="62"/>
                </a:lnTo>
                <a:lnTo>
                  <a:pt x="25" y="62"/>
                </a:lnTo>
                <a:lnTo>
                  <a:pt x="21" y="62"/>
                </a:lnTo>
                <a:lnTo>
                  <a:pt x="20" y="61"/>
                </a:lnTo>
                <a:lnTo>
                  <a:pt x="19" y="61"/>
                </a:lnTo>
                <a:lnTo>
                  <a:pt x="13" y="61"/>
                </a:lnTo>
                <a:lnTo>
                  <a:pt x="13" y="59"/>
                </a:lnTo>
                <a:lnTo>
                  <a:pt x="13" y="56"/>
                </a:lnTo>
                <a:lnTo>
                  <a:pt x="12" y="55"/>
                </a:lnTo>
                <a:lnTo>
                  <a:pt x="12" y="53"/>
                </a:lnTo>
                <a:lnTo>
                  <a:pt x="8" y="50"/>
                </a:lnTo>
                <a:lnTo>
                  <a:pt x="8" y="48"/>
                </a:lnTo>
                <a:lnTo>
                  <a:pt x="7" y="47"/>
                </a:lnTo>
                <a:lnTo>
                  <a:pt x="4" y="47"/>
                </a:lnTo>
                <a:lnTo>
                  <a:pt x="5" y="45"/>
                </a:lnTo>
                <a:lnTo>
                  <a:pt x="7" y="40"/>
                </a:lnTo>
                <a:lnTo>
                  <a:pt x="7" y="39"/>
                </a:lnTo>
                <a:lnTo>
                  <a:pt x="5" y="39"/>
                </a:lnTo>
                <a:lnTo>
                  <a:pt x="3" y="37"/>
                </a:lnTo>
                <a:lnTo>
                  <a:pt x="3" y="36"/>
                </a:lnTo>
                <a:lnTo>
                  <a:pt x="1" y="36"/>
                </a:lnTo>
                <a:lnTo>
                  <a:pt x="0" y="34"/>
                </a:lnTo>
                <a:lnTo>
                  <a:pt x="3" y="31"/>
                </a:lnTo>
                <a:lnTo>
                  <a:pt x="4" y="29"/>
                </a:lnTo>
                <a:lnTo>
                  <a:pt x="3" y="28"/>
                </a:lnTo>
                <a:lnTo>
                  <a:pt x="5" y="29"/>
                </a:lnTo>
                <a:lnTo>
                  <a:pt x="8" y="31"/>
                </a:lnTo>
                <a:lnTo>
                  <a:pt x="11" y="31"/>
                </a:lnTo>
                <a:lnTo>
                  <a:pt x="11" y="28"/>
                </a:lnTo>
                <a:lnTo>
                  <a:pt x="8" y="25"/>
                </a:lnTo>
                <a:lnTo>
                  <a:pt x="4" y="25"/>
                </a:lnTo>
                <a:lnTo>
                  <a:pt x="1" y="25"/>
                </a:lnTo>
                <a:lnTo>
                  <a:pt x="1" y="23"/>
                </a:lnTo>
                <a:lnTo>
                  <a:pt x="3" y="22"/>
                </a:lnTo>
                <a:lnTo>
                  <a:pt x="5" y="20"/>
                </a:lnTo>
                <a:lnTo>
                  <a:pt x="7" y="18"/>
                </a:lnTo>
                <a:lnTo>
                  <a:pt x="5" y="17"/>
                </a:lnTo>
                <a:lnTo>
                  <a:pt x="5" y="14"/>
                </a:lnTo>
                <a:lnTo>
                  <a:pt x="4" y="11"/>
                </a:lnTo>
                <a:lnTo>
                  <a:pt x="7" y="9"/>
                </a:lnTo>
                <a:lnTo>
                  <a:pt x="9" y="6"/>
                </a:lnTo>
                <a:lnTo>
                  <a:pt x="12" y="4"/>
                </a:lnTo>
                <a:lnTo>
                  <a:pt x="12" y="3"/>
                </a:lnTo>
                <a:lnTo>
                  <a:pt x="12" y="1"/>
                </a:lnTo>
                <a:lnTo>
                  <a:pt x="11" y="1"/>
                </a:lnTo>
                <a:lnTo>
                  <a:pt x="9" y="0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26" name="Freeform 1050"/>
          <p:cNvSpPr>
            <a:spLocks/>
          </p:cNvSpPr>
          <p:nvPr/>
        </p:nvSpPr>
        <p:spPr bwMode="auto">
          <a:xfrm>
            <a:off x="6467593" y="1876659"/>
            <a:ext cx="395611" cy="367242"/>
          </a:xfrm>
          <a:custGeom>
            <a:avLst/>
            <a:gdLst/>
            <a:ahLst/>
            <a:cxnLst>
              <a:cxn ang="0">
                <a:pos x="8" y="180"/>
              </a:cxn>
              <a:cxn ang="0">
                <a:pos x="14" y="179"/>
              </a:cxn>
              <a:cxn ang="0">
                <a:pos x="22" y="177"/>
              </a:cxn>
              <a:cxn ang="0">
                <a:pos x="40" y="177"/>
              </a:cxn>
              <a:cxn ang="0">
                <a:pos x="36" y="174"/>
              </a:cxn>
              <a:cxn ang="0">
                <a:pos x="21" y="173"/>
              </a:cxn>
              <a:cxn ang="0">
                <a:pos x="12" y="169"/>
              </a:cxn>
              <a:cxn ang="0">
                <a:pos x="14" y="165"/>
              </a:cxn>
              <a:cxn ang="0">
                <a:pos x="6" y="166"/>
              </a:cxn>
              <a:cxn ang="0">
                <a:pos x="34" y="147"/>
              </a:cxn>
              <a:cxn ang="0">
                <a:pos x="57" y="122"/>
              </a:cxn>
              <a:cxn ang="0">
                <a:pos x="44" y="115"/>
              </a:cxn>
              <a:cxn ang="0">
                <a:pos x="44" y="107"/>
              </a:cxn>
              <a:cxn ang="0">
                <a:pos x="38" y="96"/>
              </a:cxn>
              <a:cxn ang="0">
                <a:pos x="32" y="88"/>
              </a:cxn>
              <a:cxn ang="0">
                <a:pos x="34" y="77"/>
              </a:cxn>
              <a:cxn ang="0">
                <a:pos x="34" y="67"/>
              </a:cxn>
              <a:cxn ang="0">
                <a:pos x="25" y="56"/>
              </a:cxn>
              <a:cxn ang="0">
                <a:pos x="36" y="42"/>
              </a:cxn>
              <a:cxn ang="0">
                <a:pos x="22" y="31"/>
              </a:cxn>
              <a:cxn ang="0">
                <a:pos x="14" y="27"/>
              </a:cxn>
              <a:cxn ang="0">
                <a:pos x="16" y="19"/>
              </a:cxn>
              <a:cxn ang="0">
                <a:pos x="26" y="12"/>
              </a:cxn>
              <a:cxn ang="0">
                <a:pos x="45" y="8"/>
              </a:cxn>
              <a:cxn ang="0">
                <a:pos x="50" y="3"/>
              </a:cxn>
              <a:cxn ang="0">
                <a:pos x="58" y="5"/>
              </a:cxn>
              <a:cxn ang="0">
                <a:pos x="62" y="3"/>
              </a:cxn>
              <a:cxn ang="0">
                <a:pos x="64" y="0"/>
              </a:cxn>
              <a:cxn ang="0">
                <a:pos x="76" y="3"/>
              </a:cxn>
              <a:cxn ang="0">
                <a:pos x="80" y="6"/>
              </a:cxn>
              <a:cxn ang="0">
                <a:pos x="72" y="6"/>
              </a:cxn>
              <a:cxn ang="0">
                <a:pos x="70" y="6"/>
              </a:cxn>
              <a:cxn ang="0">
                <a:pos x="77" y="8"/>
              </a:cxn>
              <a:cxn ang="0">
                <a:pos x="85" y="9"/>
              </a:cxn>
              <a:cxn ang="0">
                <a:pos x="89" y="12"/>
              </a:cxn>
              <a:cxn ang="0">
                <a:pos x="109" y="12"/>
              </a:cxn>
              <a:cxn ang="0">
                <a:pos x="114" y="12"/>
              </a:cxn>
              <a:cxn ang="0">
                <a:pos x="137" y="17"/>
              </a:cxn>
              <a:cxn ang="0">
                <a:pos x="159" y="27"/>
              </a:cxn>
              <a:cxn ang="0">
                <a:pos x="170" y="30"/>
              </a:cxn>
              <a:cxn ang="0">
                <a:pos x="173" y="33"/>
              </a:cxn>
              <a:cxn ang="0">
                <a:pos x="185" y="34"/>
              </a:cxn>
              <a:cxn ang="0">
                <a:pos x="187" y="34"/>
              </a:cxn>
              <a:cxn ang="0">
                <a:pos x="197" y="39"/>
              </a:cxn>
              <a:cxn ang="0">
                <a:pos x="203" y="45"/>
              </a:cxn>
              <a:cxn ang="0">
                <a:pos x="204" y="56"/>
              </a:cxn>
              <a:cxn ang="0">
                <a:pos x="187" y="64"/>
              </a:cxn>
              <a:cxn ang="0">
                <a:pos x="155" y="69"/>
              </a:cxn>
              <a:cxn ang="0">
                <a:pos x="133" y="64"/>
              </a:cxn>
            </a:cxnLst>
            <a:rect l="0" t="0" r="r" b="b"/>
            <a:pathLst>
              <a:path w="207" h="184">
                <a:moveTo>
                  <a:pt x="6" y="184"/>
                </a:moveTo>
                <a:lnTo>
                  <a:pt x="5" y="182"/>
                </a:lnTo>
                <a:lnTo>
                  <a:pt x="6" y="180"/>
                </a:lnTo>
                <a:lnTo>
                  <a:pt x="8" y="180"/>
                </a:lnTo>
                <a:lnTo>
                  <a:pt x="9" y="182"/>
                </a:lnTo>
                <a:lnTo>
                  <a:pt x="12" y="182"/>
                </a:lnTo>
                <a:lnTo>
                  <a:pt x="13" y="180"/>
                </a:lnTo>
                <a:lnTo>
                  <a:pt x="14" y="179"/>
                </a:lnTo>
                <a:lnTo>
                  <a:pt x="16" y="180"/>
                </a:lnTo>
                <a:lnTo>
                  <a:pt x="20" y="179"/>
                </a:lnTo>
                <a:lnTo>
                  <a:pt x="21" y="177"/>
                </a:lnTo>
                <a:lnTo>
                  <a:pt x="22" y="177"/>
                </a:lnTo>
                <a:lnTo>
                  <a:pt x="28" y="177"/>
                </a:lnTo>
                <a:lnTo>
                  <a:pt x="34" y="177"/>
                </a:lnTo>
                <a:lnTo>
                  <a:pt x="37" y="177"/>
                </a:lnTo>
                <a:lnTo>
                  <a:pt x="40" y="177"/>
                </a:lnTo>
                <a:lnTo>
                  <a:pt x="38" y="177"/>
                </a:lnTo>
                <a:lnTo>
                  <a:pt x="37" y="176"/>
                </a:lnTo>
                <a:lnTo>
                  <a:pt x="34" y="176"/>
                </a:lnTo>
                <a:lnTo>
                  <a:pt x="36" y="174"/>
                </a:lnTo>
                <a:lnTo>
                  <a:pt x="33" y="173"/>
                </a:lnTo>
                <a:lnTo>
                  <a:pt x="30" y="173"/>
                </a:lnTo>
                <a:lnTo>
                  <a:pt x="25" y="173"/>
                </a:lnTo>
                <a:lnTo>
                  <a:pt x="21" y="173"/>
                </a:lnTo>
                <a:lnTo>
                  <a:pt x="17" y="171"/>
                </a:lnTo>
                <a:lnTo>
                  <a:pt x="16" y="171"/>
                </a:lnTo>
                <a:lnTo>
                  <a:pt x="13" y="169"/>
                </a:lnTo>
                <a:lnTo>
                  <a:pt x="12" y="169"/>
                </a:lnTo>
                <a:lnTo>
                  <a:pt x="12" y="166"/>
                </a:lnTo>
                <a:lnTo>
                  <a:pt x="13" y="166"/>
                </a:lnTo>
                <a:lnTo>
                  <a:pt x="14" y="168"/>
                </a:lnTo>
                <a:lnTo>
                  <a:pt x="14" y="165"/>
                </a:lnTo>
                <a:lnTo>
                  <a:pt x="16" y="165"/>
                </a:lnTo>
                <a:lnTo>
                  <a:pt x="14" y="163"/>
                </a:lnTo>
                <a:lnTo>
                  <a:pt x="10" y="165"/>
                </a:lnTo>
                <a:lnTo>
                  <a:pt x="6" y="166"/>
                </a:lnTo>
                <a:lnTo>
                  <a:pt x="0" y="166"/>
                </a:lnTo>
                <a:lnTo>
                  <a:pt x="10" y="162"/>
                </a:lnTo>
                <a:lnTo>
                  <a:pt x="24" y="154"/>
                </a:lnTo>
                <a:lnTo>
                  <a:pt x="34" y="147"/>
                </a:lnTo>
                <a:lnTo>
                  <a:pt x="49" y="137"/>
                </a:lnTo>
                <a:lnTo>
                  <a:pt x="52" y="133"/>
                </a:lnTo>
                <a:lnTo>
                  <a:pt x="57" y="129"/>
                </a:lnTo>
                <a:lnTo>
                  <a:pt x="57" y="122"/>
                </a:lnTo>
                <a:lnTo>
                  <a:pt x="56" y="124"/>
                </a:lnTo>
                <a:lnTo>
                  <a:pt x="53" y="121"/>
                </a:lnTo>
                <a:lnTo>
                  <a:pt x="52" y="118"/>
                </a:lnTo>
                <a:lnTo>
                  <a:pt x="44" y="115"/>
                </a:lnTo>
                <a:lnTo>
                  <a:pt x="41" y="113"/>
                </a:lnTo>
                <a:lnTo>
                  <a:pt x="40" y="110"/>
                </a:lnTo>
                <a:lnTo>
                  <a:pt x="41" y="108"/>
                </a:lnTo>
                <a:lnTo>
                  <a:pt x="44" y="107"/>
                </a:lnTo>
                <a:lnTo>
                  <a:pt x="45" y="104"/>
                </a:lnTo>
                <a:lnTo>
                  <a:pt x="45" y="100"/>
                </a:lnTo>
                <a:lnTo>
                  <a:pt x="41" y="99"/>
                </a:lnTo>
                <a:lnTo>
                  <a:pt x="38" y="96"/>
                </a:lnTo>
                <a:lnTo>
                  <a:pt x="38" y="94"/>
                </a:lnTo>
                <a:lnTo>
                  <a:pt x="37" y="91"/>
                </a:lnTo>
                <a:lnTo>
                  <a:pt x="32" y="91"/>
                </a:lnTo>
                <a:lnTo>
                  <a:pt x="32" y="88"/>
                </a:lnTo>
                <a:lnTo>
                  <a:pt x="34" y="86"/>
                </a:lnTo>
                <a:lnTo>
                  <a:pt x="33" y="83"/>
                </a:lnTo>
                <a:lnTo>
                  <a:pt x="34" y="80"/>
                </a:lnTo>
                <a:lnTo>
                  <a:pt x="34" y="77"/>
                </a:lnTo>
                <a:lnTo>
                  <a:pt x="38" y="75"/>
                </a:lnTo>
                <a:lnTo>
                  <a:pt x="38" y="74"/>
                </a:lnTo>
                <a:lnTo>
                  <a:pt x="37" y="71"/>
                </a:lnTo>
                <a:lnTo>
                  <a:pt x="34" y="67"/>
                </a:lnTo>
                <a:lnTo>
                  <a:pt x="30" y="63"/>
                </a:lnTo>
                <a:lnTo>
                  <a:pt x="29" y="61"/>
                </a:lnTo>
                <a:lnTo>
                  <a:pt x="28" y="58"/>
                </a:lnTo>
                <a:lnTo>
                  <a:pt x="25" y="56"/>
                </a:lnTo>
                <a:lnTo>
                  <a:pt x="24" y="53"/>
                </a:lnTo>
                <a:lnTo>
                  <a:pt x="26" y="52"/>
                </a:lnTo>
                <a:lnTo>
                  <a:pt x="30" y="47"/>
                </a:lnTo>
                <a:lnTo>
                  <a:pt x="36" y="42"/>
                </a:lnTo>
                <a:lnTo>
                  <a:pt x="36" y="39"/>
                </a:lnTo>
                <a:lnTo>
                  <a:pt x="32" y="38"/>
                </a:lnTo>
                <a:lnTo>
                  <a:pt x="26" y="33"/>
                </a:lnTo>
                <a:lnTo>
                  <a:pt x="22" y="31"/>
                </a:lnTo>
                <a:lnTo>
                  <a:pt x="18" y="31"/>
                </a:lnTo>
                <a:lnTo>
                  <a:pt x="17" y="31"/>
                </a:lnTo>
                <a:lnTo>
                  <a:pt x="16" y="30"/>
                </a:lnTo>
                <a:lnTo>
                  <a:pt x="14" y="27"/>
                </a:lnTo>
                <a:lnTo>
                  <a:pt x="13" y="25"/>
                </a:lnTo>
                <a:lnTo>
                  <a:pt x="13" y="23"/>
                </a:lnTo>
                <a:lnTo>
                  <a:pt x="17" y="20"/>
                </a:lnTo>
                <a:lnTo>
                  <a:pt x="16" y="19"/>
                </a:lnTo>
                <a:lnTo>
                  <a:pt x="14" y="19"/>
                </a:lnTo>
                <a:lnTo>
                  <a:pt x="22" y="16"/>
                </a:lnTo>
                <a:lnTo>
                  <a:pt x="25" y="14"/>
                </a:lnTo>
                <a:lnTo>
                  <a:pt x="26" y="12"/>
                </a:lnTo>
                <a:lnTo>
                  <a:pt x="36" y="9"/>
                </a:lnTo>
                <a:lnTo>
                  <a:pt x="37" y="9"/>
                </a:lnTo>
                <a:lnTo>
                  <a:pt x="38" y="6"/>
                </a:lnTo>
                <a:lnTo>
                  <a:pt x="45" y="8"/>
                </a:lnTo>
                <a:lnTo>
                  <a:pt x="48" y="6"/>
                </a:lnTo>
                <a:lnTo>
                  <a:pt x="49" y="6"/>
                </a:lnTo>
                <a:lnTo>
                  <a:pt x="50" y="5"/>
                </a:lnTo>
                <a:lnTo>
                  <a:pt x="50" y="3"/>
                </a:lnTo>
                <a:lnTo>
                  <a:pt x="49" y="3"/>
                </a:lnTo>
                <a:lnTo>
                  <a:pt x="50" y="3"/>
                </a:lnTo>
                <a:lnTo>
                  <a:pt x="56" y="5"/>
                </a:lnTo>
                <a:lnTo>
                  <a:pt x="58" y="5"/>
                </a:lnTo>
                <a:lnTo>
                  <a:pt x="61" y="5"/>
                </a:lnTo>
                <a:lnTo>
                  <a:pt x="62" y="5"/>
                </a:lnTo>
                <a:lnTo>
                  <a:pt x="61" y="3"/>
                </a:lnTo>
                <a:lnTo>
                  <a:pt x="62" y="3"/>
                </a:lnTo>
                <a:lnTo>
                  <a:pt x="64" y="3"/>
                </a:lnTo>
                <a:lnTo>
                  <a:pt x="65" y="3"/>
                </a:lnTo>
                <a:lnTo>
                  <a:pt x="66" y="1"/>
                </a:lnTo>
                <a:lnTo>
                  <a:pt x="64" y="0"/>
                </a:lnTo>
                <a:lnTo>
                  <a:pt x="69" y="1"/>
                </a:lnTo>
                <a:lnTo>
                  <a:pt x="73" y="1"/>
                </a:lnTo>
                <a:lnTo>
                  <a:pt x="73" y="3"/>
                </a:lnTo>
                <a:lnTo>
                  <a:pt x="76" y="3"/>
                </a:lnTo>
                <a:lnTo>
                  <a:pt x="77" y="3"/>
                </a:lnTo>
                <a:lnTo>
                  <a:pt x="82" y="3"/>
                </a:lnTo>
                <a:lnTo>
                  <a:pt x="82" y="5"/>
                </a:lnTo>
                <a:lnTo>
                  <a:pt x="80" y="6"/>
                </a:lnTo>
                <a:lnTo>
                  <a:pt x="77" y="6"/>
                </a:lnTo>
                <a:lnTo>
                  <a:pt x="74" y="6"/>
                </a:lnTo>
                <a:lnTo>
                  <a:pt x="73" y="6"/>
                </a:lnTo>
                <a:lnTo>
                  <a:pt x="72" y="6"/>
                </a:lnTo>
                <a:lnTo>
                  <a:pt x="69" y="5"/>
                </a:lnTo>
                <a:lnTo>
                  <a:pt x="68" y="3"/>
                </a:lnTo>
                <a:lnTo>
                  <a:pt x="66" y="6"/>
                </a:lnTo>
                <a:lnTo>
                  <a:pt x="70" y="6"/>
                </a:lnTo>
                <a:lnTo>
                  <a:pt x="72" y="8"/>
                </a:lnTo>
                <a:lnTo>
                  <a:pt x="72" y="9"/>
                </a:lnTo>
                <a:lnTo>
                  <a:pt x="76" y="8"/>
                </a:lnTo>
                <a:lnTo>
                  <a:pt x="77" y="8"/>
                </a:lnTo>
                <a:lnTo>
                  <a:pt x="78" y="9"/>
                </a:lnTo>
                <a:lnTo>
                  <a:pt x="81" y="9"/>
                </a:lnTo>
                <a:lnTo>
                  <a:pt x="80" y="11"/>
                </a:lnTo>
                <a:lnTo>
                  <a:pt x="85" y="9"/>
                </a:lnTo>
                <a:lnTo>
                  <a:pt x="85" y="11"/>
                </a:lnTo>
                <a:lnTo>
                  <a:pt x="86" y="12"/>
                </a:lnTo>
                <a:lnTo>
                  <a:pt x="88" y="12"/>
                </a:lnTo>
                <a:lnTo>
                  <a:pt x="89" y="12"/>
                </a:lnTo>
                <a:lnTo>
                  <a:pt x="94" y="12"/>
                </a:lnTo>
                <a:lnTo>
                  <a:pt x="94" y="11"/>
                </a:lnTo>
                <a:lnTo>
                  <a:pt x="98" y="12"/>
                </a:lnTo>
                <a:lnTo>
                  <a:pt x="109" y="12"/>
                </a:lnTo>
                <a:lnTo>
                  <a:pt x="113" y="14"/>
                </a:lnTo>
                <a:lnTo>
                  <a:pt x="114" y="14"/>
                </a:lnTo>
                <a:lnTo>
                  <a:pt x="115" y="14"/>
                </a:lnTo>
                <a:lnTo>
                  <a:pt x="114" y="12"/>
                </a:lnTo>
                <a:lnTo>
                  <a:pt x="123" y="14"/>
                </a:lnTo>
                <a:lnTo>
                  <a:pt x="126" y="14"/>
                </a:lnTo>
                <a:lnTo>
                  <a:pt x="135" y="17"/>
                </a:lnTo>
                <a:lnTo>
                  <a:pt x="137" y="17"/>
                </a:lnTo>
                <a:lnTo>
                  <a:pt x="145" y="20"/>
                </a:lnTo>
                <a:lnTo>
                  <a:pt x="146" y="20"/>
                </a:lnTo>
                <a:lnTo>
                  <a:pt x="151" y="22"/>
                </a:lnTo>
                <a:lnTo>
                  <a:pt x="159" y="27"/>
                </a:lnTo>
                <a:lnTo>
                  <a:pt x="161" y="27"/>
                </a:lnTo>
                <a:lnTo>
                  <a:pt x="162" y="28"/>
                </a:lnTo>
                <a:lnTo>
                  <a:pt x="163" y="30"/>
                </a:lnTo>
                <a:lnTo>
                  <a:pt x="170" y="30"/>
                </a:lnTo>
                <a:lnTo>
                  <a:pt x="167" y="28"/>
                </a:lnTo>
                <a:lnTo>
                  <a:pt x="171" y="30"/>
                </a:lnTo>
                <a:lnTo>
                  <a:pt x="173" y="31"/>
                </a:lnTo>
                <a:lnTo>
                  <a:pt x="173" y="33"/>
                </a:lnTo>
                <a:lnTo>
                  <a:pt x="174" y="31"/>
                </a:lnTo>
                <a:lnTo>
                  <a:pt x="177" y="33"/>
                </a:lnTo>
                <a:lnTo>
                  <a:pt x="182" y="34"/>
                </a:lnTo>
                <a:lnTo>
                  <a:pt x="185" y="34"/>
                </a:lnTo>
                <a:lnTo>
                  <a:pt x="183" y="33"/>
                </a:lnTo>
                <a:lnTo>
                  <a:pt x="185" y="33"/>
                </a:lnTo>
                <a:lnTo>
                  <a:pt x="187" y="33"/>
                </a:lnTo>
                <a:lnTo>
                  <a:pt x="187" y="34"/>
                </a:lnTo>
                <a:lnTo>
                  <a:pt x="191" y="36"/>
                </a:lnTo>
                <a:lnTo>
                  <a:pt x="193" y="38"/>
                </a:lnTo>
                <a:lnTo>
                  <a:pt x="194" y="39"/>
                </a:lnTo>
                <a:lnTo>
                  <a:pt x="197" y="39"/>
                </a:lnTo>
                <a:lnTo>
                  <a:pt x="199" y="39"/>
                </a:lnTo>
                <a:lnTo>
                  <a:pt x="202" y="41"/>
                </a:lnTo>
                <a:lnTo>
                  <a:pt x="202" y="44"/>
                </a:lnTo>
                <a:lnTo>
                  <a:pt x="203" y="45"/>
                </a:lnTo>
                <a:lnTo>
                  <a:pt x="204" y="49"/>
                </a:lnTo>
                <a:lnTo>
                  <a:pt x="207" y="50"/>
                </a:lnTo>
                <a:lnTo>
                  <a:pt x="206" y="53"/>
                </a:lnTo>
                <a:lnTo>
                  <a:pt x="204" y="56"/>
                </a:lnTo>
                <a:lnTo>
                  <a:pt x="198" y="60"/>
                </a:lnTo>
                <a:lnTo>
                  <a:pt x="193" y="63"/>
                </a:lnTo>
                <a:lnTo>
                  <a:pt x="190" y="64"/>
                </a:lnTo>
                <a:lnTo>
                  <a:pt x="187" y="64"/>
                </a:lnTo>
                <a:lnTo>
                  <a:pt x="175" y="67"/>
                </a:lnTo>
                <a:lnTo>
                  <a:pt x="173" y="67"/>
                </a:lnTo>
                <a:lnTo>
                  <a:pt x="169" y="69"/>
                </a:lnTo>
                <a:lnTo>
                  <a:pt x="155" y="69"/>
                </a:lnTo>
                <a:lnTo>
                  <a:pt x="150" y="67"/>
                </a:lnTo>
                <a:lnTo>
                  <a:pt x="147" y="66"/>
                </a:lnTo>
                <a:lnTo>
                  <a:pt x="141" y="66"/>
                </a:lnTo>
                <a:lnTo>
                  <a:pt x="133" y="64"/>
                </a:lnTo>
                <a:lnTo>
                  <a:pt x="129" y="64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27" name="Freeform 1051"/>
          <p:cNvSpPr>
            <a:spLocks/>
          </p:cNvSpPr>
          <p:nvPr/>
        </p:nvSpPr>
        <p:spPr bwMode="auto">
          <a:xfrm>
            <a:off x="6594266" y="1921760"/>
            <a:ext cx="539821" cy="173955"/>
          </a:xfrm>
          <a:custGeom>
            <a:avLst/>
            <a:gdLst/>
            <a:ahLst/>
            <a:cxnLst>
              <a:cxn ang="0">
                <a:pos x="48" y="39"/>
              </a:cxn>
              <a:cxn ang="0">
                <a:pos x="36" y="38"/>
              </a:cxn>
              <a:cxn ang="0">
                <a:pos x="32" y="36"/>
              </a:cxn>
              <a:cxn ang="0">
                <a:pos x="24" y="34"/>
              </a:cxn>
              <a:cxn ang="0">
                <a:pos x="12" y="30"/>
              </a:cxn>
              <a:cxn ang="0">
                <a:pos x="4" y="30"/>
              </a:cxn>
              <a:cxn ang="0">
                <a:pos x="10" y="36"/>
              </a:cxn>
              <a:cxn ang="0">
                <a:pos x="28" y="44"/>
              </a:cxn>
              <a:cxn ang="0">
                <a:pos x="37" y="47"/>
              </a:cxn>
              <a:cxn ang="0">
                <a:pos x="41" y="55"/>
              </a:cxn>
              <a:cxn ang="0">
                <a:pos x="41" y="64"/>
              </a:cxn>
              <a:cxn ang="0">
                <a:pos x="44" y="74"/>
              </a:cxn>
              <a:cxn ang="0">
                <a:pos x="45" y="77"/>
              </a:cxn>
              <a:cxn ang="0">
                <a:pos x="57" y="78"/>
              </a:cxn>
              <a:cxn ang="0">
                <a:pos x="64" y="83"/>
              </a:cxn>
              <a:cxn ang="0">
                <a:pos x="84" y="88"/>
              </a:cxn>
              <a:cxn ang="0">
                <a:pos x="93" y="85"/>
              </a:cxn>
              <a:cxn ang="0">
                <a:pos x="76" y="75"/>
              </a:cxn>
              <a:cxn ang="0">
                <a:pos x="68" y="67"/>
              </a:cxn>
              <a:cxn ang="0">
                <a:pos x="77" y="63"/>
              </a:cxn>
              <a:cxn ang="0">
                <a:pos x="92" y="69"/>
              </a:cxn>
              <a:cxn ang="0">
                <a:pos x="95" y="71"/>
              </a:cxn>
              <a:cxn ang="0">
                <a:pos x="111" y="72"/>
              </a:cxn>
              <a:cxn ang="0">
                <a:pos x="128" y="74"/>
              </a:cxn>
              <a:cxn ang="0">
                <a:pos x="128" y="67"/>
              </a:cxn>
              <a:cxn ang="0">
                <a:pos x="119" y="56"/>
              </a:cxn>
              <a:cxn ang="0">
                <a:pos x="128" y="52"/>
              </a:cxn>
              <a:cxn ang="0">
                <a:pos x="142" y="47"/>
              </a:cxn>
              <a:cxn ang="0">
                <a:pos x="153" y="41"/>
              </a:cxn>
              <a:cxn ang="0">
                <a:pos x="170" y="42"/>
              </a:cxn>
              <a:cxn ang="0">
                <a:pos x="176" y="45"/>
              </a:cxn>
              <a:cxn ang="0">
                <a:pos x="184" y="50"/>
              </a:cxn>
              <a:cxn ang="0">
                <a:pos x="188" y="38"/>
              </a:cxn>
              <a:cxn ang="0">
                <a:pos x="189" y="31"/>
              </a:cxn>
              <a:cxn ang="0">
                <a:pos x="180" y="27"/>
              </a:cxn>
              <a:cxn ang="0">
                <a:pos x="182" y="16"/>
              </a:cxn>
              <a:cxn ang="0">
                <a:pos x="170" y="1"/>
              </a:cxn>
              <a:cxn ang="0">
                <a:pos x="186" y="3"/>
              </a:cxn>
              <a:cxn ang="0">
                <a:pos x="210" y="5"/>
              </a:cxn>
              <a:cxn ang="0">
                <a:pos x="217" y="9"/>
              </a:cxn>
              <a:cxn ang="0">
                <a:pos x="206" y="17"/>
              </a:cxn>
              <a:cxn ang="0">
                <a:pos x="196" y="20"/>
              </a:cxn>
              <a:cxn ang="0">
                <a:pos x="206" y="28"/>
              </a:cxn>
              <a:cxn ang="0">
                <a:pos x="216" y="34"/>
              </a:cxn>
              <a:cxn ang="0">
                <a:pos x="222" y="34"/>
              </a:cxn>
              <a:cxn ang="0">
                <a:pos x="237" y="30"/>
              </a:cxn>
              <a:cxn ang="0">
                <a:pos x="241" y="20"/>
              </a:cxn>
              <a:cxn ang="0">
                <a:pos x="254" y="19"/>
              </a:cxn>
              <a:cxn ang="0">
                <a:pos x="275" y="9"/>
              </a:cxn>
            </a:cxnLst>
            <a:rect l="0" t="0" r="r" b="b"/>
            <a:pathLst>
              <a:path w="283" h="88">
                <a:moveTo>
                  <a:pt x="63" y="42"/>
                </a:moveTo>
                <a:lnTo>
                  <a:pt x="55" y="41"/>
                </a:lnTo>
                <a:lnTo>
                  <a:pt x="52" y="39"/>
                </a:lnTo>
                <a:lnTo>
                  <a:pt x="48" y="39"/>
                </a:lnTo>
                <a:lnTo>
                  <a:pt x="47" y="38"/>
                </a:lnTo>
                <a:lnTo>
                  <a:pt x="41" y="38"/>
                </a:lnTo>
                <a:lnTo>
                  <a:pt x="37" y="38"/>
                </a:lnTo>
                <a:lnTo>
                  <a:pt x="36" y="38"/>
                </a:lnTo>
                <a:lnTo>
                  <a:pt x="36" y="34"/>
                </a:lnTo>
                <a:lnTo>
                  <a:pt x="35" y="34"/>
                </a:lnTo>
                <a:lnTo>
                  <a:pt x="33" y="36"/>
                </a:lnTo>
                <a:lnTo>
                  <a:pt x="32" y="36"/>
                </a:lnTo>
                <a:lnTo>
                  <a:pt x="29" y="36"/>
                </a:lnTo>
                <a:lnTo>
                  <a:pt x="28" y="36"/>
                </a:lnTo>
                <a:lnTo>
                  <a:pt x="25" y="33"/>
                </a:lnTo>
                <a:lnTo>
                  <a:pt x="24" y="34"/>
                </a:lnTo>
                <a:lnTo>
                  <a:pt x="23" y="34"/>
                </a:lnTo>
                <a:lnTo>
                  <a:pt x="16" y="33"/>
                </a:lnTo>
                <a:lnTo>
                  <a:pt x="14" y="31"/>
                </a:lnTo>
                <a:lnTo>
                  <a:pt x="12" y="30"/>
                </a:lnTo>
                <a:lnTo>
                  <a:pt x="7" y="28"/>
                </a:lnTo>
                <a:lnTo>
                  <a:pt x="2" y="28"/>
                </a:lnTo>
                <a:lnTo>
                  <a:pt x="0" y="30"/>
                </a:lnTo>
                <a:lnTo>
                  <a:pt x="4" y="30"/>
                </a:lnTo>
                <a:lnTo>
                  <a:pt x="6" y="31"/>
                </a:lnTo>
                <a:lnTo>
                  <a:pt x="7" y="33"/>
                </a:lnTo>
                <a:lnTo>
                  <a:pt x="11" y="36"/>
                </a:lnTo>
                <a:lnTo>
                  <a:pt x="10" y="36"/>
                </a:lnTo>
                <a:lnTo>
                  <a:pt x="19" y="39"/>
                </a:lnTo>
                <a:lnTo>
                  <a:pt x="24" y="41"/>
                </a:lnTo>
                <a:lnTo>
                  <a:pt x="24" y="42"/>
                </a:lnTo>
                <a:lnTo>
                  <a:pt x="28" y="44"/>
                </a:lnTo>
                <a:lnTo>
                  <a:pt x="31" y="44"/>
                </a:lnTo>
                <a:lnTo>
                  <a:pt x="32" y="45"/>
                </a:lnTo>
                <a:lnTo>
                  <a:pt x="36" y="45"/>
                </a:lnTo>
                <a:lnTo>
                  <a:pt x="37" y="47"/>
                </a:lnTo>
                <a:lnTo>
                  <a:pt x="40" y="49"/>
                </a:lnTo>
                <a:lnTo>
                  <a:pt x="41" y="50"/>
                </a:lnTo>
                <a:lnTo>
                  <a:pt x="43" y="52"/>
                </a:lnTo>
                <a:lnTo>
                  <a:pt x="41" y="55"/>
                </a:lnTo>
                <a:lnTo>
                  <a:pt x="41" y="58"/>
                </a:lnTo>
                <a:lnTo>
                  <a:pt x="37" y="58"/>
                </a:lnTo>
                <a:lnTo>
                  <a:pt x="36" y="60"/>
                </a:lnTo>
                <a:lnTo>
                  <a:pt x="41" y="64"/>
                </a:lnTo>
                <a:lnTo>
                  <a:pt x="40" y="67"/>
                </a:lnTo>
                <a:lnTo>
                  <a:pt x="44" y="67"/>
                </a:lnTo>
                <a:lnTo>
                  <a:pt x="43" y="71"/>
                </a:lnTo>
                <a:lnTo>
                  <a:pt x="44" y="74"/>
                </a:lnTo>
                <a:lnTo>
                  <a:pt x="41" y="75"/>
                </a:lnTo>
                <a:lnTo>
                  <a:pt x="40" y="75"/>
                </a:lnTo>
                <a:lnTo>
                  <a:pt x="44" y="75"/>
                </a:lnTo>
                <a:lnTo>
                  <a:pt x="45" y="77"/>
                </a:lnTo>
                <a:lnTo>
                  <a:pt x="51" y="78"/>
                </a:lnTo>
                <a:lnTo>
                  <a:pt x="53" y="78"/>
                </a:lnTo>
                <a:lnTo>
                  <a:pt x="55" y="77"/>
                </a:lnTo>
                <a:lnTo>
                  <a:pt x="57" y="78"/>
                </a:lnTo>
                <a:lnTo>
                  <a:pt x="60" y="80"/>
                </a:lnTo>
                <a:lnTo>
                  <a:pt x="61" y="80"/>
                </a:lnTo>
                <a:lnTo>
                  <a:pt x="64" y="82"/>
                </a:lnTo>
                <a:lnTo>
                  <a:pt x="64" y="83"/>
                </a:lnTo>
                <a:lnTo>
                  <a:pt x="69" y="83"/>
                </a:lnTo>
                <a:lnTo>
                  <a:pt x="77" y="86"/>
                </a:lnTo>
                <a:lnTo>
                  <a:pt x="80" y="86"/>
                </a:lnTo>
                <a:lnTo>
                  <a:pt x="84" y="88"/>
                </a:lnTo>
                <a:lnTo>
                  <a:pt x="85" y="86"/>
                </a:lnTo>
                <a:lnTo>
                  <a:pt x="89" y="85"/>
                </a:lnTo>
                <a:lnTo>
                  <a:pt x="95" y="86"/>
                </a:lnTo>
                <a:lnTo>
                  <a:pt x="93" y="85"/>
                </a:lnTo>
                <a:lnTo>
                  <a:pt x="91" y="78"/>
                </a:lnTo>
                <a:lnTo>
                  <a:pt x="89" y="75"/>
                </a:lnTo>
                <a:lnTo>
                  <a:pt x="80" y="77"/>
                </a:lnTo>
                <a:lnTo>
                  <a:pt x="76" y="75"/>
                </a:lnTo>
                <a:lnTo>
                  <a:pt x="73" y="72"/>
                </a:lnTo>
                <a:lnTo>
                  <a:pt x="71" y="71"/>
                </a:lnTo>
                <a:lnTo>
                  <a:pt x="69" y="69"/>
                </a:lnTo>
                <a:lnTo>
                  <a:pt x="68" y="67"/>
                </a:lnTo>
                <a:lnTo>
                  <a:pt x="71" y="67"/>
                </a:lnTo>
                <a:lnTo>
                  <a:pt x="73" y="66"/>
                </a:lnTo>
                <a:lnTo>
                  <a:pt x="75" y="63"/>
                </a:lnTo>
                <a:lnTo>
                  <a:pt x="77" y="63"/>
                </a:lnTo>
                <a:lnTo>
                  <a:pt x="83" y="64"/>
                </a:lnTo>
                <a:lnTo>
                  <a:pt x="87" y="66"/>
                </a:lnTo>
                <a:lnTo>
                  <a:pt x="88" y="67"/>
                </a:lnTo>
                <a:lnTo>
                  <a:pt x="92" y="69"/>
                </a:lnTo>
                <a:lnTo>
                  <a:pt x="96" y="69"/>
                </a:lnTo>
                <a:lnTo>
                  <a:pt x="92" y="71"/>
                </a:lnTo>
                <a:lnTo>
                  <a:pt x="93" y="74"/>
                </a:lnTo>
                <a:lnTo>
                  <a:pt x="95" y="71"/>
                </a:lnTo>
                <a:lnTo>
                  <a:pt x="99" y="69"/>
                </a:lnTo>
                <a:lnTo>
                  <a:pt x="101" y="71"/>
                </a:lnTo>
                <a:lnTo>
                  <a:pt x="105" y="71"/>
                </a:lnTo>
                <a:lnTo>
                  <a:pt x="111" y="72"/>
                </a:lnTo>
                <a:lnTo>
                  <a:pt x="116" y="74"/>
                </a:lnTo>
                <a:lnTo>
                  <a:pt x="120" y="74"/>
                </a:lnTo>
                <a:lnTo>
                  <a:pt x="120" y="72"/>
                </a:lnTo>
                <a:lnTo>
                  <a:pt x="128" y="74"/>
                </a:lnTo>
                <a:lnTo>
                  <a:pt x="129" y="74"/>
                </a:lnTo>
                <a:lnTo>
                  <a:pt x="135" y="75"/>
                </a:lnTo>
                <a:lnTo>
                  <a:pt x="132" y="72"/>
                </a:lnTo>
                <a:lnTo>
                  <a:pt x="128" y="67"/>
                </a:lnTo>
                <a:lnTo>
                  <a:pt x="125" y="66"/>
                </a:lnTo>
                <a:lnTo>
                  <a:pt x="123" y="63"/>
                </a:lnTo>
                <a:lnTo>
                  <a:pt x="119" y="60"/>
                </a:lnTo>
                <a:lnTo>
                  <a:pt x="119" y="56"/>
                </a:lnTo>
                <a:lnTo>
                  <a:pt x="119" y="55"/>
                </a:lnTo>
                <a:lnTo>
                  <a:pt x="121" y="55"/>
                </a:lnTo>
                <a:lnTo>
                  <a:pt x="125" y="53"/>
                </a:lnTo>
                <a:lnTo>
                  <a:pt x="128" y="52"/>
                </a:lnTo>
                <a:lnTo>
                  <a:pt x="131" y="50"/>
                </a:lnTo>
                <a:lnTo>
                  <a:pt x="133" y="49"/>
                </a:lnTo>
                <a:lnTo>
                  <a:pt x="136" y="49"/>
                </a:lnTo>
                <a:lnTo>
                  <a:pt x="142" y="47"/>
                </a:lnTo>
                <a:lnTo>
                  <a:pt x="145" y="45"/>
                </a:lnTo>
                <a:lnTo>
                  <a:pt x="148" y="44"/>
                </a:lnTo>
                <a:lnTo>
                  <a:pt x="152" y="41"/>
                </a:lnTo>
                <a:lnTo>
                  <a:pt x="153" y="41"/>
                </a:lnTo>
                <a:lnTo>
                  <a:pt x="156" y="39"/>
                </a:lnTo>
                <a:lnTo>
                  <a:pt x="161" y="41"/>
                </a:lnTo>
                <a:lnTo>
                  <a:pt x="168" y="41"/>
                </a:lnTo>
                <a:lnTo>
                  <a:pt x="170" y="42"/>
                </a:lnTo>
                <a:lnTo>
                  <a:pt x="174" y="44"/>
                </a:lnTo>
                <a:lnTo>
                  <a:pt x="174" y="45"/>
                </a:lnTo>
                <a:lnTo>
                  <a:pt x="172" y="47"/>
                </a:lnTo>
                <a:lnTo>
                  <a:pt x="176" y="45"/>
                </a:lnTo>
                <a:lnTo>
                  <a:pt x="178" y="45"/>
                </a:lnTo>
                <a:lnTo>
                  <a:pt x="180" y="47"/>
                </a:lnTo>
                <a:lnTo>
                  <a:pt x="181" y="49"/>
                </a:lnTo>
                <a:lnTo>
                  <a:pt x="184" y="50"/>
                </a:lnTo>
                <a:lnTo>
                  <a:pt x="185" y="45"/>
                </a:lnTo>
                <a:lnTo>
                  <a:pt x="182" y="44"/>
                </a:lnTo>
                <a:lnTo>
                  <a:pt x="185" y="41"/>
                </a:lnTo>
                <a:lnTo>
                  <a:pt x="188" y="38"/>
                </a:lnTo>
                <a:lnTo>
                  <a:pt x="189" y="36"/>
                </a:lnTo>
                <a:lnTo>
                  <a:pt x="188" y="34"/>
                </a:lnTo>
                <a:lnTo>
                  <a:pt x="189" y="33"/>
                </a:lnTo>
                <a:lnTo>
                  <a:pt x="189" y="31"/>
                </a:lnTo>
                <a:lnTo>
                  <a:pt x="186" y="28"/>
                </a:lnTo>
                <a:lnTo>
                  <a:pt x="184" y="28"/>
                </a:lnTo>
                <a:lnTo>
                  <a:pt x="181" y="28"/>
                </a:lnTo>
                <a:lnTo>
                  <a:pt x="180" y="27"/>
                </a:lnTo>
                <a:lnTo>
                  <a:pt x="178" y="25"/>
                </a:lnTo>
                <a:lnTo>
                  <a:pt x="178" y="23"/>
                </a:lnTo>
                <a:lnTo>
                  <a:pt x="182" y="17"/>
                </a:lnTo>
                <a:lnTo>
                  <a:pt x="182" y="16"/>
                </a:lnTo>
                <a:lnTo>
                  <a:pt x="184" y="12"/>
                </a:lnTo>
                <a:lnTo>
                  <a:pt x="184" y="11"/>
                </a:lnTo>
                <a:lnTo>
                  <a:pt x="184" y="6"/>
                </a:lnTo>
                <a:lnTo>
                  <a:pt x="170" y="1"/>
                </a:lnTo>
                <a:lnTo>
                  <a:pt x="170" y="0"/>
                </a:lnTo>
                <a:lnTo>
                  <a:pt x="181" y="3"/>
                </a:lnTo>
                <a:lnTo>
                  <a:pt x="184" y="3"/>
                </a:lnTo>
                <a:lnTo>
                  <a:pt x="186" y="3"/>
                </a:lnTo>
                <a:lnTo>
                  <a:pt x="194" y="3"/>
                </a:lnTo>
                <a:lnTo>
                  <a:pt x="200" y="3"/>
                </a:lnTo>
                <a:lnTo>
                  <a:pt x="208" y="5"/>
                </a:lnTo>
                <a:lnTo>
                  <a:pt x="210" y="5"/>
                </a:lnTo>
                <a:lnTo>
                  <a:pt x="210" y="8"/>
                </a:lnTo>
                <a:lnTo>
                  <a:pt x="212" y="8"/>
                </a:lnTo>
                <a:lnTo>
                  <a:pt x="214" y="9"/>
                </a:lnTo>
                <a:lnTo>
                  <a:pt x="217" y="9"/>
                </a:lnTo>
                <a:lnTo>
                  <a:pt x="218" y="11"/>
                </a:lnTo>
                <a:lnTo>
                  <a:pt x="218" y="14"/>
                </a:lnTo>
                <a:lnTo>
                  <a:pt x="221" y="16"/>
                </a:lnTo>
                <a:lnTo>
                  <a:pt x="206" y="17"/>
                </a:lnTo>
                <a:lnTo>
                  <a:pt x="202" y="17"/>
                </a:lnTo>
                <a:lnTo>
                  <a:pt x="201" y="19"/>
                </a:lnTo>
                <a:lnTo>
                  <a:pt x="198" y="20"/>
                </a:lnTo>
                <a:lnTo>
                  <a:pt x="196" y="20"/>
                </a:lnTo>
                <a:lnTo>
                  <a:pt x="196" y="23"/>
                </a:lnTo>
                <a:lnTo>
                  <a:pt x="197" y="25"/>
                </a:lnTo>
                <a:lnTo>
                  <a:pt x="200" y="25"/>
                </a:lnTo>
                <a:lnTo>
                  <a:pt x="206" y="28"/>
                </a:lnTo>
                <a:lnTo>
                  <a:pt x="208" y="30"/>
                </a:lnTo>
                <a:lnTo>
                  <a:pt x="210" y="33"/>
                </a:lnTo>
                <a:lnTo>
                  <a:pt x="213" y="34"/>
                </a:lnTo>
                <a:lnTo>
                  <a:pt x="216" y="34"/>
                </a:lnTo>
                <a:lnTo>
                  <a:pt x="218" y="33"/>
                </a:lnTo>
                <a:lnTo>
                  <a:pt x="220" y="34"/>
                </a:lnTo>
                <a:lnTo>
                  <a:pt x="221" y="36"/>
                </a:lnTo>
                <a:lnTo>
                  <a:pt x="222" y="34"/>
                </a:lnTo>
                <a:lnTo>
                  <a:pt x="228" y="33"/>
                </a:lnTo>
                <a:lnTo>
                  <a:pt x="230" y="33"/>
                </a:lnTo>
                <a:lnTo>
                  <a:pt x="236" y="31"/>
                </a:lnTo>
                <a:lnTo>
                  <a:pt x="237" y="30"/>
                </a:lnTo>
                <a:lnTo>
                  <a:pt x="237" y="27"/>
                </a:lnTo>
                <a:lnTo>
                  <a:pt x="237" y="25"/>
                </a:lnTo>
                <a:lnTo>
                  <a:pt x="240" y="22"/>
                </a:lnTo>
                <a:lnTo>
                  <a:pt x="241" y="20"/>
                </a:lnTo>
                <a:lnTo>
                  <a:pt x="244" y="20"/>
                </a:lnTo>
                <a:lnTo>
                  <a:pt x="246" y="19"/>
                </a:lnTo>
                <a:lnTo>
                  <a:pt x="251" y="19"/>
                </a:lnTo>
                <a:lnTo>
                  <a:pt x="254" y="19"/>
                </a:lnTo>
                <a:lnTo>
                  <a:pt x="253" y="17"/>
                </a:lnTo>
                <a:lnTo>
                  <a:pt x="253" y="16"/>
                </a:lnTo>
                <a:lnTo>
                  <a:pt x="255" y="16"/>
                </a:lnTo>
                <a:lnTo>
                  <a:pt x="275" y="9"/>
                </a:lnTo>
                <a:lnTo>
                  <a:pt x="283" y="6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28" name="Freeform 1052"/>
          <p:cNvSpPr>
            <a:spLocks/>
          </p:cNvSpPr>
          <p:nvPr/>
        </p:nvSpPr>
        <p:spPr bwMode="auto">
          <a:xfrm>
            <a:off x="7134087" y="1769278"/>
            <a:ext cx="631415" cy="169662"/>
          </a:xfrm>
          <a:custGeom>
            <a:avLst/>
            <a:gdLst/>
            <a:ahLst/>
            <a:cxnLst>
              <a:cxn ang="0">
                <a:pos x="14" y="81"/>
              </a:cxn>
              <a:cxn ang="0">
                <a:pos x="23" y="82"/>
              </a:cxn>
              <a:cxn ang="0">
                <a:pos x="27" y="79"/>
              </a:cxn>
              <a:cxn ang="0">
                <a:pos x="32" y="76"/>
              </a:cxn>
              <a:cxn ang="0">
                <a:pos x="38" y="77"/>
              </a:cxn>
              <a:cxn ang="0">
                <a:pos x="39" y="74"/>
              </a:cxn>
              <a:cxn ang="0">
                <a:pos x="51" y="71"/>
              </a:cxn>
              <a:cxn ang="0">
                <a:pos x="47" y="73"/>
              </a:cxn>
              <a:cxn ang="0">
                <a:pos x="46" y="73"/>
              </a:cxn>
              <a:cxn ang="0">
                <a:pos x="47" y="77"/>
              </a:cxn>
              <a:cxn ang="0">
                <a:pos x="51" y="85"/>
              </a:cxn>
              <a:cxn ang="0">
                <a:pos x="59" y="85"/>
              </a:cxn>
              <a:cxn ang="0">
                <a:pos x="70" y="79"/>
              </a:cxn>
              <a:cxn ang="0">
                <a:pos x="89" y="77"/>
              </a:cxn>
              <a:cxn ang="0">
                <a:pos x="104" y="76"/>
              </a:cxn>
              <a:cxn ang="0">
                <a:pos x="124" y="71"/>
              </a:cxn>
              <a:cxn ang="0">
                <a:pos x="125" y="79"/>
              </a:cxn>
              <a:cxn ang="0">
                <a:pos x="135" y="82"/>
              </a:cxn>
              <a:cxn ang="0">
                <a:pos x="137" y="76"/>
              </a:cxn>
              <a:cxn ang="0">
                <a:pos x="152" y="68"/>
              </a:cxn>
              <a:cxn ang="0">
                <a:pos x="144" y="60"/>
              </a:cxn>
              <a:cxn ang="0">
                <a:pos x="152" y="55"/>
              </a:cxn>
              <a:cxn ang="0">
                <a:pos x="176" y="57"/>
              </a:cxn>
              <a:cxn ang="0">
                <a:pos x="196" y="60"/>
              </a:cxn>
              <a:cxn ang="0">
                <a:pos x="220" y="68"/>
              </a:cxn>
              <a:cxn ang="0">
                <a:pos x="222" y="70"/>
              </a:cxn>
              <a:cxn ang="0">
                <a:pos x="245" y="74"/>
              </a:cxn>
              <a:cxn ang="0">
                <a:pos x="261" y="84"/>
              </a:cxn>
              <a:cxn ang="0">
                <a:pos x="270" y="79"/>
              </a:cxn>
              <a:cxn ang="0">
                <a:pos x="274" y="71"/>
              </a:cxn>
              <a:cxn ang="0">
                <a:pos x="262" y="66"/>
              </a:cxn>
              <a:cxn ang="0">
                <a:pos x="257" y="62"/>
              </a:cxn>
              <a:cxn ang="0">
                <a:pos x="244" y="62"/>
              </a:cxn>
              <a:cxn ang="0">
                <a:pos x="244" y="54"/>
              </a:cxn>
              <a:cxn ang="0">
                <a:pos x="246" y="48"/>
              </a:cxn>
              <a:cxn ang="0">
                <a:pos x="248" y="38"/>
              </a:cxn>
              <a:cxn ang="0">
                <a:pos x="237" y="38"/>
              </a:cxn>
              <a:cxn ang="0">
                <a:pos x="245" y="33"/>
              </a:cxn>
              <a:cxn ang="0">
                <a:pos x="241" y="30"/>
              </a:cxn>
              <a:cxn ang="0">
                <a:pos x="265" y="21"/>
              </a:cxn>
              <a:cxn ang="0">
                <a:pos x="270" y="10"/>
              </a:cxn>
              <a:cxn ang="0">
                <a:pos x="278" y="2"/>
              </a:cxn>
              <a:cxn ang="0">
                <a:pos x="288" y="2"/>
              </a:cxn>
              <a:cxn ang="0">
                <a:pos x="317" y="2"/>
              </a:cxn>
              <a:cxn ang="0">
                <a:pos x="329" y="5"/>
              </a:cxn>
              <a:cxn ang="0">
                <a:pos x="329" y="13"/>
              </a:cxn>
              <a:cxn ang="0">
                <a:pos x="323" y="21"/>
              </a:cxn>
              <a:cxn ang="0">
                <a:pos x="315" y="26"/>
              </a:cxn>
              <a:cxn ang="0">
                <a:pos x="327" y="33"/>
              </a:cxn>
            </a:cxnLst>
            <a:rect l="0" t="0" r="r" b="b"/>
            <a:pathLst>
              <a:path w="330" h="85">
                <a:moveTo>
                  <a:pt x="0" y="82"/>
                </a:moveTo>
                <a:lnTo>
                  <a:pt x="2" y="82"/>
                </a:lnTo>
                <a:lnTo>
                  <a:pt x="3" y="82"/>
                </a:lnTo>
                <a:lnTo>
                  <a:pt x="14" y="81"/>
                </a:lnTo>
                <a:lnTo>
                  <a:pt x="12" y="81"/>
                </a:lnTo>
                <a:lnTo>
                  <a:pt x="20" y="79"/>
                </a:lnTo>
                <a:lnTo>
                  <a:pt x="22" y="81"/>
                </a:lnTo>
                <a:lnTo>
                  <a:pt x="23" y="82"/>
                </a:lnTo>
                <a:lnTo>
                  <a:pt x="24" y="82"/>
                </a:lnTo>
                <a:lnTo>
                  <a:pt x="27" y="81"/>
                </a:lnTo>
                <a:lnTo>
                  <a:pt x="28" y="81"/>
                </a:lnTo>
                <a:lnTo>
                  <a:pt x="27" y="79"/>
                </a:lnTo>
                <a:lnTo>
                  <a:pt x="27" y="77"/>
                </a:lnTo>
                <a:lnTo>
                  <a:pt x="24" y="77"/>
                </a:lnTo>
                <a:lnTo>
                  <a:pt x="31" y="76"/>
                </a:lnTo>
                <a:lnTo>
                  <a:pt x="32" y="76"/>
                </a:lnTo>
                <a:lnTo>
                  <a:pt x="31" y="76"/>
                </a:lnTo>
                <a:lnTo>
                  <a:pt x="32" y="77"/>
                </a:lnTo>
                <a:lnTo>
                  <a:pt x="34" y="77"/>
                </a:lnTo>
                <a:lnTo>
                  <a:pt x="38" y="77"/>
                </a:lnTo>
                <a:lnTo>
                  <a:pt x="38" y="76"/>
                </a:lnTo>
                <a:lnTo>
                  <a:pt x="36" y="74"/>
                </a:lnTo>
                <a:lnTo>
                  <a:pt x="38" y="74"/>
                </a:lnTo>
                <a:lnTo>
                  <a:pt x="39" y="74"/>
                </a:lnTo>
                <a:lnTo>
                  <a:pt x="39" y="73"/>
                </a:lnTo>
                <a:lnTo>
                  <a:pt x="46" y="71"/>
                </a:lnTo>
                <a:lnTo>
                  <a:pt x="50" y="71"/>
                </a:lnTo>
                <a:lnTo>
                  <a:pt x="51" y="71"/>
                </a:lnTo>
                <a:lnTo>
                  <a:pt x="56" y="71"/>
                </a:lnTo>
                <a:lnTo>
                  <a:pt x="58" y="71"/>
                </a:lnTo>
                <a:lnTo>
                  <a:pt x="54" y="71"/>
                </a:lnTo>
                <a:lnTo>
                  <a:pt x="47" y="73"/>
                </a:lnTo>
                <a:lnTo>
                  <a:pt x="44" y="73"/>
                </a:lnTo>
                <a:lnTo>
                  <a:pt x="44" y="74"/>
                </a:lnTo>
                <a:lnTo>
                  <a:pt x="46" y="74"/>
                </a:lnTo>
                <a:lnTo>
                  <a:pt x="46" y="73"/>
                </a:lnTo>
                <a:lnTo>
                  <a:pt x="47" y="73"/>
                </a:lnTo>
                <a:lnTo>
                  <a:pt x="50" y="74"/>
                </a:lnTo>
                <a:lnTo>
                  <a:pt x="48" y="76"/>
                </a:lnTo>
                <a:lnTo>
                  <a:pt x="47" y="77"/>
                </a:lnTo>
                <a:lnTo>
                  <a:pt x="47" y="79"/>
                </a:lnTo>
                <a:lnTo>
                  <a:pt x="48" y="79"/>
                </a:lnTo>
                <a:lnTo>
                  <a:pt x="48" y="82"/>
                </a:lnTo>
                <a:lnTo>
                  <a:pt x="51" y="85"/>
                </a:lnTo>
                <a:lnTo>
                  <a:pt x="54" y="84"/>
                </a:lnTo>
                <a:lnTo>
                  <a:pt x="55" y="84"/>
                </a:lnTo>
                <a:lnTo>
                  <a:pt x="56" y="85"/>
                </a:lnTo>
                <a:lnTo>
                  <a:pt x="59" y="85"/>
                </a:lnTo>
                <a:lnTo>
                  <a:pt x="62" y="85"/>
                </a:lnTo>
                <a:lnTo>
                  <a:pt x="63" y="82"/>
                </a:lnTo>
                <a:lnTo>
                  <a:pt x="64" y="81"/>
                </a:lnTo>
                <a:lnTo>
                  <a:pt x="70" y="79"/>
                </a:lnTo>
                <a:lnTo>
                  <a:pt x="74" y="79"/>
                </a:lnTo>
                <a:lnTo>
                  <a:pt x="80" y="77"/>
                </a:lnTo>
                <a:lnTo>
                  <a:pt x="84" y="77"/>
                </a:lnTo>
                <a:lnTo>
                  <a:pt x="89" y="77"/>
                </a:lnTo>
                <a:lnTo>
                  <a:pt x="93" y="77"/>
                </a:lnTo>
                <a:lnTo>
                  <a:pt x="95" y="79"/>
                </a:lnTo>
                <a:lnTo>
                  <a:pt x="99" y="79"/>
                </a:lnTo>
                <a:lnTo>
                  <a:pt x="104" y="76"/>
                </a:lnTo>
                <a:lnTo>
                  <a:pt x="108" y="74"/>
                </a:lnTo>
                <a:lnTo>
                  <a:pt x="111" y="73"/>
                </a:lnTo>
                <a:lnTo>
                  <a:pt x="121" y="71"/>
                </a:lnTo>
                <a:lnTo>
                  <a:pt x="124" y="71"/>
                </a:lnTo>
                <a:lnTo>
                  <a:pt x="131" y="76"/>
                </a:lnTo>
                <a:lnTo>
                  <a:pt x="128" y="76"/>
                </a:lnTo>
                <a:lnTo>
                  <a:pt x="127" y="77"/>
                </a:lnTo>
                <a:lnTo>
                  <a:pt x="125" y="79"/>
                </a:lnTo>
                <a:lnTo>
                  <a:pt x="125" y="81"/>
                </a:lnTo>
                <a:lnTo>
                  <a:pt x="128" y="82"/>
                </a:lnTo>
                <a:lnTo>
                  <a:pt x="132" y="82"/>
                </a:lnTo>
                <a:lnTo>
                  <a:pt x="135" y="82"/>
                </a:lnTo>
                <a:lnTo>
                  <a:pt x="139" y="81"/>
                </a:lnTo>
                <a:lnTo>
                  <a:pt x="137" y="79"/>
                </a:lnTo>
                <a:lnTo>
                  <a:pt x="136" y="77"/>
                </a:lnTo>
                <a:lnTo>
                  <a:pt x="137" y="76"/>
                </a:lnTo>
                <a:lnTo>
                  <a:pt x="145" y="76"/>
                </a:lnTo>
                <a:lnTo>
                  <a:pt x="151" y="73"/>
                </a:lnTo>
                <a:lnTo>
                  <a:pt x="153" y="68"/>
                </a:lnTo>
                <a:lnTo>
                  <a:pt x="152" y="68"/>
                </a:lnTo>
                <a:lnTo>
                  <a:pt x="152" y="70"/>
                </a:lnTo>
                <a:lnTo>
                  <a:pt x="149" y="65"/>
                </a:lnTo>
                <a:lnTo>
                  <a:pt x="145" y="63"/>
                </a:lnTo>
                <a:lnTo>
                  <a:pt x="144" y="60"/>
                </a:lnTo>
                <a:lnTo>
                  <a:pt x="149" y="59"/>
                </a:lnTo>
                <a:lnTo>
                  <a:pt x="151" y="57"/>
                </a:lnTo>
                <a:lnTo>
                  <a:pt x="151" y="55"/>
                </a:lnTo>
                <a:lnTo>
                  <a:pt x="152" y="55"/>
                </a:lnTo>
                <a:lnTo>
                  <a:pt x="156" y="55"/>
                </a:lnTo>
                <a:lnTo>
                  <a:pt x="160" y="57"/>
                </a:lnTo>
                <a:lnTo>
                  <a:pt x="161" y="57"/>
                </a:lnTo>
                <a:lnTo>
                  <a:pt x="176" y="57"/>
                </a:lnTo>
                <a:lnTo>
                  <a:pt x="180" y="57"/>
                </a:lnTo>
                <a:lnTo>
                  <a:pt x="185" y="59"/>
                </a:lnTo>
                <a:lnTo>
                  <a:pt x="188" y="59"/>
                </a:lnTo>
                <a:lnTo>
                  <a:pt x="196" y="60"/>
                </a:lnTo>
                <a:lnTo>
                  <a:pt x="201" y="62"/>
                </a:lnTo>
                <a:lnTo>
                  <a:pt x="209" y="65"/>
                </a:lnTo>
                <a:lnTo>
                  <a:pt x="213" y="65"/>
                </a:lnTo>
                <a:lnTo>
                  <a:pt x="220" y="68"/>
                </a:lnTo>
                <a:lnTo>
                  <a:pt x="224" y="68"/>
                </a:lnTo>
                <a:lnTo>
                  <a:pt x="225" y="68"/>
                </a:lnTo>
                <a:lnTo>
                  <a:pt x="224" y="68"/>
                </a:lnTo>
                <a:lnTo>
                  <a:pt x="222" y="70"/>
                </a:lnTo>
                <a:lnTo>
                  <a:pt x="230" y="71"/>
                </a:lnTo>
                <a:lnTo>
                  <a:pt x="237" y="73"/>
                </a:lnTo>
                <a:lnTo>
                  <a:pt x="241" y="73"/>
                </a:lnTo>
                <a:lnTo>
                  <a:pt x="245" y="74"/>
                </a:lnTo>
                <a:lnTo>
                  <a:pt x="254" y="79"/>
                </a:lnTo>
                <a:lnTo>
                  <a:pt x="260" y="81"/>
                </a:lnTo>
                <a:lnTo>
                  <a:pt x="262" y="82"/>
                </a:lnTo>
                <a:lnTo>
                  <a:pt x="261" y="84"/>
                </a:lnTo>
                <a:lnTo>
                  <a:pt x="264" y="85"/>
                </a:lnTo>
                <a:lnTo>
                  <a:pt x="266" y="84"/>
                </a:lnTo>
                <a:lnTo>
                  <a:pt x="268" y="82"/>
                </a:lnTo>
                <a:lnTo>
                  <a:pt x="270" y="79"/>
                </a:lnTo>
                <a:lnTo>
                  <a:pt x="273" y="76"/>
                </a:lnTo>
                <a:lnTo>
                  <a:pt x="276" y="73"/>
                </a:lnTo>
                <a:lnTo>
                  <a:pt x="274" y="73"/>
                </a:lnTo>
                <a:lnTo>
                  <a:pt x="274" y="71"/>
                </a:lnTo>
                <a:lnTo>
                  <a:pt x="270" y="73"/>
                </a:lnTo>
                <a:lnTo>
                  <a:pt x="266" y="71"/>
                </a:lnTo>
                <a:lnTo>
                  <a:pt x="264" y="68"/>
                </a:lnTo>
                <a:lnTo>
                  <a:pt x="262" y="66"/>
                </a:lnTo>
                <a:lnTo>
                  <a:pt x="260" y="65"/>
                </a:lnTo>
                <a:lnTo>
                  <a:pt x="261" y="62"/>
                </a:lnTo>
                <a:lnTo>
                  <a:pt x="260" y="62"/>
                </a:lnTo>
                <a:lnTo>
                  <a:pt x="257" y="62"/>
                </a:lnTo>
                <a:lnTo>
                  <a:pt x="254" y="60"/>
                </a:lnTo>
                <a:lnTo>
                  <a:pt x="248" y="59"/>
                </a:lnTo>
                <a:lnTo>
                  <a:pt x="244" y="60"/>
                </a:lnTo>
                <a:lnTo>
                  <a:pt x="244" y="62"/>
                </a:lnTo>
                <a:lnTo>
                  <a:pt x="242" y="60"/>
                </a:lnTo>
                <a:lnTo>
                  <a:pt x="241" y="55"/>
                </a:lnTo>
                <a:lnTo>
                  <a:pt x="242" y="52"/>
                </a:lnTo>
                <a:lnTo>
                  <a:pt x="244" y="54"/>
                </a:lnTo>
                <a:lnTo>
                  <a:pt x="246" y="54"/>
                </a:lnTo>
                <a:lnTo>
                  <a:pt x="249" y="51"/>
                </a:lnTo>
                <a:lnTo>
                  <a:pt x="248" y="51"/>
                </a:lnTo>
                <a:lnTo>
                  <a:pt x="246" y="48"/>
                </a:lnTo>
                <a:lnTo>
                  <a:pt x="249" y="46"/>
                </a:lnTo>
                <a:lnTo>
                  <a:pt x="249" y="41"/>
                </a:lnTo>
                <a:lnTo>
                  <a:pt x="250" y="40"/>
                </a:lnTo>
                <a:lnTo>
                  <a:pt x="248" y="38"/>
                </a:lnTo>
                <a:lnTo>
                  <a:pt x="245" y="38"/>
                </a:lnTo>
                <a:lnTo>
                  <a:pt x="242" y="40"/>
                </a:lnTo>
                <a:lnTo>
                  <a:pt x="238" y="40"/>
                </a:lnTo>
                <a:lnTo>
                  <a:pt x="237" y="38"/>
                </a:lnTo>
                <a:lnTo>
                  <a:pt x="238" y="37"/>
                </a:lnTo>
                <a:lnTo>
                  <a:pt x="244" y="35"/>
                </a:lnTo>
                <a:lnTo>
                  <a:pt x="245" y="35"/>
                </a:lnTo>
                <a:lnTo>
                  <a:pt x="245" y="33"/>
                </a:lnTo>
                <a:lnTo>
                  <a:pt x="244" y="32"/>
                </a:lnTo>
                <a:lnTo>
                  <a:pt x="241" y="35"/>
                </a:lnTo>
                <a:lnTo>
                  <a:pt x="240" y="33"/>
                </a:lnTo>
                <a:lnTo>
                  <a:pt x="241" y="30"/>
                </a:lnTo>
                <a:lnTo>
                  <a:pt x="249" y="29"/>
                </a:lnTo>
                <a:lnTo>
                  <a:pt x="253" y="27"/>
                </a:lnTo>
                <a:lnTo>
                  <a:pt x="260" y="24"/>
                </a:lnTo>
                <a:lnTo>
                  <a:pt x="265" y="21"/>
                </a:lnTo>
                <a:lnTo>
                  <a:pt x="265" y="19"/>
                </a:lnTo>
                <a:lnTo>
                  <a:pt x="268" y="15"/>
                </a:lnTo>
                <a:lnTo>
                  <a:pt x="269" y="13"/>
                </a:lnTo>
                <a:lnTo>
                  <a:pt x="270" y="10"/>
                </a:lnTo>
                <a:lnTo>
                  <a:pt x="272" y="7"/>
                </a:lnTo>
                <a:lnTo>
                  <a:pt x="274" y="5"/>
                </a:lnTo>
                <a:lnTo>
                  <a:pt x="277" y="4"/>
                </a:lnTo>
                <a:lnTo>
                  <a:pt x="278" y="2"/>
                </a:lnTo>
                <a:lnTo>
                  <a:pt x="280" y="0"/>
                </a:lnTo>
                <a:lnTo>
                  <a:pt x="286" y="0"/>
                </a:lnTo>
                <a:lnTo>
                  <a:pt x="285" y="0"/>
                </a:lnTo>
                <a:lnTo>
                  <a:pt x="288" y="2"/>
                </a:lnTo>
                <a:lnTo>
                  <a:pt x="296" y="2"/>
                </a:lnTo>
                <a:lnTo>
                  <a:pt x="301" y="2"/>
                </a:lnTo>
                <a:lnTo>
                  <a:pt x="313" y="2"/>
                </a:lnTo>
                <a:lnTo>
                  <a:pt x="317" y="2"/>
                </a:lnTo>
                <a:lnTo>
                  <a:pt x="327" y="4"/>
                </a:lnTo>
                <a:lnTo>
                  <a:pt x="329" y="4"/>
                </a:lnTo>
                <a:lnTo>
                  <a:pt x="327" y="5"/>
                </a:lnTo>
                <a:lnTo>
                  <a:pt x="329" y="5"/>
                </a:lnTo>
                <a:lnTo>
                  <a:pt x="327" y="8"/>
                </a:lnTo>
                <a:lnTo>
                  <a:pt x="329" y="10"/>
                </a:lnTo>
                <a:lnTo>
                  <a:pt x="329" y="11"/>
                </a:lnTo>
                <a:lnTo>
                  <a:pt x="329" y="13"/>
                </a:lnTo>
                <a:lnTo>
                  <a:pt x="327" y="15"/>
                </a:lnTo>
                <a:lnTo>
                  <a:pt x="325" y="18"/>
                </a:lnTo>
                <a:lnTo>
                  <a:pt x="323" y="19"/>
                </a:lnTo>
                <a:lnTo>
                  <a:pt x="323" y="21"/>
                </a:lnTo>
                <a:lnTo>
                  <a:pt x="321" y="22"/>
                </a:lnTo>
                <a:lnTo>
                  <a:pt x="321" y="24"/>
                </a:lnTo>
                <a:lnTo>
                  <a:pt x="315" y="24"/>
                </a:lnTo>
                <a:lnTo>
                  <a:pt x="315" y="26"/>
                </a:lnTo>
                <a:lnTo>
                  <a:pt x="319" y="29"/>
                </a:lnTo>
                <a:lnTo>
                  <a:pt x="322" y="30"/>
                </a:lnTo>
                <a:lnTo>
                  <a:pt x="327" y="32"/>
                </a:lnTo>
                <a:lnTo>
                  <a:pt x="327" y="33"/>
                </a:lnTo>
                <a:lnTo>
                  <a:pt x="330" y="38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29" name="Freeform 1053"/>
          <p:cNvSpPr>
            <a:spLocks/>
          </p:cNvSpPr>
          <p:nvPr/>
        </p:nvSpPr>
        <p:spPr bwMode="auto">
          <a:xfrm>
            <a:off x="7677806" y="1773574"/>
            <a:ext cx="265039" cy="234089"/>
          </a:xfrm>
          <a:custGeom>
            <a:avLst/>
            <a:gdLst/>
            <a:ahLst/>
            <a:cxnLst>
              <a:cxn ang="0">
                <a:pos x="45" y="42"/>
              </a:cxn>
              <a:cxn ang="0">
                <a:pos x="41" y="47"/>
              </a:cxn>
              <a:cxn ang="0">
                <a:pos x="42" y="53"/>
              </a:cxn>
              <a:cxn ang="0">
                <a:pos x="44" y="60"/>
              </a:cxn>
              <a:cxn ang="0">
                <a:pos x="41" y="66"/>
              </a:cxn>
              <a:cxn ang="0">
                <a:pos x="56" y="79"/>
              </a:cxn>
              <a:cxn ang="0">
                <a:pos x="50" y="90"/>
              </a:cxn>
              <a:cxn ang="0">
                <a:pos x="44" y="94"/>
              </a:cxn>
              <a:cxn ang="0">
                <a:pos x="37" y="99"/>
              </a:cxn>
              <a:cxn ang="0">
                <a:pos x="24" y="102"/>
              </a:cxn>
              <a:cxn ang="0">
                <a:pos x="34" y="104"/>
              </a:cxn>
              <a:cxn ang="0">
                <a:pos x="25" y="105"/>
              </a:cxn>
              <a:cxn ang="0">
                <a:pos x="16" y="108"/>
              </a:cxn>
              <a:cxn ang="0">
                <a:pos x="7" y="108"/>
              </a:cxn>
              <a:cxn ang="0">
                <a:pos x="1" y="110"/>
              </a:cxn>
              <a:cxn ang="0">
                <a:pos x="4" y="115"/>
              </a:cxn>
              <a:cxn ang="0">
                <a:pos x="19" y="115"/>
              </a:cxn>
              <a:cxn ang="0">
                <a:pos x="40" y="115"/>
              </a:cxn>
              <a:cxn ang="0">
                <a:pos x="49" y="108"/>
              </a:cxn>
              <a:cxn ang="0">
                <a:pos x="62" y="101"/>
              </a:cxn>
              <a:cxn ang="0">
                <a:pos x="74" y="93"/>
              </a:cxn>
              <a:cxn ang="0">
                <a:pos x="73" y="85"/>
              </a:cxn>
              <a:cxn ang="0">
                <a:pos x="69" y="80"/>
              </a:cxn>
              <a:cxn ang="0">
                <a:pos x="70" y="75"/>
              </a:cxn>
              <a:cxn ang="0">
                <a:pos x="82" y="71"/>
              </a:cxn>
              <a:cxn ang="0">
                <a:pos x="105" y="71"/>
              </a:cxn>
              <a:cxn ang="0">
                <a:pos x="109" y="75"/>
              </a:cxn>
              <a:cxn ang="0">
                <a:pos x="114" y="80"/>
              </a:cxn>
              <a:cxn ang="0">
                <a:pos x="114" y="83"/>
              </a:cxn>
              <a:cxn ang="0">
                <a:pos x="113" y="88"/>
              </a:cxn>
              <a:cxn ang="0">
                <a:pos x="118" y="93"/>
              </a:cxn>
              <a:cxn ang="0">
                <a:pos x="137" y="94"/>
              </a:cxn>
              <a:cxn ang="0">
                <a:pos x="122" y="91"/>
              </a:cxn>
              <a:cxn ang="0">
                <a:pos x="117" y="85"/>
              </a:cxn>
              <a:cxn ang="0">
                <a:pos x="126" y="82"/>
              </a:cxn>
              <a:cxn ang="0">
                <a:pos x="121" y="74"/>
              </a:cxn>
              <a:cxn ang="0">
                <a:pos x="106" y="68"/>
              </a:cxn>
              <a:cxn ang="0">
                <a:pos x="82" y="66"/>
              </a:cxn>
              <a:cxn ang="0">
                <a:pos x="70" y="66"/>
              </a:cxn>
              <a:cxn ang="0">
                <a:pos x="62" y="63"/>
              </a:cxn>
              <a:cxn ang="0">
                <a:pos x="58" y="53"/>
              </a:cxn>
              <a:cxn ang="0">
                <a:pos x="61" y="47"/>
              </a:cxn>
              <a:cxn ang="0">
                <a:pos x="69" y="39"/>
              </a:cxn>
              <a:cxn ang="0">
                <a:pos x="58" y="28"/>
              </a:cxn>
              <a:cxn ang="0">
                <a:pos x="54" y="20"/>
              </a:cxn>
              <a:cxn ang="0">
                <a:pos x="77" y="13"/>
              </a:cxn>
              <a:cxn ang="0">
                <a:pos x="76" y="2"/>
              </a:cxn>
              <a:cxn ang="0">
                <a:pos x="85" y="5"/>
              </a:cxn>
              <a:cxn ang="0">
                <a:pos x="89" y="11"/>
              </a:cxn>
            </a:cxnLst>
            <a:rect l="0" t="0" r="r" b="b"/>
            <a:pathLst>
              <a:path w="138" h="118">
                <a:moveTo>
                  <a:pt x="45" y="36"/>
                </a:moveTo>
                <a:lnTo>
                  <a:pt x="45" y="38"/>
                </a:lnTo>
                <a:lnTo>
                  <a:pt x="44" y="39"/>
                </a:lnTo>
                <a:lnTo>
                  <a:pt x="45" y="42"/>
                </a:lnTo>
                <a:lnTo>
                  <a:pt x="45" y="44"/>
                </a:lnTo>
                <a:lnTo>
                  <a:pt x="41" y="46"/>
                </a:lnTo>
                <a:lnTo>
                  <a:pt x="40" y="46"/>
                </a:lnTo>
                <a:lnTo>
                  <a:pt x="41" y="47"/>
                </a:lnTo>
                <a:lnTo>
                  <a:pt x="42" y="49"/>
                </a:lnTo>
                <a:lnTo>
                  <a:pt x="42" y="50"/>
                </a:lnTo>
                <a:lnTo>
                  <a:pt x="42" y="52"/>
                </a:lnTo>
                <a:lnTo>
                  <a:pt x="42" y="53"/>
                </a:lnTo>
                <a:lnTo>
                  <a:pt x="44" y="53"/>
                </a:lnTo>
                <a:lnTo>
                  <a:pt x="44" y="57"/>
                </a:lnTo>
                <a:lnTo>
                  <a:pt x="42" y="58"/>
                </a:lnTo>
                <a:lnTo>
                  <a:pt x="44" y="60"/>
                </a:lnTo>
                <a:lnTo>
                  <a:pt x="42" y="61"/>
                </a:lnTo>
                <a:lnTo>
                  <a:pt x="42" y="63"/>
                </a:lnTo>
                <a:lnTo>
                  <a:pt x="42" y="64"/>
                </a:lnTo>
                <a:lnTo>
                  <a:pt x="41" y="66"/>
                </a:lnTo>
                <a:lnTo>
                  <a:pt x="41" y="69"/>
                </a:lnTo>
                <a:lnTo>
                  <a:pt x="46" y="72"/>
                </a:lnTo>
                <a:lnTo>
                  <a:pt x="56" y="75"/>
                </a:lnTo>
                <a:lnTo>
                  <a:pt x="56" y="79"/>
                </a:lnTo>
                <a:lnTo>
                  <a:pt x="52" y="82"/>
                </a:lnTo>
                <a:lnTo>
                  <a:pt x="50" y="83"/>
                </a:lnTo>
                <a:lnTo>
                  <a:pt x="50" y="85"/>
                </a:lnTo>
                <a:lnTo>
                  <a:pt x="50" y="90"/>
                </a:lnTo>
                <a:lnTo>
                  <a:pt x="49" y="91"/>
                </a:lnTo>
                <a:lnTo>
                  <a:pt x="50" y="91"/>
                </a:lnTo>
                <a:lnTo>
                  <a:pt x="48" y="93"/>
                </a:lnTo>
                <a:lnTo>
                  <a:pt x="44" y="94"/>
                </a:lnTo>
                <a:lnTo>
                  <a:pt x="42" y="96"/>
                </a:lnTo>
                <a:lnTo>
                  <a:pt x="41" y="97"/>
                </a:lnTo>
                <a:lnTo>
                  <a:pt x="40" y="99"/>
                </a:lnTo>
                <a:lnTo>
                  <a:pt x="37" y="99"/>
                </a:lnTo>
                <a:lnTo>
                  <a:pt x="36" y="102"/>
                </a:lnTo>
                <a:lnTo>
                  <a:pt x="30" y="102"/>
                </a:lnTo>
                <a:lnTo>
                  <a:pt x="25" y="101"/>
                </a:lnTo>
                <a:lnTo>
                  <a:pt x="24" y="102"/>
                </a:lnTo>
                <a:lnTo>
                  <a:pt x="26" y="104"/>
                </a:lnTo>
                <a:lnTo>
                  <a:pt x="28" y="102"/>
                </a:lnTo>
                <a:lnTo>
                  <a:pt x="33" y="102"/>
                </a:lnTo>
                <a:lnTo>
                  <a:pt x="34" y="104"/>
                </a:lnTo>
                <a:lnTo>
                  <a:pt x="33" y="105"/>
                </a:lnTo>
                <a:lnTo>
                  <a:pt x="29" y="105"/>
                </a:lnTo>
                <a:lnTo>
                  <a:pt x="26" y="105"/>
                </a:lnTo>
                <a:lnTo>
                  <a:pt x="25" y="105"/>
                </a:lnTo>
                <a:lnTo>
                  <a:pt x="24" y="107"/>
                </a:lnTo>
                <a:lnTo>
                  <a:pt x="20" y="107"/>
                </a:lnTo>
                <a:lnTo>
                  <a:pt x="19" y="107"/>
                </a:lnTo>
                <a:lnTo>
                  <a:pt x="16" y="108"/>
                </a:lnTo>
                <a:lnTo>
                  <a:pt x="13" y="108"/>
                </a:lnTo>
                <a:lnTo>
                  <a:pt x="12" y="110"/>
                </a:lnTo>
                <a:lnTo>
                  <a:pt x="8" y="110"/>
                </a:lnTo>
                <a:lnTo>
                  <a:pt x="7" y="108"/>
                </a:lnTo>
                <a:lnTo>
                  <a:pt x="4" y="107"/>
                </a:lnTo>
                <a:lnTo>
                  <a:pt x="1" y="108"/>
                </a:lnTo>
                <a:lnTo>
                  <a:pt x="0" y="108"/>
                </a:lnTo>
                <a:lnTo>
                  <a:pt x="1" y="110"/>
                </a:lnTo>
                <a:lnTo>
                  <a:pt x="4" y="110"/>
                </a:lnTo>
                <a:lnTo>
                  <a:pt x="5" y="113"/>
                </a:lnTo>
                <a:lnTo>
                  <a:pt x="4" y="113"/>
                </a:lnTo>
                <a:lnTo>
                  <a:pt x="4" y="115"/>
                </a:lnTo>
                <a:lnTo>
                  <a:pt x="5" y="115"/>
                </a:lnTo>
                <a:lnTo>
                  <a:pt x="12" y="116"/>
                </a:lnTo>
                <a:lnTo>
                  <a:pt x="15" y="116"/>
                </a:lnTo>
                <a:lnTo>
                  <a:pt x="19" y="115"/>
                </a:lnTo>
                <a:lnTo>
                  <a:pt x="24" y="116"/>
                </a:lnTo>
                <a:lnTo>
                  <a:pt x="34" y="118"/>
                </a:lnTo>
                <a:lnTo>
                  <a:pt x="38" y="118"/>
                </a:lnTo>
                <a:lnTo>
                  <a:pt x="40" y="115"/>
                </a:lnTo>
                <a:lnTo>
                  <a:pt x="38" y="113"/>
                </a:lnTo>
                <a:lnTo>
                  <a:pt x="40" y="112"/>
                </a:lnTo>
                <a:lnTo>
                  <a:pt x="46" y="110"/>
                </a:lnTo>
                <a:lnTo>
                  <a:pt x="49" y="108"/>
                </a:lnTo>
                <a:lnTo>
                  <a:pt x="54" y="108"/>
                </a:lnTo>
                <a:lnTo>
                  <a:pt x="57" y="107"/>
                </a:lnTo>
                <a:lnTo>
                  <a:pt x="61" y="104"/>
                </a:lnTo>
                <a:lnTo>
                  <a:pt x="62" y="101"/>
                </a:lnTo>
                <a:lnTo>
                  <a:pt x="62" y="99"/>
                </a:lnTo>
                <a:lnTo>
                  <a:pt x="62" y="97"/>
                </a:lnTo>
                <a:lnTo>
                  <a:pt x="70" y="94"/>
                </a:lnTo>
                <a:lnTo>
                  <a:pt x="74" y="93"/>
                </a:lnTo>
                <a:lnTo>
                  <a:pt x="76" y="90"/>
                </a:lnTo>
                <a:lnTo>
                  <a:pt x="76" y="86"/>
                </a:lnTo>
                <a:lnTo>
                  <a:pt x="74" y="85"/>
                </a:lnTo>
                <a:lnTo>
                  <a:pt x="73" y="85"/>
                </a:lnTo>
                <a:lnTo>
                  <a:pt x="73" y="83"/>
                </a:lnTo>
                <a:lnTo>
                  <a:pt x="72" y="82"/>
                </a:lnTo>
                <a:lnTo>
                  <a:pt x="70" y="82"/>
                </a:lnTo>
                <a:lnTo>
                  <a:pt x="69" y="80"/>
                </a:lnTo>
                <a:lnTo>
                  <a:pt x="68" y="79"/>
                </a:lnTo>
                <a:lnTo>
                  <a:pt x="69" y="79"/>
                </a:lnTo>
                <a:lnTo>
                  <a:pt x="70" y="77"/>
                </a:lnTo>
                <a:lnTo>
                  <a:pt x="70" y="75"/>
                </a:lnTo>
                <a:lnTo>
                  <a:pt x="70" y="74"/>
                </a:lnTo>
                <a:lnTo>
                  <a:pt x="73" y="74"/>
                </a:lnTo>
                <a:lnTo>
                  <a:pt x="78" y="72"/>
                </a:lnTo>
                <a:lnTo>
                  <a:pt x="82" y="71"/>
                </a:lnTo>
                <a:lnTo>
                  <a:pt x="92" y="71"/>
                </a:lnTo>
                <a:lnTo>
                  <a:pt x="96" y="69"/>
                </a:lnTo>
                <a:lnTo>
                  <a:pt x="104" y="69"/>
                </a:lnTo>
                <a:lnTo>
                  <a:pt x="105" y="71"/>
                </a:lnTo>
                <a:lnTo>
                  <a:pt x="105" y="72"/>
                </a:lnTo>
                <a:lnTo>
                  <a:pt x="105" y="74"/>
                </a:lnTo>
                <a:lnTo>
                  <a:pt x="108" y="74"/>
                </a:lnTo>
                <a:lnTo>
                  <a:pt x="109" y="75"/>
                </a:lnTo>
                <a:lnTo>
                  <a:pt x="112" y="75"/>
                </a:lnTo>
                <a:lnTo>
                  <a:pt x="114" y="77"/>
                </a:lnTo>
                <a:lnTo>
                  <a:pt x="114" y="79"/>
                </a:lnTo>
                <a:lnTo>
                  <a:pt x="114" y="80"/>
                </a:lnTo>
                <a:lnTo>
                  <a:pt x="113" y="80"/>
                </a:lnTo>
                <a:lnTo>
                  <a:pt x="113" y="82"/>
                </a:lnTo>
                <a:lnTo>
                  <a:pt x="113" y="83"/>
                </a:lnTo>
                <a:lnTo>
                  <a:pt x="114" y="83"/>
                </a:lnTo>
                <a:lnTo>
                  <a:pt x="116" y="83"/>
                </a:lnTo>
                <a:lnTo>
                  <a:pt x="113" y="85"/>
                </a:lnTo>
                <a:lnTo>
                  <a:pt x="113" y="86"/>
                </a:lnTo>
                <a:lnTo>
                  <a:pt x="113" y="88"/>
                </a:lnTo>
                <a:lnTo>
                  <a:pt x="113" y="90"/>
                </a:lnTo>
                <a:lnTo>
                  <a:pt x="112" y="90"/>
                </a:lnTo>
                <a:lnTo>
                  <a:pt x="112" y="91"/>
                </a:lnTo>
                <a:lnTo>
                  <a:pt x="118" y="93"/>
                </a:lnTo>
                <a:lnTo>
                  <a:pt x="120" y="94"/>
                </a:lnTo>
                <a:lnTo>
                  <a:pt x="126" y="94"/>
                </a:lnTo>
                <a:lnTo>
                  <a:pt x="130" y="96"/>
                </a:lnTo>
                <a:lnTo>
                  <a:pt x="137" y="94"/>
                </a:lnTo>
                <a:lnTo>
                  <a:pt x="138" y="94"/>
                </a:lnTo>
                <a:lnTo>
                  <a:pt x="132" y="93"/>
                </a:lnTo>
                <a:lnTo>
                  <a:pt x="128" y="93"/>
                </a:lnTo>
                <a:lnTo>
                  <a:pt x="122" y="91"/>
                </a:lnTo>
                <a:lnTo>
                  <a:pt x="118" y="91"/>
                </a:lnTo>
                <a:lnTo>
                  <a:pt x="117" y="91"/>
                </a:lnTo>
                <a:lnTo>
                  <a:pt x="117" y="88"/>
                </a:lnTo>
                <a:lnTo>
                  <a:pt x="117" y="85"/>
                </a:lnTo>
                <a:lnTo>
                  <a:pt x="118" y="83"/>
                </a:lnTo>
                <a:lnTo>
                  <a:pt x="121" y="83"/>
                </a:lnTo>
                <a:lnTo>
                  <a:pt x="125" y="83"/>
                </a:lnTo>
                <a:lnTo>
                  <a:pt x="126" y="82"/>
                </a:lnTo>
                <a:lnTo>
                  <a:pt x="126" y="80"/>
                </a:lnTo>
                <a:lnTo>
                  <a:pt x="125" y="80"/>
                </a:lnTo>
                <a:lnTo>
                  <a:pt x="121" y="75"/>
                </a:lnTo>
                <a:lnTo>
                  <a:pt x="121" y="74"/>
                </a:lnTo>
                <a:lnTo>
                  <a:pt x="121" y="72"/>
                </a:lnTo>
                <a:lnTo>
                  <a:pt x="120" y="71"/>
                </a:lnTo>
                <a:lnTo>
                  <a:pt x="114" y="71"/>
                </a:lnTo>
                <a:lnTo>
                  <a:pt x="106" y="68"/>
                </a:lnTo>
                <a:lnTo>
                  <a:pt x="104" y="68"/>
                </a:lnTo>
                <a:lnTo>
                  <a:pt x="94" y="64"/>
                </a:lnTo>
                <a:lnTo>
                  <a:pt x="89" y="64"/>
                </a:lnTo>
                <a:lnTo>
                  <a:pt x="82" y="66"/>
                </a:lnTo>
                <a:lnTo>
                  <a:pt x="81" y="68"/>
                </a:lnTo>
                <a:lnTo>
                  <a:pt x="77" y="68"/>
                </a:lnTo>
                <a:lnTo>
                  <a:pt x="73" y="66"/>
                </a:lnTo>
                <a:lnTo>
                  <a:pt x="70" y="66"/>
                </a:lnTo>
                <a:lnTo>
                  <a:pt x="66" y="68"/>
                </a:lnTo>
                <a:lnTo>
                  <a:pt x="62" y="68"/>
                </a:lnTo>
                <a:lnTo>
                  <a:pt x="61" y="64"/>
                </a:lnTo>
                <a:lnTo>
                  <a:pt x="62" y="63"/>
                </a:lnTo>
                <a:lnTo>
                  <a:pt x="62" y="60"/>
                </a:lnTo>
                <a:lnTo>
                  <a:pt x="61" y="58"/>
                </a:lnTo>
                <a:lnTo>
                  <a:pt x="57" y="55"/>
                </a:lnTo>
                <a:lnTo>
                  <a:pt x="58" y="53"/>
                </a:lnTo>
                <a:lnTo>
                  <a:pt x="58" y="52"/>
                </a:lnTo>
                <a:lnTo>
                  <a:pt x="61" y="50"/>
                </a:lnTo>
                <a:lnTo>
                  <a:pt x="61" y="49"/>
                </a:lnTo>
                <a:lnTo>
                  <a:pt x="61" y="47"/>
                </a:lnTo>
                <a:lnTo>
                  <a:pt x="65" y="46"/>
                </a:lnTo>
                <a:lnTo>
                  <a:pt x="65" y="44"/>
                </a:lnTo>
                <a:lnTo>
                  <a:pt x="68" y="42"/>
                </a:lnTo>
                <a:lnTo>
                  <a:pt x="69" y="39"/>
                </a:lnTo>
                <a:lnTo>
                  <a:pt x="66" y="36"/>
                </a:lnTo>
                <a:lnTo>
                  <a:pt x="62" y="35"/>
                </a:lnTo>
                <a:lnTo>
                  <a:pt x="61" y="31"/>
                </a:lnTo>
                <a:lnTo>
                  <a:pt x="58" y="28"/>
                </a:lnTo>
                <a:lnTo>
                  <a:pt x="54" y="27"/>
                </a:lnTo>
                <a:lnTo>
                  <a:pt x="49" y="24"/>
                </a:lnTo>
                <a:lnTo>
                  <a:pt x="53" y="22"/>
                </a:lnTo>
                <a:lnTo>
                  <a:pt x="54" y="20"/>
                </a:lnTo>
                <a:lnTo>
                  <a:pt x="54" y="19"/>
                </a:lnTo>
                <a:lnTo>
                  <a:pt x="62" y="16"/>
                </a:lnTo>
                <a:lnTo>
                  <a:pt x="68" y="16"/>
                </a:lnTo>
                <a:lnTo>
                  <a:pt x="77" y="13"/>
                </a:lnTo>
                <a:lnTo>
                  <a:pt x="78" y="11"/>
                </a:lnTo>
                <a:lnTo>
                  <a:pt x="78" y="6"/>
                </a:lnTo>
                <a:lnTo>
                  <a:pt x="77" y="3"/>
                </a:lnTo>
                <a:lnTo>
                  <a:pt x="76" y="2"/>
                </a:lnTo>
                <a:lnTo>
                  <a:pt x="80" y="0"/>
                </a:lnTo>
                <a:lnTo>
                  <a:pt x="81" y="2"/>
                </a:lnTo>
                <a:lnTo>
                  <a:pt x="85" y="3"/>
                </a:lnTo>
                <a:lnTo>
                  <a:pt x="85" y="5"/>
                </a:lnTo>
                <a:lnTo>
                  <a:pt x="88" y="6"/>
                </a:lnTo>
                <a:lnTo>
                  <a:pt x="86" y="6"/>
                </a:lnTo>
                <a:lnTo>
                  <a:pt x="86" y="8"/>
                </a:lnTo>
                <a:lnTo>
                  <a:pt x="89" y="11"/>
                </a:lnTo>
                <a:lnTo>
                  <a:pt x="85" y="14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30" name="Freeform 1054"/>
          <p:cNvSpPr>
            <a:spLocks/>
          </p:cNvSpPr>
          <p:nvPr/>
        </p:nvSpPr>
        <p:spPr bwMode="auto">
          <a:xfrm>
            <a:off x="7835660" y="1704850"/>
            <a:ext cx="337146" cy="169662"/>
          </a:xfrm>
          <a:custGeom>
            <a:avLst/>
            <a:gdLst/>
            <a:ahLst/>
            <a:cxnLst>
              <a:cxn ang="0">
                <a:pos x="0" y="53"/>
              </a:cxn>
              <a:cxn ang="0">
                <a:pos x="4" y="59"/>
              </a:cxn>
              <a:cxn ang="0">
                <a:pos x="14" y="62"/>
              </a:cxn>
              <a:cxn ang="0">
                <a:pos x="39" y="65"/>
              </a:cxn>
              <a:cxn ang="0">
                <a:pos x="48" y="69"/>
              </a:cxn>
              <a:cxn ang="0">
                <a:pos x="42" y="62"/>
              </a:cxn>
              <a:cxn ang="0">
                <a:pos x="35" y="62"/>
              </a:cxn>
              <a:cxn ang="0">
                <a:pos x="26" y="59"/>
              </a:cxn>
              <a:cxn ang="0">
                <a:pos x="15" y="54"/>
              </a:cxn>
              <a:cxn ang="0">
                <a:pos x="18" y="50"/>
              </a:cxn>
              <a:cxn ang="0">
                <a:pos x="31" y="54"/>
              </a:cxn>
              <a:cxn ang="0">
                <a:pos x="44" y="50"/>
              </a:cxn>
              <a:cxn ang="0">
                <a:pos x="40" y="45"/>
              </a:cxn>
              <a:cxn ang="0">
                <a:pos x="69" y="45"/>
              </a:cxn>
              <a:cxn ang="0">
                <a:pos x="85" y="50"/>
              </a:cxn>
              <a:cxn ang="0">
                <a:pos x="96" y="54"/>
              </a:cxn>
              <a:cxn ang="0">
                <a:pos x="123" y="56"/>
              </a:cxn>
              <a:cxn ang="0">
                <a:pos x="117" y="61"/>
              </a:cxn>
              <a:cxn ang="0">
                <a:pos x="108" y="67"/>
              </a:cxn>
              <a:cxn ang="0">
                <a:pos x="107" y="80"/>
              </a:cxn>
              <a:cxn ang="0">
                <a:pos x="121" y="84"/>
              </a:cxn>
              <a:cxn ang="0">
                <a:pos x="123" y="80"/>
              </a:cxn>
              <a:cxn ang="0">
                <a:pos x="129" y="75"/>
              </a:cxn>
              <a:cxn ang="0">
                <a:pos x="123" y="65"/>
              </a:cxn>
              <a:cxn ang="0">
                <a:pos x="124" y="59"/>
              </a:cxn>
              <a:cxn ang="0">
                <a:pos x="125" y="53"/>
              </a:cxn>
              <a:cxn ang="0">
                <a:pos x="113" y="51"/>
              </a:cxn>
              <a:cxn ang="0">
                <a:pos x="108" y="48"/>
              </a:cxn>
              <a:cxn ang="0">
                <a:pos x="101" y="43"/>
              </a:cxn>
              <a:cxn ang="0">
                <a:pos x="85" y="40"/>
              </a:cxn>
              <a:cxn ang="0">
                <a:pos x="85" y="36"/>
              </a:cxn>
              <a:cxn ang="0">
                <a:pos x="85" y="31"/>
              </a:cxn>
              <a:cxn ang="0">
                <a:pos x="77" y="28"/>
              </a:cxn>
              <a:cxn ang="0">
                <a:pos x="77" y="26"/>
              </a:cxn>
              <a:cxn ang="0">
                <a:pos x="84" y="25"/>
              </a:cxn>
              <a:cxn ang="0">
                <a:pos x="81" y="23"/>
              </a:cxn>
              <a:cxn ang="0">
                <a:pos x="91" y="22"/>
              </a:cxn>
              <a:cxn ang="0">
                <a:pos x="112" y="20"/>
              </a:cxn>
              <a:cxn ang="0">
                <a:pos x="141" y="18"/>
              </a:cxn>
              <a:cxn ang="0">
                <a:pos x="155" y="18"/>
              </a:cxn>
              <a:cxn ang="0">
                <a:pos x="164" y="17"/>
              </a:cxn>
              <a:cxn ang="0">
                <a:pos x="170" y="14"/>
              </a:cxn>
              <a:cxn ang="0">
                <a:pos x="174" y="12"/>
              </a:cxn>
              <a:cxn ang="0">
                <a:pos x="161" y="7"/>
              </a:cxn>
              <a:cxn ang="0">
                <a:pos x="163" y="6"/>
              </a:cxn>
              <a:cxn ang="0">
                <a:pos x="172" y="6"/>
              </a:cxn>
              <a:cxn ang="0">
                <a:pos x="166" y="3"/>
              </a:cxn>
              <a:cxn ang="0">
                <a:pos x="163" y="1"/>
              </a:cxn>
              <a:cxn ang="0">
                <a:pos x="170" y="1"/>
              </a:cxn>
            </a:cxnLst>
            <a:rect l="0" t="0" r="r" b="b"/>
            <a:pathLst>
              <a:path w="176" h="84">
                <a:moveTo>
                  <a:pt x="3" y="48"/>
                </a:moveTo>
                <a:lnTo>
                  <a:pt x="0" y="50"/>
                </a:lnTo>
                <a:lnTo>
                  <a:pt x="3" y="50"/>
                </a:lnTo>
                <a:lnTo>
                  <a:pt x="0" y="53"/>
                </a:lnTo>
                <a:lnTo>
                  <a:pt x="2" y="54"/>
                </a:lnTo>
                <a:lnTo>
                  <a:pt x="4" y="56"/>
                </a:lnTo>
                <a:lnTo>
                  <a:pt x="4" y="58"/>
                </a:lnTo>
                <a:lnTo>
                  <a:pt x="4" y="59"/>
                </a:lnTo>
                <a:lnTo>
                  <a:pt x="0" y="59"/>
                </a:lnTo>
                <a:lnTo>
                  <a:pt x="3" y="61"/>
                </a:lnTo>
                <a:lnTo>
                  <a:pt x="6" y="62"/>
                </a:lnTo>
                <a:lnTo>
                  <a:pt x="14" y="62"/>
                </a:lnTo>
                <a:lnTo>
                  <a:pt x="23" y="64"/>
                </a:lnTo>
                <a:lnTo>
                  <a:pt x="26" y="64"/>
                </a:lnTo>
                <a:lnTo>
                  <a:pt x="36" y="64"/>
                </a:lnTo>
                <a:lnTo>
                  <a:pt x="39" y="65"/>
                </a:lnTo>
                <a:lnTo>
                  <a:pt x="39" y="67"/>
                </a:lnTo>
                <a:lnTo>
                  <a:pt x="42" y="67"/>
                </a:lnTo>
                <a:lnTo>
                  <a:pt x="44" y="69"/>
                </a:lnTo>
                <a:lnTo>
                  <a:pt x="48" y="69"/>
                </a:lnTo>
                <a:lnTo>
                  <a:pt x="48" y="67"/>
                </a:lnTo>
                <a:lnTo>
                  <a:pt x="46" y="65"/>
                </a:lnTo>
                <a:lnTo>
                  <a:pt x="44" y="62"/>
                </a:lnTo>
                <a:lnTo>
                  <a:pt x="42" y="62"/>
                </a:lnTo>
                <a:lnTo>
                  <a:pt x="40" y="62"/>
                </a:lnTo>
                <a:lnTo>
                  <a:pt x="42" y="61"/>
                </a:lnTo>
                <a:lnTo>
                  <a:pt x="39" y="61"/>
                </a:lnTo>
                <a:lnTo>
                  <a:pt x="35" y="62"/>
                </a:lnTo>
                <a:lnTo>
                  <a:pt x="34" y="61"/>
                </a:lnTo>
                <a:lnTo>
                  <a:pt x="32" y="61"/>
                </a:lnTo>
                <a:lnTo>
                  <a:pt x="30" y="59"/>
                </a:lnTo>
                <a:lnTo>
                  <a:pt x="26" y="59"/>
                </a:lnTo>
                <a:lnTo>
                  <a:pt x="19" y="58"/>
                </a:lnTo>
                <a:lnTo>
                  <a:pt x="18" y="58"/>
                </a:lnTo>
                <a:lnTo>
                  <a:pt x="16" y="56"/>
                </a:lnTo>
                <a:lnTo>
                  <a:pt x="15" y="54"/>
                </a:lnTo>
                <a:lnTo>
                  <a:pt x="14" y="53"/>
                </a:lnTo>
                <a:lnTo>
                  <a:pt x="12" y="51"/>
                </a:lnTo>
                <a:lnTo>
                  <a:pt x="15" y="50"/>
                </a:lnTo>
                <a:lnTo>
                  <a:pt x="18" y="50"/>
                </a:lnTo>
                <a:lnTo>
                  <a:pt x="20" y="51"/>
                </a:lnTo>
                <a:lnTo>
                  <a:pt x="24" y="53"/>
                </a:lnTo>
                <a:lnTo>
                  <a:pt x="24" y="54"/>
                </a:lnTo>
                <a:lnTo>
                  <a:pt x="31" y="54"/>
                </a:lnTo>
                <a:lnTo>
                  <a:pt x="35" y="53"/>
                </a:lnTo>
                <a:lnTo>
                  <a:pt x="40" y="53"/>
                </a:lnTo>
                <a:lnTo>
                  <a:pt x="43" y="51"/>
                </a:lnTo>
                <a:lnTo>
                  <a:pt x="44" y="50"/>
                </a:lnTo>
                <a:lnTo>
                  <a:pt x="40" y="48"/>
                </a:lnTo>
                <a:lnTo>
                  <a:pt x="32" y="48"/>
                </a:lnTo>
                <a:lnTo>
                  <a:pt x="34" y="47"/>
                </a:lnTo>
                <a:lnTo>
                  <a:pt x="40" y="45"/>
                </a:lnTo>
                <a:lnTo>
                  <a:pt x="44" y="43"/>
                </a:lnTo>
                <a:lnTo>
                  <a:pt x="48" y="43"/>
                </a:lnTo>
                <a:lnTo>
                  <a:pt x="63" y="43"/>
                </a:lnTo>
                <a:lnTo>
                  <a:pt x="69" y="45"/>
                </a:lnTo>
                <a:lnTo>
                  <a:pt x="72" y="45"/>
                </a:lnTo>
                <a:lnTo>
                  <a:pt x="79" y="48"/>
                </a:lnTo>
                <a:lnTo>
                  <a:pt x="85" y="48"/>
                </a:lnTo>
                <a:lnTo>
                  <a:pt x="85" y="50"/>
                </a:lnTo>
                <a:lnTo>
                  <a:pt x="87" y="50"/>
                </a:lnTo>
                <a:lnTo>
                  <a:pt x="89" y="51"/>
                </a:lnTo>
                <a:lnTo>
                  <a:pt x="92" y="53"/>
                </a:lnTo>
                <a:lnTo>
                  <a:pt x="96" y="54"/>
                </a:lnTo>
                <a:lnTo>
                  <a:pt x="100" y="54"/>
                </a:lnTo>
                <a:lnTo>
                  <a:pt x="108" y="54"/>
                </a:lnTo>
                <a:lnTo>
                  <a:pt x="116" y="54"/>
                </a:lnTo>
                <a:lnTo>
                  <a:pt x="123" y="56"/>
                </a:lnTo>
                <a:lnTo>
                  <a:pt x="121" y="58"/>
                </a:lnTo>
                <a:lnTo>
                  <a:pt x="120" y="58"/>
                </a:lnTo>
                <a:lnTo>
                  <a:pt x="119" y="59"/>
                </a:lnTo>
                <a:lnTo>
                  <a:pt x="117" y="61"/>
                </a:lnTo>
                <a:lnTo>
                  <a:pt x="109" y="62"/>
                </a:lnTo>
                <a:lnTo>
                  <a:pt x="107" y="64"/>
                </a:lnTo>
                <a:lnTo>
                  <a:pt x="108" y="65"/>
                </a:lnTo>
                <a:lnTo>
                  <a:pt x="108" y="67"/>
                </a:lnTo>
                <a:lnTo>
                  <a:pt x="107" y="69"/>
                </a:lnTo>
                <a:lnTo>
                  <a:pt x="108" y="72"/>
                </a:lnTo>
                <a:lnTo>
                  <a:pt x="107" y="75"/>
                </a:lnTo>
                <a:lnTo>
                  <a:pt x="107" y="80"/>
                </a:lnTo>
                <a:lnTo>
                  <a:pt x="107" y="81"/>
                </a:lnTo>
                <a:lnTo>
                  <a:pt x="109" y="83"/>
                </a:lnTo>
                <a:lnTo>
                  <a:pt x="115" y="83"/>
                </a:lnTo>
                <a:lnTo>
                  <a:pt x="121" y="84"/>
                </a:lnTo>
                <a:lnTo>
                  <a:pt x="123" y="83"/>
                </a:lnTo>
                <a:lnTo>
                  <a:pt x="120" y="81"/>
                </a:lnTo>
                <a:lnTo>
                  <a:pt x="120" y="80"/>
                </a:lnTo>
                <a:lnTo>
                  <a:pt x="123" y="80"/>
                </a:lnTo>
                <a:lnTo>
                  <a:pt x="125" y="80"/>
                </a:lnTo>
                <a:lnTo>
                  <a:pt x="128" y="78"/>
                </a:lnTo>
                <a:lnTo>
                  <a:pt x="129" y="76"/>
                </a:lnTo>
                <a:lnTo>
                  <a:pt x="129" y="75"/>
                </a:lnTo>
                <a:lnTo>
                  <a:pt x="129" y="73"/>
                </a:lnTo>
                <a:lnTo>
                  <a:pt x="128" y="72"/>
                </a:lnTo>
                <a:lnTo>
                  <a:pt x="127" y="69"/>
                </a:lnTo>
                <a:lnTo>
                  <a:pt x="123" y="65"/>
                </a:lnTo>
                <a:lnTo>
                  <a:pt x="123" y="64"/>
                </a:lnTo>
                <a:lnTo>
                  <a:pt x="121" y="62"/>
                </a:lnTo>
                <a:lnTo>
                  <a:pt x="124" y="61"/>
                </a:lnTo>
                <a:lnTo>
                  <a:pt x="124" y="59"/>
                </a:lnTo>
                <a:lnTo>
                  <a:pt x="127" y="59"/>
                </a:lnTo>
                <a:lnTo>
                  <a:pt x="128" y="56"/>
                </a:lnTo>
                <a:lnTo>
                  <a:pt x="125" y="54"/>
                </a:lnTo>
                <a:lnTo>
                  <a:pt x="125" y="53"/>
                </a:lnTo>
                <a:lnTo>
                  <a:pt x="124" y="53"/>
                </a:lnTo>
                <a:lnTo>
                  <a:pt x="121" y="53"/>
                </a:lnTo>
                <a:lnTo>
                  <a:pt x="116" y="51"/>
                </a:lnTo>
                <a:lnTo>
                  <a:pt x="113" y="51"/>
                </a:lnTo>
                <a:lnTo>
                  <a:pt x="112" y="50"/>
                </a:lnTo>
                <a:lnTo>
                  <a:pt x="109" y="48"/>
                </a:lnTo>
                <a:lnTo>
                  <a:pt x="107" y="48"/>
                </a:lnTo>
                <a:lnTo>
                  <a:pt x="108" y="48"/>
                </a:lnTo>
                <a:lnTo>
                  <a:pt x="109" y="47"/>
                </a:lnTo>
                <a:lnTo>
                  <a:pt x="108" y="45"/>
                </a:lnTo>
                <a:lnTo>
                  <a:pt x="105" y="45"/>
                </a:lnTo>
                <a:lnTo>
                  <a:pt x="101" y="43"/>
                </a:lnTo>
                <a:lnTo>
                  <a:pt x="95" y="43"/>
                </a:lnTo>
                <a:lnTo>
                  <a:pt x="91" y="43"/>
                </a:lnTo>
                <a:lnTo>
                  <a:pt x="87" y="42"/>
                </a:lnTo>
                <a:lnTo>
                  <a:pt x="85" y="40"/>
                </a:lnTo>
                <a:lnTo>
                  <a:pt x="85" y="39"/>
                </a:lnTo>
                <a:lnTo>
                  <a:pt x="84" y="39"/>
                </a:lnTo>
                <a:lnTo>
                  <a:pt x="84" y="37"/>
                </a:lnTo>
                <a:lnTo>
                  <a:pt x="85" y="36"/>
                </a:lnTo>
                <a:lnTo>
                  <a:pt x="87" y="34"/>
                </a:lnTo>
                <a:lnTo>
                  <a:pt x="88" y="34"/>
                </a:lnTo>
                <a:lnTo>
                  <a:pt x="87" y="32"/>
                </a:lnTo>
                <a:lnTo>
                  <a:pt x="85" y="31"/>
                </a:lnTo>
                <a:lnTo>
                  <a:pt x="84" y="31"/>
                </a:lnTo>
                <a:lnTo>
                  <a:pt x="83" y="31"/>
                </a:lnTo>
                <a:lnTo>
                  <a:pt x="83" y="29"/>
                </a:lnTo>
                <a:lnTo>
                  <a:pt x="77" y="28"/>
                </a:lnTo>
                <a:lnTo>
                  <a:pt x="81" y="28"/>
                </a:lnTo>
                <a:lnTo>
                  <a:pt x="81" y="26"/>
                </a:lnTo>
                <a:lnTo>
                  <a:pt x="79" y="26"/>
                </a:lnTo>
                <a:lnTo>
                  <a:pt x="77" y="26"/>
                </a:lnTo>
                <a:lnTo>
                  <a:pt x="79" y="25"/>
                </a:lnTo>
                <a:lnTo>
                  <a:pt x="81" y="26"/>
                </a:lnTo>
                <a:lnTo>
                  <a:pt x="81" y="25"/>
                </a:lnTo>
                <a:lnTo>
                  <a:pt x="84" y="25"/>
                </a:lnTo>
                <a:lnTo>
                  <a:pt x="85" y="23"/>
                </a:lnTo>
                <a:lnTo>
                  <a:pt x="84" y="23"/>
                </a:lnTo>
                <a:lnTo>
                  <a:pt x="83" y="23"/>
                </a:lnTo>
                <a:lnTo>
                  <a:pt x="81" y="23"/>
                </a:lnTo>
                <a:lnTo>
                  <a:pt x="81" y="22"/>
                </a:lnTo>
                <a:lnTo>
                  <a:pt x="85" y="22"/>
                </a:lnTo>
                <a:lnTo>
                  <a:pt x="88" y="22"/>
                </a:lnTo>
                <a:lnTo>
                  <a:pt x="91" y="22"/>
                </a:lnTo>
                <a:lnTo>
                  <a:pt x="92" y="22"/>
                </a:lnTo>
                <a:lnTo>
                  <a:pt x="101" y="20"/>
                </a:lnTo>
                <a:lnTo>
                  <a:pt x="107" y="20"/>
                </a:lnTo>
                <a:lnTo>
                  <a:pt x="112" y="20"/>
                </a:lnTo>
                <a:lnTo>
                  <a:pt x="115" y="20"/>
                </a:lnTo>
                <a:lnTo>
                  <a:pt x="128" y="20"/>
                </a:lnTo>
                <a:lnTo>
                  <a:pt x="133" y="18"/>
                </a:lnTo>
                <a:lnTo>
                  <a:pt x="141" y="18"/>
                </a:lnTo>
                <a:lnTo>
                  <a:pt x="144" y="18"/>
                </a:lnTo>
                <a:lnTo>
                  <a:pt x="145" y="18"/>
                </a:lnTo>
                <a:lnTo>
                  <a:pt x="151" y="18"/>
                </a:lnTo>
                <a:lnTo>
                  <a:pt x="155" y="18"/>
                </a:lnTo>
                <a:lnTo>
                  <a:pt x="155" y="17"/>
                </a:lnTo>
                <a:lnTo>
                  <a:pt x="157" y="17"/>
                </a:lnTo>
                <a:lnTo>
                  <a:pt x="160" y="17"/>
                </a:lnTo>
                <a:lnTo>
                  <a:pt x="164" y="17"/>
                </a:lnTo>
                <a:lnTo>
                  <a:pt x="170" y="17"/>
                </a:lnTo>
                <a:lnTo>
                  <a:pt x="173" y="15"/>
                </a:lnTo>
                <a:lnTo>
                  <a:pt x="172" y="15"/>
                </a:lnTo>
                <a:lnTo>
                  <a:pt x="170" y="14"/>
                </a:lnTo>
                <a:lnTo>
                  <a:pt x="172" y="14"/>
                </a:lnTo>
                <a:lnTo>
                  <a:pt x="174" y="14"/>
                </a:lnTo>
                <a:lnTo>
                  <a:pt x="176" y="14"/>
                </a:lnTo>
                <a:lnTo>
                  <a:pt x="174" y="12"/>
                </a:lnTo>
                <a:lnTo>
                  <a:pt x="173" y="12"/>
                </a:lnTo>
                <a:lnTo>
                  <a:pt x="172" y="9"/>
                </a:lnTo>
                <a:lnTo>
                  <a:pt x="163" y="9"/>
                </a:lnTo>
                <a:lnTo>
                  <a:pt x="161" y="7"/>
                </a:lnTo>
                <a:lnTo>
                  <a:pt x="160" y="7"/>
                </a:lnTo>
                <a:lnTo>
                  <a:pt x="161" y="7"/>
                </a:lnTo>
                <a:lnTo>
                  <a:pt x="164" y="7"/>
                </a:lnTo>
                <a:lnTo>
                  <a:pt x="163" y="6"/>
                </a:lnTo>
                <a:lnTo>
                  <a:pt x="166" y="6"/>
                </a:lnTo>
                <a:lnTo>
                  <a:pt x="168" y="6"/>
                </a:lnTo>
                <a:lnTo>
                  <a:pt x="170" y="6"/>
                </a:lnTo>
                <a:lnTo>
                  <a:pt x="172" y="6"/>
                </a:lnTo>
                <a:lnTo>
                  <a:pt x="170" y="4"/>
                </a:lnTo>
                <a:lnTo>
                  <a:pt x="172" y="4"/>
                </a:lnTo>
                <a:lnTo>
                  <a:pt x="168" y="3"/>
                </a:lnTo>
                <a:lnTo>
                  <a:pt x="166" y="3"/>
                </a:lnTo>
                <a:lnTo>
                  <a:pt x="159" y="3"/>
                </a:lnTo>
                <a:lnTo>
                  <a:pt x="157" y="3"/>
                </a:lnTo>
                <a:lnTo>
                  <a:pt x="159" y="1"/>
                </a:lnTo>
                <a:lnTo>
                  <a:pt x="163" y="1"/>
                </a:lnTo>
                <a:lnTo>
                  <a:pt x="161" y="0"/>
                </a:lnTo>
                <a:lnTo>
                  <a:pt x="165" y="0"/>
                </a:lnTo>
                <a:lnTo>
                  <a:pt x="166" y="1"/>
                </a:lnTo>
                <a:lnTo>
                  <a:pt x="170" y="1"/>
                </a:lnTo>
                <a:lnTo>
                  <a:pt x="173" y="3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31" name="Freeform 1055"/>
          <p:cNvSpPr>
            <a:spLocks/>
          </p:cNvSpPr>
          <p:nvPr/>
        </p:nvSpPr>
        <p:spPr bwMode="auto">
          <a:xfrm>
            <a:off x="8165011" y="1603914"/>
            <a:ext cx="606080" cy="107381"/>
          </a:xfrm>
          <a:custGeom>
            <a:avLst/>
            <a:gdLst/>
            <a:ahLst/>
            <a:cxnLst>
              <a:cxn ang="0">
                <a:pos x="3" y="53"/>
              </a:cxn>
              <a:cxn ang="0">
                <a:pos x="7" y="48"/>
              </a:cxn>
              <a:cxn ang="0">
                <a:pos x="13" y="48"/>
              </a:cxn>
              <a:cxn ang="0">
                <a:pos x="3" y="47"/>
              </a:cxn>
              <a:cxn ang="0">
                <a:pos x="15" y="45"/>
              </a:cxn>
              <a:cxn ang="0">
                <a:pos x="24" y="44"/>
              </a:cxn>
              <a:cxn ang="0">
                <a:pos x="33" y="41"/>
              </a:cxn>
              <a:cxn ang="0">
                <a:pos x="43" y="41"/>
              </a:cxn>
              <a:cxn ang="0">
                <a:pos x="52" y="37"/>
              </a:cxn>
              <a:cxn ang="0">
                <a:pos x="69" y="36"/>
              </a:cxn>
              <a:cxn ang="0">
                <a:pos x="75" y="36"/>
              </a:cxn>
              <a:cxn ang="0">
                <a:pos x="103" y="31"/>
              </a:cxn>
              <a:cxn ang="0">
                <a:pos x="93" y="31"/>
              </a:cxn>
              <a:cxn ang="0">
                <a:pos x="95" y="30"/>
              </a:cxn>
              <a:cxn ang="0">
                <a:pos x="100" y="30"/>
              </a:cxn>
              <a:cxn ang="0">
                <a:pos x="112" y="28"/>
              </a:cxn>
              <a:cxn ang="0">
                <a:pos x="128" y="28"/>
              </a:cxn>
              <a:cxn ang="0">
                <a:pos x="140" y="31"/>
              </a:cxn>
              <a:cxn ang="0">
                <a:pos x="145" y="31"/>
              </a:cxn>
              <a:cxn ang="0">
                <a:pos x="146" y="33"/>
              </a:cxn>
              <a:cxn ang="0">
                <a:pos x="156" y="31"/>
              </a:cxn>
              <a:cxn ang="0">
                <a:pos x="165" y="31"/>
              </a:cxn>
              <a:cxn ang="0">
                <a:pos x="165" y="30"/>
              </a:cxn>
              <a:cxn ang="0">
                <a:pos x="170" y="28"/>
              </a:cxn>
              <a:cxn ang="0">
                <a:pos x="186" y="26"/>
              </a:cxn>
              <a:cxn ang="0">
                <a:pos x="196" y="30"/>
              </a:cxn>
              <a:cxn ang="0">
                <a:pos x="197" y="26"/>
              </a:cxn>
              <a:cxn ang="0">
                <a:pos x="185" y="25"/>
              </a:cxn>
              <a:cxn ang="0">
                <a:pos x="182" y="22"/>
              </a:cxn>
              <a:cxn ang="0">
                <a:pos x="209" y="22"/>
              </a:cxn>
              <a:cxn ang="0">
                <a:pos x="217" y="19"/>
              </a:cxn>
              <a:cxn ang="0">
                <a:pos x="214" y="17"/>
              </a:cxn>
              <a:cxn ang="0">
                <a:pos x="217" y="14"/>
              </a:cxn>
              <a:cxn ang="0">
                <a:pos x="226" y="9"/>
              </a:cxn>
              <a:cxn ang="0">
                <a:pos x="239" y="3"/>
              </a:cxn>
              <a:cxn ang="0">
                <a:pos x="254" y="1"/>
              </a:cxn>
              <a:cxn ang="0">
                <a:pos x="265" y="0"/>
              </a:cxn>
              <a:cxn ang="0">
                <a:pos x="273" y="3"/>
              </a:cxn>
              <a:cxn ang="0">
                <a:pos x="286" y="3"/>
              </a:cxn>
              <a:cxn ang="0">
                <a:pos x="285" y="6"/>
              </a:cxn>
              <a:cxn ang="0">
                <a:pos x="270" y="12"/>
              </a:cxn>
              <a:cxn ang="0">
                <a:pos x="285" y="11"/>
              </a:cxn>
              <a:cxn ang="0">
                <a:pos x="293" y="12"/>
              </a:cxn>
              <a:cxn ang="0">
                <a:pos x="301" y="12"/>
              </a:cxn>
              <a:cxn ang="0">
                <a:pos x="311" y="14"/>
              </a:cxn>
              <a:cxn ang="0">
                <a:pos x="307" y="17"/>
              </a:cxn>
              <a:cxn ang="0">
                <a:pos x="298" y="22"/>
              </a:cxn>
              <a:cxn ang="0">
                <a:pos x="302" y="23"/>
              </a:cxn>
              <a:cxn ang="0">
                <a:pos x="315" y="22"/>
              </a:cxn>
            </a:cxnLst>
            <a:rect l="0" t="0" r="r" b="b"/>
            <a:pathLst>
              <a:path w="317" h="55">
                <a:moveTo>
                  <a:pt x="0" y="55"/>
                </a:moveTo>
                <a:lnTo>
                  <a:pt x="1" y="55"/>
                </a:lnTo>
                <a:lnTo>
                  <a:pt x="0" y="53"/>
                </a:lnTo>
                <a:lnTo>
                  <a:pt x="3" y="53"/>
                </a:lnTo>
                <a:lnTo>
                  <a:pt x="4" y="52"/>
                </a:lnTo>
                <a:lnTo>
                  <a:pt x="5" y="50"/>
                </a:lnTo>
                <a:lnTo>
                  <a:pt x="7" y="50"/>
                </a:lnTo>
                <a:lnTo>
                  <a:pt x="7" y="48"/>
                </a:lnTo>
                <a:lnTo>
                  <a:pt x="8" y="48"/>
                </a:lnTo>
                <a:lnTo>
                  <a:pt x="9" y="48"/>
                </a:lnTo>
                <a:lnTo>
                  <a:pt x="11" y="48"/>
                </a:lnTo>
                <a:lnTo>
                  <a:pt x="13" y="48"/>
                </a:lnTo>
                <a:lnTo>
                  <a:pt x="15" y="48"/>
                </a:lnTo>
                <a:lnTo>
                  <a:pt x="8" y="47"/>
                </a:lnTo>
                <a:lnTo>
                  <a:pt x="4" y="47"/>
                </a:lnTo>
                <a:lnTo>
                  <a:pt x="3" y="47"/>
                </a:lnTo>
                <a:lnTo>
                  <a:pt x="4" y="47"/>
                </a:lnTo>
                <a:lnTo>
                  <a:pt x="5" y="45"/>
                </a:lnTo>
                <a:lnTo>
                  <a:pt x="12" y="45"/>
                </a:lnTo>
                <a:lnTo>
                  <a:pt x="15" y="45"/>
                </a:lnTo>
                <a:lnTo>
                  <a:pt x="16" y="47"/>
                </a:lnTo>
                <a:lnTo>
                  <a:pt x="20" y="47"/>
                </a:lnTo>
                <a:lnTo>
                  <a:pt x="20" y="45"/>
                </a:lnTo>
                <a:lnTo>
                  <a:pt x="24" y="44"/>
                </a:lnTo>
                <a:lnTo>
                  <a:pt x="27" y="42"/>
                </a:lnTo>
                <a:lnTo>
                  <a:pt x="29" y="42"/>
                </a:lnTo>
                <a:lnTo>
                  <a:pt x="35" y="41"/>
                </a:lnTo>
                <a:lnTo>
                  <a:pt x="33" y="41"/>
                </a:lnTo>
                <a:lnTo>
                  <a:pt x="32" y="41"/>
                </a:lnTo>
                <a:lnTo>
                  <a:pt x="36" y="41"/>
                </a:lnTo>
                <a:lnTo>
                  <a:pt x="37" y="39"/>
                </a:lnTo>
                <a:lnTo>
                  <a:pt x="43" y="41"/>
                </a:lnTo>
                <a:lnTo>
                  <a:pt x="45" y="39"/>
                </a:lnTo>
                <a:lnTo>
                  <a:pt x="51" y="39"/>
                </a:lnTo>
                <a:lnTo>
                  <a:pt x="48" y="39"/>
                </a:lnTo>
                <a:lnTo>
                  <a:pt x="52" y="37"/>
                </a:lnTo>
                <a:lnTo>
                  <a:pt x="57" y="37"/>
                </a:lnTo>
                <a:lnTo>
                  <a:pt x="63" y="36"/>
                </a:lnTo>
                <a:lnTo>
                  <a:pt x="65" y="37"/>
                </a:lnTo>
                <a:lnTo>
                  <a:pt x="69" y="36"/>
                </a:lnTo>
                <a:lnTo>
                  <a:pt x="73" y="36"/>
                </a:lnTo>
                <a:lnTo>
                  <a:pt x="73" y="37"/>
                </a:lnTo>
                <a:lnTo>
                  <a:pt x="73" y="36"/>
                </a:lnTo>
                <a:lnTo>
                  <a:pt x="75" y="36"/>
                </a:lnTo>
                <a:lnTo>
                  <a:pt x="83" y="34"/>
                </a:lnTo>
                <a:lnTo>
                  <a:pt x="101" y="33"/>
                </a:lnTo>
                <a:lnTo>
                  <a:pt x="103" y="33"/>
                </a:lnTo>
                <a:lnTo>
                  <a:pt x="103" y="31"/>
                </a:lnTo>
                <a:lnTo>
                  <a:pt x="100" y="31"/>
                </a:lnTo>
                <a:lnTo>
                  <a:pt x="100" y="33"/>
                </a:lnTo>
                <a:lnTo>
                  <a:pt x="99" y="31"/>
                </a:lnTo>
                <a:lnTo>
                  <a:pt x="93" y="31"/>
                </a:lnTo>
                <a:lnTo>
                  <a:pt x="92" y="31"/>
                </a:lnTo>
                <a:lnTo>
                  <a:pt x="92" y="30"/>
                </a:lnTo>
                <a:lnTo>
                  <a:pt x="93" y="30"/>
                </a:lnTo>
                <a:lnTo>
                  <a:pt x="95" y="30"/>
                </a:lnTo>
                <a:lnTo>
                  <a:pt x="99" y="30"/>
                </a:lnTo>
                <a:lnTo>
                  <a:pt x="100" y="30"/>
                </a:lnTo>
                <a:lnTo>
                  <a:pt x="99" y="30"/>
                </a:lnTo>
                <a:lnTo>
                  <a:pt x="100" y="30"/>
                </a:lnTo>
                <a:lnTo>
                  <a:pt x="106" y="30"/>
                </a:lnTo>
                <a:lnTo>
                  <a:pt x="104" y="30"/>
                </a:lnTo>
                <a:lnTo>
                  <a:pt x="105" y="28"/>
                </a:lnTo>
                <a:lnTo>
                  <a:pt x="112" y="28"/>
                </a:lnTo>
                <a:lnTo>
                  <a:pt x="114" y="30"/>
                </a:lnTo>
                <a:lnTo>
                  <a:pt x="117" y="28"/>
                </a:lnTo>
                <a:lnTo>
                  <a:pt x="118" y="28"/>
                </a:lnTo>
                <a:lnTo>
                  <a:pt x="128" y="28"/>
                </a:lnTo>
                <a:lnTo>
                  <a:pt x="129" y="28"/>
                </a:lnTo>
                <a:lnTo>
                  <a:pt x="137" y="28"/>
                </a:lnTo>
                <a:lnTo>
                  <a:pt x="141" y="28"/>
                </a:lnTo>
                <a:lnTo>
                  <a:pt x="140" y="31"/>
                </a:lnTo>
                <a:lnTo>
                  <a:pt x="134" y="33"/>
                </a:lnTo>
                <a:lnTo>
                  <a:pt x="137" y="33"/>
                </a:lnTo>
                <a:lnTo>
                  <a:pt x="140" y="31"/>
                </a:lnTo>
                <a:lnTo>
                  <a:pt x="145" y="31"/>
                </a:lnTo>
                <a:lnTo>
                  <a:pt x="146" y="30"/>
                </a:lnTo>
                <a:lnTo>
                  <a:pt x="146" y="31"/>
                </a:lnTo>
                <a:lnTo>
                  <a:pt x="149" y="31"/>
                </a:lnTo>
                <a:lnTo>
                  <a:pt x="146" y="33"/>
                </a:lnTo>
                <a:lnTo>
                  <a:pt x="148" y="33"/>
                </a:lnTo>
                <a:lnTo>
                  <a:pt x="150" y="31"/>
                </a:lnTo>
                <a:lnTo>
                  <a:pt x="153" y="31"/>
                </a:lnTo>
                <a:lnTo>
                  <a:pt x="156" y="31"/>
                </a:lnTo>
                <a:lnTo>
                  <a:pt x="157" y="30"/>
                </a:lnTo>
                <a:lnTo>
                  <a:pt x="157" y="31"/>
                </a:lnTo>
                <a:lnTo>
                  <a:pt x="162" y="31"/>
                </a:lnTo>
                <a:lnTo>
                  <a:pt x="165" y="31"/>
                </a:lnTo>
                <a:lnTo>
                  <a:pt x="166" y="31"/>
                </a:lnTo>
                <a:lnTo>
                  <a:pt x="166" y="30"/>
                </a:lnTo>
                <a:lnTo>
                  <a:pt x="164" y="30"/>
                </a:lnTo>
                <a:lnTo>
                  <a:pt x="165" y="30"/>
                </a:lnTo>
                <a:lnTo>
                  <a:pt x="168" y="28"/>
                </a:lnTo>
                <a:lnTo>
                  <a:pt x="169" y="30"/>
                </a:lnTo>
                <a:lnTo>
                  <a:pt x="170" y="30"/>
                </a:lnTo>
                <a:lnTo>
                  <a:pt x="170" y="28"/>
                </a:lnTo>
                <a:lnTo>
                  <a:pt x="169" y="28"/>
                </a:lnTo>
                <a:lnTo>
                  <a:pt x="180" y="26"/>
                </a:lnTo>
                <a:lnTo>
                  <a:pt x="181" y="26"/>
                </a:lnTo>
                <a:lnTo>
                  <a:pt x="186" y="26"/>
                </a:lnTo>
                <a:lnTo>
                  <a:pt x="185" y="28"/>
                </a:lnTo>
                <a:lnTo>
                  <a:pt x="192" y="28"/>
                </a:lnTo>
                <a:lnTo>
                  <a:pt x="192" y="30"/>
                </a:lnTo>
                <a:lnTo>
                  <a:pt x="196" y="30"/>
                </a:lnTo>
                <a:lnTo>
                  <a:pt x="197" y="30"/>
                </a:lnTo>
                <a:lnTo>
                  <a:pt x="197" y="28"/>
                </a:lnTo>
                <a:lnTo>
                  <a:pt x="198" y="26"/>
                </a:lnTo>
                <a:lnTo>
                  <a:pt x="197" y="26"/>
                </a:lnTo>
                <a:lnTo>
                  <a:pt x="196" y="25"/>
                </a:lnTo>
                <a:lnTo>
                  <a:pt x="190" y="25"/>
                </a:lnTo>
                <a:lnTo>
                  <a:pt x="189" y="25"/>
                </a:lnTo>
                <a:lnTo>
                  <a:pt x="185" y="25"/>
                </a:lnTo>
                <a:lnTo>
                  <a:pt x="185" y="23"/>
                </a:lnTo>
                <a:lnTo>
                  <a:pt x="184" y="23"/>
                </a:lnTo>
                <a:lnTo>
                  <a:pt x="184" y="22"/>
                </a:lnTo>
                <a:lnTo>
                  <a:pt x="182" y="22"/>
                </a:lnTo>
                <a:lnTo>
                  <a:pt x="196" y="23"/>
                </a:lnTo>
                <a:lnTo>
                  <a:pt x="200" y="22"/>
                </a:lnTo>
                <a:lnTo>
                  <a:pt x="205" y="22"/>
                </a:lnTo>
                <a:lnTo>
                  <a:pt x="209" y="22"/>
                </a:lnTo>
                <a:lnTo>
                  <a:pt x="217" y="20"/>
                </a:lnTo>
                <a:lnTo>
                  <a:pt x="218" y="20"/>
                </a:lnTo>
                <a:lnTo>
                  <a:pt x="217" y="20"/>
                </a:lnTo>
                <a:lnTo>
                  <a:pt x="217" y="19"/>
                </a:lnTo>
                <a:lnTo>
                  <a:pt x="221" y="19"/>
                </a:lnTo>
                <a:lnTo>
                  <a:pt x="219" y="19"/>
                </a:lnTo>
                <a:lnTo>
                  <a:pt x="218" y="17"/>
                </a:lnTo>
                <a:lnTo>
                  <a:pt x="214" y="17"/>
                </a:lnTo>
                <a:lnTo>
                  <a:pt x="213" y="17"/>
                </a:lnTo>
                <a:lnTo>
                  <a:pt x="213" y="15"/>
                </a:lnTo>
                <a:lnTo>
                  <a:pt x="216" y="14"/>
                </a:lnTo>
                <a:lnTo>
                  <a:pt x="217" y="14"/>
                </a:lnTo>
                <a:lnTo>
                  <a:pt x="218" y="14"/>
                </a:lnTo>
                <a:lnTo>
                  <a:pt x="218" y="12"/>
                </a:lnTo>
                <a:lnTo>
                  <a:pt x="219" y="11"/>
                </a:lnTo>
                <a:lnTo>
                  <a:pt x="226" y="9"/>
                </a:lnTo>
                <a:lnTo>
                  <a:pt x="226" y="8"/>
                </a:lnTo>
                <a:lnTo>
                  <a:pt x="233" y="8"/>
                </a:lnTo>
                <a:lnTo>
                  <a:pt x="234" y="6"/>
                </a:lnTo>
                <a:lnTo>
                  <a:pt x="239" y="3"/>
                </a:lnTo>
                <a:lnTo>
                  <a:pt x="245" y="3"/>
                </a:lnTo>
                <a:lnTo>
                  <a:pt x="246" y="1"/>
                </a:lnTo>
                <a:lnTo>
                  <a:pt x="253" y="1"/>
                </a:lnTo>
                <a:lnTo>
                  <a:pt x="254" y="1"/>
                </a:lnTo>
                <a:lnTo>
                  <a:pt x="255" y="1"/>
                </a:lnTo>
                <a:lnTo>
                  <a:pt x="259" y="0"/>
                </a:lnTo>
                <a:lnTo>
                  <a:pt x="262" y="0"/>
                </a:lnTo>
                <a:lnTo>
                  <a:pt x="265" y="0"/>
                </a:lnTo>
                <a:lnTo>
                  <a:pt x="265" y="1"/>
                </a:lnTo>
                <a:lnTo>
                  <a:pt x="267" y="1"/>
                </a:lnTo>
                <a:lnTo>
                  <a:pt x="269" y="0"/>
                </a:lnTo>
                <a:lnTo>
                  <a:pt x="273" y="3"/>
                </a:lnTo>
                <a:lnTo>
                  <a:pt x="278" y="3"/>
                </a:lnTo>
                <a:lnTo>
                  <a:pt x="282" y="3"/>
                </a:lnTo>
                <a:lnTo>
                  <a:pt x="283" y="3"/>
                </a:lnTo>
                <a:lnTo>
                  <a:pt x="286" y="3"/>
                </a:lnTo>
                <a:lnTo>
                  <a:pt x="289" y="6"/>
                </a:lnTo>
                <a:lnTo>
                  <a:pt x="291" y="6"/>
                </a:lnTo>
                <a:lnTo>
                  <a:pt x="289" y="6"/>
                </a:lnTo>
                <a:lnTo>
                  <a:pt x="285" y="6"/>
                </a:lnTo>
                <a:lnTo>
                  <a:pt x="282" y="8"/>
                </a:lnTo>
                <a:lnTo>
                  <a:pt x="279" y="8"/>
                </a:lnTo>
                <a:lnTo>
                  <a:pt x="277" y="9"/>
                </a:lnTo>
                <a:lnTo>
                  <a:pt x="270" y="12"/>
                </a:lnTo>
                <a:lnTo>
                  <a:pt x="267" y="12"/>
                </a:lnTo>
                <a:lnTo>
                  <a:pt x="265" y="14"/>
                </a:lnTo>
                <a:lnTo>
                  <a:pt x="279" y="11"/>
                </a:lnTo>
                <a:lnTo>
                  <a:pt x="285" y="11"/>
                </a:lnTo>
                <a:lnTo>
                  <a:pt x="287" y="11"/>
                </a:lnTo>
                <a:lnTo>
                  <a:pt x="286" y="12"/>
                </a:lnTo>
                <a:lnTo>
                  <a:pt x="290" y="12"/>
                </a:lnTo>
                <a:lnTo>
                  <a:pt x="293" y="12"/>
                </a:lnTo>
                <a:lnTo>
                  <a:pt x="294" y="12"/>
                </a:lnTo>
                <a:lnTo>
                  <a:pt x="297" y="12"/>
                </a:lnTo>
                <a:lnTo>
                  <a:pt x="299" y="12"/>
                </a:lnTo>
                <a:lnTo>
                  <a:pt x="301" y="12"/>
                </a:lnTo>
                <a:lnTo>
                  <a:pt x="302" y="12"/>
                </a:lnTo>
                <a:lnTo>
                  <a:pt x="310" y="12"/>
                </a:lnTo>
                <a:lnTo>
                  <a:pt x="309" y="14"/>
                </a:lnTo>
                <a:lnTo>
                  <a:pt x="311" y="14"/>
                </a:lnTo>
                <a:lnTo>
                  <a:pt x="309" y="14"/>
                </a:lnTo>
                <a:lnTo>
                  <a:pt x="309" y="15"/>
                </a:lnTo>
                <a:lnTo>
                  <a:pt x="310" y="15"/>
                </a:lnTo>
                <a:lnTo>
                  <a:pt x="307" y="17"/>
                </a:lnTo>
                <a:lnTo>
                  <a:pt x="303" y="17"/>
                </a:lnTo>
                <a:lnTo>
                  <a:pt x="302" y="19"/>
                </a:lnTo>
                <a:lnTo>
                  <a:pt x="301" y="19"/>
                </a:lnTo>
                <a:lnTo>
                  <a:pt x="298" y="22"/>
                </a:lnTo>
                <a:lnTo>
                  <a:pt x="297" y="20"/>
                </a:lnTo>
                <a:lnTo>
                  <a:pt x="293" y="22"/>
                </a:lnTo>
                <a:lnTo>
                  <a:pt x="298" y="22"/>
                </a:lnTo>
                <a:lnTo>
                  <a:pt x="302" y="23"/>
                </a:lnTo>
                <a:lnTo>
                  <a:pt x="305" y="22"/>
                </a:lnTo>
                <a:lnTo>
                  <a:pt x="311" y="22"/>
                </a:lnTo>
                <a:lnTo>
                  <a:pt x="313" y="22"/>
                </a:lnTo>
                <a:lnTo>
                  <a:pt x="315" y="22"/>
                </a:lnTo>
                <a:lnTo>
                  <a:pt x="317" y="20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32" name="Freeform 1056"/>
          <p:cNvSpPr>
            <a:spLocks/>
          </p:cNvSpPr>
          <p:nvPr/>
        </p:nvSpPr>
        <p:spPr bwMode="auto">
          <a:xfrm>
            <a:off x="8667804" y="1636127"/>
            <a:ext cx="278680" cy="150333"/>
          </a:xfrm>
          <a:custGeom>
            <a:avLst/>
            <a:gdLst/>
            <a:ahLst/>
            <a:cxnLst>
              <a:cxn ang="0">
                <a:pos x="55" y="2"/>
              </a:cxn>
              <a:cxn ang="0">
                <a:pos x="60" y="0"/>
              </a:cxn>
              <a:cxn ang="0">
                <a:pos x="64" y="2"/>
              </a:cxn>
              <a:cxn ang="0">
                <a:pos x="83" y="2"/>
              </a:cxn>
              <a:cxn ang="0">
                <a:pos x="100" y="0"/>
              </a:cxn>
              <a:cxn ang="0">
                <a:pos x="107" y="2"/>
              </a:cxn>
              <a:cxn ang="0">
                <a:pos x="115" y="3"/>
              </a:cxn>
              <a:cxn ang="0">
                <a:pos x="128" y="8"/>
              </a:cxn>
              <a:cxn ang="0">
                <a:pos x="131" y="13"/>
              </a:cxn>
              <a:cxn ang="0">
                <a:pos x="133" y="9"/>
              </a:cxn>
              <a:cxn ang="0">
                <a:pos x="140" y="14"/>
              </a:cxn>
              <a:cxn ang="0">
                <a:pos x="145" y="17"/>
              </a:cxn>
              <a:cxn ang="0">
                <a:pos x="140" y="19"/>
              </a:cxn>
              <a:cxn ang="0">
                <a:pos x="124" y="17"/>
              </a:cxn>
              <a:cxn ang="0">
                <a:pos x="131" y="20"/>
              </a:cxn>
              <a:cxn ang="0">
                <a:pos x="136" y="20"/>
              </a:cxn>
              <a:cxn ang="0">
                <a:pos x="141" y="24"/>
              </a:cxn>
              <a:cxn ang="0">
                <a:pos x="141" y="27"/>
              </a:cxn>
              <a:cxn ang="0">
                <a:pos x="132" y="30"/>
              </a:cxn>
              <a:cxn ang="0">
                <a:pos x="128" y="33"/>
              </a:cxn>
              <a:cxn ang="0">
                <a:pos x="124" y="35"/>
              </a:cxn>
              <a:cxn ang="0">
                <a:pos x="115" y="38"/>
              </a:cxn>
              <a:cxn ang="0">
                <a:pos x="104" y="39"/>
              </a:cxn>
              <a:cxn ang="0">
                <a:pos x="97" y="39"/>
              </a:cxn>
              <a:cxn ang="0">
                <a:pos x="87" y="44"/>
              </a:cxn>
              <a:cxn ang="0">
                <a:pos x="68" y="50"/>
              </a:cxn>
              <a:cxn ang="0">
                <a:pos x="59" y="55"/>
              </a:cxn>
              <a:cxn ang="0">
                <a:pos x="40" y="60"/>
              </a:cxn>
              <a:cxn ang="0">
                <a:pos x="28" y="63"/>
              </a:cxn>
              <a:cxn ang="0">
                <a:pos x="19" y="69"/>
              </a:cxn>
              <a:cxn ang="0">
                <a:pos x="8" y="71"/>
              </a:cxn>
              <a:cxn ang="0">
                <a:pos x="3" y="74"/>
              </a:cxn>
              <a:cxn ang="0">
                <a:pos x="10" y="72"/>
              </a:cxn>
              <a:cxn ang="0">
                <a:pos x="23" y="71"/>
              </a:cxn>
              <a:cxn ang="0">
                <a:pos x="31" y="67"/>
              </a:cxn>
              <a:cxn ang="0">
                <a:pos x="32" y="67"/>
              </a:cxn>
              <a:cxn ang="0">
                <a:pos x="40" y="64"/>
              </a:cxn>
              <a:cxn ang="0">
                <a:pos x="58" y="63"/>
              </a:cxn>
              <a:cxn ang="0">
                <a:pos x="75" y="60"/>
              </a:cxn>
              <a:cxn ang="0">
                <a:pos x="75" y="57"/>
              </a:cxn>
              <a:cxn ang="0">
                <a:pos x="91" y="58"/>
              </a:cxn>
              <a:cxn ang="0">
                <a:pos x="96" y="53"/>
              </a:cxn>
              <a:cxn ang="0">
                <a:pos x="85" y="55"/>
              </a:cxn>
              <a:cxn ang="0">
                <a:pos x="81" y="55"/>
              </a:cxn>
              <a:cxn ang="0">
                <a:pos x="85" y="49"/>
              </a:cxn>
              <a:cxn ang="0">
                <a:pos x="99" y="50"/>
              </a:cxn>
              <a:cxn ang="0">
                <a:pos x="111" y="49"/>
              </a:cxn>
              <a:cxn ang="0">
                <a:pos x="107" y="52"/>
              </a:cxn>
              <a:cxn ang="0">
                <a:pos x="124" y="55"/>
              </a:cxn>
            </a:cxnLst>
            <a:rect l="0" t="0" r="r" b="b"/>
            <a:pathLst>
              <a:path w="145" h="75">
                <a:moveTo>
                  <a:pt x="54" y="3"/>
                </a:moveTo>
                <a:lnTo>
                  <a:pt x="56" y="3"/>
                </a:lnTo>
                <a:lnTo>
                  <a:pt x="58" y="2"/>
                </a:lnTo>
                <a:lnTo>
                  <a:pt x="55" y="2"/>
                </a:lnTo>
                <a:lnTo>
                  <a:pt x="56" y="2"/>
                </a:lnTo>
                <a:lnTo>
                  <a:pt x="56" y="0"/>
                </a:lnTo>
                <a:lnTo>
                  <a:pt x="59" y="0"/>
                </a:lnTo>
                <a:lnTo>
                  <a:pt x="60" y="0"/>
                </a:lnTo>
                <a:lnTo>
                  <a:pt x="62" y="0"/>
                </a:lnTo>
                <a:lnTo>
                  <a:pt x="60" y="2"/>
                </a:lnTo>
                <a:lnTo>
                  <a:pt x="63" y="0"/>
                </a:lnTo>
                <a:lnTo>
                  <a:pt x="64" y="2"/>
                </a:lnTo>
                <a:lnTo>
                  <a:pt x="72" y="0"/>
                </a:lnTo>
                <a:lnTo>
                  <a:pt x="75" y="0"/>
                </a:lnTo>
                <a:lnTo>
                  <a:pt x="77" y="0"/>
                </a:lnTo>
                <a:lnTo>
                  <a:pt x="83" y="2"/>
                </a:lnTo>
                <a:lnTo>
                  <a:pt x="85" y="2"/>
                </a:lnTo>
                <a:lnTo>
                  <a:pt x="87" y="2"/>
                </a:lnTo>
                <a:lnTo>
                  <a:pt x="92" y="0"/>
                </a:lnTo>
                <a:lnTo>
                  <a:pt x="100" y="0"/>
                </a:lnTo>
                <a:lnTo>
                  <a:pt x="104" y="0"/>
                </a:lnTo>
                <a:lnTo>
                  <a:pt x="104" y="2"/>
                </a:lnTo>
                <a:lnTo>
                  <a:pt x="105" y="2"/>
                </a:lnTo>
                <a:lnTo>
                  <a:pt x="107" y="2"/>
                </a:lnTo>
                <a:lnTo>
                  <a:pt x="109" y="2"/>
                </a:lnTo>
                <a:lnTo>
                  <a:pt x="111" y="2"/>
                </a:lnTo>
                <a:lnTo>
                  <a:pt x="109" y="3"/>
                </a:lnTo>
                <a:lnTo>
                  <a:pt x="115" y="3"/>
                </a:lnTo>
                <a:lnTo>
                  <a:pt x="119" y="5"/>
                </a:lnTo>
                <a:lnTo>
                  <a:pt x="119" y="6"/>
                </a:lnTo>
                <a:lnTo>
                  <a:pt x="121" y="6"/>
                </a:lnTo>
                <a:lnTo>
                  <a:pt x="128" y="8"/>
                </a:lnTo>
                <a:lnTo>
                  <a:pt x="128" y="9"/>
                </a:lnTo>
                <a:lnTo>
                  <a:pt x="125" y="9"/>
                </a:lnTo>
                <a:lnTo>
                  <a:pt x="128" y="11"/>
                </a:lnTo>
                <a:lnTo>
                  <a:pt x="131" y="13"/>
                </a:lnTo>
                <a:lnTo>
                  <a:pt x="132" y="13"/>
                </a:lnTo>
                <a:lnTo>
                  <a:pt x="132" y="11"/>
                </a:lnTo>
                <a:lnTo>
                  <a:pt x="135" y="11"/>
                </a:lnTo>
                <a:lnTo>
                  <a:pt x="133" y="9"/>
                </a:lnTo>
                <a:lnTo>
                  <a:pt x="136" y="9"/>
                </a:lnTo>
                <a:lnTo>
                  <a:pt x="140" y="11"/>
                </a:lnTo>
                <a:lnTo>
                  <a:pt x="140" y="13"/>
                </a:lnTo>
                <a:lnTo>
                  <a:pt x="140" y="14"/>
                </a:lnTo>
                <a:lnTo>
                  <a:pt x="143" y="14"/>
                </a:lnTo>
                <a:lnTo>
                  <a:pt x="145" y="14"/>
                </a:lnTo>
                <a:lnTo>
                  <a:pt x="145" y="16"/>
                </a:lnTo>
                <a:lnTo>
                  <a:pt x="145" y="17"/>
                </a:lnTo>
                <a:lnTo>
                  <a:pt x="143" y="20"/>
                </a:lnTo>
                <a:lnTo>
                  <a:pt x="140" y="20"/>
                </a:lnTo>
                <a:lnTo>
                  <a:pt x="139" y="20"/>
                </a:lnTo>
                <a:lnTo>
                  <a:pt x="140" y="19"/>
                </a:lnTo>
                <a:lnTo>
                  <a:pt x="132" y="17"/>
                </a:lnTo>
                <a:lnTo>
                  <a:pt x="128" y="16"/>
                </a:lnTo>
                <a:lnTo>
                  <a:pt x="125" y="16"/>
                </a:lnTo>
                <a:lnTo>
                  <a:pt x="124" y="17"/>
                </a:lnTo>
                <a:lnTo>
                  <a:pt x="127" y="17"/>
                </a:lnTo>
                <a:lnTo>
                  <a:pt x="131" y="19"/>
                </a:lnTo>
                <a:lnTo>
                  <a:pt x="129" y="19"/>
                </a:lnTo>
                <a:lnTo>
                  <a:pt x="131" y="20"/>
                </a:lnTo>
                <a:lnTo>
                  <a:pt x="132" y="20"/>
                </a:lnTo>
                <a:lnTo>
                  <a:pt x="133" y="20"/>
                </a:lnTo>
                <a:lnTo>
                  <a:pt x="136" y="19"/>
                </a:lnTo>
                <a:lnTo>
                  <a:pt x="136" y="20"/>
                </a:lnTo>
                <a:lnTo>
                  <a:pt x="140" y="22"/>
                </a:lnTo>
                <a:lnTo>
                  <a:pt x="144" y="22"/>
                </a:lnTo>
                <a:lnTo>
                  <a:pt x="144" y="24"/>
                </a:lnTo>
                <a:lnTo>
                  <a:pt x="141" y="24"/>
                </a:lnTo>
                <a:lnTo>
                  <a:pt x="143" y="24"/>
                </a:lnTo>
                <a:lnTo>
                  <a:pt x="144" y="24"/>
                </a:lnTo>
                <a:lnTo>
                  <a:pt x="144" y="25"/>
                </a:lnTo>
                <a:lnTo>
                  <a:pt x="141" y="27"/>
                </a:lnTo>
                <a:lnTo>
                  <a:pt x="137" y="28"/>
                </a:lnTo>
                <a:lnTo>
                  <a:pt x="137" y="30"/>
                </a:lnTo>
                <a:lnTo>
                  <a:pt x="135" y="30"/>
                </a:lnTo>
                <a:lnTo>
                  <a:pt x="132" y="30"/>
                </a:lnTo>
                <a:lnTo>
                  <a:pt x="131" y="31"/>
                </a:lnTo>
                <a:lnTo>
                  <a:pt x="132" y="31"/>
                </a:lnTo>
                <a:lnTo>
                  <a:pt x="129" y="31"/>
                </a:lnTo>
                <a:lnTo>
                  <a:pt x="128" y="33"/>
                </a:lnTo>
                <a:lnTo>
                  <a:pt x="127" y="33"/>
                </a:lnTo>
                <a:lnTo>
                  <a:pt x="121" y="33"/>
                </a:lnTo>
                <a:lnTo>
                  <a:pt x="120" y="33"/>
                </a:lnTo>
                <a:lnTo>
                  <a:pt x="124" y="35"/>
                </a:lnTo>
                <a:lnTo>
                  <a:pt x="115" y="35"/>
                </a:lnTo>
                <a:lnTo>
                  <a:pt x="117" y="36"/>
                </a:lnTo>
                <a:lnTo>
                  <a:pt x="116" y="36"/>
                </a:lnTo>
                <a:lnTo>
                  <a:pt x="115" y="38"/>
                </a:lnTo>
                <a:lnTo>
                  <a:pt x="111" y="36"/>
                </a:lnTo>
                <a:lnTo>
                  <a:pt x="107" y="38"/>
                </a:lnTo>
                <a:lnTo>
                  <a:pt x="104" y="38"/>
                </a:lnTo>
                <a:lnTo>
                  <a:pt x="104" y="39"/>
                </a:lnTo>
                <a:lnTo>
                  <a:pt x="101" y="39"/>
                </a:lnTo>
                <a:lnTo>
                  <a:pt x="100" y="39"/>
                </a:lnTo>
                <a:lnTo>
                  <a:pt x="99" y="39"/>
                </a:lnTo>
                <a:lnTo>
                  <a:pt x="97" y="39"/>
                </a:lnTo>
                <a:lnTo>
                  <a:pt x="95" y="39"/>
                </a:lnTo>
                <a:lnTo>
                  <a:pt x="93" y="41"/>
                </a:lnTo>
                <a:lnTo>
                  <a:pt x="88" y="42"/>
                </a:lnTo>
                <a:lnTo>
                  <a:pt x="87" y="44"/>
                </a:lnTo>
                <a:lnTo>
                  <a:pt x="84" y="46"/>
                </a:lnTo>
                <a:lnTo>
                  <a:pt x="80" y="47"/>
                </a:lnTo>
                <a:lnTo>
                  <a:pt x="76" y="47"/>
                </a:lnTo>
                <a:lnTo>
                  <a:pt x="68" y="50"/>
                </a:lnTo>
                <a:lnTo>
                  <a:pt x="68" y="52"/>
                </a:lnTo>
                <a:lnTo>
                  <a:pt x="66" y="52"/>
                </a:lnTo>
                <a:lnTo>
                  <a:pt x="60" y="57"/>
                </a:lnTo>
                <a:lnTo>
                  <a:pt x="59" y="55"/>
                </a:lnTo>
                <a:lnTo>
                  <a:pt x="56" y="55"/>
                </a:lnTo>
                <a:lnTo>
                  <a:pt x="44" y="55"/>
                </a:lnTo>
                <a:lnTo>
                  <a:pt x="44" y="57"/>
                </a:lnTo>
                <a:lnTo>
                  <a:pt x="40" y="60"/>
                </a:lnTo>
                <a:lnTo>
                  <a:pt x="39" y="61"/>
                </a:lnTo>
                <a:lnTo>
                  <a:pt x="32" y="61"/>
                </a:lnTo>
                <a:lnTo>
                  <a:pt x="31" y="61"/>
                </a:lnTo>
                <a:lnTo>
                  <a:pt x="28" y="63"/>
                </a:lnTo>
                <a:lnTo>
                  <a:pt x="27" y="64"/>
                </a:lnTo>
                <a:lnTo>
                  <a:pt x="26" y="64"/>
                </a:lnTo>
                <a:lnTo>
                  <a:pt x="22" y="67"/>
                </a:lnTo>
                <a:lnTo>
                  <a:pt x="19" y="69"/>
                </a:lnTo>
                <a:lnTo>
                  <a:pt x="16" y="71"/>
                </a:lnTo>
                <a:lnTo>
                  <a:pt x="12" y="71"/>
                </a:lnTo>
                <a:lnTo>
                  <a:pt x="10" y="71"/>
                </a:lnTo>
                <a:lnTo>
                  <a:pt x="8" y="71"/>
                </a:lnTo>
                <a:lnTo>
                  <a:pt x="6" y="72"/>
                </a:lnTo>
                <a:lnTo>
                  <a:pt x="0" y="74"/>
                </a:lnTo>
                <a:lnTo>
                  <a:pt x="2" y="75"/>
                </a:lnTo>
                <a:lnTo>
                  <a:pt x="3" y="74"/>
                </a:lnTo>
                <a:lnTo>
                  <a:pt x="6" y="74"/>
                </a:lnTo>
                <a:lnTo>
                  <a:pt x="7" y="74"/>
                </a:lnTo>
                <a:lnTo>
                  <a:pt x="6" y="74"/>
                </a:lnTo>
                <a:lnTo>
                  <a:pt x="10" y="72"/>
                </a:lnTo>
                <a:lnTo>
                  <a:pt x="14" y="72"/>
                </a:lnTo>
                <a:lnTo>
                  <a:pt x="16" y="71"/>
                </a:lnTo>
                <a:lnTo>
                  <a:pt x="20" y="71"/>
                </a:lnTo>
                <a:lnTo>
                  <a:pt x="23" y="71"/>
                </a:lnTo>
                <a:lnTo>
                  <a:pt x="24" y="69"/>
                </a:lnTo>
                <a:lnTo>
                  <a:pt x="26" y="69"/>
                </a:lnTo>
                <a:lnTo>
                  <a:pt x="28" y="67"/>
                </a:lnTo>
                <a:lnTo>
                  <a:pt x="31" y="67"/>
                </a:lnTo>
                <a:lnTo>
                  <a:pt x="38" y="69"/>
                </a:lnTo>
                <a:lnTo>
                  <a:pt x="40" y="69"/>
                </a:lnTo>
                <a:lnTo>
                  <a:pt x="42" y="69"/>
                </a:lnTo>
                <a:lnTo>
                  <a:pt x="32" y="67"/>
                </a:lnTo>
                <a:lnTo>
                  <a:pt x="31" y="66"/>
                </a:lnTo>
                <a:lnTo>
                  <a:pt x="30" y="64"/>
                </a:lnTo>
                <a:lnTo>
                  <a:pt x="34" y="63"/>
                </a:lnTo>
                <a:lnTo>
                  <a:pt x="40" y="64"/>
                </a:lnTo>
                <a:lnTo>
                  <a:pt x="43" y="63"/>
                </a:lnTo>
                <a:lnTo>
                  <a:pt x="51" y="64"/>
                </a:lnTo>
                <a:lnTo>
                  <a:pt x="52" y="64"/>
                </a:lnTo>
                <a:lnTo>
                  <a:pt x="58" y="63"/>
                </a:lnTo>
                <a:lnTo>
                  <a:pt x="63" y="63"/>
                </a:lnTo>
                <a:lnTo>
                  <a:pt x="62" y="61"/>
                </a:lnTo>
                <a:lnTo>
                  <a:pt x="66" y="61"/>
                </a:lnTo>
                <a:lnTo>
                  <a:pt x="75" y="60"/>
                </a:lnTo>
                <a:lnTo>
                  <a:pt x="76" y="60"/>
                </a:lnTo>
                <a:lnTo>
                  <a:pt x="76" y="58"/>
                </a:lnTo>
                <a:lnTo>
                  <a:pt x="77" y="60"/>
                </a:lnTo>
                <a:lnTo>
                  <a:pt x="75" y="57"/>
                </a:lnTo>
                <a:lnTo>
                  <a:pt x="80" y="60"/>
                </a:lnTo>
                <a:lnTo>
                  <a:pt x="83" y="60"/>
                </a:lnTo>
                <a:lnTo>
                  <a:pt x="89" y="57"/>
                </a:lnTo>
                <a:lnTo>
                  <a:pt x="91" y="58"/>
                </a:lnTo>
                <a:lnTo>
                  <a:pt x="92" y="57"/>
                </a:lnTo>
                <a:lnTo>
                  <a:pt x="101" y="55"/>
                </a:lnTo>
                <a:lnTo>
                  <a:pt x="99" y="53"/>
                </a:lnTo>
                <a:lnTo>
                  <a:pt x="96" y="53"/>
                </a:lnTo>
                <a:lnTo>
                  <a:pt x="95" y="53"/>
                </a:lnTo>
                <a:lnTo>
                  <a:pt x="92" y="53"/>
                </a:lnTo>
                <a:lnTo>
                  <a:pt x="91" y="55"/>
                </a:lnTo>
                <a:lnTo>
                  <a:pt x="85" y="55"/>
                </a:lnTo>
                <a:lnTo>
                  <a:pt x="83" y="55"/>
                </a:lnTo>
                <a:lnTo>
                  <a:pt x="84" y="55"/>
                </a:lnTo>
                <a:lnTo>
                  <a:pt x="83" y="55"/>
                </a:lnTo>
                <a:lnTo>
                  <a:pt x="81" y="55"/>
                </a:lnTo>
                <a:lnTo>
                  <a:pt x="80" y="53"/>
                </a:lnTo>
                <a:lnTo>
                  <a:pt x="80" y="52"/>
                </a:lnTo>
                <a:lnTo>
                  <a:pt x="84" y="50"/>
                </a:lnTo>
                <a:lnTo>
                  <a:pt x="85" y="49"/>
                </a:lnTo>
                <a:lnTo>
                  <a:pt x="88" y="49"/>
                </a:lnTo>
                <a:lnTo>
                  <a:pt x="92" y="49"/>
                </a:lnTo>
                <a:lnTo>
                  <a:pt x="96" y="49"/>
                </a:lnTo>
                <a:lnTo>
                  <a:pt x="99" y="50"/>
                </a:lnTo>
                <a:lnTo>
                  <a:pt x="100" y="50"/>
                </a:lnTo>
                <a:lnTo>
                  <a:pt x="101" y="50"/>
                </a:lnTo>
                <a:lnTo>
                  <a:pt x="104" y="49"/>
                </a:lnTo>
                <a:lnTo>
                  <a:pt x="111" y="49"/>
                </a:lnTo>
                <a:lnTo>
                  <a:pt x="108" y="50"/>
                </a:lnTo>
                <a:lnTo>
                  <a:pt x="107" y="49"/>
                </a:lnTo>
                <a:lnTo>
                  <a:pt x="105" y="50"/>
                </a:lnTo>
                <a:lnTo>
                  <a:pt x="107" y="52"/>
                </a:lnTo>
                <a:lnTo>
                  <a:pt x="113" y="53"/>
                </a:lnTo>
                <a:lnTo>
                  <a:pt x="113" y="55"/>
                </a:lnTo>
                <a:lnTo>
                  <a:pt x="116" y="53"/>
                </a:lnTo>
                <a:lnTo>
                  <a:pt x="124" y="55"/>
                </a:lnTo>
                <a:lnTo>
                  <a:pt x="129" y="53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33" name="Freeform 1057"/>
          <p:cNvSpPr>
            <a:spLocks/>
          </p:cNvSpPr>
          <p:nvPr/>
        </p:nvSpPr>
        <p:spPr bwMode="auto">
          <a:xfrm>
            <a:off x="8915303" y="1732769"/>
            <a:ext cx="662598" cy="11811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8" y="4"/>
              </a:cxn>
              <a:cxn ang="0">
                <a:pos x="8" y="11"/>
              </a:cxn>
              <a:cxn ang="0">
                <a:pos x="7" y="12"/>
              </a:cxn>
              <a:cxn ang="0">
                <a:pos x="18" y="12"/>
              </a:cxn>
              <a:cxn ang="0">
                <a:pos x="28" y="8"/>
              </a:cxn>
              <a:cxn ang="0">
                <a:pos x="50" y="6"/>
              </a:cxn>
              <a:cxn ang="0">
                <a:pos x="64" y="8"/>
              </a:cxn>
              <a:cxn ang="0">
                <a:pos x="83" y="8"/>
              </a:cxn>
              <a:cxn ang="0">
                <a:pos x="92" y="9"/>
              </a:cxn>
              <a:cxn ang="0">
                <a:pos x="85" y="11"/>
              </a:cxn>
              <a:cxn ang="0">
                <a:pos x="87" y="14"/>
              </a:cxn>
              <a:cxn ang="0">
                <a:pos x="108" y="18"/>
              </a:cxn>
              <a:cxn ang="0">
                <a:pos x="120" y="18"/>
              </a:cxn>
              <a:cxn ang="0">
                <a:pos x="136" y="18"/>
              </a:cxn>
              <a:cxn ang="0">
                <a:pos x="145" y="18"/>
              </a:cxn>
              <a:cxn ang="0">
                <a:pos x="161" y="15"/>
              </a:cxn>
              <a:cxn ang="0">
                <a:pos x="157" y="9"/>
              </a:cxn>
              <a:cxn ang="0">
                <a:pos x="163" y="4"/>
              </a:cxn>
              <a:cxn ang="0">
                <a:pos x="169" y="3"/>
              </a:cxn>
              <a:cxn ang="0">
                <a:pos x="182" y="4"/>
              </a:cxn>
              <a:cxn ang="0">
                <a:pos x="190" y="8"/>
              </a:cxn>
              <a:cxn ang="0">
                <a:pos x="197" y="8"/>
              </a:cxn>
              <a:cxn ang="0">
                <a:pos x="208" y="9"/>
              </a:cxn>
              <a:cxn ang="0">
                <a:pos x="214" y="9"/>
              </a:cxn>
              <a:cxn ang="0">
                <a:pos x="228" y="9"/>
              </a:cxn>
              <a:cxn ang="0">
                <a:pos x="234" y="11"/>
              </a:cxn>
              <a:cxn ang="0">
                <a:pos x="244" y="14"/>
              </a:cxn>
              <a:cxn ang="0">
                <a:pos x="253" y="18"/>
              </a:cxn>
              <a:cxn ang="0">
                <a:pos x="250" y="22"/>
              </a:cxn>
              <a:cxn ang="0">
                <a:pos x="249" y="23"/>
              </a:cxn>
              <a:cxn ang="0">
                <a:pos x="254" y="28"/>
              </a:cxn>
              <a:cxn ang="0">
                <a:pos x="253" y="33"/>
              </a:cxn>
              <a:cxn ang="0">
                <a:pos x="249" y="34"/>
              </a:cxn>
              <a:cxn ang="0">
                <a:pos x="241" y="39"/>
              </a:cxn>
              <a:cxn ang="0">
                <a:pos x="244" y="42"/>
              </a:cxn>
              <a:cxn ang="0">
                <a:pos x="249" y="45"/>
              </a:cxn>
              <a:cxn ang="0">
                <a:pos x="256" y="48"/>
              </a:cxn>
              <a:cxn ang="0">
                <a:pos x="260" y="53"/>
              </a:cxn>
              <a:cxn ang="0">
                <a:pos x="268" y="55"/>
              </a:cxn>
              <a:cxn ang="0">
                <a:pos x="273" y="55"/>
              </a:cxn>
              <a:cxn ang="0">
                <a:pos x="281" y="56"/>
              </a:cxn>
              <a:cxn ang="0">
                <a:pos x="289" y="50"/>
              </a:cxn>
              <a:cxn ang="0">
                <a:pos x="291" y="44"/>
              </a:cxn>
              <a:cxn ang="0">
                <a:pos x="301" y="36"/>
              </a:cxn>
              <a:cxn ang="0">
                <a:pos x="306" y="40"/>
              </a:cxn>
              <a:cxn ang="0">
                <a:pos x="318" y="45"/>
              </a:cxn>
              <a:cxn ang="0">
                <a:pos x="333" y="47"/>
              </a:cxn>
              <a:cxn ang="0">
                <a:pos x="345" y="42"/>
              </a:cxn>
            </a:cxnLst>
            <a:rect l="0" t="0" r="r" b="b"/>
            <a:pathLst>
              <a:path w="347" h="58">
                <a:moveTo>
                  <a:pt x="0" y="4"/>
                </a:moveTo>
                <a:lnTo>
                  <a:pt x="2" y="4"/>
                </a:lnTo>
                <a:lnTo>
                  <a:pt x="3" y="3"/>
                </a:lnTo>
                <a:lnTo>
                  <a:pt x="0" y="0"/>
                </a:lnTo>
                <a:lnTo>
                  <a:pt x="4" y="1"/>
                </a:lnTo>
                <a:lnTo>
                  <a:pt x="7" y="3"/>
                </a:lnTo>
                <a:lnTo>
                  <a:pt x="7" y="4"/>
                </a:lnTo>
                <a:lnTo>
                  <a:pt x="8" y="4"/>
                </a:lnTo>
                <a:lnTo>
                  <a:pt x="10" y="6"/>
                </a:lnTo>
                <a:lnTo>
                  <a:pt x="10" y="8"/>
                </a:lnTo>
                <a:lnTo>
                  <a:pt x="7" y="11"/>
                </a:lnTo>
                <a:lnTo>
                  <a:pt x="8" y="11"/>
                </a:lnTo>
                <a:lnTo>
                  <a:pt x="7" y="12"/>
                </a:lnTo>
                <a:lnTo>
                  <a:pt x="12" y="12"/>
                </a:lnTo>
                <a:lnTo>
                  <a:pt x="11" y="12"/>
                </a:lnTo>
                <a:lnTo>
                  <a:pt x="7" y="12"/>
                </a:lnTo>
                <a:lnTo>
                  <a:pt x="6" y="14"/>
                </a:lnTo>
                <a:lnTo>
                  <a:pt x="11" y="14"/>
                </a:lnTo>
                <a:lnTo>
                  <a:pt x="16" y="12"/>
                </a:lnTo>
                <a:lnTo>
                  <a:pt x="18" y="12"/>
                </a:lnTo>
                <a:lnTo>
                  <a:pt x="16" y="11"/>
                </a:lnTo>
                <a:lnTo>
                  <a:pt x="12" y="9"/>
                </a:lnTo>
                <a:lnTo>
                  <a:pt x="22" y="8"/>
                </a:lnTo>
                <a:lnTo>
                  <a:pt x="28" y="8"/>
                </a:lnTo>
                <a:lnTo>
                  <a:pt x="32" y="8"/>
                </a:lnTo>
                <a:lnTo>
                  <a:pt x="39" y="6"/>
                </a:lnTo>
                <a:lnTo>
                  <a:pt x="44" y="6"/>
                </a:lnTo>
                <a:lnTo>
                  <a:pt x="50" y="6"/>
                </a:lnTo>
                <a:lnTo>
                  <a:pt x="55" y="6"/>
                </a:lnTo>
                <a:lnTo>
                  <a:pt x="59" y="6"/>
                </a:lnTo>
                <a:lnTo>
                  <a:pt x="61" y="8"/>
                </a:lnTo>
                <a:lnTo>
                  <a:pt x="64" y="8"/>
                </a:lnTo>
                <a:lnTo>
                  <a:pt x="68" y="8"/>
                </a:lnTo>
                <a:lnTo>
                  <a:pt x="75" y="8"/>
                </a:lnTo>
                <a:lnTo>
                  <a:pt x="80" y="8"/>
                </a:lnTo>
                <a:lnTo>
                  <a:pt x="83" y="8"/>
                </a:lnTo>
                <a:lnTo>
                  <a:pt x="91" y="8"/>
                </a:lnTo>
                <a:lnTo>
                  <a:pt x="92" y="9"/>
                </a:lnTo>
                <a:lnTo>
                  <a:pt x="93" y="9"/>
                </a:lnTo>
                <a:lnTo>
                  <a:pt x="92" y="9"/>
                </a:lnTo>
                <a:lnTo>
                  <a:pt x="91" y="9"/>
                </a:lnTo>
                <a:lnTo>
                  <a:pt x="88" y="9"/>
                </a:lnTo>
                <a:lnTo>
                  <a:pt x="87" y="11"/>
                </a:lnTo>
                <a:lnTo>
                  <a:pt x="85" y="11"/>
                </a:lnTo>
                <a:lnTo>
                  <a:pt x="87" y="12"/>
                </a:lnTo>
                <a:lnTo>
                  <a:pt x="85" y="12"/>
                </a:lnTo>
                <a:lnTo>
                  <a:pt x="85" y="14"/>
                </a:lnTo>
                <a:lnTo>
                  <a:pt x="87" y="14"/>
                </a:lnTo>
                <a:lnTo>
                  <a:pt x="88" y="14"/>
                </a:lnTo>
                <a:lnTo>
                  <a:pt x="96" y="15"/>
                </a:lnTo>
                <a:lnTo>
                  <a:pt x="100" y="17"/>
                </a:lnTo>
                <a:lnTo>
                  <a:pt x="108" y="18"/>
                </a:lnTo>
                <a:lnTo>
                  <a:pt x="109" y="18"/>
                </a:lnTo>
                <a:lnTo>
                  <a:pt x="109" y="17"/>
                </a:lnTo>
                <a:lnTo>
                  <a:pt x="112" y="17"/>
                </a:lnTo>
                <a:lnTo>
                  <a:pt x="120" y="18"/>
                </a:lnTo>
                <a:lnTo>
                  <a:pt x="125" y="18"/>
                </a:lnTo>
                <a:lnTo>
                  <a:pt x="127" y="18"/>
                </a:lnTo>
                <a:lnTo>
                  <a:pt x="133" y="18"/>
                </a:lnTo>
                <a:lnTo>
                  <a:pt x="136" y="18"/>
                </a:lnTo>
                <a:lnTo>
                  <a:pt x="139" y="18"/>
                </a:lnTo>
                <a:lnTo>
                  <a:pt x="143" y="18"/>
                </a:lnTo>
                <a:lnTo>
                  <a:pt x="144" y="18"/>
                </a:lnTo>
                <a:lnTo>
                  <a:pt x="145" y="18"/>
                </a:lnTo>
                <a:lnTo>
                  <a:pt x="147" y="18"/>
                </a:lnTo>
                <a:lnTo>
                  <a:pt x="151" y="17"/>
                </a:lnTo>
                <a:lnTo>
                  <a:pt x="159" y="17"/>
                </a:lnTo>
                <a:lnTo>
                  <a:pt x="161" y="15"/>
                </a:lnTo>
                <a:lnTo>
                  <a:pt x="159" y="12"/>
                </a:lnTo>
                <a:lnTo>
                  <a:pt x="157" y="11"/>
                </a:lnTo>
                <a:lnTo>
                  <a:pt x="159" y="9"/>
                </a:lnTo>
                <a:lnTo>
                  <a:pt x="157" y="9"/>
                </a:lnTo>
                <a:lnTo>
                  <a:pt x="160" y="6"/>
                </a:lnTo>
                <a:lnTo>
                  <a:pt x="160" y="4"/>
                </a:lnTo>
                <a:lnTo>
                  <a:pt x="160" y="3"/>
                </a:lnTo>
                <a:lnTo>
                  <a:pt x="163" y="4"/>
                </a:lnTo>
                <a:lnTo>
                  <a:pt x="166" y="6"/>
                </a:lnTo>
                <a:lnTo>
                  <a:pt x="168" y="4"/>
                </a:lnTo>
                <a:lnTo>
                  <a:pt x="168" y="3"/>
                </a:lnTo>
                <a:lnTo>
                  <a:pt x="169" y="3"/>
                </a:lnTo>
                <a:lnTo>
                  <a:pt x="173" y="3"/>
                </a:lnTo>
                <a:lnTo>
                  <a:pt x="178" y="4"/>
                </a:lnTo>
                <a:lnTo>
                  <a:pt x="180" y="4"/>
                </a:lnTo>
                <a:lnTo>
                  <a:pt x="182" y="4"/>
                </a:lnTo>
                <a:lnTo>
                  <a:pt x="185" y="6"/>
                </a:lnTo>
                <a:lnTo>
                  <a:pt x="186" y="4"/>
                </a:lnTo>
                <a:lnTo>
                  <a:pt x="188" y="6"/>
                </a:lnTo>
                <a:lnTo>
                  <a:pt x="190" y="8"/>
                </a:lnTo>
                <a:lnTo>
                  <a:pt x="192" y="6"/>
                </a:lnTo>
                <a:lnTo>
                  <a:pt x="193" y="8"/>
                </a:lnTo>
                <a:lnTo>
                  <a:pt x="194" y="8"/>
                </a:lnTo>
                <a:lnTo>
                  <a:pt x="197" y="8"/>
                </a:lnTo>
                <a:lnTo>
                  <a:pt x="198" y="8"/>
                </a:lnTo>
                <a:lnTo>
                  <a:pt x="201" y="8"/>
                </a:lnTo>
                <a:lnTo>
                  <a:pt x="202" y="8"/>
                </a:lnTo>
                <a:lnTo>
                  <a:pt x="208" y="9"/>
                </a:lnTo>
                <a:lnTo>
                  <a:pt x="208" y="11"/>
                </a:lnTo>
                <a:lnTo>
                  <a:pt x="209" y="11"/>
                </a:lnTo>
                <a:lnTo>
                  <a:pt x="212" y="9"/>
                </a:lnTo>
                <a:lnTo>
                  <a:pt x="214" y="9"/>
                </a:lnTo>
                <a:lnTo>
                  <a:pt x="216" y="8"/>
                </a:lnTo>
                <a:lnTo>
                  <a:pt x="220" y="9"/>
                </a:lnTo>
                <a:lnTo>
                  <a:pt x="225" y="9"/>
                </a:lnTo>
                <a:lnTo>
                  <a:pt x="228" y="9"/>
                </a:lnTo>
                <a:lnTo>
                  <a:pt x="232" y="9"/>
                </a:lnTo>
                <a:lnTo>
                  <a:pt x="234" y="11"/>
                </a:lnTo>
                <a:lnTo>
                  <a:pt x="233" y="11"/>
                </a:lnTo>
                <a:lnTo>
                  <a:pt x="234" y="11"/>
                </a:lnTo>
                <a:lnTo>
                  <a:pt x="237" y="11"/>
                </a:lnTo>
                <a:lnTo>
                  <a:pt x="238" y="12"/>
                </a:lnTo>
                <a:lnTo>
                  <a:pt x="237" y="12"/>
                </a:lnTo>
                <a:lnTo>
                  <a:pt x="244" y="14"/>
                </a:lnTo>
                <a:lnTo>
                  <a:pt x="246" y="15"/>
                </a:lnTo>
                <a:lnTo>
                  <a:pt x="248" y="15"/>
                </a:lnTo>
                <a:lnTo>
                  <a:pt x="252" y="17"/>
                </a:lnTo>
                <a:lnTo>
                  <a:pt x="253" y="18"/>
                </a:lnTo>
                <a:lnTo>
                  <a:pt x="252" y="18"/>
                </a:lnTo>
                <a:lnTo>
                  <a:pt x="252" y="20"/>
                </a:lnTo>
                <a:lnTo>
                  <a:pt x="250" y="20"/>
                </a:lnTo>
                <a:lnTo>
                  <a:pt x="250" y="22"/>
                </a:lnTo>
                <a:lnTo>
                  <a:pt x="252" y="22"/>
                </a:lnTo>
                <a:lnTo>
                  <a:pt x="250" y="22"/>
                </a:lnTo>
                <a:lnTo>
                  <a:pt x="250" y="23"/>
                </a:lnTo>
                <a:lnTo>
                  <a:pt x="249" y="23"/>
                </a:lnTo>
                <a:lnTo>
                  <a:pt x="249" y="25"/>
                </a:lnTo>
                <a:lnTo>
                  <a:pt x="252" y="26"/>
                </a:lnTo>
                <a:lnTo>
                  <a:pt x="249" y="26"/>
                </a:lnTo>
                <a:lnTo>
                  <a:pt x="254" y="28"/>
                </a:lnTo>
                <a:lnTo>
                  <a:pt x="252" y="31"/>
                </a:lnTo>
                <a:lnTo>
                  <a:pt x="253" y="31"/>
                </a:lnTo>
                <a:lnTo>
                  <a:pt x="252" y="33"/>
                </a:lnTo>
                <a:lnTo>
                  <a:pt x="253" y="33"/>
                </a:lnTo>
                <a:lnTo>
                  <a:pt x="252" y="33"/>
                </a:lnTo>
                <a:lnTo>
                  <a:pt x="249" y="34"/>
                </a:lnTo>
                <a:lnTo>
                  <a:pt x="248" y="34"/>
                </a:lnTo>
                <a:lnTo>
                  <a:pt x="249" y="34"/>
                </a:lnTo>
                <a:lnTo>
                  <a:pt x="248" y="34"/>
                </a:lnTo>
                <a:lnTo>
                  <a:pt x="246" y="34"/>
                </a:lnTo>
                <a:lnTo>
                  <a:pt x="241" y="37"/>
                </a:lnTo>
                <a:lnTo>
                  <a:pt x="241" y="39"/>
                </a:lnTo>
                <a:lnTo>
                  <a:pt x="242" y="40"/>
                </a:lnTo>
                <a:lnTo>
                  <a:pt x="244" y="40"/>
                </a:lnTo>
                <a:lnTo>
                  <a:pt x="242" y="42"/>
                </a:lnTo>
                <a:lnTo>
                  <a:pt x="244" y="42"/>
                </a:lnTo>
                <a:lnTo>
                  <a:pt x="246" y="42"/>
                </a:lnTo>
                <a:lnTo>
                  <a:pt x="248" y="42"/>
                </a:lnTo>
                <a:lnTo>
                  <a:pt x="249" y="44"/>
                </a:lnTo>
                <a:lnTo>
                  <a:pt x="249" y="45"/>
                </a:lnTo>
                <a:lnTo>
                  <a:pt x="250" y="45"/>
                </a:lnTo>
                <a:lnTo>
                  <a:pt x="250" y="47"/>
                </a:lnTo>
                <a:lnTo>
                  <a:pt x="253" y="48"/>
                </a:lnTo>
                <a:lnTo>
                  <a:pt x="256" y="48"/>
                </a:lnTo>
                <a:lnTo>
                  <a:pt x="257" y="50"/>
                </a:lnTo>
                <a:lnTo>
                  <a:pt x="257" y="51"/>
                </a:lnTo>
                <a:lnTo>
                  <a:pt x="258" y="51"/>
                </a:lnTo>
                <a:lnTo>
                  <a:pt x="260" y="53"/>
                </a:lnTo>
                <a:lnTo>
                  <a:pt x="261" y="51"/>
                </a:lnTo>
                <a:lnTo>
                  <a:pt x="264" y="53"/>
                </a:lnTo>
                <a:lnTo>
                  <a:pt x="265" y="55"/>
                </a:lnTo>
                <a:lnTo>
                  <a:pt x="268" y="55"/>
                </a:lnTo>
                <a:lnTo>
                  <a:pt x="269" y="55"/>
                </a:lnTo>
                <a:lnTo>
                  <a:pt x="270" y="56"/>
                </a:lnTo>
                <a:lnTo>
                  <a:pt x="273" y="56"/>
                </a:lnTo>
                <a:lnTo>
                  <a:pt x="273" y="55"/>
                </a:lnTo>
                <a:lnTo>
                  <a:pt x="274" y="55"/>
                </a:lnTo>
                <a:lnTo>
                  <a:pt x="277" y="58"/>
                </a:lnTo>
                <a:lnTo>
                  <a:pt x="281" y="58"/>
                </a:lnTo>
                <a:lnTo>
                  <a:pt x="281" y="56"/>
                </a:lnTo>
                <a:lnTo>
                  <a:pt x="283" y="56"/>
                </a:lnTo>
                <a:lnTo>
                  <a:pt x="285" y="53"/>
                </a:lnTo>
                <a:lnTo>
                  <a:pt x="286" y="53"/>
                </a:lnTo>
                <a:lnTo>
                  <a:pt x="289" y="50"/>
                </a:lnTo>
                <a:lnTo>
                  <a:pt x="290" y="50"/>
                </a:lnTo>
                <a:lnTo>
                  <a:pt x="290" y="47"/>
                </a:lnTo>
                <a:lnTo>
                  <a:pt x="291" y="45"/>
                </a:lnTo>
                <a:lnTo>
                  <a:pt x="291" y="44"/>
                </a:lnTo>
                <a:lnTo>
                  <a:pt x="294" y="42"/>
                </a:lnTo>
                <a:lnTo>
                  <a:pt x="298" y="37"/>
                </a:lnTo>
                <a:lnTo>
                  <a:pt x="299" y="36"/>
                </a:lnTo>
                <a:lnTo>
                  <a:pt x="301" y="36"/>
                </a:lnTo>
                <a:lnTo>
                  <a:pt x="302" y="36"/>
                </a:lnTo>
                <a:lnTo>
                  <a:pt x="302" y="37"/>
                </a:lnTo>
                <a:lnTo>
                  <a:pt x="303" y="39"/>
                </a:lnTo>
                <a:lnTo>
                  <a:pt x="306" y="40"/>
                </a:lnTo>
                <a:lnTo>
                  <a:pt x="309" y="44"/>
                </a:lnTo>
                <a:lnTo>
                  <a:pt x="311" y="44"/>
                </a:lnTo>
                <a:lnTo>
                  <a:pt x="315" y="45"/>
                </a:lnTo>
                <a:lnTo>
                  <a:pt x="318" y="45"/>
                </a:lnTo>
                <a:lnTo>
                  <a:pt x="321" y="45"/>
                </a:lnTo>
                <a:lnTo>
                  <a:pt x="329" y="45"/>
                </a:lnTo>
                <a:lnTo>
                  <a:pt x="330" y="45"/>
                </a:lnTo>
                <a:lnTo>
                  <a:pt x="333" y="47"/>
                </a:lnTo>
                <a:lnTo>
                  <a:pt x="333" y="45"/>
                </a:lnTo>
                <a:lnTo>
                  <a:pt x="333" y="44"/>
                </a:lnTo>
                <a:lnTo>
                  <a:pt x="335" y="42"/>
                </a:lnTo>
                <a:lnTo>
                  <a:pt x="345" y="42"/>
                </a:lnTo>
                <a:lnTo>
                  <a:pt x="347" y="42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34" name="Freeform 1058"/>
          <p:cNvSpPr>
            <a:spLocks/>
          </p:cNvSpPr>
          <p:nvPr/>
        </p:nvSpPr>
        <p:spPr bwMode="auto">
          <a:xfrm>
            <a:off x="9577901" y="1773574"/>
            <a:ext cx="1013384" cy="143890"/>
          </a:xfrm>
          <a:custGeom>
            <a:avLst/>
            <a:gdLst/>
            <a:ahLst/>
            <a:cxnLst>
              <a:cxn ang="0">
                <a:pos x="8" y="24"/>
              </a:cxn>
              <a:cxn ang="0">
                <a:pos x="24" y="27"/>
              </a:cxn>
              <a:cxn ang="0">
                <a:pos x="31" y="30"/>
              </a:cxn>
              <a:cxn ang="0">
                <a:pos x="39" y="28"/>
              </a:cxn>
              <a:cxn ang="0">
                <a:pos x="49" y="25"/>
              </a:cxn>
              <a:cxn ang="0">
                <a:pos x="63" y="25"/>
              </a:cxn>
              <a:cxn ang="0">
                <a:pos x="60" y="20"/>
              </a:cxn>
              <a:cxn ang="0">
                <a:pos x="60" y="14"/>
              </a:cxn>
              <a:cxn ang="0">
                <a:pos x="71" y="11"/>
              </a:cxn>
              <a:cxn ang="0">
                <a:pos x="79" y="5"/>
              </a:cxn>
              <a:cxn ang="0">
                <a:pos x="79" y="0"/>
              </a:cxn>
              <a:cxn ang="0">
                <a:pos x="87" y="2"/>
              </a:cxn>
              <a:cxn ang="0">
                <a:pos x="120" y="3"/>
              </a:cxn>
              <a:cxn ang="0">
                <a:pos x="151" y="5"/>
              </a:cxn>
              <a:cxn ang="0">
                <a:pos x="172" y="9"/>
              </a:cxn>
              <a:cxn ang="0">
                <a:pos x="186" y="9"/>
              </a:cxn>
              <a:cxn ang="0">
                <a:pos x="202" y="11"/>
              </a:cxn>
              <a:cxn ang="0">
                <a:pos x="214" y="17"/>
              </a:cxn>
              <a:cxn ang="0">
                <a:pos x="204" y="17"/>
              </a:cxn>
              <a:cxn ang="0">
                <a:pos x="206" y="22"/>
              </a:cxn>
              <a:cxn ang="0">
                <a:pos x="218" y="22"/>
              </a:cxn>
              <a:cxn ang="0">
                <a:pos x="225" y="27"/>
              </a:cxn>
              <a:cxn ang="0">
                <a:pos x="240" y="27"/>
              </a:cxn>
              <a:cxn ang="0">
                <a:pos x="241" y="33"/>
              </a:cxn>
              <a:cxn ang="0">
                <a:pos x="253" y="36"/>
              </a:cxn>
              <a:cxn ang="0">
                <a:pos x="268" y="35"/>
              </a:cxn>
              <a:cxn ang="0">
                <a:pos x="281" y="35"/>
              </a:cxn>
              <a:cxn ang="0">
                <a:pos x="295" y="35"/>
              </a:cxn>
              <a:cxn ang="0">
                <a:pos x="309" y="33"/>
              </a:cxn>
              <a:cxn ang="0">
                <a:pos x="333" y="33"/>
              </a:cxn>
              <a:cxn ang="0">
                <a:pos x="351" y="36"/>
              </a:cxn>
              <a:cxn ang="0">
                <a:pos x="362" y="41"/>
              </a:cxn>
              <a:cxn ang="0">
                <a:pos x="359" y="53"/>
              </a:cxn>
              <a:cxn ang="0">
                <a:pos x="369" y="55"/>
              </a:cxn>
              <a:cxn ang="0">
                <a:pos x="379" y="58"/>
              </a:cxn>
              <a:cxn ang="0">
                <a:pos x="384" y="61"/>
              </a:cxn>
              <a:cxn ang="0">
                <a:pos x="395" y="60"/>
              </a:cxn>
              <a:cxn ang="0">
                <a:pos x="400" y="57"/>
              </a:cxn>
              <a:cxn ang="0">
                <a:pos x="419" y="57"/>
              </a:cxn>
              <a:cxn ang="0">
                <a:pos x="440" y="58"/>
              </a:cxn>
              <a:cxn ang="0">
                <a:pos x="459" y="60"/>
              </a:cxn>
              <a:cxn ang="0">
                <a:pos x="478" y="55"/>
              </a:cxn>
              <a:cxn ang="0">
                <a:pos x="486" y="57"/>
              </a:cxn>
              <a:cxn ang="0">
                <a:pos x="488" y="60"/>
              </a:cxn>
              <a:cxn ang="0">
                <a:pos x="497" y="66"/>
              </a:cxn>
              <a:cxn ang="0">
                <a:pos x="505" y="69"/>
              </a:cxn>
              <a:cxn ang="0">
                <a:pos x="521" y="71"/>
              </a:cxn>
              <a:cxn ang="0">
                <a:pos x="527" y="63"/>
              </a:cxn>
              <a:cxn ang="0">
                <a:pos x="523" y="55"/>
              </a:cxn>
            </a:cxnLst>
            <a:rect l="0" t="0" r="r" b="b"/>
            <a:pathLst>
              <a:path w="531" h="72">
                <a:moveTo>
                  <a:pt x="0" y="22"/>
                </a:moveTo>
                <a:lnTo>
                  <a:pt x="3" y="22"/>
                </a:lnTo>
                <a:lnTo>
                  <a:pt x="4" y="24"/>
                </a:lnTo>
                <a:lnTo>
                  <a:pt x="8" y="24"/>
                </a:lnTo>
                <a:lnTo>
                  <a:pt x="12" y="24"/>
                </a:lnTo>
                <a:lnTo>
                  <a:pt x="20" y="25"/>
                </a:lnTo>
                <a:lnTo>
                  <a:pt x="22" y="25"/>
                </a:lnTo>
                <a:lnTo>
                  <a:pt x="24" y="27"/>
                </a:lnTo>
                <a:lnTo>
                  <a:pt x="26" y="28"/>
                </a:lnTo>
                <a:lnTo>
                  <a:pt x="28" y="28"/>
                </a:lnTo>
                <a:lnTo>
                  <a:pt x="30" y="30"/>
                </a:lnTo>
                <a:lnTo>
                  <a:pt x="31" y="30"/>
                </a:lnTo>
                <a:lnTo>
                  <a:pt x="34" y="30"/>
                </a:lnTo>
                <a:lnTo>
                  <a:pt x="35" y="30"/>
                </a:lnTo>
                <a:lnTo>
                  <a:pt x="38" y="30"/>
                </a:lnTo>
                <a:lnTo>
                  <a:pt x="39" y="28"/>
                </a:lnTo>
                <a:lnTo>
                  <a:pt x="42" y="28"/>
                </a:lnTo>
                <a:lnTo>
                  <a:pt x="43" y="27"/>
                </a:lnTo>
                <a:lnTo>
                  <a:pt x="48" y="25"/>
                </a:lnTo>
                <a:lnTo>
                  <a:pt x="49" y="25"/>
                </a:lnTo>
                <a:lnTo>
                  <a:pt x="53" y="25"/>
                </a:lnTo>
                <a:lnTo>
                  <a:pt x="55" y="24"/>
                </a:lnTo>
                <a:lnTo>
                  <a:pt x="61" y="25"/>
                </a:lnTo>
                <a:lnTo>
                  <a:pt x="63" y="25"/>
                </a:lnTo>
                <a:lnTo>
                  <a:pt x="64" y="24"/>
                </a:lnTo>
                <a:lnTo>
                  <a:pt x="63" y="22"/>
                </a:lnTo>
                <a:lnTo>
                  <a:pt x="61" y="20"/>
                </a:lnTo>
                <a:lnTo>
                  <a:pt x="60" y="20"/>
                </a:lnTo>
                <a:lnTo>
                  <a:pt x="59" y="17"/>
                </a:lnTo>
                <a:lnTo>
                  <a:pt x="61" y="17"/>
                </a:lnTo>
                <a:lnTo>
                  <a:pt x="60" y="16"/>
                </a:lnTo>
                <a:lnTo>
                  <a:pt x="60" y="14"/>
                </a:lnTo>
                <a:lnTo>
                  <a:pt x="63" y="14"/>
                </a:lnTo>
                <a:lnTo>
                  <a:pt x="65" y="13"/>
                </a:lnTo>
                <a:lnTo>
                  <a:pt x="69" y="13"/>
                </a:lnTo>
                <a:lnTo>
                  <a:pt x="71" y="11"/>
                </a:lnTo>
                <a:lnTo>
                  <a:pt x="73" y="9"/>
                </a:lnTo>
                <a:lnTo>
                  <a:pt x="75" y="8"/>
                </a:lnTo>
                <a:lnTo>
                  <a:pt x="76" y="6"/>
                </a:lnTo>
                <a:lnTo>
                  <a:pt x="79" y="5"/>
                </a:lnTo>
                <a:lnTo>
                  <a:pt x="81" y="5"/>
                </a:lnTo>
                <a:lnTo>
                  <a:pt x="79" y="3"/>
                </a:lnTo>
                <a:lnTo>
                  <a:pt x="76" y="2"/>
                </a:lnTo>
                <a:lnTo>
                  <a:pt x="79" y="0"/>
                </a:lnTo>
                <a:lnTo>
                  <a:pt x="80" y="0"/>
                </a:lnTo>
                <a:lnTo>
                  <a:pt x="83" y="0"/>
                </a:lnTo>
                <a:lnTo>
                  <a:pt x="85" y="2"/>
                </a:lnTo>
                <a:lnTo>
                  <a:pt x="87" y="2"/>
                </a:lnTo>
                <a:lnTo>
                  <a:pt x="89" y="2"/>
                </a:lnTo>
                <a:lnTo>
                  <a:pt x="104" y="3"/>
                </a:lnTo>
                <a:lnTo>
                  <a:pt x="117" y="3"/>
                </a:lnTo>
                <a:lnTo>
                  <a:pt x="120" y="3"/>
                </a:lnTo>
                <a:lnTo>
                  <a:pt x="132" y="3"/>
                </a:lnTo>
                <a:lnTo>
                  <a:pt x="139" y="5"/>
                </a:lnTo>
                <a:lnTo>
                  <a:pt x="149" y="5"/>
                </a:lnTo>
                <a:lnTo>
                  <a:pt x="151" y="5"/>
                </a:lnTo>
                <a:lnTo>
                  <a:pt x="157" y="8"/>
                </a:lnTo>
                <a:lnTo>
                  <a:pt x="161" y="8"/>
                </a:lnTo>
                <a:lnTo>
                  <a:pt x="165" y="8"/>
                </a:lnTo>
                <a:lnTo>
                  <a:pt x="172" y="9"/>
                </a:lnTo>
                <a:lnTo>
                  <a:pt x="174" y="8"/>
                </a:lnTo>
                <a:lnTo>
                  <a:pt x="182" y="8"/>
                </a:lnTo>
                <a:lnTo>
                  <a:pt x="185" y="9"/>
                </a:lnTo>
                <a:lnTo>
                  <a:pt x="186" y="9"/>
                </a:lnTo>
                <a:lnTo>
                  <a:pt x="192" y="9"/>
                </a:lnTo>
                <a:lnTo>
                  <a:pt x="197" y="9"/>
                </a:lnTo>
                <a:lnTo>
                  <a:pt x="198" y="9"/>
                </a:lnTo>
                <a:lnTo>
                  <a:pt x="202" y="11"/>
                </a:lnTo>
                <a:lnTo>
                  <a:pt x="206" y="11"/>
                </a:lnTo>
                <a:lnTo>
                  <a:pt x="210" y="13"/>
                </a:lnTo>
                <a:lnTo>
                  <a:pt x="214" y="16"/>
                </a:lnTo>
                <a:lnTo>
                  <a:pt x="214" y="17"/>
                </a:lnTo>
                <a:lnTo>
                  <a:pt x="212" y="19"/>
                </a:lnTo>
                <a:lnTo>
                  <a:pt x="209" y="17"/>
                </a:lnTo>
                <a:lnTo>
                  <a:pt x="206" y="17"/>
                </a:lnTo>
                <a:lnTo>
                  <a:pt x="204" y="17"/>
                </a:lnTo>
                <a:lnTo>
                  <a:pt x="200" y="20"/>
                </a:lnTo>
                <a:lnTo>
                  <a:pt x="201" y="20"/>
                </a:lnTo>
                <a:lnTo>
                  <a:pt x="205" y="20"/>
                </a:lnTo>
                <a:lnTo>
                  <a:pt x="206" y="22"/>
                </a:lnTo>
                <a:lnTo>
                  <a:pt x="209" y="22"/>
                </a:lnTo>
                <a:lnTo>
                  <a:pt x="210" y="20"/>
                </a:lnTo>
                <a:lnTo>
                  <a:pt x="216" y="22"/>
                </a:lnTo>
                <a:lnTo>
                  <a:pt x="218" y="22"/>
                </a:lnTo>
                <a:lnTo>
                  <a:pt x="220" y="24"/>
                </a:lnTo>
                <a:lnTo>
                  <a:pt x="224" y="24"/>
                </a:lnTo>
                <a:lnTo>
                  <a:pt x="224" y="25"/>
                </a:lnTo>
                <a:lnTo>
                  <a:pt x="225" y="27"/>
                </a:lnTo>
                <a:lnTo>
                  <a:pt x="228" y="27"/>
                </a:lnTo>
                <a:lnTo>
                  <a:pt x="233" y="25"/>
                </a:lnTo>
                <a:lnTo>
                  <a:pt x="238" y="25"/>
                </a:lnTo>
                <a:lnTo>
                  <a:pt x="240" y="27"/>
                </a:lnTo>
                <a:lnTo>
                  <a:pt x="250" y="30"/>
                </a:lnTo>
                <a:lnTo>
                  <a:pt x="249" y="31"/>
                </a:lnTo>
                <a:lnTo>
                  <a:pt x="248" y="33"/>
                </a:lnTo>
                <a:lnTo>
                  <a:pt x="241" y="33"/>
                </a:lnTo>
                <a:lnTo>
                  <a:pt x="242" y="35"/>
                </a:lnTo>
                <a:lnTo>
                  <a:pt x="246" y="35"/>
                </a:lnTo>
                <a:lnTo>
                  <a:pt x="252" y="36"/>
                </a:lnTo>
                <a:lnTo>
                  <a:pt x="253" y="36"/>
                </a:lnTo>
                <a:lnTo>
                  <a:pt x="256" y="36"/>
                </a:lnTo>
                <a:lnTo>
                  <a:pt x="258" y="36"/>
                </a:lnTo>
                <a:lnTo>
                  <a:pt x="265" y="35"/>
                </a:lnTo>
                <a:lnTo>
                  <a:pt x="268" y="35"/>
                </a:lnTo>
                <a:lnTo>
                  <a:pt x="269" y="35"/>
                </a:lnTo>
                <a:lnTo>
                  <a:pt x="275" y="35"/>
                </a:lnTo>
                <a:lnTo>
                  <a:pt x="278" y="35"/>
                </a:lnTo>
                <a:lnTo>
                  <a:pt x="281" y="35"/>
                </a:lnTo>
                <a:lnTo>
                  <a:pt x="283" y="33"/>
                </a:lnTo>
                <a:lnTo>
                  <a:pt x="285" y="33"/>
                </a:lnTo>
                <a:lnTo>
                  <a:pt x="293" y="35"/>
                </a:lnTo>
                <a:lnTo>
                  <a:pt x="295" y="35"/>
                </a:lnTo>
                <a:lnTo>
                  <a:pt x="298" y="33"/>
                </a:lnTo>
                <a:lnTo>
                  <a:pt x="303" y="33"/>
                </a:lnTo>
                <a:lnTo>
                  <a:pt x="305" y="33"/>
                </a:lnTo>
                <a:lnTo>
                  <a:pt x="309" y="33"/>
                </a:lnTo>
                <a:lnTo>
                  <a:pt x="315" y="33"/>
                </a:lnTo>
                <a:lnTo>
                  <a:pt x="322" y="33"/>
                </a:lnTo>
                <a:lnTo>
                  <a:pt x="329" y="33"/>
                </a:lnTo>
                <a:lnTo>
                  <a:pt x="333" y="33"/>
                </a:lnTo>
                <a:lnTo>
                  <a:pt x="343" y="33"/>
                </a:lnTo>
                <a:lnTo>
                  <a:pt x="347" y="35"/>
                </a:lnTo>
                <a:lnTo>
                  <a:pt x="350" y="35"/>
                </a:lnTo>
                <a:lnTo>
                  <a:pt x="351" y="36"/>
                </a:lnTo>
                <a:lnTo>
                  <a:pt x="355" y="38"/>
                </a:lnTo>
                <a:lnTo>
                  <a:pt x="357" y="38"/>
                </a:lnTo>
                <a:lnTo>
                  <a:pt x="359" y="39"/>
                </a:lnTo>
                <a:lnTo>
                  <a:pt x="362" y="41"/>
                </a:lnTo>
                <a:lnTo>
                  <a:pt x="365" y="44"/>
                </a:lnTo>
                <a:lnTo>
                  <a:pt x="365" y="46"/>
                </a:lnTo>
                <a:lnTo>
                  <a:pt x="365" y="47"/>
                </a:lnTo>
                <a:lnTo>
                  <a:pt x="359" y="53"/>
                </a:lnTo>
                <a:lnTo>
                  <a:pt x="361" y="55"/>
                </a:lnTo>
                <a:lnTo>
                  <a:pt x="365" y="55"/>
                </a:lnTo>
                <a:lnTo>
                  <a:pt x="366" y="55"/>
                </a:lnTo>
                <a:lnTo>
                  <a:pt x="369" y="55"/>
                </a:lnTo>
                <a:lnTo>
                  <a:pt x="371" y="55"/>
                </a:lnTo>
                <a:lnTo>
                  <a:pt x="375" y="57"/>
                </a:lnTo>
                <a:lnTo>
                  <a:pt x="378" y="57"/>
                </a:lnTo>
                <a:lnTo>
                  <a:pt x="379" y="58"/>
                </a:lnTo>
                <a:lnTo>
                  <a:pt x="381" y="60"/>
                </a:lnTo>
                <a:lnTo>
                  <a:pt x="383" y="58"/>
                </a:lnTo>
                <a:lnTo>
                  <a:pt x="384" y="60"/>
                </a:lnTo>
                <a:lnTo>
                  <a:pt x="384" y="61"/>
                </a:lnTo>
                <a:lnTo>
                  <a:pt x="386" y="61"/>
                </a:lnTo>
                <a:lnTo>
                  <a:pt x="388" y="61"/>
                </a:lnTo>
                <a:lnTo>
                  <a:pt x="390" y="60"/>
                </a:lnTo>
                <a:lnTo>
                  <a:pt x="395" y="60"/>
                </a:lnTo>
                <a:lnTo>
                  <a:pt x="395" y="58"/>
                </a:lnTo>
                <a:lnTo>
                  <a:pt x="398" y="58"/>
                </a:lnTo>
                <a:lnTo>
                  <a:pt x="399" y="57"/>
                </a:lnTo>
                <a:lnTo>
                  <a:pt x="400" y="57"/>
                </a:lnTo>
                <a:lnTo>
                  <a:pt x="402" y="57"/>
                </a:lnTo>
                <a:lnTo>
                  <a:pt x="406" y="57"/>
                </a:lnTo>
                <a:lnTo>
                  <a:pt x="411" y="55"/>
                </a:lnTo>
                <a:lnTo>
                  <a:pt x="419" y="57"/>
                </a:lnTo>
                <a:lnTo>
                  <a:pt x="426" y="55"/>
                </a:lnTo>
                <a:lnTo>
                  <a:pt x="430" y="58"/>
                </a:lnTo>
                <a:lnTo>
                  <a:pt x="434" y="58"/>
                </a:lnTo>
                <a:lnTo>
                  <a:pt x="440" y="58"/>
                </a:lnTo>
                <a:lnTo>
                  <a:pt x="442" y="58"/>
                </a:lnTo>
                <a:lnTo>
                  <a:pt x="444" y="58"/>
                </a:lnTo>
                <a:lnTo>
                  <a:pt x="454" y="58"/>
                </a:lnTo>
                <a:lnTo>
                  <a:pt x="459" y="60"/>
                </a:lnTo>
                <a:lnTo>
                  <a:pt x="466" y="60"/>
                </a:lnTo>
                <a:lnTo>
                  <a:pt x="467" y="60"/>
                </a:lnTo>
                <a:lnTo>
                  <a:pt x="470" y="60"/>
                </a:lnTo>
                <a:lnTo>
                  <a:pt x="478" y="55"/>
                </a:lnTo>
                <a:lnTo>
                  <a:pt x="479" y="55"/>
                </a:lnTo>
                <a:lnTo>
                  <a:pt x="482" y="55"/>
                </a:lnTo>
                <a:lnTo>
                  <a:pt x="486" y="55"/>
                </a:lnTo>
                <a:lnTo>
                  <a:pt x="486" y="57"/>
                </a:lnTo>
                <a:lnTo>
                  <a:pt x="483" y="57"/>
                </a:lnTo>
                <a:lnTo>
                  <a:pt x="483" y="58"/>
                </a:lnTo>
                <a:lnTo>
                  <a:pt x="488" y="58"/>
                </a:lnTo>
                <a:lnTo>
                  <a:pt x="488" y="60"/>
                </a:lnTo>
                <a:lnTo>
                  <a:pt x="488" y="63"/>
                </a:lnTo>
                <a:lnTo>
                  <a:pt x="488" y="64"/>
                </a:lnTo>
                <a:lnTo>
                  <a:pt x="491" y="66"/>
                </a:lnTo>
                <a:lnTo>
                  <a:pt x="497" y="66"/>
                </a:lnTo>
                <a:lnTo>
                  <a:pt x="500" y="66"/>
                </a:lnTo>
                <a:lnTo>
                  <a:pt x="500" y="68"/>
                </a:lnTo>
                <a:lnTo>
                  <a:pt x="504" y="68"/>
                </a:lnTo>
                <a:lnTo>
                  <a:pt x="505" y="69"/>
                </a:lnTo>
                <a:lnTo>
                  <a:pt x="508" y="72"/>
                </a:lnTo>
                <a:lnTo>
                  <a:pt x="509" y="72"/>
                </a:lnTo>
                <a:lnTo>
                  <a:pt x="516" y="72"/>
                </a:lnTo>
                <a:lnTo>
                  <a:pt x="521" y="71"/>
                </a:lnTo>
                <a:lnTo>
                  <a:pt x="531" y="68"/>
                </a:lnTo>
                <a:lnTo>
                  <a:pt x="528" y="64"/>
                </a:lnTo>
                <a:lnTo>
                  <a:pt x="528" y="63"/>
                </a:lnTo>
                <a:lnTo>
                  <a:pt x="527" y="63"/>
                </a:lnTo>
                <a:lnTo>
                  <a:pt x="524" y="58"/>
                </a:lnTo>
                <a:lnTo>
                  <a:pt x="516" y="58"/>
                </a:lnTo>
                <a:lnTo>
                  <a:pt x="517" y="57"/>
                </a:lnTo>
                <a:lnTo>
                  <a:pt x="523" y="55"/>
                </a:lnTo>
                <a:lnTo>
                  <a:pt x="523" y="53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35" name="Freeform 1059"/>
          <p:cNvSpPr>
            <a:spLocks/>
          </p:cNvSpPr>
          <p:nvPr/>
        </p:nvSpPr>
        <p:spPr bwMode="auto">
          <a:xfrm>
            <a:off x="10571796" y="1874512"/>
            <a:ext cx="276732" cy="173955"/>
          </a:xfrm>
          <a:custGeom>
            <a:avLst/>
            <a:gdLst/>
            <a:ahLst/>
            <a:cxnLst>
              <a:cxn ang="0">
                <a:pos x="2" y="3"/>
              </a:cxn>
              <a:cxn ang="0">
                <a:pos x="0" y="2"/>
              </a:cxn>
              <a:cxn ang="0">
                <a:pos x="0" y="0"/>
              </a:cxn>
              <a:cxn ang="0">
                <a:pos x="3" y="0"/>
              </a:cxn>
              <a:cxn ang="0">
                <a:pos x="11" y="0"/>
              </a:cxn>
              <a:cxn ang="0">
                <a:pos x="30" y="2"/>
              </a:cxn>
              <a:cxn ang="0">
                <a:pos x="31" y="2"/>
              </a:cxn>
              <a:cxn ang="0">
                <a:pos x="39" y="3"/>
              </a:cxn>
              <a:cxn ang="0">
                <a:pos x="43" y="3"/>
              </a:cxn>
              <a:cxn ang="0">
                <a:pos x="46" y="3"/>
              </a:cxn>
              <a:cxn ang="0">
                <a:pos x="52" y="3"/>
              </a:cxn>
              <a:cxn ang="0">
                <a:pos x="56" y="3"/>
              </a:cxn>
              <a:cxn ang="0">
                <a:pos x="60" y="3"/>
              </a:cxn>
              <a:cxn ang="0">
                <a:pos x="63" y="3"/>
              </a:cxn>
              <a:cxn ang="0">
                <a:pos x="67" y="3"/>
              </a:cxn>
              <a:cxn ang="0">
                <a:pos x="68" y="3"/>
              </a:cxn>
              <a:cxn ang="0">
                <a:pos x="83" y="3"/>
              </a:cxn>
              <a:cxn ang="0">
                <a:pos x="86" y="3"/>
              </a:cxn>
              <a:cxn ang="0">
                <a:pos x="93" y="7"/>
              </a:cxn>
              <a:cxn ang="0">
                <a:pos x="97" y="7"/>
              </a:cxn>
              <a:cxn ang="0">
                <a:pos x="103" y="8"/>
              </a:cxn>
              <a:cxn ang="0">
                <a:pos x="105" y="8"/>
              </a:cxn>
              <a:cxn ang="0">
                <a:pos x="109" y="10"/>
              </a:cxn>
              <a:cxn ang="0">
                <a:pos x="119" y="11"/>
              </a:cxn>
              <a:cxn ang="0">
                <a:pos x="120" y="11"/>
              </a:cxn>
              <a:cxn ang="0">
                <a:pos x="123" y="13"/>
              </a:cxn>
              <a:cxn ang="0">
                <a:pos x="125" y="13"/>
              </a:cxn>
              <a:cxn ang="0">
                <a:pos x="132" y="14"/>
              </a:cxn>
              <a:cxn ang="0">
                <a:pos x="144" y="21"/>
              </a:cxn>
              <a:cxn ang="0">
                <a:pos x="144" y="88"/>
              </a:cxn>
            </a:cxnLst>
            <a:rect l="0" t="0" r="r" b="b"/>
            <a:pathLst>
              <a:path w="144" h="88">
                <a:moveTo>
                  <a:pt x="2" y="3"/>
                </a:moveTo>
                <a:lnTo>
                  <a:pt x="0" y="2"/>
                </a:lnTo>
                <a:lnTo>
                  <a:pt x="0" y="0"/>
                </a:lnTo>
                <a:lnTo>
                  <a:pt x="3" y="0"/>
                </a:lnTo>
                <a:lnTo>
                  <a:pt x="11" y="0"/>
                </a:lnTo>
                <a:lnTo>
                  <a:pt x="30" y="2"/>
                </a:lnTo>
                <a:lnTo>
                  <a:pt x="31" y="2"/>
                </a:lnTo>
                <a:lnTo>
                  <a:pt x="39" y="3"/>
                </a:lnTo>
                <a:lnTo>
                  <a:pt x="43" y="3"/>
                </a:lnTo>
                <a:lnTo>
                  <a:pt x="46" y="3"/>
                </a:lnTo>
                <a:lnTo>
                  <a:pt x="52" y="3"/>
                </a:lnTo>
                <a:lnTo>
                  <a:pt x="56" y="3"/>
                </a:lnTo>
                <a:lnTo>
                  <a:pt x="60" y="3"/>
                </a:lnTo>
                <a:lnTo>
                  <a:pt x="63" y="3"/>
                </a:lnTo>
                <a:lnTo>
                  <a:pt x="67" y="3"/>
                </a:lnTo>
                <a:lnTo>
                  <a:pt x="68" y="3"/>
                </a:lnTo>
                <a:lnTo>
                  <a:pt x="83" y="3"/>
                </a:lnTo>
                <a:lnTo>
                  <a:pt x="86" y="3"/>
                </a:lnTo>
                <a:lnTo>
                  <a:pt x="93" y="7"/>
                </a:lnTo>
                <a:lnTo>
                  <a:pt x="97" y="7"/>
                </a:lnTo>
                <a:lnTo>
                  <a:pt x="103" y="8"/>
                </a:lnTo>
                <a:lnTo>
                  <a:pt x="105" y="8"/>
                </a:lnTo>
                <a:lnTo>
                  <a:pt x="109" y="10"/>
                </a:lnTo>
                <a:lnTo>
                  <a:pt x="119" y="11"/>
                </a:lnTo>
                <a:lnTo>
                  <a:pt x="120" y="11"/>
                </a:lnTo>
                <a:lnTo>
                  <a:pt x="123" y="13"/>
                </a:lnTo>
                <a:lnTo>
                  <a:pt x="125" y="13"/>
                </a:lnTo>
                <a:lnTo>
                  <a:pt x="132" y="14"/>
                </a:lnTo>
                <a:lnTo>
                  <a:pt x="144" y="21"/>
                </a:lnTo>
                <a:lnTo>
                  <a:pt x="144" y="88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36" name="Freeform 1060"/>
          <p:cNvSpPr>
            <a:spLocks/>
          </p:cNvSpPr>
          <p:nvPr/>
        </p:nvSpPr>
        <p:spPr bwMode="auto">
          <a:xfrm>
            <a:off x="7184757" y="2834491"/>
            <a:ext cx="403405" cy="266304"/>
          </a:xfrm>
          <a:custGeom>
            <a:avLst/>
            <a:gdLst/>
            <a:ahLst/>
            <a:cxnLst>
              <a:cxn ang="0">
                <a:pos x="67" y="22"/>
              </a:cxn>
              <a:cxn ang="0">
                <a:pos x="69" y="14"/>
              </a:cxn>
              <a:cxn ang="0">
                <a:pos x="78" y="11"/>
              </a:cxn>
              <a:cxn ang="0">
                <a:pos x="83" y="5"/>
              </a:cxn>
              <a:cxn ang="0">
                <a:pos x="87" y="5"/>
              </a:cxn>
              <a:cxn ang="0">
                <a:pos x="91" y="2"/>
              </a:cxn>
              <a:cxn ang="0">
                <a:pos x="102" y="8"/>
              </a:cxn>
              <a:cxn ang="0">
                <a:pos x="113" y="11"/>
              </a:cxn>
              <a:cxn ang="0">
                <a:pos x="115" y="17"/>
              </a:cxn>
              <a:cxn ang="0">
                <a:pos x="113" y="24"/>
              </a:cxn>
              <a:cxn ang="0">
                <a:pos x="126" y="28"/>
              </a:cxn>
              <a:cxn ang="0">
                <a:pos x="137" y="25"/>
              </a:cxn>
              <a:cxn ang="0">
                <a:pos x="143" y="33"/>
              </a:cxn>
              <a:cxn ang="0">
                <a:pos x="149" y="41"/>
              </a:cxn>
              <a:cxn ang="0">
                <a:pos x="153" y="52"/>
              </a:cxn>
              <a:cxn ang="0">
                <a:pos x="178" y="67"/>
              </a:cxn>
              <a:cxn ang="0">
                <a:pos x="195" y="80"/>
              </a:cxn>
              <a:cxn ang="0">
                <a:pos x="207" y="82"/>
              </a:cxn>
              <a:cxn ang="0">
                <a:pos x="212" y="88"/>
              </a:cxn>
              <a:cxn ang="0">
                <a:pos x="211" y="97"/>
              </a:cxn>
              <a:cxn ang="0">
                <a:pos x="199" y="94"/>
              </a:cxn>
              <a:cxn ang="0">
                <a:pos x="195" y="99"/>
              </a:cxn>
              <a:cxn ang="0">
                <a:pos x="186" y="100"/>
              </a:cxn>
              <a:cxn ang="0">
                <a:pos x="183" y="108"/>
              </a:cxn>
              <a:cxn ang="0">
                <a:pos x="180" y="115"/>
              </a:cxn>
              <a:cxn ang="0">
                <a:pos x="171" y="121"/>
              </a:cxn>
              <a:cxn ang="0">
                <a:pos x="161" y="124"/>
              </a:cxn>
              <a:cxn ang="0">
                <a:pos x="159" y="130"/>
              </a:cxn>
              <a:cxn ang="0">
                <a:pos x="150" y="135"/>
              </a:cxn>
              <a:cxn ang="0">
                <a:pos x="143" y="132"/>
              </a:cxn>
              <a:cxn ang="0">
                <a:pos x="133" y="129"/>
              </a:cxn>
              <a:cxn ang="0">
                <a:pos x="131" y="111"/>
              </a:cxn>
              <a:cxn ang="0">
                <a:pos x="113" y="102"/>
              </a:cxn>
              <a:cxn ang="0">
                <a:pos x="102" y="93"/>
              </a:cxn>
              <a:cxn ang="0">
                <a:pos x="89" y="91"/>
              </a:cxn>
              <a:cxn ang="0">
                <a:pos x="69" y="78"/>
              </a:cxn>
              <a:cxn ang="0">
                <a:pos x="57" y="83"/>
              </a:cxn>
              <a:cxn ang="0">
                <a:pos x="44" y="83"/>
              </a:cxn>
              <a:cxn ang="0">
                <a:pos x="21" y="94"/>
              </a:cxn>
              <a:cxn ang="0">
                <a:pos x="20" y="71"/>
              </a:cxn>
              <a:cxn ang="0">
                <a:pos x="14" y="61"/>
              </a:cxn>
              <a:cxn ang="0">
                <a:pos x="20" y="57"/>
              </a:cxn>
              <a:cxn ang="0">
                <a:pos x="16" y="50"/>
              </a:cxn>
              <a:cxn ang="0">
                <a:pos x="13" y="49"/>
              </a:cxn>
              <a:cxn ang="0">
                <a:pos x="2" y="44"/>
              </a:cxn>
              <a:cxn ang="0">
                <a:pos x="5" y="30"/>
              </a:cxn>
              <a:cxn ang="0">
                <a:pos x="20" y="38"/>
              </a:cxn>
              <a:cxn ang="0">
                <a:pos x="26" y="36"/>
              </a:cxn>
              <a:cxn ang="0">
                <a:pos x="22" y="22"/>
              </a:cxn>
              <a:cxn ang="0">
                <a:pos x="9" y="14"/>
              </a:cxn>
              <a:cxn ang="0">
                <a:pos x="4" y="22"/>
              </a:cxn>
              <a:cxn ang="0">
                <a:pos x="0" y="17"/>
              </a:cxn>
              <a:cxn ang="0">
                <a:pos x="22" y="6"/>
              </a:cxn>
              <a:cxn ang="0">
                <a:pos x="33" y="11"/>
              </a:cxn>
              <a:cxn ang="0">
                <a:pos x="38" y="19"/>
              </a:cxn>
              <a:cxn ang="0">
                <a:pos x="53" y="25"/>
              </a:cxn>
            </a:cxnLst>
            <a:rect l="0" t="0" r="r" b="b"/>
            <a:pathLst>
              <a:path w="212" h="135">
                <a:moveTo>
                  <a:pt x="53" y="25"/>
                </a:moveTo>
                <a:lnTo>
                  <a:pt x="67" y="27"/>
                </a:lnTo>
                <a:lnTo>
                  <a:pt x="69" y="27"/>
                </a:lnTo>
                <a:lnTo>
                  <a:pt x="67" y="22"/>
                </a:lnTo>
                <a:lnTo>
                  <a:pt x="67" y="20"/>
                </a:lnTo>
                <a:lnTo>
                  <a:pt x="66" y="17"/>
                </a:lnTo>
                <a:lnTo>
                  <a:pt x="67" y="16"/>
                </a:lnTo>
                <a:lnTo>
                  <a:pt x="69" y="14"/>
                </a:lnTo>
                <a:lnTo>
                  <a:pt x="70" y="13"/>
                </a:lnTo>
                <a:lnTo>
                  <a:pt x="71" y="11"/>
                </a:lnTo>
                <a:lnTo>
                  <a:pt x="74" y="11"/>
                </a:lnTo>
                <a:lnTo>
                  <a:pt x="78" y="11"/>
                </a:lnTo>
                <a:lnTo>
                  <a:pt x="81" y="9"/>
                </a:lnTo>
                <a:lnTo>
                  <a:pt x="82" y="8"/>
                </a:lnTo>
                <a:lnTo>
                  <a:pt x="82" y="6"/>
                </a:lnTo>
                <a:lnTo>
                  <a:pt x="83" y="5"/>
                </a:lnTo>
                <a:lnTo>
                  <a:pt x="87" y="8"/>
                </a:lnTo>
                <a:lnTo>
                  <a:pt x="89" y="8"/>
                </a:lnTo>
                <a:lnTo>
                  <a:pt x="89" y="6"/>
                </a:lnTo>
                <a:lnTo>
                  <a:pt x="87" y="5"/>
                </a:lnTo>
                <a:lnTo>
                  <a:pt x="85" y="3"/>
                </a:lnTo>
                <a:lnTo>
                  <a:pt x="87" y="2"/>
                </a:lnTo>
                <a:lnTo>
                  <a:pt x="90" y="2"/>
                </a:lnTo>
                <a:lnTo>
                  <a:pt x="91" y="2"/>
                </a:lnTo>
                <a:lnTo>
                  <a:pt x="91" y="0"/>
                </a:lnTo>
                <a:lnTo>
                  <a:pt x="97" y="5"/>
                </a:lnTo>
                <a:lnTo>
                  <a:pt x="101" y="6"/>
                </a:lnTo>
                <a:lnTo>
                  <a:pt x="102" y="8"/>
                </a:lnTo>
                <a:lnTo>
                  <a:pt x="105" y="9"/>
                </a:lnTo>
                <a:lnTo>
                  <a:pt x="107" y="8"/>
                </a:lnTo>
                <a:lnTo>
                  <a:pt x="111" y="9"/>
                </a:lnTo>
                <a:lnTo>
                  <a:pt x="113" y="11"/>
                </a:lnTo>
                <a:lnTo>
                  <a:pt x="113" y="13"/>
                </a:lnTo>
                <a:lnTo>
                  <a:pt x="113" y="14"/>
                </a:lnTo>
                <a:lnTo>
                  <a:pt x="114" y="16"/>
                </a:lnTo>
                <a:lnTo>
                  <a:pt x="115" y="17"/>
                </a:lnTo>
                <a:lnTo>
                  <a:pt x="114" y="17"/>
                </a:lnTo>
                <a:lnTo>
                  <a:pt x="114" y="20"/>
                </a:lnTo>
                <a:lnTo>
                  <a:pt x="114" y="22"/>
                </a:lnTo>
                <a:lnTo>
                  <a:pt x="113" y="24"/>
                </a:lnTo>
                <a:lnTo>
                  <a:pt x="114" y="25"/>
                </a:lnTo>
                <a:lnTo>
                  <a:pt x="118" y="27"/>
                </a:lnTo>
                <a:lnTo>
                  <a:pt x="123" y="28"/>
                </a:lnTo>
                <a:lnTo>
                  <a:pt x="126" y="28"/>
                </a:lnTo>
                <a:lnTo>
                  <a:pt x="133" y="28"/>
                </a:lnTo>
                <a:lnTo>
                  <a:pt x="134" y="28"/>
                </a:lnTo>
                <a:lnTo>
                  <a:pt x="134" y="27"/>
                </a:lnTo>
                <a:lnTo>
                  <a:pt x="137" y="25"/>
                </a:lnTo>
                <a:lnTo>
                  <a:pt x="138" y="27"/>
                </a:lnTo>
                <a:lnTo>
                  <a:pt x="142" y="30"/>
                </a:lnTo>
                <a:lnTo>
                  <a:pt x="143" y="30"/>
                </a:lnTo>
                <a:lnTo>
                  <a:pt x="143" y="33"/>
                </a:lnTo>
                <a:lnTo>
                  <a:pt x="143" y="36"/>
                </a:lnTo>
                <a:lnTo>
                  <a:pt x="145" y="38"/>
                </a:lnTo>
                <a:lnTo>
                  <a:pt x="147" y="39"/>
                </a:lnTo>
                <a:lnTo>
                  <a:pt x="149" y="41"/>
                </a:lnTo>
                <a:lnTo>
                  <a:pt x="150" y="44"/>
                </a:lnTo>
                <a:lnTo>
                  <a:pt x="150" y="47"/>
                </a:lnTo>
                <a:lnTo>
                  <a:pt x="151" y="50"/>
                </a:lnTo>
                <a:lnTo>
                  <a:pt x="153" y="52"/>
                </a:lnTo>
                <a:lnTo>
                  <a:pt x="166" y="60"/>
                </a:lnTo>
                <a:lnTo>
                  <a:pt x="171" y="66"/>
                </a:lnTo>
                <a:lnTo>
                  <a:pt x="174" y="67"/>
                </a:lnTo>
                <a:lnTo>
                  <a:pt x="178" y="67"/>
                </a:lnTo>
                <a:lnTo>
                  <a:pt x="182" y="69"/>
                </a:lnTo>
                <a:lnTo>
                  <a:pt x="187" y="74"/>
                </a:lnTo>
                <a:lnTo>
                  <a:pt x="194" y="78"/>
                </a:lnTo>
                <a:lnTo>
                  <a:pt x="195" y="80"/>
                </a:lnTo>
                <a:lnTo>
                  <a:pt x="198" y="80"/>
                </a:lnTo>
                <a:lnTo>
                  <a:pt x="199" y="80"/>
                </a:lnTo>
                <a:lnTo>
                  <a:pt x="202" y="80"/>
                </a:lnTo>
                <a:lnTo>
                  <a:pt x="207" y="82"/>
                </a:lnTo>
                <a:lnTo>
                  <a:pt x="208" y="83"/>
                </a:lnTo>
                <a:lnTo>
                  <a:pt x="211" y="85"/>
                </a:lnTo>
                <a:lnTo>
                  <a:pt x="212" y="86"/>
                </a:lnTo>
                <a:lnTo>
                  <a:pt x="212" y="88"/>
                </a:lnTo>
                <a:lnTo>
                  <a:pt x="211" y="89"/>
                </a:lnTo>
                <a:lnTo>
                  <a:pt x="211" y="94"/>
                </a:lnTo>
                <a:lnTo>
                  <a:pt x="211" y="96"/>
                </a:lnTo>
                <a:lnTo>
                  <a:pt x="211" y="97"/>
                </a:lnTo>
                <a:lnTo>
                  <a:pt x="207" y="97"/>
                </a:lnTo>
                <a:lnTo>
                  <a:pt x="204" y="96"/>
                </a:lnTo>
                <a:lnTo>
                  <a:pt x="200" y="94"/>
                </a:lnTo>
                <a:lnTo>
                  <a:pt x="199" y="94"/>
                </a:lnTo>
                <a:lnTo>
                  <a:pt x="198" y="94"/>
                </a:lnTo>
                <a:lnTo>
                  <a:pt x="196" y="94"/>
                </a:lnTo>
                <a:lnTo>
                  <a:pt x="196" y="97"/>
                </a:lnTo>
                <a:lnTo>
                  <a:pt x="195" y="99"/>
                </a:lnTo>
                <a:lnTo>
                  <a:pt x="191" y="99"/>
                </a:lnTo>
                <a:lnTo>
                  <a:pt x="190" y="99"/>
                </a:lnTo>
                <a:lnTo>
                  <a:pt x="187" y="99"/>
                </a:lnTo>
                <a:lnTo>
                  <a:pt x="186" y="100"/>
                </a:lnTo>
                <a:lnTo>
                  <a:pt x="184" y="100"/>
                </a:lnTo>
                <a:lnTo>
                  <a:pt x="184" y="102"/>
                </a:lnTo>
                <a:lnTo>
                  <a:pt x="184" y="104"/>
                </a:lnTo>
                <a:lnTo>
                  <a:pt x="183" y="108"/>
                </a:lnTo>
                <a:lnTo>
                  <a:pt x="182" y="108"/>
                </a:lnTo>
                <a:lnTo>
                  <a:pt x="182" y="111"/>
                </a:lnTo>
                <a:lnTo>
                  <a:pt x="182" y="115"/>
                </a:lnTo>
                <a:lnTo>
                  <a:pt x="180" y="115"/>
                </a:lnTo>
                <a:lnTo>
                  <a:pt x="176" y="118"/>
                </a:lnTo>
                <a:lnTo>
                  <a:pt x="175" y="118"/>
                </a:lnTo>
                <a:lnTo>
                  <a:pt x="174" y="119"/>
                </a:lnTo>
                <a:lnTo>
                  <a:pt x="171" y="121"/>
                </a:lnTo>
                <a:lnTo>
                  <a:pt x="168" y="122"/>
                </a:lnTo>
                <a:lnTo>
                  <a:pt x="165" y="122"/>
                </a:lnTo>
                <a:lnTo>
                  <a:pt x="162" y="124"/>
                </a:lnTo>
                <a:lnTo>
                  <a:pt x="161" y="124"/>
                </a:lnTo>
                <a:lnTo>
                  <a:pt x="162" y="126"/>
                </a:lnTo>
                <a:lnTo>
                  <a:pt x="161" y="127"/>
                </a:lnTo>
                <a:lnTo>
                  <a:pt x="159" y="127"/>
                </a:lnTo>
                <a:lnTo>
                  <a:pt x="159" y="130"/>
                </a:lnTo>
                <a:lnTo>
                  <a:pt x="158" y="132"/>
                </a:lnTo>
                <a:lnTo>
                  <a:pt x="155" y="132"/>
                </a:lnTo>
                <a:lnTo>
                  <a:pt x="154" y="135"/>
                </a:lnTo>
                <a:lnTo>
                  <a:pt x="150" y="135"/>
                </a:lnTo>
                <a:lnTo>
                  <a:pt x="149" y="135"/>
                </a:lnTo>
                <a:lnTo>
                  <a:pt x="147" y="135"/>
                </a:lnTo>
                <a:lnTo>
                  <a:pt x="146" y="133"/>
                </a:lnTo>
                <a:lnTo>
                  <a:pt x="143" y="132"/>
                </a:lnTo>
                <a:lnTo>
                  <a:pt x="142" y="130"/>
                </a:lnTo>
                <a:lnTo>
                  <a:pt x="138" y="132"/>
                </a:lnTo>
                <a:lnTo>
                  <a:pt x="135" y="130"/>
                </a:lnTo>
                <a:lnTo>
                  <a:pt x="133" y="129"/>
                </a:lnTo>
                <a:lnTo>
                  <a:pt x="131" y="127"/>
                </a:lnTo>
                <a:lnTo>
                  <a:pt x="133" y="124"/>
                </a:lnTo>
                <a:lnTo>
                  <a:pt x="131" y="121"/>
                </a:lnTo>
                <a:lnTo>
                  <a:pt x="131" y="111"/>
                </a:lnTo>
                <a:lnTo>
                  <a:pt x="130" y="110"/>
                </a:lnTo>
                <a:lnTo>
                  <a:pt x="123" y="110"/>
                </a:lnTo>
                <a:lnTo>
                  <a:pt x="118" y="107"/>
                </a:lnTo>
                <a:lnTo>
                  <a:pt x="113" y="102"/>
                </a:lnTo>
                <a:lnTo>
                  <a:pt x="107" y="100"/>
                </a:lnTo>
                <a:lnTo>
                  <a:pt x="105" y="99"/>
                </a:lnTo>
                <a:lnTo>
                  <a:pt x="105" y="96"/>
                </a:lnTo>
                <a:lnTo>
                  <a:pt x="102" y="93"/>
                </a:lnTo>
                <a:lnTo>
                  <a:pt x="99" y="91"/>
                </a:lnTo>
                <a:lnTo>
                  <a:pt x="95" y="89"/>
                </a:lnTo>
                <a:lnTo>
                  <a:pt x="93" y="91"/>
                </a:lnTo>
                <a:lnTo>
                  <a:pt x="89" y="91"/>
                </a:lnTo>
                <a:lnTo>
                  <a:pt x="85" y="88"/>
                </a:lnTo>
                <a:lnTo>
                  <a:pt x="74" y="85"/>
                </a:lnTo>
                <a:lnTo>
                  <a:pt x="73" y="83"/>
                </a:lnTo>
                <a:lnTo>
                  <a:pt x="69" y="78"/>
                </a:lnTo>
                <a:lnTo>
                  <a:pt x="62" y="78"/>
                </a:lnTo>
                <a:lnTo>
                  <a:pt x="58" y="80"/>
                </a:lnTo>
                <a:lnTo>
                  <a:pt x="58" y="82"/>
                </a:lnTo>
                <a:lnTo>
                  <a:pt x="57" y="83"/>
                </a:lnTo>
                <a:lnTo>
                  <a:pt x="53" y="83"/>
                </a:lnTo>
                <a:lnTo>
                  <a:pt x="50" y="82"/>
                </a:lnTo>
                <a:lnTo>
                  <a:pt x="48" y="82"/>
                </a:lnTo>
                <a:lnTo>
                  <a:pt x="44" y="83"/>
                </a:lnTo>
                <a:lnTo>
                  <a:pt x="40" y="86"/>
                </a:lnTo>
                <a:lnTo>
                  <a:pt x="30" y="93"/>
                </a:lnTo>
                <a:lnTo>
                  <a:pt x="25" y="94"/>
                </a:lnTo>
                <a:lnTo>
                  <a:pt x="21" y="94"/>
                </a:lnTo>
                <a:lnTo>
                  <a:pt x="21" y="93"/>
                </a:lnTo>
                <a:lnTo>
                  <a:pt x="20" y="83"/>
                </a:lnTo>
                <a:lnTo>
                  <a:pt x="20" y="77"/>
                </a:lnTo>
                <a:lnTo>
                  <a:pt x="20" y="71"/>
                </a:lnTo>
                <a:lnTo>
                  <a:pt x="22" y="67"/>
                </a:lnTo>
                <a:lnTo>
                  <a:pt x="20" y="66"/>
                </a:lnTo>
                <a:lnTo>
                  <a:pt x="17" y="64"/>
                </a:lnTo>
                <a:lnTo>
                  <a:pt x="14" y="61"/>
                </a:lnTo>
                <a:lnTo>
                  <a:pt x="13" y="61"/>
                </a:lnTo>
                <a:lnTo>
                  <a:pt x="13" y="60"/>
                </a:lnTo>
                <a:lnTo>
                  <a:pt x="18" y="58"/>
                </a:lnTo>
                <a:lnTo>
                  <a:pt x="20" y="57"/>
                </a:lnTo>
                <a:lnTo>
                  <a:pt x="17" y="55"/>
                </a:lnTo>
                <a:lnTo>
                  <a:pt x="16" y="55"/>
                </a:lnTo>
                <a:lnTo>
                  <a:pt x="13" y="53"/>
                </a:lnTo>
                <a:lnTo>
                  <a:pt x="16" y="50"/>
                </a:lnTo>
                <a:lnTo>
                  <a:pt x="18" y="52"/>
                </a:lnTo>
                <a:lnTo>
                  <a:pt x="21" y="53"/>
                </a:lnTo>
                <a:lnTo>
                  <a:pt x="18" y="50"/>
                </a:lnTo>
                <a:lnTo>
                  <a:pt x="13" y="49"/>
                </a:lnTo>
                <a:lnTo>
                  <a:pt x="9" y="49"/>
                </a:lnTo>
                <a:lnTo>
                  <a:pt x="6" y="52"/>
                </a:lnTo>
                <a:lnTo>
                  <a:pt x="5" y="52"/>
                </a:lnTo>
                <a:lnTo>
                  <a:pt x="2" y="44"/>
                </a:lnTo>
                <a:lnTo>
                  <a:pt x="4" y="39"/>
                </a:lnTo>
                <a:lnTo>
                  <a:pt x="5" y="38"/>
                </a:lnTo>
                <a:lnTo>
                  <a:pt x="6" y="36"/>
                </a:lnTo>
                <a:lnTo>
                  <a:pt x="5" y="30"/>
                </a:lnTo>
                <a:lnTo>
                  <a:pt x="6" y="35"/>
                </a:lnTo>
                <a:lnTo>
                  <a:pt x="8" y="36"/>
                </a:lnTo>
                <a:lnTo>
                  <a:pt x="14" y="36"/>
                </a:lnTo>
                <a:lnTo>
                  <a:pt x="20" y="38"/>
                </a:lnTo>
                <a:lnTo>
                  <a:pt x="22" y="38"/>
                </a:lnTo>
                <a:lnTo>
                  <a:pt x="26" y="38"/>
                </a:lnTo>
                <a:lnTo>
                  <a:pt x="29" y="38"/>
                </a:lnTo>
                <a:lnTo>
                  <a:pt x="26" y="36"/>
                </a:lnTo>
                <a:lnTo>
                  <a:pt x="30" y="35"/>
                </a:lnTo>
                <a:lnTo>
                  <a:pt x="33" y="30"/>
                </a:lnTo>
                <a:lnTo>
                  <a:pt x="28" y="25"/>
                </a:lnTo>
                <a:lnTo>
                  <a:pt x="22" y="22"/>
                </a:lnTo>
                <a:lnTo>
                  <a:pt x="21" y="17"/>
                </a:lnTo>
                <a:lnTo>
                  <a:pt x="18" y="14"/>
                </a:lnTo>
                <a:lnTo>
                  <a:pt x="14" y="13"/>
                </a:lnTo>
                <a:lnTo>
                  <a:pt x="9" y="14"/>
                </a:lnTo>
                <a:lnTo>
                  <a:pt x="5" y="16"/>
                </a:lnTo>
                <a:lnTo>
                  <a:pt x="2" y="19"/>
                </a:lnTo>
                <a:lnTo>
                  <a:pt x="2" y="22"/>
                </a:lnTo>
                <a:lnTo>
                  <a:pt x="4" y="22"/>
                </a:lnTo>
                <a:lnTo>
                  <a:pt x="5" y="28"/>
                </a:lnTo>
                <a:lnTo>
                  <a:pt x="4" y="28"/>
                </a:lnTo>
                <a:lnTo>
                  <a:pt x="0" y="22"/>
                </a:lnTo>
                <a:lnTo>
                  <a:pt x="0" y="17"/>
                </a:lnTo>
                <a:lnTo>
                  <a:pt x="8" y="11"/>
                </a:lnTo>
                <a:lnTo>
                  <a:pt x="14" y="9"/>
                </a:lnTo>
                <a:lnTo>
                  <a:pt x="20" y="8"/>
                </a:lnTo>
                <a:lnTo>
                  <a:pt x="22" y="6"/>
                </a:lnTo>
                <a:lnTo>
                  <a:pt x="25" y="6"/>
                </a:lnTo>
                <a:lnTo>
                  <a:pt x="26" y="8"/>
                </a:lnTo>
                <a:lnTo>
                  <a:pt x="29" y="9"/>
                </a:lnTo>
                <a:lnTo>
                  <a:pt x="33" y="11"/>
                </a:lnTo>
                <a:lnTo>
                  <a:pt x="34" y="13"/>
                </a:lnTo>
                <a:lnTo>
                  <a:pt x="36" y="16"/>
                </a:lnTo>
                <a:lnTo>
                  <a:pt x="37" y="17"/>
                </a:lnTo>
                <a:lnTo>
                  <a:pt x="38" y="19"/>
                </a:lnTo>
                <a:lnTo>
                  <a:pt x="41" y="25"/>
                </a:lnTo>
                <a:lnTo>
                  <a:pt x="44" y="27"/>
                </a:lnTo>
                <a:lnTo>
                  <a:pt x="49" y="27"/>
                </a:lnTo>
                <a:lnTo>
                  <a:pt x="53" y="25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37" name="Freeform 1061"/>
          <p:cNvSpPr>
            <a:spLocks/>
          </p:cNvSpPr>
          <p:nvPr/>
        </p:nvSpPr>
        <p:spPr bwMode="auto">
          <a:xfrm>
            <a:off x="7186706" y="2834491"/>
            <a:ext cx="401456" cy="266304"/>
          </a:xfrm>
          <a:custGeom>
            <a:avLst/>
            <a:gdLst/>
            <a:ahLst/>
            <a:cxnLst>
              <a:cxn ang="0">
                <a:pos x="65" y="22"/>
              </a:cxn>
              <a:cxn ang="0">
                <a:pos x="67" y="14"/>
              </a:cxn>
              <a:cxn ang="0">
                <a:pos x="76" y="11"/>
              </a:cxn>
              <a:cxn ang="0">
                <a:pos x="81" y="5"/>
              </a:cxn>
              <a:cxn ang="0">
                <a:pos x="85" y="5"/>
              </a:cxn>
              <a:cxn ang="0">
                <a:pos x="89" y="2"/>
              </a:cxn>
              <a:cxn ang="0">
                <a:pos x="100" y="8"/>
              </a:cxn>
              <a:cxn ang="0">
                <a:pos x="111" y="11"/>
              </a:cxn>
              <a:cxn ang="0">
                <a:pos x="113" y="17"/>
              </a:cxn>
              <a:cxn ang="0">
                <a:pos x="111" y="24"/>
              </a:cxn>
              <a:cxn ang="0">
                <a:pos x="124" y="28"/>
              </a:cxn>
              <a:cxn ang="0">
                <a:pos x="135" y="25"/>
              </a:cxn>
              <a:cxn ang="0">
                <a:pos x="141" y="33"/>
              </a:cxn>
              <a:cxn ang="0">
                <a:pos x="147" y="41"/>
              </a:cxn>
              <a:cxn ang="0">
                <a:pos x="151" y="52"/>
              </a:cxn>
              <a:cxn ang="0">
                <a:pos x="176" y="67"/>
              </a:cxn>
              <a:cxn ang="0">
                <a:pos x="193" y="80"/>
              </a:cxn>
              <a:cxn ang="0">
                <a:pos x="205" y="82"/>
              </a:cxn>
              <a:cxn ang="0">
                <a:pos x="210" y="88"/>
              </a:cxn>
              <a:cxn ang="0">
                <a:pos x="209" y="97"/>
              </a:cxn>
              <a:cxn ang="0">
                <a:pos x="197" y="94"/>
              </a:cxn>
              <a:cxn ang="0">
                <a:pos x="193" y="99"/>
              </a:cxn>
              <a:cxn ang="0">
                <a:pos x="184" y="100"/>
              </a:cxn>
              <a:cxn ang="0">
                <a:pos x="181" y="108"/>
              </a:cxn>
              <a:cxn ang="0">
                <a:pos x="178" y="115"/>
              </a:cxn>
              <a:cxn ang="0">
                <a:pos x="169" y="121"/>
              </a:cxn>
              <a:cxn ang="0">
                <a:pos x="159" y="124"/>
              </a:cxn>
              <a:cxn ang="0">
                <a:pos x="157" y="130"/>
              </a:cxn>
              <a:cxn ang="0">
                <a:pos x="148" y="135"/>
              </a:cxn>
              <a:cxn ang="0">
                <a:pos x="141" y="132"/>
              </a:cxn>
              <a:cxn ang="0">
                <a:pos x="131" y="129"/>
              </a:cxn>
              <a:cxn ang="0">
                <a:pos x="129" y="111"/>
              </a:cxn>
              <a:cxn ang="0">
                <a:pos x="111" y="102"/>
              </a:cxn>
              <a:cxn ang="0">
                <a:pos x="100" y="93"/>
              </a:cxn>
              <a:cxn ang="0">
                <a:pos x="87" y="91"/>
              </a:cxn>
              <a:cxn ang="0">
                <a:pos x="67" y="78"/>
              </a:cxn>
              <a:cxn ang="0">
                <a:pos x="55" y="83"/>
              </a:cxn>
              <a:cxn ang="0">
                <a:pos x="42" y="83"/>
              </a:cxn>
              <a:cxn ang="0">
                <a:pos x="19" y="94"/>
              </a:cxn>
              <a:cxn ang="0">
                <a:pos x="18" y="71"/>
              </a:cxn>
              <a:cxn ang="0">
                <a:pos x="12" y="61"/>
              </a:cxn>
              <a:cxn ang="0">
                <a:pos x="18" y="57"/>
              </a:cxn>
              <a:cxn ang="0">
                <a:pos x="14" y="50"/>
              </a:cxn>
              <a:cxn ang="0">
                <a:pos x="11" y="49"/>
              </a:cxn>
              <a:cxn ang="0">
                <a:pos x="0" y="44"/>
              </a:cxn>
              <a:cxn ang="0">
                <a:pos x="3" y="30"/>
              </a:cxn>
              <a:cxn ang="0">
                <a:pos x="18" y="38"/>
              </a:cxn>
              <a:cxn ang="0">
                <a:pos x="24" y="36"/>
              </a:cxn>
              <a:cxn ang="0">
                <a:pos x="20" y="22"/>
              </a:cxn>
            </a:cxnLst>
            <a:rect l="0" t="0" r="r" b="b"/>
            <a:pathLst>
              <a:path w="210" h="135">
                <a:moveTo>
                  <a:pt x="51" y="25"/>
                </a:moveTo>
                <a:lnTo>
                  <a:pt x="65" y="27"/>
                </a:lnTo>
                <a:lnTo>
                  <a:pt x="67" y="27"/>
                </a:lnTo>
                <a:lnTo>
                  <a:pt x="65" y="22"/>
                </a:lnTo>
                <a:lnTo>
                  <a:pt x="65" y="20"/>
                </a:lnTo>
                <a:lnTo>
                  <a:pt x="64" y="17"/>
                </a:lnTo>
                <a:lnTo>
                  <a:pt x="65" y="16"/>
                </a:lnTo>
                <a:lnTo>
                  <a:pt x="67" y="14"/>
                </a:lnTo>
                <a:lnTo>
                  <a:pt x="68" y="13"/>
                </a:lnTo>
                <a:lnTo>
                  <a:pt x="69" y="11"/>
                </a:lnTo>
                <a:lnTo>
                  <a:pt x="72" y="11"/>
                </a:lnTo>
                <a:lnTo>
                  <a:pt x="76" y="11"/>
                </a:lnTo>
                <a:lnTo>
                  <a:pt x="79" y="9"/>
                </a:lnTo>
                <a:lnTo>
                  <a:pt x="80" y="8"/>
                </a:lnTo>
                <a:lnTo>
                  <a:pt x="80" y="6"/>
                </a:lnTo>
                <a:lnTo>
                  <a:pt x="81" y="5"/>
                </a:lnTo>
                <a:lnTo>
                  <a:pt x="85" y="8"/>
                </a:lnTo>
                <a:lnTo>
                  <a:pt x="87" y="8"/>
                </a:lnTo>
                <a:lnTo>
                  <a:pt x="87" y="6"/>
                </a:lnTo>
                <a:lnTo>
                  <a:pt x="85" y="5"/>
                </a:lnTo>
                <a:lnTo>
                  <a:pt x="83" y="3"/>
                </a:lnTo>
                <a:lnTo>
                  <a:pt x="85" y="2"/>
                </a:lnTo>
                <a:lnTo>
                  <a:pt x="88" y="2"/>
                </a:lnTo>
                <a:lnTo>
                  <a:pt x="89" y="2"/>
                </a:lnTo>
                <a:lnTo>
                  <a:pt x="89" y="0"/>
                </a:lnTo>
                <a:lnTo>
                  <a:pt x="95" y="5"/>
                </a:lnTo>
                <a:lnTo>
                  <a:pt x="99" y="6"/>
                </a:lnTo>
                <a:lnTo>
                  <a:pt x="100" y="8"/>
                </a:lnTo>
                <a:lnTo>
                  <a:pt x="103" y="9"/>
                </a:lnTo>
                <a:lnTo>
                  <a:pt x="105" y="8"/>
                </a:lnTo>
                <a:lnTo>
                  <a:pt x="109" y="9"/>
                </a:lnTo>
                <a:lnTo>
                  <a:pt x="111" y="11"/>
                </a:lnTo>
                <a:lnTo>
                  <a:pt x="111" y="13"/>
                </a:lnTo>
                <a:lnTo>
                  <a:pt x="111" y="14"/>
                </a:lnTo>
                <a:lnTo>
                  <a:pt x="112" y="16"/>
                </a:lnTo>
                <a:lnTo>
                  <a:pt x="113" y="17"/>
                </a:lnTo>
                <a:lnTo>
                  <a:pt x="112" y="17"/>
                </a:lnTo>
                <a:lnTo>
                  <a:pt x="112" y="20"/>
                </a:lnTo>
                <a:lnTo>
                  <a:pt x="112" y="22"/>
                </a:lnTo>
                <a:lnTo>
                  <a:pt x="111" y="24"/>
                </a:lnTo>
                <a:lnTo>
                  <a:pt x="112" y="25"/>
                </a:lnTo>
                <a:lnTo>
                  <a:pt x="116" y="27"/>
                </a:lnTo>
                <a:lnTo>
                  <a:pt x="121" y="28"/>
                </a:lnTo>
                <a:lnTo>
                  <a:pt x="124" y="28"/>
                </a:lnTo>
                <a:lnTo>
                  <a:pt x="131" y="28"/>
                </a:lnTo>
                <a:lnTo>
                  <a:pt x="132" y="28"/>
                </a:lnTo>
                <a:lnTo>
                  <a:pt x="132" y="27"/>
                </a:lnTo>
                <a:lnTo>
                  <a:pt x="135" y="25"/>
                </a:lnTo>
                <a:lnTo>
                  <a:pt x="136" y="27"/>
                </a:lnTo>
                <a:lnTo>
                  <a:pt x="140" y="30"/>
                </a:lnTo>
                <a:lnTo>
                  <a:pt x="141" y="30"/>
                </a:lnTo>
                <a:lnTo>
                  <a:pt x="141" y="33"/>
                </a:lnTo>
                <a:lnTo>
                  <a:pt x="141" y="36"/>
                </a:lnTo>
                <a:lnTo>
                  <a:pt x="143" y="38"/>
                </a:lnTo>
                <a:lnTo>
                  <a:pt x="145" y="39"/>
                </a:lnTo>
                <a:lnTo>
                  <a:pt x="147" y="41"/>
                </a:lnTo>
                <a:lnTo>
                  <a:pt x="148" y="44"/>
                </a:lnTo>
                <a:lnTo>
                  <a:pt x="148" y="47"/>
                </a:lnTo>
                <a:lnTo>
                  <a:pt x="149" y="50"/>
                </a:lnTo>
                <a:lnTo>
                  <a:pt x="151" y="52"/>
                </a:lnTo>
                <a:lnTo>
                  <a:pt x="164" y="60"/>
                </a:lnTo>
                <a:lnTo>
                  <a:pt x="169" y="66"/>
                </a:lnTo>
                <a:lnTo>
                  <a:pt x="172" y="67"/>
                </a:lnTo>
                <a:lnTo>
                  <a:pt x="176" y="67"/>
                </a:lnTo>
                <a:lnTo>
                  <a:pt x="180" y="69"/>
                </a:lnTo>
                <a:lnTo>
                  <a:pt x="185" y="74"/>
                </a:lnTo>
                <a:lnTo>
                  <a:pt x="192" y="78"/>
                </a:lnTo>
                <a:lnTo>
                  <a:pt x="193" y="80"/>
                </a:lnTo>
                <a:lnTo>
                  <a:pt x="196" y="80"/>
                </a:lnTo>
                <a:lnTo>
                  <a:pt x="197" y="80"/>
                </a:lnTo>
                <a:lnTo>
                  <a:pt x="200" y="80"/>
                </a:lnTo>
                <a:lnTo>
                  <a:pt x="205" y="82"/>
                </a:lnTo>
                <a:lnTo>
                  <a:pt x="206" y="83"/>
                </a:lnTo>
                <a:lnTo>
                  <a:pt x="209" y="85"/>
                </a:lnTo>
                <a:lnTo>
                  <a:pt x="210" y="86"/>
                </a:lnTo>
                <a:lnTo>
                  <a:pt x="210" y="88"/>
                </a:lnTo>
                <a:lnTo>
                  <a:pt x="209" y="89"/>
                </a:lnTo>
                <a:lnTo>
                  <a:pt x="209" y="94"/>
                </a:lnTo>
                <a:lnTo>
                  <a:pt x="209" y="96"/>
                </a:lnTo>
                <a:lnTo>
                  <a:pt x="209" y="97"/>
                </a:lnTo>
                <a:lnTo>
                  <a:pt x="205" y="97"/>
                </a:lnTo>
                <a:lnTo>
                  <a:pt x="202" y="96"/>
                </a:lnTo>
                <a:lnTo>
                  <a:pt x="198" y="94"/>
                </a:lnTo>
                <a:lnTo>
                  <a:pt x="197" y="94"/>
                </a:lnTo>
                <a:lnTo>
                  <a:pt x="196" y="94"/>
                </a:lnTo>
                <a:lnTo>
                  <a:pt x="194" y="94"/>
                </a:lnTo>
                <a:lnTo>
                  <a:pt x="194" y="97"/>
                </a:lnTo>
                <a:lnTo>
                  <a:pt x="193" y="99"/>
                </a:lnTo>
                <a:lnTo>
                  <a:pt x="189" y="99"/>
                </a:lnTo>
                <a:lnTo>
                  <a:pt x="188" y="99"/>
                </a:lnTo>
                <a:lnTo>
                  <a:pt x="185" y="99"/>
                </a:lnTo>
                <a:lnTo>
                  <a:pt x="184" y="100"/>
                </a:lnTo>
                <a:lnTo>
                  <a:pt x="182" y="100"/>
                </a:lnTo>
                <a:lnTo>
                  <a:pt x="182" y="102"/>
                </a:lnTo>
                <a:lnTo>
                  <a:pt x="182" y="104"/>
                </a:lnTo>
                <a:lnTo>
                  <a:pt x="181" y="108"/>
                </a:lnTo>
                <a:lnTo>
                  <a:pt x="180" y="108"/>
                </a:lnTo>
                <a:lnTo>
                  <a:pt x="180" y="111"/>
                </a:lnTo>
                <a:lnTo>
                  <a:pt x="180" y="115"/>
                </a:lnTo>
                <a:lnTo>
                  <a:pt x="178" y="115"/>
                </a:lnTo>
                <a:lnTo>
                  <a:pt x="174" y="118"/>
                </a:lnTo>
                <a:lnTo>
                  <a:pt x="173" y="118"/>
                </a:lnTo>
                <a:lnTo>
                  <a:pt x="172" y="119"/>
                </a:lnTo>
                <a:lnTo>
                  <a:pt x="169" y="121"/>
                </a:lnTo>
                <a:lnTo>
                  <a:pt x="166" y="122"/>
                </a:lnTo>
                <a:lnTo>
                  <a:pt x="163" y="122"/>
                </a:lnTo>
                <a:lnTo>
                  <a:pt x="160" y="124"/>
                </a:lnTo>
                <a:lnTo>
                  <a:pt x="159" y="124"/>
                </a:lnTo>
                <a:lnTo>
                  <a:pt x="160" y="126"/>
                </a:lnTo>
                <a:lnTo>
                  <a:pt x="159" y="127"/>
                </a:lnTo>
                <a:lnTo>
                  <a:pt x="157" y="127"/>
                </a:lnTo>
                <a:lnTo>
                  <a:pt x="157" y="130"/>
                </a:lnTo>
                <a:lnTo>
                  <a:pt x="156" y="132"/>
                </a:lnTo>
                <a:lnTo>
                  <a:pt x="153" y="132"/>
                </a:lnTo>
                <a:lnTo>
                  <a:pt x="152" y="135"/>
                </a:lnTo>
                <a:lnTo>
                  <a:pt x="148" y="135"/>
                </a:lnTo>
                <a:lnTo>
                  <a:pt x="147" y="135"/>
                </a:lnTo>
                <a:lnTo>
                  <a:pt x="145" y="135"/>
                </a:lnTo>
                <a:lnTo>
                  <a:pt x="144" y="133"/>
                </a:lnTo>
                <a:lnTo>
                  <a:pt x="141" y="132"/>
                </a:lnTo>
                <a:lnTo>
                  <a:pt x="140" y="130"/>
                </a:lnTo>
                <a:lnTo>
                  <a:pt x="136" y="132"/>
                </a:lnTo>
                <a:lnTo>
                  <a:pt x="133" y="130"/>
                </a:lnTo>
                <a:lnTo>
                  <a:pt x="131" y="129"/>
                </a:lnTo>
                <a:lnTo>
                  <a:pt x="129" y="127"/>
                </a:lnTo>
                <a:lnTo>
                  <a:pt x="131" y="124"/>
                </a:lnTo>
                <a:lnTo>
                  <a:pt x="129" y="121"/>
                </a:lnTo>
                <a:lnTo>
                  <a:pt x="129" y="111"/>
                </a:lnTo>
                <a:lnTo>
                  <a:pt x="128" y="110"/>
                </a:lnTo>
                <a:lnTo>
                  <a:pt x="121" y="110"/>
                </a:lnTo>
                <a:lnTo>
                  <a:pt x="116" y="107"/>
                </a:lnTo>
                <a:lnTo>
                  <a:pt x="111" y="102"/>
                </a:lnTo>
                <a:lnTo>
                  <a:pt x="105" y="100"/>
                </a:lnTo>
                <a:lnTo>
                  <a:pt x="103" y="99"/>
                </a:lnTo>
                <a:lnTo>
                  <a:pt x="103" y="96"/>
                </a:lnTo>
                <a:lnTo>
                  <a:pt x="100" y="93"/>
                </a:lnTo>
                <a:lnTo>
                  <a:pt x="97" y="91"/>
                </a:lnTo>
                <a:lnTo>
                  <a:pt x="93" y="89"/>
                </a:lnTo>
                <a:lnTo>
                  <a:pt x="91" y="91"/>
                </a:lnTo>
                <a:lnTo>
                  <a:pt x="87" y="91"/>
                </a:lnTo>
                <a:lnTo>
                  <a:pt x="83" y="88"/>
                </a:lnTo>
                <a:lnTo>
                  <a:pt x="72" y="85"/>
                </a:lnTo>
                <a:lnTo>
                  <a:pt x="71" y="83"/>
                </a:lnTo>
                <a:lnTo>
                  <a:pt x="67" y="78"/>
                </a:lnTo>
                <a:lnTo>
                  <a:pt x="60" y="78"/>
                </a:lnTo>
                <a:lnTo>
                  <a:pt x="56" y="80"/>
                </a:lnTo>
                <a:lnTo>
                  <a:pt x="56" y="82"/>
                </a:lnTo>
                <a:lnTo>
                  <a:pt x="55" y="83"/>
                </a:lnTo>
                <a:lnTo>
                  <a:pt x="51" y="83"/>
                </a:lnTo>
                <a:lnTo>
                  <a:pt x="48" y="82"/>
                </a:lnTo>
                <a:lnTo>
                  <a:pt x="46" y="82"/>
                </a:lnTo>
                <a:lnTo>
                  <a:pt x="42" y="83"/>
                </a:lnTo>
                <a:lnTo>
                  <a:pt x="38" y="86"/>
                </a:lnTo>
                <a:lnTo>
                  <a:pt x="28" y="93"/>
                </a:lnTo>
                <a:lnTo>
                  <a:pt x="23" y="94"/>
                </a:lnTo>
                <a:lnTo>
                  <a:pt x="19" y="94"/>
                </a:lnTo>
                <a:lnTo>
                  <a:pt x="19" y="93"/>
                </a:lnTo>
                <a:lnTo>
                  <a:pt x="18" y="83"/>
                </a:lnTo>
                <a:lnTo>
                  <a:pt x="18" y="77"/>
                </a:lnTo>
                <a:lnTo>
                  <a:pt x="18" y="71"/>
                </a:lnTo>
                <a:lnTo>
                  <a:pt x="20" y="67"/>
                </a:lnTo>
                <a:lnTo>
                  <a:pt x="18" y="66"/>
                </a:lnTo>
                <a:lnTo>
                  <a:pt x="15" y="64"/>
                </a:lnTo>
                <a:lnTo>
                  <a:pt x="12" y="61"/>
                </a:lnTo>
                <a:lnTo>
                  <a:pt x="11" y="61"/>
                </a:lnTo>
                <a:lnTo>
                  <a:pt x="11" y="60"/>
                </a:lnTo>
                <a:lnTo>
                  <a:pt x="16" y="58"/>
                </a:lnTo>
                <a:lnTo>
                  <a:pt x="18" y="57"/>
                </a:lnTo>
                <a:lnTo>
                  <a:pt x="15" y="55"/>
                </a:lnTo>
                <a:lnTo>
                  <a:pt x="14" y="55"/>
                </a:lnTo>
                <a:lnTo>
                  <a:pt x="11" y="53"/>
                </a:lnTo>
                <a:lnTo>
                  <a:pt x="14" y="50"/>
                </a:lnTo>
                <a:lnTo>
                  <a:pt x="16" y="52"/>
                </a:lnTo>
                <a:lnTo>
                  <a:pt x="19" y="53"/>
                </a:lnTo>
                <a:lnTo>
                  <a:pt x="16" y="50"/>
                </a:lnTo>
                <a:lnTo>
                  <a:pt x="11" y="49"/>
                </a:lnTo>
                <a:lnTo>
                  <a:pt x="7" y="49"/>
                </a:lnTo>
                <a:lnTo>
                  <a:pt x="4" y="52"/>
                </a:lnTo>
                <a:lnTo>
                  <a:pt x="3" y="52"/>
                </a:lnTo>
                <a:lnTo>
                  <a:pt x="0" y="44"/>
                </a:lnTo>
                <a:lnTo>
                  <a:pt x="2" y="39"/>
                </a:lnTo>
                <a:lnTo>
                  <a:pt x="3" y="38"/>
                </a:lnTo>
                <a:lnTo>
                  <a:pt x="4" y="36"/>
                </a:lnTo>
                <a:lnTo>
                  <a:pt x="3" y="30"/>
                </a:lnTo>
                <a:lnTo>
                  <a:pt x="4" y="35"/>
                </a:lnTo>
                <a:lnTo>
                  <a:pt x="6" y="36"/>
                </a:lnTo>
                <a:lnTo>
                  <a:pt x="12" y="36"/>
                </a:lnTo>
                <a:lnTo>
                  <a:pt x="18" y="38"/>
                </a:lnTo>
                <a:lnTo>
                  <a:pt x="20" y="38"/>
                </a:lnTo>
                <a:lnTo>
                  <a:pt x="24" y="38"/>
                </a:lnTo>
                <a:lnTo>
                  <a:pt x="27" y="38"/>
                </a:lnTo>
                <a:lnTo>
                  <a:pt x="24" y="36"/>
                </a:lnTo>
                <a:lnTo>
                  <a:pt x="28" y="35"/>
                </a:lnTo>
                <a:lnTo>
                  <a:pt x="31" y="30"/>
                </a:lnTo>
                <a:lnTo>
                  <a:pt x="26" y="25"/>
                </a:lnTo>
                <a:lnTo>
                  <a:pt x="20" y="22"/>
                </a:lnTo>
                <a:lnTo>
                  <a:pt x="19" y="17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38" name="Freeform 1062"/>
          <p:cNvSpPr>
            <a:spLocks/>
          </p:cNvSpPr>
          <p:nvPr/>
        </p:nvSpPr>
        <p:spPr bwMode="auto">
          <a:xfrm>
            <a:off x="6598597" y="3028758"/>
            <a:ext cx="101338" cy="45100"/>
          </a:xfrm>
          <a:custGeom>
            <a:avLst/>
            <a:gdLst/>
            <a:ahLst/>
            <a:cxnLst>
              <a:cxn ang="0">
                <a:pos x="21" y="11"/>
              </a:cxn>
              <a:cxn ang="0">
                <a:pos x="18" y="8"/>
              </a:cxn>
              <a:cxn ang="0">
                <a:pos x="14" y="7"/>
              </a:cxn>
              <a:cxn ang="0">
                <a:pos x="9" y="8"/>
              </a:cxn>
              <a:cxn ang="0">
                <a:pos x="5" y="10"/>
              </a:cxn>
              <a:cxn ang="0">
                <a:pos x="2" y="13"/>
              </a:cxn>
              <a:cxn ang="0">
                <a:pos x="2" y="16"/>
              </a:cxn>
              <a:cxn ang="0">
                <a:pos x="4" y="16"/>
              </a:cxn>
              <a:cxn ang="0">
                <a:pos x="5" y="22"/>
              </a:cxn>
              <a:cxn ang="0">
                <a:pos x="4" y="22"/>
              </a:cxn>
              <a:cxn ang="0">
                <a:pos x="0" y="16"/>
              </a:cxn>
              <a:cxn ang="0">
                <a:pos x="0" y="11"/>
              </a:cxn>
              <a:cxn ang="0">
                <a:pos x="8" y="5"/>
              </a:cxn>
              <a:cxn ang="0">
                <a:pos x="14" y="3"/>
              </a:cxn>
              <a:cxn ang="0">
                <a:pos x="20" y="2"/>
              </a:cxn>
              <a:cxn ang="0">
                <a:pos x="22" y="0"/>
              </a:cxn>
              <a:cxn ang="0">
                <a:pos x="25" y="0"/>
              </a:cxn>
              <a:cxn ang="0">
                <a:pos x="26" y="2"/>
              </a:cxn>
              <a:cxn ang="0">
                <a:pos x="29" y="3"/>
              </a:cxn>
              <a:cxn ang="0">
                <a:pos x="33" y="5"/>
              </a:cxn>
              <a:cxn ang="0">
                <a:pos x="34" y="7"/>
              </a:cxn>
              <a:cxn ang="0">
                <a:pos x="36" y="10"/>
              </a:cxn>
              <a:cxn ang="0">
                <a:pos x="37" y="11"/>
              </a:cxn>
              <a:cxn ang="0">
                <a:pos x="38" y="13"/>
              </a:cxn>
              <a:cxn ang="0">
                <a:pos x="41" y="19"/>
              </a:cxn>
              <a:cxn ang="0">
                <a:pos x="44" y="21"/>
              </a:cxn>
              <a:cxn ang="0">
                <a:pos x="49" y="21"/>
              </a:cxn>
              <a:cxn ang="0">
                <a:pos x="53" y="19"/>
              </a:cxn>
            </a:cxnLst>
            <a:rect l="0" t="0" r="r" b="b"/>
            <a:pathLst>
              <a:path w="53" h="22">
                <a:moveTo>
                  <a:pt x="21" y="11"/>
                </a:moveTo>
                <a:lnTo>
                  <a:pt x="18" y="8"/>
                </a:lnTo>
                <a:lnTo>
                  <a:pt x="14" y="7"/>
                </a:lnTo>
                <a:lnTo>
                  <a:pt x="9" y="8"/>
                </a:lnTo>
                <a:lnTo>
                  <a:pt x="5" y="10"/>
                </a:lnTo>
                <a:lnTo>
                  <a:pt x="2" y="13"/>
                </a:lnTo>
                <a:lnTo>
                  <a:pt x="2" y="16"/>
                </a:lnTo>
                <a:lnTo>
                  <a:pt x="4" y="16"/>
                </a:lnTo>
                <a:lnTo>
                  <a:pt x="5" y="22"/>
                </a:lnTo>
                <a:lnTo>
                  <a:pt x="4" y="22"/>
                </a:lnTo>
                <a:lnTo>
                  <a:pt x="0" y="16"/>
                </a:lnTo>
                <a:lnTo>
                  <a:pt x="0" y="11"/>
                </a:lnTo>
                <a:lnTo>
                  <a:pt x="8" y="5"/>
                </a:lnTo>
                <a:lnTo>
                  <a:pt x="14" y="3"/>
                </a:lnTo>
                <a:lnTo>
                  <a:pt x="20" y="2"/>
                </a:lnTo>
                <a:lnTo>
                  <a:pt x="22" y="0"/>
                </a:lnTo>
                <a:lnTo>
                  <a:pt x="25" y="0"/>
                </a:lnTo>
                <a:lnTo>
                  <a:pt x="26" y="2"/>
                </a:lnTo>
                <a:lnTo>
                  <a:pt x="29" y="3"/>
                </a:lnTo>
                <a:lnTo>
                  <a:pt x="33" y="5"/>
                </a:lnTo>
                <a:lnTo>
                  <a:pt x="34" y="7"/>
                </a:lnTo>
                <a:lnTo>
                  <a:pt x="36" y="10"/>
                </a:lnTo>
                <a:lnTo>
                  <a:pt x="37" y="11"/>
                </a:lnTo>
                <a:lnTo>
                  <a:pt x="38" y="13"/>
                </a:lnTo>
                <a:lnTo>
                  <a:pt x="41" y="19"/>
                </a:lnTo>
                <a:lnTo>
                  <a:pt x="44" y="21"/>
                </a:lnTo>
                <a:lnTo>
                  <a:pt x="49" y="21"/>
                </a:lnTo>
                <a:lnTo>
                  <a:pt x="53" y="19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39" name="Freeform 1063"/>
          <p:cNvSpPr>
            <a:spLocks/>
          </p:cNvSpPr>
          <p:nvPr/>
        </p:nvSpPr>
        <p:spPr bwMode="auto">
          <a:xfrm>
            <a:off x="7666115" y="2817311"/>
            <a:ext cx="313759" cy="141742"/>
          </a:xfrm>
          <a:custGeom>
            <a:avLst/>
            <a:gdLst/>
            <a:ahLst/>
            <a:cxnLst>
              <a:cxn ang="0">
                <a:pos x="71" y="58"/>
              </a:cxn>
              <a:cxn ang="0">
                <a:pos x="83" y="54"/>
              </a:cxn>
              <a:cxn ang="0">
                <a:pos x="92" y="49"/>
              </a:cxn>
              <a:cxn ang="0">
                <a:pos x="99" y="52"/>
              </a:cxn>
              <a:cxn ang="0">
                <a:pos x="111" y="49"/>
              </a:cxn>
              <a:cxn ang="0">
                <a:pos x="119" y="41"/>
              </a:cxn>
              <a:cxn ang="0">
                <a:pos x="135" y="38"/>
              </a:cxn>
              <a:cxn ang="0">
                <a:pos x="150" y="27"/>
              </a:cxn>
              <a:cxn ang="0">
                <a:pos x="165" y="19"/>
              </a:cxn>
              <a:cxn ang="0">
                <a:pos x="158" y="13"/>
              </a:cxn>
              <a:cxn ang="0">
                <a:pos x="145" y="8"/>
              </a:cxn>
              <a:cxn ang="0">
                <a:pos x="140" y="6"/>
              </a:cxn>
              <a:cxn ang="0">
                <a:pos x="124" y="6"/>
              </a:cxn>
              <a:cxn ang="0">
                <a:pos x="116" y="5"/>
              </a:cxn>
              <a:cxn ang="0">
                <a:pos x="100" y="5"/>
              </a:cxn>
              <a:cxn ang="0">
                <a:pos x="89" y="5"/>
              </a:cxn>
              <a:cxn ang="0">
                <a:pos x="81" y="5"/>
              </a:cxn>
              <a:cxn ang="0">
                <a:pos x="72" y="2"/>
              </a:cxn>
              <a:cxn ang="0">
                <a:pos x="64" y="5"/>
              </a:cxn>
              <a:cxn ang="0">
                <a:pos x="61" y="11"/>
              </a:cxn>
              <a:cxn ang="0">
                <a:pos x="52" y="11"/>
              </a:cxn>
              <a:cxn ang="0">
                <a:pos x="44" y="8"/>
              </a:cxn>
              <a:cxn ang="0">
                <a:pos x="35" y="8"/>
              </a:cxn>
              <a:cxn ang="0">
                <a:pos x="27" y="8"/>
              </a:cxn>
              <a:cxn ang="0">
                <a:pos x="26" y="14"/>
              </a:cxn>
              <a:cxn ang="0">
                <a:pos x="29" y="19"/>
              </a:cxn>
              <a:cxn ang="0">
                <a:pos x="19" y="27"/>
              </a:cxn>
              <a:cxn ang="0">
                <a:pos x="18" y="32"/>
              </a:cxn>
              <a:cxn ang="0">
                <a:pos x="23" y="35"/>
              </a:cxn>
              <a:cxn ang="0">
                <a:pos x="32" y="35"/>
              </a:cxn>
              <a:cxn ang="0">
                <a:pos x="37" y="32"/>
              </a:cxn>
              <a:cxn ang="0">
                <a:pos x="43" y="38"/>
              </a:cxn>
              <a:cxn ang="0">
                <a:pos x="49" y="41"/>
              </a:cxn>
              <a:cxn ang="0">
                <a:pos x="59" y="43"/>
              </a:cxn>
              <a:cxn ang="0">
                <a:pos x="52" y="47"/>
              </a:cxn>
              <a:cxn ang="0">
                <a:pos x="45" y="49"/>
              </a:cxn>
              <a:cxn ang="0">
                <a:pos x="41" y="52"/>
              </a:cxn>
              <a:cxn ang="0">
                <a:pos x="31" y="52"/>
              </a:cxn>
              <a:cxn ang="0">
                <a:pos x="24" y="55"/>
              </a:cxn>
              <a:cxn ang="0">
                <a:pos x="19" y="58"/>
              </a:cxn>
              <a:cxn ang="0">
                <a:pos x="8" y="55"/>
              </a:cxn>
              <a:cxn ang="0">
                <a:pos x="0" y="58"/>
              </a:cxn>
              <a:cxn ang="0">
                <a:pos x="2" y="65"/>
              </a:cxn>
              <a:cxn ang="0">
                <a:pos x="10" y="66"/>
              </a:cxn>
              <a:cxn ang="0">
                <a:pos x="20" y="65"/>
              </a:cxn>
              <a:cxn ang="0">
                <a:pos x="33" y="65"/>
              </a:cxn>
              <a:cxn ang="0">
                <a:pos x="39" y="71"/>
              </a:cxn>
              <a:cxn ang="0">
                <a:pos x="48" y="69"/>
              </a:cxn>
              <a:cxn ang="0">
                <a:pos x="60" y="68"/>
              </a:cxn>
              <a:cxn ang="0">
                <a:pos x="69" y="66"/>
              </a:cxn>
            </a:cxnLst>
            <a:rect l="0" t="0" r="r" b="b"/>
            <a:pathLst>
              <a:path w="165" h="71">
                <a:moveTo>
                  <a:pt x="69" y="66"/>
                </a:moveTo>
                <a:lnTo>
                  <a:pt x="68" y="63"/>
                </a:lnTo>
                <a:lnTo>
                  <a:pt x="71" y="58"/>
                </a:lnTo>
                <a:lnTo>
                  <a:pt x="80" y="55"/>
                </a:lnTo>
                <a:lnTo>
                  <a:pt x="81" y="54"/>
                </a:lnTo>
                <a:lnTo>
                  <a:pt x="83" y="54"/>
                </a:lnTo>
                <a:lnTo>
                  <a:pt x="85" y="49"/>
                </a:lnTo>
                <a:lnTo>
                  <a:pt x="88" y="50"/>
                </a:lnTo>
                <a:lnTo>
                  <a:pt x="92" y="49"/>
                </a:lnTo>
                <a:lnTo>
                  <a:pt x="95" y="49"/>
                </a:lnTo>
                <a:lnTo>
                  <a:pt x="96" y="52"/>
                </a:lnTo>
                <a:lnTo>
                  <a:pt x="99" y="52"/>
                </a:lnTo>
                <a:lnTo>
                  <a:pt x="104" y="52"/>
                </a:lnTo>
                <a:lnTo>
                  <a:pt x="107" y="52"/>
                </a:lnTo>
                <a:lnTo>
                  <a:pt x="111" y="49"/>
                </a:lnTo>
                <a:lnTo>
                  <a:pt x="112" y="46"/>
                </a:lnTo>
                <a:lnTo>
                  <a:pt x="115" y="43"/>
                </a:lnTo>
                <a:lnTo>
                  <a:pt x="119" y="41"/>
                </a:lnTo>
                <a:lnTo>
                  <a:pt x="124" y="41"/>
                </a:lnTo>
                <a:lnTo>
                  <a:pt x="132" y="39"/>
                </a:lnTo>
                <a:lnTo>
                  <a:pt x="135" y="38"/>
                </a:lnTo>
                <a:lnTo>
                  <a:pt x="137" y="35"/>
                </a:lnTo>
                <a:lnTo>
                  <a:pt x="141" y="32"/>
                </a:lnTo>
                <a:lnTo>
                  <a:pt x="150" y="27"/>
                </a:lnTo>
                <a:lnTo>
                  <a:pt x="161" y="24"/>
                </a:lnTo>
                <a:lnTo>
                  <a:pt x="164" y="22"/>
                </a:lnTo>
                <a:lnTo>
                  <a:pt x="165" y="19"/>
                </a:lnTo>
                <a:lnTo>
                  <a:pt x="165" y="16"/>
                </a:lnTo>
                <a:lnTo>
                  <a:pt x="164" y="17"/>
                </a:lnTo>
                <a:lnTo>
                  <a:pt x="158" y="13"/>
                </a:lnTo>
                <a:lnTo>
                  <a:pt x="154" y="13"/>
                </a:lnTo>
                <a:lnTo>
                  <a:pt x="150" y="8"/>
                </a:lnTo>
                <a:lnTo>
                  <a:pt x="145" y="8"/>
                </a:lnTo>
                <a:lnTo>
                  <a:pt x="144" y="8"/>
                </a:lnTo>
                <a:lnTo>
                  <a:pt x="141" y="8"/>
                </a:lnTo>
                <a:lnTo>
                  <a:pt x="140" y="6"/>
                </a:lnTo>
                <a:lnTo>
                  <a:pt x="137" y="6"/>
                </a:lnTo>
                <a:lnTo>
                  <a:pt x="131" y="6"/>
                </a:lnTo>
                <a:lnTo>
                  <a:pt x="124" y="6"/>
                </a:lnTo>
                <a:lnTo>
                  <a:pt x="121" y="6"/>
                </a:lnTo>
                <a:lnTo>
                  <a:pt x="117" y="5"/>
                </a:lnTo>
                <a:lnTo>
                  <a:pt x="116" y="5"/>
                </a:lnTo>
                <a:lnTo>
                  <a:pt x="112" y="6"/>
                </a:lnTo>
                <a:lnTo>
                  <a:pt x="103" y="5"/>
                </a:lnTo>
                <a:lnTo>
                  <a:pt x="100" y="5"/>
                </a:lnTo>
                <a:lnTo>
                  <a:pt x="96" y="6"/>
                </a:lnTo>
                <a:lnTo>
                  <a:pt x="92" y="6"/>
                </a:lnTo>
                <a:lnTo>
                  <a:pt x="89" y="5"/>
                </a:lnTo>
                <a:lnTo>
                  <a:pt x="88" y="5"/>
                </a:lnTo>
                <a:lnTo>
                  <a:pt x="85" y="3"/>
                </a:lnTo>
                <a:lnTo>
                  <a:pt x="81" y="5"/>
                </a:lnTo>
                <a:lnTo>
                  <a:pt x="79" y="3"/>
                </a:lnTo>
                <a:lnTo>
                  <a:pt x="73" y="0"/>
                </a:lnTo>
                <a:lnTo>
                  <a:pt x="72" y="2"/>
                </a:lnTo>
                <a:lnTo>
                  <a:pt x="69" y="2"/>
                </a:lnTo>
                <a:lnTo>
                  <a:pt x="67" y="2"/>
                </a:lnTo>
                <a:lnTo>
                  <a:pt x="64" y="5"/>
                </a:lnTo>
                <a:lnTo>
                  <a:pt x="64" y="6"/>
                </a:lnTo>
                <a:lnTo>
                  <a:pt x="63" y="8"/>
                </a:lnTo>
                <a:lnTo>
                  <a:pt x="61" y="11"/>
                </a:lnTo>
                <a:lnTo>
                  <a:pt x="60" y="13"/>
                </a:lnTo>
                <a:lnTo>
                  <a:pt x="56" y="13"/>
                </a:lnTo>
                <a:lnTo>
                  <a:pt x="52" y="11"/>
                </a:lnTo>
                <a:lnTo>
                  <a:pt x="48" y="10"/>
                </a:lnTo>
                <a:lnTo>
                  <a:pt x="47" y="8"/>
                </a:lnTo>
                <a:lnTo>
                  <a:pt x="44" y="8"/>
                </a:lnTo>
                <a:lnTo>
                  <a:pt x="41" y="8"/>
                </a:lnTo>
                <a:lnTo>
                  <a:pt x="37" y="8"/>
                </a:lnTo>
                <a:lnTo>
                  <a:pt x="35" y="8"/>
                </a:lnTo>
                <a:lnTo>
                  <a:pt x="33" y="6"/>
                </a:lnTo>
                <a:lnTo>
                  <a:pt x="28" y="8"/>
                </a:lnTo>
                <a:lnTo>
                  <a:pt x="27" y="8"/>
                </a:lnTo>
                <a:lnTo>
                  <a:pt x="26" y="11"/>
                </a:lnTo>
                <a:lnTo>
                  <a:pt x="27" y="13"/>
                </a:lnTo>
                <a:lnTo>
                  <a:pt x="26" y="14"/>
                </a:lnTo>
                <a:lnTo>
                  <a:pt x="24" y="16"/>
                </a:lnTo>
                <a:lnTo>
                  <a:pt x="28" y="17"/>
                </a:lnTo>
                <a:lnTo>
                  <a:pt x="29" y="19"/>
                </a:lnTo>
                <a:lnTo>
                  <a:pt x="26" y="21"/>
                </a:lnTo>
                <a:lnTo>
                  <a:pt x="23" y="24"/>
                </a:lnTo>
                <a:lnTo>
                  <a:pt x="19" y="27"/>
                </a:lnTo>
                <a:lnTo>
                  <a:pt x="15" y="28"/>
                </a:lnTo>
                <a:lnTo>
                  <a:pt x="15" y="30"/>
                </a:lnTo>
                <a:lnTo>
                  <a:pt x="18" y="32"/>
                </a:lnTo>
                <a:lnTo>
                  <a:pt x="19" y="33"/>
                </a:lnTo>
                <a:lnTo>
                  <a:pt x="20" y="32"/>
                </a:lnTo>
                <a:lnTo>
                  <a:pt x="23" y="35"/>
                </a:lnTo>
                <a:lnTo>
                  <a:pt x="29" y="38"/>
                </a:lnTo>
                <a:lnTo>
                  <a:pt x="32" y="38"/>
                </a:lnTo>
                <a:lnTo>
                  <a:pt x="32" y="35"/>
                </a:lnTo>
                <a:lnTo>
                  <a:pt x="33" y="35"/>
                </a:lnTo>
                <a:lnTo>
                  <a:pt x="36" y="30"/>
                </a:lnTo>
                <a:lnTo>
                  <a:pt x="37" y="32"/>
                </a:lnTo>
                <a:lnTo>
                  <a:pt x="39" y="33"/>
                </a:lnTo>
                <a:lnTo>
                  <a:pt x="39" y="35"/>
                </a:lnTo>
                <a:lnTo>
                  <a:pt x="43" y="38"/>
                </a:lnTo>
                <a:lnTo>
                  <a:pt x="44" y="38"/>
                </a:lnTo>
                <a:lnTo>
                  <a:pt x="47" y="38"/>
                </a:lnTo>
                <a:lnTo>
                  <a:pt x="49" y="41"/>
                </a:lnTo>
                <a:lnTo>
                  <a:pt x="53" y="43"/>
                </a:lnTo>
                <a:lnTo>
                  <a:pt x="56" y="41"/>
                </a:lnTo>
                <a:lnTo>
                  <a:pt x="59" y="43"/>
                </a:lnTo>
                <a:lnTo>
                  <a:pt x="57" y="44"/>
                </a:lnTo>
                <a:lnTo>
                  <a:pt x="52" y="46"/>
                </a:lnTo>
                <a:lnTo>
                  <a:pt x="52" y="47"/>
                </a:lnTo>
                <a:lnTo>
                  <a:pt x="49" y="49"/>
                </a:lnTo>
                <a:lnTo>
                  <a:pt x="48" y="47"/>
                </a:lnTo>
                <a:lnTo>
                  <a:pt x="45" y="49"/>
                </a:lnTo>
                <a:lnTo>
                  <a:pt x="44" y="49"/>
                </a:lnTo>
                <a:lnTo>
                  <a:pt x="41" y="50"/>
                </a:lnTo>
                <a:lnTo>
                  <a:pt x="41" y="52"/>
                </a:lnTo>
                <a:lnTo>
                  <a:pt x="39" y="54"/>
                </a:lnTo>
                <a:lnTo>
                  <a:pt x="35" y="54"/>
                </a:lnTo>
                <a:lnTo>
                  <a:pt x="31" y="52"/>
                </a:lnTo>
                <a:lnTo>
                  <a:pt x="28" y="52"/>
                </a:lnTo>
                <a:lnTo>
                  <a:pt x="26" y="52"/>
                </a:lnTo>
                <a:lnTo>
                  <a:pt x="24" y="55"/>
                </a:lnTo>
                <a:lnTo>
                  <a:pt x="22" y="55"/>
                </a:lnTo>
                <a:lnTo>
                  <a:pt x="20" y="57"/>
                </a:lnTo>
                <a:lnTo>
                  <a:pt x="19" y="58"/>
                </a:lnTo>
                <a:lnTo>
                  <a:pt x="15" y="55"/>
                </a:lnTo>
                <a:lnTo>
                  <a:pt x="12" y="55"/>
                </a:lnTo>
                <a:lnTo>
                  <a:pt x="8" y="55"/>
                </a:lnTo>
                <a:lnTo>
                  <a:pt x="6" y="55"/>
                </a:lnTo>
                <a:lnTo>
                  <a:pt x="4" y="57"/>
                </a:lnTo>
                <a:lnTo>
                  <a:pt x="0" y="58"/>
                </a:lnTo>
                <a:lnTo>
                  <a:pt x="0" y="60"/>
                </a:lnTo>
                <a:lnTo>
                  <a:pt x="0" y="63"/>
                </a:lnTo>
                <a:lnTo>
                  <a:pt x="2" y="65"/>
                </a:lnTo>
                <a:lnTo>
                  <a:pt x="3" y="66"/>
                </a:lnTo>
                <a:lnTo>
                  <a:pt x="6" y="65"/>
                </a:lnTo>
                <a:lnTo>
                  <a:pt x="10" y="66"/>
                </a:lnTo>
                <a:lnTo>
                  <a:pt x="16" y="65"/>
                </a:lnTo>
                <a:lnTo>
                  <a:pt x="19" y="65"/>
                </a:lnTo>
                <a:lnTo>
                  <a:pt x="20" y="65"/>
                </a:lnTo>
                <a:lnTo>
                  <a:pt x="22" y="66"/>
                </a:lnTo>
                <a:lnTo>
                  <a:pt x="24" y="68"/>
                </a:lnTo>
                <a:lnTo>
                  <a:pt x="33" y="65"/>
                </a:lnTo>
                <a:lnTo>
                  <a:pt x="35" y="66"/>
                </a:lnTo>
                <a:lnTo>
                  <a:pt x="37" y="66"/>
                </a:lnTo>
                <a:lnTo>
                  <a:pt x="39" y="71"/>
                </a:lnTo>
                <a:lnTo>
                  <a:pt x="43" y="69"/>
                </a:lnTo>
                <a:lnTo>
                  <a:pt x="44" y="71"/>
                </a:lnTo>
                <a:lnTo>
                  <a:pt x="48" y="69"/>
                </a:lnTo>
                <a:lnTo>
                  <a:pt x="53" y="68"/>
                </a:lnTo>
                <a:lnTo>
                  <a:pt x="57" y="69"/>
                </a:lnTo>
                <a:lnTo>
                  <a:pt x="60" y="68"/>
                </a:lnTo>
                <a:lnTo>
                  <a:pt x="63" y="68"/>
                </a:lnTo>
                <a:lnTo>
                  <a:pt x="64" y="65"/>
                </a:lnTo>
                <a:lnTo>
                  <a:pt x="69" y="66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40" name="Freeform 1064"/>
          <p:cNvSpPr>
            <a:spLocks/>
          </p:cNvSpPr>
          <p:nvPr/>
        </p:nvSpPr>
        <p:spPr bwMode="auto">
          <a:xfrm>
            <a:off x="7666115" y="2817311"/>
            <a:ext cx="313759" cy="141742"/>
          </a:xfrm>
          <a:custGeom>
            <a:avLst/>
            <a:gdLst/>
            <a:ahLst/>
            <a:cxnLst>
              <a:cxn ang="0">
                <a:pos x="71" y="58"/>
              </a:cxn>
              <a:cxn ang="0">
                <a:pos x="83" y="54"/>
              </a:cxn>
              <a:cxn ang="0">
                <a:pos x="92" y="49"/>
              </a:cxn>
              <a:cxn ang="0">
                <a:pos x="99" y="52"/>
              </a:cxn>
              <a:cxn ang="0">
                <a:pos x="111" y="49"/>
              </a:cxn>
              <a:cxn ang="0">
                <a:pos x="119" y="41"/>
              </a:cxn>
              <a:cxn ang="0">
                <a:pos x="135" y="38"/>
              </a:cxn>
              <a:cxn ang="0">
                <a:pos x="150" y="27"/>
              </a:cxn>
              <a:cxn ang="0">
                <a:pos x="165" y="19"/>
              </a:cxn>
              <a:cxn ang="0">
                <a:pos x="158" y="13"/>
              </a:cxn>
              <a:cxn ang="0">
                <a:pos x="145" y="8"/>
              </a:cxn>
              <a:cxn ang="0">
                <a:pos x="140" y="6"/>
              </a:cxn>
              <a:cxn ang="0">
                <a:pos x="124" y="6"/>
              </a:cxn>
              <a:cxn ang="0">
                <a:pos x="116" y="5"/>
              </a:cxn>
              <a:cxn ang="0">
                <a:pos x="100" y="5"/>
              </a:cxn>
              <a:cxn ang="0">
                <a:pos x="89" y="5"/>
              </a:cxn>
              <a:cxn ang="0">
                <a:pos x="81" y="5"/>
              </a:cxn>
              <a:cxn ang="0">
                <a:pos x="72" y="2"/>
              </a:cxn>
              <a:cxn ang="0">
                <a:pos x="64" y="5"/>
              </a:cxn>
              <a:cxn ang="0">
                <a:pos x="61" y="11"/>
              </a:cxn>
              <a:cxn ang="0">
                <a:pos x="52" y="11"/>
              </a:cxn>
              <a:cxn ang="0">
                <a:pos x="44" y="8"/>
              </a:cxn>
              <a:cxn ang="0">
                <a:pos x="35" y="8"/>
              </a:cxn>
              <a:cxn ang="0">
                <a:pos x="27" y="8"/>
              </a:cxn>
              <a:cxn ang="0">
                <a:pos x="26" y="14"/>
              </a:cxn>
              <a:cxn ang="0">
                <a:pos x="29" y="19"/>
              </a:cxn>
              <a:cxn ang="0">
                <a:pos x="19" y="27"/>
              </a:cxn>
              <a:cxn ang="0">
                <a:pos x="18" y="32"/>
              </a:cxn>
              <a:cxn ang="0">
                <a:pos x="23" y="35"/>
              </a:cxn>
              <a:cxn ang="0">
                <a:pos x="32" y="35"/>
              </a:cxn>
              <a:cxn ang="0">
                <a:pos x="37" y="32"/>
              </a:cxn>
              <a:cxn ang="0">
                <a:pos x="43" y="38"/>
              </a:cxn>
              <a:cxn ang="0">
                <a:pos x="49" y="41"/>
              </a:cxn>
              <a:cxn ang="0">
                <a:pos x="59" y="43"/>
              </a:cxn>
              <a:cxn ang="0">
                <a:pos x="52" y="47"/>
              </a:cxn>
              <a:cxn ang="0">
                <a:pos x="45" y="49"/>
              </a:cxn>
              <a:cxn ang="0">
                <a:pos x="41" y="52"/>
              </a:cxn>
              <a:cxn ang="0">
                <a:pos x="31" y="52"/>
              </a:cxn>
              <a:cxn ang="0">
                <a:pos x="24" y="55"/>
              </a:cxn>
              <a:cxn ang="0">
                <a:pos x="19" y="58"/>
              </a:cxn>
              <a:cxn ang="0">
                <a:pos x="8" y="55"/>
              </a:cxn>
              <a:cxn ang="0">
                <a:pos x="0" y="58"/>
              </a:cxn>
              <a:cxn ang="0">
                <a:pos x="2" y="65"/>
              </a:cxn>
              <a:cxn ang="0">
                <a:pos x="10" y="66"/>
              </a:cxn>
              <a:cxn ang="0">
                <a:pos x="20" y="65"/>
              </a:cxn>
              <a:cxn ang="0">
                <a:pos x="33" y="65"/>
              </a:cxn>
              <a:cxn ang="0">
                <a:pos x="39" y="71"/>
              </a:cxn>
              <a:cxn ang="0">
                <a:pos x="48" y="69"/>
              </a:cxn>
              <a:cxn ang="0">
                <a:pos x="60" y="68"/>
              </a:cxn>
              <a:cxn ang="0">
                <a:pos x="69" y="66"/>
              </a:cxn>
            </a:cxnLst>
            <a:rect l="0" t="0" r="r" b="b"/>
            <a:pathLst>
              <a:path w="165" h="71">
                <a:moveTo>
                  <a:pt x="69" y="66"/>
                </a:moveTo>
                <a:lnTo>
                  <a:pt x="68" y="63"/>
                </a:lnTo>
                <a:lnTo>
                  <a:pt x="71" y="58"/>
                </a:lnTo>
                <a:lnTo>
                  <a:pt x="80" y="55"/>
                </a:lnTo>
                <a:lnTo>
                  <a:pt x="81" y="54"/>
                </a:lnTo>
                <a:lnTo>
                  <a:pt x="83" y="54"/>
                </a:lnTo>
                <a:lnTo>
                  <a:pt x="85" y="49"/>
                </a:lnTo>
                <a:lnTo>
                  <a:pt x="88" y="50"/>
                </a:lnTo>
                <a:lnTo>
                  <a:pt x="92" y="49"/>
                </a:lnTo>
                <a:lnTo>
                  <a:pt x="95" y="49"/>
                </a:lnTo>
                <a:lnTo>
                  <a:pt x="96" y="52"/>
                </a:lnTo>
                <a:lnTo>
                  <a:pt x="99" y="52"/>
                </a:lnTo>
                <a:lnTo>
                  <a:pt x="104" y="52"/>
                </a:lnTo>
                <a:lnTo>
                  <a:pt x="107" y="52"/>
                </a:lnTo>
                <a:lnTo>
                  <a:pt x="111" y="49"/>
                </a:lnTo>
                <a:lnTo>
                  <a:pt x="112" y="46"/>
                </a:lnTo>
                <a:lnTo>
                  <a:pt x="115" y="43"/>
                </a:lnTo>
                <a:lnTo>
                  <a:pt x="119" y="41"/>
                </a:lnTo>
                <a:lnTo>
                  <a:pt x="124" y="41"/>
                </a:lnTo>
                <a:lnTo>
                  <a:pt x="132" y="39"/>
                </a:lnTo>
                <a:lnTo>
                  <a:pt x="135" y="38"/>
                </a:lnTo>
                <a:lnTo>
                  <a:pt x="137" y="35"/>
                </a:lnTo>
                <a:lnTo>
                  <a:pt x="141" y="32"/>
                </a:lnTo>
                <a:lnTo>
                  <a:pt x="150" y="27"/>
                </a:lnTo>
                <a:lnTo>
                  <a:pt x="161" y="24"/>
                </a:lnTo>
                <a:lnTo>
                  <a:pt x="164" y="22"/>
                </a:lnTo>
                <a:lnTo>
                  <a:pt x="165" y="19"/>
                </a:lnTo>
                <a:lnTo>
                  <a:pt x="165" y="16"/>
                </a:lnTo>
                <a:lnTo>
                  <a:pt x="164" y="17"/>
                </a:lnTo>
                <a:lnTo>
                  <a:pt x="158" y="13"/>
                </a:lnTo>
                <a:lnTo>
                  <a:pt x="154" y="13"/>
                </a:lnTo>
                <a:lnTo>
                  <a:pt x="150" y="8"/>
                </a:lnTo>
                <a:lnTo>
                  <a:pt x="145" y="8"/>
                </a:lnTo>
                <a:lnTo>
                  <a:pt x="144" y="8"/>
                </a:lnTo>
                <a:lnTo>
                  <a:pt x="141" y="8"/>
                </a:lnTo>
                <a:lnTo>
                  <a:pt x="140" y="6"/>
                </a:lnTo>
                <a:lnTo>
                  <a:pt x="137" y="6"/>
                </a:lnTo>
                <a:lnTo>
                  <a:pt x="131" y="6"/>
                </a:lnTo>
                <a:lnTo>
                  <a:pt x="124" y="6"/>
                </a:lnTo>
                <a:lnTo>
                  <a:pt x="121" y="6"/>
                </a:lnTo>
                <a:lnTo>
                  <a:pt x="117" y="5"/>
                </a:lnTo>
                <a:lnTo>
                  <a:pt x="116" y="5"/>
                </a:lnTo>
                <a:lnTo>
                  <a:pt x="112" y="6"/>
                </a:lnTo>
                <a:lnTo>
                  <a:pt x="103" y="5"/>
                </a:lnTo>
                <a:lnTo>
                  <a:pt x="100" y="5"/>
                </a:lnTo>
                <a:lnTo>
                  <a:pt x="96" y="6"/>
                </a:lnTo>
                <a:lnTo>
                  <a:pt x="92" y="6"/>
                </a:lnTo>
                <a:lnTo>
                  <a:pt x="89" y="5"/>
                </a:lnTo>
                <a:lnTo>
                  <a:pt x="88" y="5"/>
                </a:lnTo>
                <a:lnTo>
                  <a:pt x="85" y="3"/>
                </a:lnTo>
                <a:lnTo>
                  <a:pt x="81" y="5"/>
                </a:lnTo>
                <a:lnTo>
                  <a:pt x="79" y="3"/>
                </a:lnTo>
                <a:lnTo>
                  <a:pt x="73" y="0"/>
                </a:lnTo>
                <a:lnTo>
                  <a:pt x="72" y="2"/>
                </a:lnTo>
                <a:lnTo>
                  <a:pt x="69" y="2"/>
                </a:lnTo>
                <a:lnTo>
                  <a:pt x="67" y="2"/>
                </a:lnTo>
                <a:lnTo>
                  <a:pt x="64" y="5"/>
                </a:lnTo>
                <a:lnTo>
                  <a:pt x="64" y="6"/>
                </a:lnTo>
                <a:lnTo>
                  <a:pt x="63" y="8"/>
                </a:lnTo>
                <a:lnTo>
                  <a:pt x="61" y="11"/>
                </a:lnTo>
                <a:lnTo>
                  <a:pt x="60" y="13"/>
                </a:lnTo>
                <a:lnTo>
                  <a:pt x="56" y="13"/>
                </a:lnTo>
                <a:lnTo>
                  <a:pt x="52" y="11"/>
                </a:lnTo>
                <a:lnTo>
                  <a:pt x="48" y="10"/>
                </a:lnTo>
                <a:lnTo>
                  <a:pt x="47" y="8"/>
                </a:lnTo>
                <a:lnTo>
                  <a:pt x="44" y="8"/>
                </a:lnTo>
                <a:lnTo>
                  <a:pt x="41" y="8"/>
                </a:lnTo>
                <a:lnTo>
                  <a:pt x="37" y="8"/>
                </a:lnTo>
                <a:lnTo>
                  <a:pt x="35" y="8"/>
                </a:lnTo>
                <a:lnTo>
                  <a:pt x="33" y="6"/>
                </a:lnTo>
                <a:lnTo>
                  <a:pt x="28" y="8"/>
                </a:lnTo>
                <a:lnTo>
                  <a:pt x="27" y="8"/>
                </a:lnTo>
                <a:lnTo>
                  <a:pt x="26" y="11"/>
                </a:lnTo>
                <a:lnTo>
                  <a:pt x="27" y="13"/>
                </a:lnTo>
                <a:lnTo>
                  <a:pt x="26" y="14"/>
                </a:lnTo>
                <a:lnTo>
                  <a:pt x="24" y="16"/>
                </a:lnTo>
                <a:lnTo>
                  <a:pt x="28" y="17"/>
                </a:lnTo>
                <a:lnTo>
                  <a:pt x="29" y="19"/>
                </a:lnTo>
                <a:lnTo>
                  <a:pt x="26" y="21"/>
                </a:lnTo>
                <a:lnTo>
                  <a:pt x="23" y="24"/>
                </a:lnTo>
                <a:lnTo>
                  <a:pt x="19" y="27"/>
                </a:lnTo>
                <a:lnTo>
                  <a:pt x="15" y="28"/>
                </a:lnTo>
                <a:lnTo>
                  <a:pt x="15" y="30"/>
                </a:lnTo>
                <a:lnTo>
                  <a:pt x="18" y="32"/>
                </a:lnTo>
                <a:lnTo>
                  <a:pt x="19" y="33"/>
                </a:lnTo>
                <a:lnTo>
                  <a:pt x="20" y="32"/>
                </a:lnTo>
                <a:lnTo>
                  <a:pt x="23" y="35"/>
                </a:lnTo>
                <a:lnTo>
                  <a:pt x="29" y="38"/>
                </a:lnTo>
                <a:lnTo>
                  <a:pt x="32" y="38"/>
                </a:lnTo>
                <a:lnTo>
                  <a:pt x="32" y="35"/>
                </a:lnTo>
                <a:lnTo>
                  <a:pt x="33" y="35"/>
                </a:lnTo>
                <a:lnTo>
                  <a:pt x="36" y="30"/>
                </a:lnTo>
                <a:lnTo>
                  <a:pt x="37" y="32"/>
                </a:lnTo>
                <a:lnTo>
                  <a:pt x="39" y="33"/>
                </a:lnTo>
                <a:lnTo>
                  <a:pt x="39" y="35"/>
                </a:lnTo>
                <a:lnTo>
                  <a:pt x="43" y="38"/>
                </a:lnTo>
                <a:lnTo>
                  <a:pt x="44" y="38"/>
                </a:lnTo>
                <a:lnTo>
                  <a:pt x="47" y="38"/>
                </a:lnTo>
                <a:lnTo>
                  <a:pt x="49" y="41"/>
                </a:lnTo>
                <a:lnTo>
                  <a:pt x="53" y="43"/>
                </a:lnTo>
                <a:lnTo>
                  <a:pt x="56" y="41"/>
                </a:lnTo>
                <a:lnTo>
                  <a:pt x="59" y="43"/>
                </a:lnTo>
                <a:lnTo>
                  <a:pt x="57" y="44"/>
                </a:lnTo>
                <a:lnTo>
                  <a:pt x="52" y="46"/>
                </a:lnTo>
                <a:lnTo>
                  <a:pt x="52" y="47"/>
                </a:lnTo>
                <a:lnTo>
                  <a:pt x="49" y="49"/>
                </a:lnTo>
                <a:lnTo>
                  <a:pt x="48" y="47"/>
                </a:lnTo>
                <a:lnTo>
                  <a:pt x="45" y="49"/>
                </a:lnTo>
                <a:lnTo>
                  <a:pt x="44" y="49"/>
                </a:lnTo>
                <a:lnTo>
                  <a:pt x="41" y="50"/>
                </a:lnTo>
                <a:lnTo>
                  <a:pt x="41" y="52"/>
                </a:lnTo>
                <a:lnTo>
                  <a:pt x="39" y="54"/>
                </a:lnTo>
                <a:lnTo>
                  <a:pt x="35" y="54"/>
                </a:lnTo>
                <a:lnTo>
                  <a:pt x="31" y="52"/>
                </a:lnTo>
                <a:lnTo>
                  <a:pt x="28" y="52"/>
                </a:lnTo>
                <a:lnTo>
                  <a:pt x="26" y="52"/>
                </a:lnTo>
                <a:lnTo>
                  <a:pt x="24" y="55"/>
                </a:lnTo>
                <a:lnTo>
                  <a:pt x="22" y="55"/>
                </a:lnTo>
                <a:lnTo>
                  <a:pt x="20" y="57"/>
                </a:lnTo>
                <a:lnTo>
                  <a:pt x="19" y="58"/>
                </a:lnTo>
                <a:lnTo>
                  <a:pt x="15" y="55"/>
                </a:lnTo>
                <a:lnTo>
                  <a:pt x="12" y="55"/>
                </a:lnTo>
                <a:lnTo>
                  <a:pt x="8" y="55"/>
                </a:lnTo>
                <a:lnTo>
                  <a:pt x="6" y="55"/>
                </a:lnTo>
                <a:lnTo>
                  <a:pt x="4" y="57"/>
                </a:lnTo>
                <a:lnTo>
                  <a:pt x="0" y="58"/>
                </a:lnTo>
                <a:lnTo>
                  <a:pt x="0" y="60"/>
                </a:lnTo>
                <a:lnTo>
                  <a:pt x="0" y="63"/>
                </a:lnTo>
                <a:lnTo>
                  <a:pt x="2" y="65"/>
                </a:lnTo>
                <a:lnTo>
                  <a:pt x="3" y="66"/>
                </a:lnTo>
                <a:lnTo>
                  <a:pt x="6" y="65"/>
                </a:lnTo>
                <a:lnTo>
                  <a:pt x="10" y="66"/>
                </a:lnTo>
                <a:lnTo>
                  <a:pt x="16" y="65"/>
                </a:lnTo>
                <a:lnTo>
                  <a:pt x="19" y="65"/>
                </a:lnTo>
                <a:lnTo>
                  <a:pt x="20" y="65"/>
                </a:lnTo>
                <a:lnTo>
                  <a:pt x="22" y="66"/>
                </a:lnTo>
                <a:lnTo>
                  <a:pt x="24" y="68"/>
                </a:lnTo>
                <a:lnTo>
                  <a:pt x="33" y="65"/>
                </a:lnTo>
                <a:lnTo>
                  <a:pt x="35" y="66"/>
                </a:lnTo>
                <a:lnTo>
                  <a:pt x="37" y="66"/>
                </a:lnTo>
                <a:lnTo>
                  <a:pt x="39" y="71"/>
                </a:lnTo>
                <a:lnTo>
                  <a:pt x="43" y="69"/>
                </a:lnTo>
                <a:lnTo>
                  <a:pt x="44" y="71"/>
                </a:lnTo>
                <a:lnTo>
                  <a:pt x="48" y="69"/>
                </a:lnTo>
                <a:lnTo>
                  <a:pt x="53" y="68"/>
                </a:lnTo>
                <a:lnTo>
                  <a:pt x="57" y="69"/>
                </a:lnTo>
                <a:lnTo>
                  <a:pt x="60" y="68"/>
                </a:lnTo>
                <a:lnTo>
                  <a:pt x="63" y="68"/>
                </a:lnTo>
                <a:lnTo>
                  <a:pt x="64" y="65"/>
                </a:lnTo>
                <a:lnTo>
                  <a:pt x="69" y="66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41" name="Freeform 1065"/>
          <p:cNvSpPr>
            <a:spLocks/>
          </p:cNvSpPr>
          <p:nvPr/>
        </p:nvSpPr>
        <p:spPr bwMode="auto">
          <a:xfrm>
            <a:off x="5169681" y="3755815"/>
            <a:ext cx="179291" cy="152479"/>
          </a:xfrm>
          <a:custGeom>
            <a:avLst/>
            <a:gdLst/>
            <a:ahLst/>
            <a:cxnLst>
              <a:cxn ang="0">
                <a:pos x="12" y="48"/>
              </a:cxn>
              <a:cxn ang="0">
                <a:pos x="10" y="42"/>
              </a:cxn>
              <a:cxn ang="0">
                <a:pos x="4" y="34"/>
              </a:cxn>
              <a:cxn ang="0">
                <a:pos x="2" y="36"/>
              </a:cxn>
              <a:cxn ang="0">
                <a:pos x="2" y="33"/>
              </a:cxn>
              <a:cxn ang="0">
                <a:pos x="10" y="26"/>
              </a:cxn>
              <a:cxn ang="0">
                <a:pos x="16" y="15"/>
              </a:cxn>
              <a:cxn ang="0">
                <a:pos x="19" y="6"/>
              </a:cxn>
              <a:cxn ang="0">
                <a:pos x="22" y="1"/>
              </a:cxn>
              <a:cxn ang="0">
                <a:pos x="28" y="3"/>
              </a:cxn>
              <a:cxn ang="0">
                <a:pos x="36" y="1"/>
              </a:cxn>
              <a:cxn ang="0">
                <a:pos x="39" y="0"/>
              </a:cxn>
              <a:cxn ang="0">
                <a:pos x="47" y="0"/>
              </a:cxn>
              <a:cxn ang="0">
                <a:pos x="51" y="1"/>
              </a:cxn>
              <a:cxn ang="0">
                <a:pos x="56" y="9"/>
              </a:cxn>
              <a:cxn ang="0">
                <a:pos x="59" y="9"/>
              </a:cxn>
              <a:cxn ang="0">
                <a:pos x="62" y="9"/>
              </a:cxn>
              <a:cxn ang="0">
                <a:pos x="66" y="17"/>
              </a:cxn>
              <a:cxn ang="0">
                <a:pos x="68" y="20"/>
              </a:cxn>
              <a:cxn ang="0">
                <a:pos x="71" y="23"/>
              </a:cxn>
              <a:cxn ang="0">
                <a:pos x="72" y="25"/>
              </a:cxn>
              <a:cxn ang="0">
                <a:pos x="76" y="28"/>
              </a:cxn>
              <a:cxn ang="0">
                <a:pos x="80" y="31"/>
              </a:cxn>
              <a:cxn ang="0">
                <a:pos x="83" y="36"/>
              </a:cxn>
              <a:cxn ang="0">
                <a:pos x="83" y="39"/>
              </a:cxn>
              <a:cxn ang="0">
                <a:pos x="84" y="44"/>
              </a:cxn>
              <a:cxn ang="0">
                <a:pos x="86" y="50"/>
              </a:cxn>
              <a:cxn ang="0">
                <a:pos x="87" y="56"/>
              </a:cxn>
              <a:cxn ang="0">
                <a:pos x="90" y="58"/>
              </a:cxn>
              <a:cxn ang="0">
                <a:pos x="92" y="59"/>
              </a:cxn>
              <a:cxn ang="0">
                <a:pos x="95" y="64"/>
              </a:cxn>
              <a:cxn ang="0">
                <a:pos x="93" y="67"/>
              </a:cxn>
              <a:cxn ang="0">
                <a:pos x="93" y="70"/>
              </a:cxn>
              <a:cxn ang="0">
                <a:pos x="95" y="75"/>
              </a:cxn>
              <a:cxn ang="0">
                <a:pos x="88" y="75"/>
              </a:cxn>
              <a:cxn ang="0">
                <a:pos x="82" y="77"/>
              </a:cxn>
              <a:cxn ang="0">
                <a:pos x="75" y="75"/>
              </a:cxn>
              <a:cxn ang="0">
                <a:pos x="68" y="74"/>
              </a:cxn>
              <a:cxn ang="0">
                <a:pos x="66" y="70"/>
              </a:cxn>
              <a:cxn ang="0">
                <a:pos x="59" y="70"/>
              </a:cxn>
              <a:cxn ang="0">
                <a:pos x="38" y="70"/>
              </a:cxn>
              <a:cxn ang="0">
                <a:pos x="28" y="75"/>
              </a:cxn>
              <a:cxn ang="0">
                <a:pos x="16" y="77"/>
              </a:cxn>
              <a:cxn ang="0">
                <a:pos x="12" y="75"/>
              </a:cxn>
              <a:cxn ang="0">
                <a:pos x="24" y="61"/>
              </a:cxn>
              <a:cxn ang="0">
                <a:pos x="28" y="58"/>
              </a:cxn>
              <a:cxn ang="0">
                <a:pos x="35" y="56"/>
              </a:cxn>
              <a:cxn ang="0">
                <a:pos x="39" y="55"/>
              </a:cxn>
              <a:cxn ang="0">
                <a:pos x="44" y="59"/>
              </a:cxn>
              <a:cxn ang="0">
                <a:pos x="51" y="59"/>
              </a:cxn>
              <a:cxn ang="0">
                <a:pos x="56" y="59"/>
              </a:cxn>
              <a:cxn ang="0">
                <a:pos x="58" y="55"/>
              </a:cxn>
              <a:cxn ang="0">
                <a:pos x="54" y="55"/>
              </a:cxn>
              <a:cxn ang="0">
                <a:pos x="47" y="55"/>
              </a:cxn>
              <a:cxn ang="0">
                <a:pos x="40" y="50"/>
              </a:cxn>
              <a:cxn ang="0">
                <a:pos x="36" y="50"/>
              </a:cxn>
              <a:cxn ang="0">
                <a:pos x="32" y="52"/>
              </a:cxn>
            </a:cxnLst>
            <a:rect l="0" t="0" r="r" b="b"/>
            <a:pathLst>
              <a:path w="95" h="77">
                <a:moveTo>
                  <a:pt x="15" y="55"/>
                </a:moveTo>
                <a:lnTo>
                  <a:pt x="14" y="52"/>
                </a:lnTo>
                <a:lnTo>
                  <a:pt x="12" y="48"/>
                </a:lnTo>
                <a:lnTo>
                  <a:pt x="12" y="45"/>
                </a:lnTo>
                <a:lnTo>
                  <a:pt x="11" y="44"/>
                </a:lnTo>
                <a:lnTo>
                  <a:pt x="10" y="42"/>
                </a:lnTo>
                <a:lnTo>
                  <a:pt x="8" y="39"/>
                </a:lnTo>
                <a:lnTo>
                  <a:pt x="6" y="37"/>
                </a:lnTo>
                <a:lnTo>
                  <a:pt x="4" y="34"/>
                </a:lnTo>
                <a:lnTo>
                  <a:pt x="3" y="34"/>
                </a:lnTo>
                <a:lnTo>
                  <a:pt x="2" y="34"/>
                </a:lnTo>
                <a:lnTo>
                  <a:pt x="2" y="36"/>
                </a:lnTo>
                <a:lnTo>
                  <a:pt x="0" y="34"/>
                </a:lnTo>
                <a:lnTo>
                  <a:pt x="0" y="33"/>
                </a:lnTo>
                <a:lnTo>
                  <a:pt x="2" y="33"/>
                </a:lnTo>
                <a:lnTo>
                  <a:pt x="4" y="31"/>
                </a:lnTo>
                <a:lnTo>
                  <a:pt x="10" y="28"/>
                </a:lnTo>
                <a:lnTo>
                  <a:pt x="10" y="26"/>
                </a:lnTo>
                <a:lnTo>
                  <a:pt x="11" y="23"/>
                </a:lnTo>
                <a:lnTo>
                  <a:pt x="15" y="17"/>
                </a:lnTo>
                <a:lnTo>
                  <a:pt x="16" y="15"/>
                </a:lnTo>
                <a:lnTo>
                  <a:pt x="16" y="9"/>
                </a:lnTo>
                <a:lnTo>
                  <a:pt x="18" y="8"/>
                </a:lnTo>
                <a:lnTo>
                  <a:pt x="19" y="6"/>
                </a:lnTo>
                <a:lnTo>
                  <a:pt x="19" y="1"/>
                </a:lnTo>
                <a:lnTo>
                  <a:pt x="20" y="1"/>
                </a:lnTo>
                <a:lnTo>
                  <a:pt x="22" y="1"/>
                </a:lnTo>
                <a:lnTo>
                  <a:pt x="23" y="1"/>
                </a:lnTo>
                <a:lnTo>
                  <a:pt x="26" y="1"/>
                </a:lnTo>
                <a:lnTo>
                  <a:pt x="28" y="3"/>
                </a:lnTo>
                <a:lnTo>
                  <a:pt x="31" y="1"/>
                </a:lnTo>
                <a:lnTo>
                  <a:pt x="34" y="1"/>
                </a:lnTo>
                <a:lnTo>
                  <a:pt x="36" y="1"/>
                </a:lnTo>
                <a:lnTo>
                  <a:pt x="38" y="1"/>
                </a:lnTo>
                <a:lnTo>
                  <a:pt x="38" y="0"/>
                </a:lnTo>
                <a:lnTo>
                  <a:pt x="39" y="0"/>
                </a:lnTo>
                <a:lnTo>
                  <a:pt x="40" y="0"/>
                </a:lnTo>
                <a:lnTo>
                  <a:pt x="42" y="0"/>
                </a:lnTo>
                <a:lnTo>
                  <a:pt x="47" y="0"/>
                </a:lnTo>
                <a:lnTo>
                  <a:pt x="48" y="0"/>
                </a:lnTo>
                <a:lnTo>
                  <a:pt x="50" y="1"/>
                </a:lnTo>
                <a:lnTo>
                  <a:pt x="51" y="1"/>
                </a:lnTo>
                <a:lnTo>
                  <a:pt x="54" y="4"/>
                </a:lnTo>
                <a:lnTo>
                  <a:pt x="54" y="6"/>
                </a:lnTo>
                <a:lnTo>
                  <a:pt x="56" y="9"/>
                </a:lnTo>
                <a:lnTo>
                  <a:pt x="58" y="9"/>
                </a:lnTo>
                <a:lnTo>
                  <a:pt x="59" y="8"/>
                </a:lnTo>
                <a:lnTo>
                  <a:pt x="59" y="9"/>
                </a:lnTo>
                <a:lnTo>
                  <a:pt x="60" y="9"/>
                </a:lnTo>
                <a:lnTo>
                  <a:pt x="62" y="8"/>
                </a:lnTo>
                <a:lnTo>
                  <a:pt x="62" y="9"/>
                </a:lnTo>
                <a:lnTo>
                  <a:pt x="64" y="12"/>
                </a:lnTo>
                <a:lnTo>
                  <a:pt x="66" y="15"/>
                </a:lnTo>
                <a:lnTo>
                  <a:pt x="66" y="17"/>
                </a:lnTo>
                <a:lnTo>
                  <a:pt x="67" y="17"/>
                </a:lnTo>
                <a:lnTo>
                  <a:pt x="68" y="19"/>
                </a:lnTo>
                <a:lnTo>
                  <a:pt x="68" y="20"/>
                </a:lnTo>
                <a:lnTo>
                  <a:pt x="70" y="20"/>
                </a:lnTo>
                <a:lnTo>
                  <a:pt x="71" y="22"/>
                </a:lnTo>
                <a:lnTo>
                  <a:pt x="71" y="23"/>
                </a:lnTo>
                <a:lnTo>
                  <a:pt x="72" y="23"/>
                </a:lnTo>
                <a:lnTo>
                  <a:pt x="71" y="25"/>
                </a:lnTo>
                <a:lnTo>
                  <a:pt x="72" y="25"/>
                </a:lnTo>
                <a:lnTo>
                  <a:pt x="74" y="26"/>
                </a:lnTo>
                <a:lnTo>
                  <a:pt x="75" y="26"/>
                </a:lnTo>
                <a:lnTo>
                  <a:pt x="76" y="28"/>
                </a:lnTo>
                <a:lnTo>
                  <a:pt x="78" y="28"/>
                </a:lnTo>
                <a:lnTo>
                  <a:pt x="78" y="31"/>
                </a:lnTo>
                <a:lnTo>
                  <a:pt x="80" y="31"/>
                </a:lnTo>
                <a:lnTo>
                  <a:pt x="82" y="33"/>
                </a:lnTo>
                <a:lnTo>
                  <a:pt x="83" y="34"/>
                </a:lnTo>
                <a:lnTo>
                  <a:pt x="83" y="36"/>
                </a:lnTo>
                <a:lnTo>
                  <a:pt x="82" y="37"/>
                </a:lnTo>
                <a:lnTo>
                  <a:pt x="82" y="39"/>
                </a:lnTo>
                <a:lnTo>
                  <a:pt x="83" y="39"/>
                </a:lnTo>
                <a:lnTo>
                  <a:pt x="83" y="41"/>
                </a:lnTo>
                <a:lnTo>
                  <a:pt x="84" y="42"/>
                </a:lnTo>
                <a:lnTo>
                  <a:pt x="84" y="44"/>
                </a:lnTo>
                <a:lnTo>
                  <a:pt x="84" y="47"/>
                </a:lnTo>
                <a:lnTo>
                  <a:pt x="86" y="48"/>
                </a:lnTo>
                <a:lnTo>
                  <a:pt x="86" y="50"/>
                </a:lnTo>
                <a:lnTo>
                  <a:pt x="84" y="52"/>
                </a:lnTo>
                <a:lnTo>
                  <a:pt x="84" y="53"/>
                </a:lnTo>
                <a:lnTo>
                  <a:pt x="87" y="56"/>
                </a:lnTo>
                <a:lnTo>
                  <a:pt x="87" y="58"/>
                </a:lnTo>
                <a:lnTo>
                  <a:pt x="88" y="58"/>
                </a:lnTo>
                <a:lnTo>
                  <a:pt x="90" y="58"/>
                </a:lnTo>
                <a:lnTo>
                  <a:pt x="91" y="58"/>
                </a:lnTo>
                <a:lnTo>
                  <a:pt x="91" y="59"/>
                </a:lnTo>
                <a:lnTo>
                  <a:pt x="92" y="59"/>
                </a:lnTo>
                <a:lnTo>
                  <a:pt x="92" y="61"/>
                </a:lnTo>
                <a:lnTo>
                  <a:pt x="93" y="63"/>
                </a:lnTo>
                <a:lnTo>
                  <a:pt x="95" y="64"/>
                </a:lnTo>
                <a:lnTo>
                  <a:pt x="95" y="66"/>
                </a:lnTo>
                <a:lnTo>
                  <a:pt x="93" y="66"/>
                </a:lnTo>
                <a:lnTo>
                  <a:pt x="93" y="67"/>
                </a:lnTo>
                <a:lnTo>
                  <a:pt x="95" y="67"/>
                </a:lnTo>
                <a:lnTo>
                  <a:pt x="95" y="69"/>
                </a:lnTo>
                <a:lnTo>
                  <a:pt x="93" y="70"/>
                </a:lnTo>
                <a:lnTo>
                  <a:pt x="93" y="72"/>
                </a:lnTo>
                <a:lnTo>
                  <a:pt x="95" y="74"/>
                </a:lnTo>
                <a:lnTo>
                  <a:pt x="95" y="75"/>
                </a:lnTo>
                <a:lnTo>
                  <a:pt x="92" y="75"/>
                </a:lnTo>
                <a:lnTo>
                  <a:pt x="90" y="75"/>
                </a:lnTo>
                <a:lnTo>
                  <a:pt x="88" y="75"/>
                </a:lnTo>
                <a:lnTo>
                  <a:pt x="86" y="75"/>
                </a:lnTo>
                <a:lnTo>
                  <a:pt x="83" y="75"/>
                </a:lnTo>
                <a:lnTo>
                  <a:pt x="82" y="77"/>
                </a:lnTo>
                <a:lnTo>
                  <a:pt x="79" y="77"/>
                </a:lnTo>
                <a:lnTo>
                  <a:pt x="78" y="75"/>
                </a:lnTo>
                <a:lnTo>
                  <a:pt x="75" y="75"/>
                </a:lnTo>
                <a:lnTo>
                  <a:pt x="74" y="75"/>
                </a:lnTo>
                <a:lnTo>
                  <a:pt x="71" y="74"/>
                </a:lnTo>
                <a:lnTo>
                  <a:pt x="68" y="74"/>
                </a:lnTo>
                <a:lnTo>
                  <a:pt x="68" y="72"/>
                </a:lnTo>
                <a:lnTo>
                  <a:pt x="68" y="70"/>
                </a:lnTo>
                <a:lnTo>
                  <a:pt x="66" y="70"/>
                </a:lnTo>
                <a:lnTo>
                  <a:pt x="64" y="70"/>
                </a:lnTo>
                <a:lnTo>
                  <a:pt x="63" y="70"/>
                </a:lnTo>
                <a:lnTo>
                  <a:pt x="59" y="70"/>
                </a:lnTo>
                <a:lnTo>
                  <a:pt x="46" y="70"/>
                </a:lnTo>
                <a:lnTo>
                  <a:pt x="44" y="70"/>
                </a:lnTo>
                <a:lnTo>
                  <a:pt x="38" y="70"/>
                </a:lnTo>
                <a:lnTo>
                  <a:pt x="34" y="72"/>
                </a:lnTo>
                <a:lnTo>
                  <a:pt x="31" y="74"/>
                </a:lnTo>
                <a:lnTo>
                  <a:pt x="28" y="75"/>
                </a:lnTo>
                <a:lnTo>
                  <a:pt x="20" y="74"/>
                </a:lnTo>
                <a:lnTo>
                  <a:pt x="19" y="75"/>
                </a:lnTo>
                <a:lnTo>
                  <a:pt x="16" y="77"/>
                </a:lnTo>
                <a:lnTo>
                  <a:pt x="14" y="77"/>
                </a:lnTo>
                <a:lnTo>
                  <a:pt x="14" y="75"/>
                </a:lnTo>
                <a:lnTo>
                  <a:pt x="12" y="75"/>
                </a:lnTo>
                <a:lnTo>
                  <a:pt x="12" y="64"/>
                </a:lnTo>
                <a:lnTo>
                  <a:pt x="14" y="63"/>
                </a:lnTo>
                <a:lnTo>
                  <a:pt x="24" y="61"/>
                </a:lnTo>
                <a:lnTo>
                  <a:pt x="27" y="61"/>
                </a:lnTo>
                <a:lnTo>
                  <a:pt x="27" y="58"/>
                </a:lnTo>
                <a:lnTo>
                  <a:pt x="28" y="58"/>
                </a:lnTo>
                <a:lnTo>
                  <a:pt x="30" y="58"/>
                </a:lnTo>
                <a:lnTo>
                  <a:pt x="34" y="58"/>
                </a:lnTo>
                <a:lnTo>
                  <a:pt x="35" y="56"/>
                </a:lnTo>
                <a:lnTo>
                  <a:pt x="36" y="55"/>
                </a:lnTo>
                <a:lnTo>
                  <a:pt x="38" y="55"/>
                </a:lnTo>
                <a:lnTo>
                  <a:pt x="39" y="55"/>
                </a:lnTo>
                <a:lnTo>
                  <a:pt x="40" y="56"/>
                </a:lnTo>
                <a:lnTo>
                  <a:pt x="42" y="56"/>
                </a:lnTo>
                <a:lnTo>
                  <a:pt x="44" y="59"/>
                </a:lnTo>
                <a:lnTo>
                  <a:pt x="46" y="59"/>
                </a:lnTo>
                <a:lnTo>
                  <a:pt x="48" y="59"/>
                </a:lnTo>
                <a:lnTo>
                  <a:pt x="51" y="59"/>
                </a:lnTo>
                <a:lnTo>
                  <a:pt x="51" y="61"/>
                </a:lnTo>
                <a:lnTo>
                  <a:pt x="54" y="59"/>
                </a:lnTo>
                <a:lnTo>
                  <a:pt x="56" y="59"/>
                </a:lnTo>
                <a:lnTo>
                  <a:pt x="58" y="58"/>
                </a:lnTo>
                <a:lnTo>
                  <a:pt x="58" y="56"/>
                </a:lnTo>
                <a:lnTo>
                  <a:pt x="58" y="55"/>
                </a:lnTo>
                <a:lnTo>
                  <a:pt x="56" y="55"/>
                </a:lnTo>
                <a:lnTo>
                  <a:pt x="55" y="55"/>
                </a:lnTo>
                <a:lnTo>
                  <a:pt x="54" y="55"/>
                </a:lnTo>
                <a:lnTo>
                  <a:pt x="50" y="56"/>
                </a:lnTo>
                <a:lnTo>
                  <a:pt x="48" y="56"/>
                </a:lnTo>
                <a:lnTo>
                  <a:pt x="47" y="55"/>
                </a:lnTo>
                <a:lnTo>
                  <a:pt x="46" y="53"/>
                </a:lnTo>
                <a:lnTo>
                  <a:pt x="42" y="53"/>
                </a:lnTo>
                <a:lnTo>
                  <a:pt x="40" y="50"/>
                </a:lnTo>
                <a:lnTo>
                  <a:pt x="39" y="50"/>
                </a:lnTo>
                <a:lnTo>
                  <a:pt x="38" y="50"/>
                </a:lnTo>
                <a:lnTo>
                  <a:pt x="36" y="50"/>
                </a:lnTo>
                <a:lnTo>
                  <a:pt x="35" y="50"/>
                </a:lnTo>
                <a:lnTo>
                  <a:pt x="34" y="50"/>
                </a:lnTo>
                <a:lnTo>
                  <a:pt x="32" y="52"/>
                </a:lnTo>
                <a:lnTo>
                  <a:pt x="31" y="55"/>
                </a:lnTo>
                <a:lnTo>
                  <a:pt x="15" y="5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42" name="Freeform 1066"/>
          <p:cNvSpPr>
            <a:spLocks/>
          </p:cNvSpPr>
          <p:nvPr/>
        </p:nvSpPr>
        <p:spPr bwMode="auto">
          <a:xfrm>
            <a:off x="5169681" y="3755815"/>
            <a:ext cx="179291" cy="152479"/>
          </a:xfrm>
          <a:custGeom>
            <a:avLst/>
            <a:gdLst/>
            <a:ahLst/>
            <a:cxnLst>
              <a:cxn ang="0">
                <a:pos x="12" y="48"/>
              </a:cxn>
              <a:cxn ang="0">
                <a:pos x="10" y="42"/>
              </a:cxn>
              <a:cxn ang="0">
                <a:pos x="4" y="34"/>
              </a:cxn>
              <a:cxn ang="0">
                <a:pos x="2" y="36"/>
              </a:cxn>
              <a:cxn ang="0">
                <a:pos x="2" y="33"/>
              </a:cxn>
              <a:cxn ang="0">
                <a:pos x="10" y="26"/>
              </a:cxn>
              <a:cxn ang="0">
                <a:pos x="16" y="15"/>
              </a:cxn>
              <a:cxn ang="0">
                <a:pos x="19" y="6"/>
              </a:cxn>
              <a:cxn ang="0">
                <a:pos x="22" y="1"/>
              </a:cxn>
              <a:cxn ang="0">
                <a:pos x="28" y="3"/>
              </a:cxn>
              <a:cxn ang="0">
                <a:pos x="36" y="1"/>
              </a:cxn>
              <a:cxn ang="0">
                <a:pos x="39" y="0"/>
              </a:cxn>
              <a:cxn ang="0">
                <a:pos x="47" y="0"/>
              </a:cxn>
              <a:cxn ang="0">
                <a:pos x="51" y="1"/>
              </a:cxn>
              <a:cxn ang="0">
                <a:pos x="56" y="9"/>
              </a:cxn>
              <a:cxn ang="0">
                <a:pos x="59" y="9"/>
              </a:cxn>
              <a:cxn ang="0">
                <a:pos x="62" y="9"/>
              </a:cxn>
              <a:cxn ang="0">
                <a:pos x="66" y="17"/>
              </a:cxn>
              <a:cxn ang="0">
                <a:pos x="68" y="20"/>
              </a:cxn>
              <a:cxn ang="0">
                <a:pos x="71" y="23"/>
              </a:cxn>
              <a:cxn ang="0">
                <a:pos x="72" y="25"/>
              </a:cxn>
              <a:cxn ang="0">
                <a:pos x="76" y="28"/>
              </a:cxn>
              <a:cxn ang="0">
                <a:pos x="80" y="31"/>
              </a:cxn>
              <a:cxn ang="0">
                <a:pos x="83" y="36"/>
              </a:cxn>
              <a:cxn ang="0">
                <a:pos x="83" y="39"/>
              </a:cxn>
              <a:cxn ang="0">
                <a:pos x="84" y="44"/>
              </a:cxn>
              <a:cxn ang="0">
                <a:pos x="86" y="50"/>
              </a:cxn>
              <a:cxn ang="0">
                <a:pos x="87" y="56"/>
              </a:cxn>
              <a:cxn ang="0">
                <a:pos x="90" y="58"/>
              </a:cxn>
              <a:cxn ang="0">
                <a:pos x="92" y="59"/>
              </a:cxn>
              <a:cxn ang="0">
                <a:pos x="95" y="64"/>
              </a:cxn>
              <a:cxn ang="0">
                <a:pos x="93" y="67"/>
              </a:cxn>
              <a:cxn ang="0">
                <a:pos x="93" y="70"/>
              </a:cxn>
              <a:cxn ang="0">
                <a:pos x="95" y="75"/>
              </a:cxn>
              <a:cxn ang="0">
                <a:pos x="88" y="75"/>
              </a:cxn>
              <a:cxn ang="0">
                <a:pos x="82" y="77"/>
              </a:cxn>
              <a:cxn ang="0">
                <a:pos x="75" y="75"/>
              </a:cxn>
              <a:cxn ang="0">
                <a:pos x="68" y="74"/>
              </a:cxn>
              <a:cxn ang="0">
                <a:pos x="66" y="70"/>
              </a:cxn>
              <a:cxn ang="0">
                <a:pos x="59" y="70"/>
              </a:cxn>
              <a:cxn ang="0">
                <a:pos x="38" y="70"/>
              </a:cxn>
              <a:cxn ang="0">
                <a:pos x="28" y="75"/>
              </a:cxn>
              <a:cxn ang="0">
                <a:pos x="16" y="77"/>
              </a:cxn>
              <a:cxn ang="0">
                <a:pos x="12" y="75"/>
              </a:cxn>
              <a:cxn ang="0">
                <a:pos x="24" y="61"/>
              </a:cxn>
              <a:cxn ang="0">
                <a:pos x="28" y="58"/>
              </a:cxn>
              <a:cxn ang="0">
                <a:pos x="35" y="56"/>
              </a:cxn>
              <a:cxn ang="0">
                <a:pos x="39" y="55"/>
              </a:cxn>
              <a:cxn ang="0">
                <a:pos x="44" y="59"/>
              </a:cxn>
              <a:cxn ang="0">
                <a:pos x="51" y="59"/>
              </a:cxn>
              <a:cxn ang="0">
                <a:pos x="56" y="59"/>
              </a:cxn>
              <a:cxn ang="0">
                <a:pos x="58" y="55"/>
              </a:cxn>
              <a:cxn ang="0">
                <a:pos x="54" y="55"/>
              </a:cxn>
              <a:cxn ang="0">
                <a:pos x="47" y="55"/>
              </a:cxn>
              <a:cxn ang="0">
                <a:pos x="40" y="50"/>
              </a:cxn>
              <a:cxn ang="0">
                <a:pos x="36" y="50"/>
              </a:cxn>
              <a:cxn ang="0">
                <a:pos x="32" y="52"/>
              </a:cxn>
            </a:cxnLst>
            <a:rect l="0" t="0" r="r" b="b"/>
            <a:pathLst>
              <a:path w="95" h="77">
                <a:moveTo>
                  <a:pt x="15" y="55"/>
                </a:moveTo>
                <a:lnTo>
                  <a:pt x="14" y="52"/>
                </a:lnTo>
                <a:lnTo>
                  <a:pt x="12" y="48"/>
                </a:lnTo>
                <a:lnTo>
                  <a:pt x="12" y="45"/>
                </a:lnTo>
                <a:lnTo>
                  <a:pt x="11" y="44"/>
                </a:lnTo>
                <a:lnTo>
                  <a:pt x="10" y="42"/>
                </a:lnTo>
                <a:lnTo>
                  <a:pt x="8" y="39"/>
                </a:lnTo>
                <a:lnTo>
                  <a:pt x="6" y="37"/>
                </a:lnTo>
                <a:lnTo>
                  <a:pt x="4" y="34"/>
                </a:lnTo>
                <a:lnTo>
                  <a:pt x="3" y="34"/>
                </a:lnTo>
                <a:lnTo>
                  <a:pt x="2" y="34"/>
                </a:lnTo>
                <a:lnTo>
                  <a:pt x="2" y="36"/>
                </a:lnTo>
                <a:lnTo>
                  <a:pt x="0" y="34"/>
                </a:lnTo>
                <a:lnTo>
                  <a:pt x="0" y="33"/>
                </a:lnTo>
                <a:lnTo>
                  <a:pt x="2" y="33"/>
                </a:lnTo>
                <a:lnTo>
                  <a:pt x="4" y="31"/>
                </a:lnTo>
                <a:lnTo>
                  <a:pt x="10" y="28"/>
                </a:lnTo>
                <a:lnTo>
                  <a:pt x="10" y="26"/>
                </a:lnTo>
                <a:lnTo>
                  <a:pt x="11" y="23"/>
                </a:lnTo>
                <a:lnTo>
                  <a:pt x="15" y="17"/>
                </a:lnTo>
                <a:lnTo>
                  <a:pt x="16" y="15"/>
                </a:lnTo>
                <a:lnTo>
                  <a:pt x="16" y="9"/>
                </a:lnTo>
                <a:lnTo>
                  <a:pt x="18" y="8"/>
                </a:lnTo>
                <a:lnTo>
                  <a:pt x="19" y="6"/>
                </a:lnTo>
                <a:lnTo>
                  <a:pt x="19" y="1"/>
                </a:lnTo>
                <a:lnTo>
                  <a:pt x="20" y="1"/>
                </a:lnTo>
                <a:lnTo>
                  <a:pt x="22" y="1"/>
                </a:lnTo>
                <a:lnTo>
                  <a:pt x="23" y="1"/>
                </a:lnTo>
                <a:lnTo>
                  <a:pt x="26" y="1"/>
                </a:lnTo>
                <a:lnTo>
                  <a:pt x="28" y="3"/>
                </a:lnTo>
                <a:lnTo>
                  <a:pt x="31" y="1"/>
                </a:lnTo>
                <a:lnTo>
                  <a:pt x="34" y="1"/>
                </a:lnTo>
                <a:lnTo>
                  <a:pt x="36" y="1"/>
                </a:lnTo>
                <a:lnTo>
                  <a:pt x="38" y="1"/>
                </a:lnTo>
                <a:lnTo>
                  <a:pt x="38" y="0"/>
                </a:lnTo>
                <a:lnTo>
                  <a:pt x="39" y="0"/>
                </a:lnTo>
                <a:lnTo>
                  <a:pt x="40" y="0"/>
                </a:lnTo>
                <a:lnTo>
                  <a:pt x="42" y="0"/>
                </a:lnTo>
                <a:lnTo>
                  <a:pt x="47" y="0"/>
                </a:lnTo>
                <a:lnTo>
                  <a:pt x="48" y="0"/>
                </a:lnTo>
                <a:lnTo>
                  <a:pt x="50" y="1"/>
                </a:lnTo>
                <a:lnTo>
                  <a:pt x="51" y="1"/>
                </a:lnTo>
                <a:lnTo>
                  <a:pt x="54" y="4"/>
                </a:lnTo>
                <a:lnTo>
                  <a:pt x="54" y="6"/>
                </a:lnTo>
                <a:lnTo>
                  <a:pt x="56" y="9"/>
                </a:lnTo>
                <a:lnTo>
                  <a:pt x="58" y="9"/>
                </a:lnTo>
                <a:lnTo>
                  <a:pt x="59" y="8"/>
                </a:lnTo>
                <a:lnTo>
                  <a:pt x="59" y="9"/>
                </a:lnTo>
                <a:lnTo>
                  <a:pt x="60" y="9"/>
                </a:lnTo>
                <a:lnTo>
                  <a:pt x="62" y="8"/>
                </a:lnTo>
                <a:lnTo>
                  <a:pt x="62" y="9"/>
                </a:lnTo>
                <a:lnTo>
                  <a:pt x="64" y="12"/>
                </a:lnTo>
                <a:lnTo>
                  <a:pt x="66" y="15"/>
                </a:lnTo>
                <a:lnTo>
                  <a:pt x="66" y="17"/>
                </a:lnTo>
                <a:lnTo>
                  <a:pt x="67" y="17"/>
                </a:lnTo>
                <a:lnTo>
                  <a:pt x="68" y="19"/>
                </a:lnTo>
                <a:lnTo>
                  <a:pt x="68" y="20"/>
                </a:lnTo>
                <a:lnTo>
                  <a:pt x="70" y="20"/>
                </a:lnTo>
                <a:lnTo>
                  <a:pt x="71" y="22"/>
                </a:lnTo>
                <a:lnTo>
                  <a:pt x="71" y="23"/>
                </a:lnTo>
                <a:lnTo>
                  <a:pt x="72" y="23"/>
                </a:lnTo>
                <a:lnTo>
                  <a:pt x="71" y="25"/>
                </a:lnTo>
                <a:lnTo>
                  <a:pt x="72" y="25"/>
                </a:lnTo>
                <a:lnTo>
                  <a:pt x="74" y="26"/>
                </a:lnTo>
                <a:lnTo>
                  <a:pt x="75" y="26"/>
                </a:lnTo>
                <a:lnTo>
                  <a:pt x="76" y="28"/>
                </a:lnTo>
                <a:lnTo>
                  <a:pt x="78" y="28"/>
                </a:lnTo>
                <a:lnTo>
                  <a:pt x="78" y="31"/>
                </a:lnTo>
                <a:lnTo>
                  <a:pt x="80" y="31"/>
                </a:lnTo>
                <a:lnTo>
                  <a:pt x="82" y="33"/>
                </a:lnTo>
                <a:lnTo>
                  <a:pt x="83" y="34"/>
                </a:lnTo>
                <a:lnTo>
                  <a:pt x="83" y="36"/>
                </a:lnTo>
                <a:lnTo>
                  <a:pt x="82" y="37"/>
                </a:lnTo>
                <a:lnTo>
                  <a:pt x="82" y="39"/>
                </a:lnTo>
                <a:lnTo>
                  <a:pt x="83" y="39"/>
                </a:lnTo>
                <a:lnTo>
                  <a:pt x="83" y="41"/>
                </a:lnTo>
                <a:lnTo>
                  <a:pt x="84" y="42"/>
                </a:lnTo>
                <a:lnTo>
                  <a:pt x="84" y="44"/>
                </a:lnTo>
                <a:lnTo>
                  <a:pt x="84" y="47"/>
                </a:lnTo>
                <a:lnTo>
                  <a:pt x="86" y="48"/>
                </a:lnTo>
                <a:lnTo>
                  <a:pt x="86" y="50"/>
                </a:lnTo>
                <a:lnTo>
                  <a:pt x="84" y="52"/>
                </a:lnTo>
                <a:lnTo>
                  <a:pt x="84" y="53"/>
                </a:lnTo>
                <a:lnTo>
                  <a:pt x="87" y="56"/>
                </a:lnTo>
                <a:lnTo>
                  <a:pt x="87" y="58"/>
                </a:lnTo>
                <a:lnTo>
                  <a:pt x="88" y="58"/>
                </a:lnTo>
                <a:lnTo>
                  <a:pt x="90" y="58"/>
                </a:lnTo>
                <a:lnTo>
                  <a:pt x="91" y="58"/>
                </a:lnTo>
                <a:lnTo>
                  <a:pt x="91" y="59"/>
                </a:lnTo>
                <a:lnTo>
                  <a:pt x="92" y="59"/>
                </a:lnTo>
                <a:lnTo>
                  <a:pt x="92" y="61"/>
                </a:lnTo>
                <a:lnTo>
                  <a:pt x="93" y="63"/>
                </a:lnTo>
                <a:lnTo>
                  <a:pt x="95" y="64"/>
                </a:lnTo>
                <a:lnTo>
                  <a:pt x="95" y="66"/>
                </a:lnTo>
                <a:lnTo>
                  <a:pt x="93" y="66"/>
                </a:lnTo>
                <a:lnTo>
                  <a:pt x="93" y="67"/>
                </a:lnTo>
                <a:lnTo>
                  <a:pt x="95" y="67"/>
                </a:lnTo>
                <a:lnTo>
                  <a:pt x="95" y="69"/>
                </a:lnTo>
                <a:lnTo>
                  <a:pt x="93" y="70"/>
                </a:lnTo>
                <a:lnTo>
                  <a:pt x="93" y="72"/>
                </a:lnTo>
                <a:lnTo>
                  <a:pt x="95" y="74"/>
                </a:lnTo>
                <a:lnTo>
                  <a:pt x="95" y="75"/>
                </a:lnTo>
                <a:lnTo>
                  <a:pt x="92" y="75"/>
                </a:lnTo>
                <a:lnTo>
                  <a:pt x="90" y="75"/>
                </a:lnTo>
                <a:lnTo>
                  <a:pt x="88" y="75"/>
                </a:lnTo>
                <a:lnTo>
                  <a:pt x="86" y="75"/>
                </a:lnTo>
                <a:lnTo>
                  <a:pt x="83" y="75"/>
                </a:lnTo>
                <a:lnTo>
                  <a:pt x="82" y="77"/>
                </a:lnTo>
                <a:lnTo>
                  <a:pt x="79" y="77"/>
                </a:lnTo>
                <a:lnTo>
                  <a:pt x="78" y="75"/>
                </a:lnTo>
                <a:lnTo>
                  <a:pt x="75" y="75"/>
                </a:lnTo>
                <a:lnTo>
                  <a:pt x="74" y="75"/>
                </a:lnTo>
                <a:lnTo>
                  <a:pt x="71" y="74"/>
                </a:lnTo>
                <a:lnTo>
                  <a:pt x="68" y="74"/>
                </a:lnTo>
                <a:lnTo>
                  <a:pt x="68" y="72"/>
                </a:lnTo>
                <a:lnTo>
                  <a:pt x="68" y="70"/>
                </a:lnTo>
                <a:lnTo>
                  <a:pt x="66" y="70"/>
                </a:lnTo>
                <a:lnTo>
                  <a:pt x="64" y="70"/>
                </a:lnTo>
                <a:lnTo>
                  <a:pt x="63" y="70"/>
                </a:lnTo>
                <a:lnTo>
                  <a:pt x="59" y="70"/>
                </a:lnTo>
                <a:lnTo>
                  <a:pt x="46" y="70"/>
                </a:lnTo>
                <a:lnTo>
                  <a:pt x="44" y="70"/>
                </a:lnTo>
                <a:lnTo>
                  <a:pt x="38" y="70"/>
                </a:lnTo>
                <a:lnTo>
                  <a:pt x="34" y="72"/>
                </a:lnTo>
                <a:lnTo>
                  <a:pt x="31" y="74"/>
                </a:lnTo>
                <a:lnTo>
                  <a:pt x="28" y="75"/>
                </a:lnTo>
                <a:lnTo>
                  <a:pt x="20" y="74"/>
                </a:lnTo>
                <a:lnTo>
                  <a:pt x="19" y="75"/>
                </a:lnTo>
                <a:lnTo>
                  <a:pt x="16" y="77"/>
                </a:lnTo>
                <a:lnTo>
                  <a:pt x="14" y="77"/>
                </a:lnTo>
                <a:lnTo>
                  <a:pt x="14" y="75"/>
                </a:lnTo>
                <a:lnTo>
                  <a:pt x="12" y="75"/>
                </a:lnTo>
                <a:lnTo>
                  <a:pt x="12" y="64"/>
                </a:lnTo>
                <a:lnTo>
                  <a:pt x="14" y="63"/>
                </a:lnTo>
                <a:lnTo>
                  <a:pt x="24" y="61"/>
                </a:lnTo>
                <a:lnTo>
                  <a:pt x="27" y="61"/>
                </a:lnTo>
                <a:lnTo>
                  <a:pt x="27" y="58"/>
                </a:lnTo>
                <a:lnTo>
                  <a:pt x="28" y="58"/>
                </a:lnTo>
                <a:lnTo>
                  <a:pt x="30" y="58"/>
                </a:lnTo>
                <a:lnTo>
                  <a:pt x="34" y="58"/>
                </a:lnTo>
                <a:lnTo>
                  <a:pt x="35" y="56"/>
                </a:lnTo>
                <a:lnTo>
                  <a:pt x="36" y="55"/>
                </a:lnTo>
                <a:lnTo>
                  <a:pt x="38" y="55"/>
                </a:lnTo>
                <a:lnTo>
                  <a:pt x="39" y="55"/>
                </a:lnTo>
                <a:lnTo>
                  <a:pt x="40" y="56"/>
                </a:lnTo>
                <a:lnTo>
                  <a:pt x="42" y="56"/>
                </a:lnTo>
                <a:lnTo>
                  <a:pt x="44" y="59"/>
                </a:lnTo>
                <a:lnTo>
                  <a:pt x="46" y="59"/>
                </a:lnTo>
                <a:lnTo>
                  <a:pt x="48" y="59"/>
                </a:lnTo>
                <a:lnTo>
                  <a:pt x="51" y="59"/>
                </a:lnTo>
                <a:lnTo>
                  <a:pt x="51" y="61"/>
                </a:lnTo>
                <a:lnTo>
                  <a:pt x="54" y="59"/>
                </a:lnTo>
                <a:lnTo>
                  <a:pt x="56" y="59"/>
                </a:lnTo>
                <a:lnTo>
                  <a:pt x="58" y="58"/>
                </a:lnTo>
                <a:lnTo>
                  <a:pt x="58" y="56"/>
                </a:lnTo>
                <a:lnTo>
                  <a:pt x="58" y="55"/>
                </a:lnTo>
                <a:lnTo>
                  <a:pt x="56" y="55"/>
                </a:lnTo>
                <a:lnTo>
                  <a:pt x="55" y="55"/>
                </a:lnTo>
                <a:lnTo>
                  <a:pt x="54" y="55"/>
                </a:lnTo>
                <a:lnTo>
                  <a:pt x="50" y="56"/>
                </a:lnTo>
                <a:lnTo>
                  <a:pt x="48" y="56"/>
                </a:lnTo>
                <a:lnTo>
                  <a:pt x="47" y="55"/>
                </a:lnTo>
                <a:lnTo>
                  <a:pt x="46" y="53"/>
                </a:lnTo>
                <a:lnTo>
                  <a:pt x="42" y="53"/>
                </a:lnTo>
                <a:lnTo>
                  <a:pt x="40" y="50"/>
                </a:lnTo>
                <a:lnTo>
                  <a:pt x="39" y="50"/>
                </a:lnTo>
                <a:lnTo>
                  <a:pt x="38" y="50"/>
                </a:lnTo>
                <a:lnTo>
                  <a:pt x="36" y="50"/>
                </a:lnTo>
                <a:lnTo>
                  <a:pt x="35" y="50"/>
                </a:lnTo>
                <a:lnTo>
                  <a:pt x="34" y="50"/>
                </a:lnTo>
                <a:lnTo>
                  <a:pt x="32" y="52"/>
                </a:lnTo>
                <a:lnTo>
                  <a:pt x="31" y="55"/>
                </a:lnTo>
                <a:lnTo>
                  <a:pt x="15" y="55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FFC000"/>
              </a:solidFill>
            </a:endParaRPr>
          </a:p>
        </p:txBody>
      </p:sp>
      <p:sp>
        <p:nvSpPr>
          <p:cNvPr id="1143" name="Freeform 1067"/>
          <p:cNvSpPr>
            <a:spLocks/>
          </p:cNvSpPr>
          <p:nvPr/>
        </p:nvSpPr>
        <p:spPr bwMode="auto">
          <a:xfrm>
            <a:off x="2306874" y="3193142"/>
            <a:ext cx="869171" cy="637839"/>
          </a:xfrm>
          <a:custGeom>
            <a:avLst/>
            <a:gdLst/>
            <a:ahLst/>
            <a:cxnLst>
              <a:cxn ang="0">
                <a:pos x="52" y="22"/>
              </a:cxn>
              <a:cxn ang="0">
                <a:pos x="65" y="42"/>
              </a:cxn>
              <a:cxn ang="0">
                <a:pos x="75" y="62"/>
              </a:cxn>
              <a:cxn ang="0">
                <a:pos x="99" y="86"/>
              </a:cxn>
              <a:cxn ang="0">
                <a:pos x="112" y="106"/>
              </a:cxn>
              <a:cxn ang="0">
                <a:pos x="117" y="122"/>
              </a:cxn>
              <a:cxn ang="0">
                <a:pos x="133" y="133"/>
              </a:cxn>
              <a:cxn ang="0">
                <a:pos x="156" y="158"/>
              </a:cxn>
              <a:cxn ang="0">
                <a:pos x="169" y="177"/>
              </a:cxn>
              <a:cxn ang="0">
                <a:pos x="180" y="201"/>
              </a:cxn>
              <a:cxn ang="0">
                <a:pos x="174" y="218"/>
              </a:cxn>
              <a:cxn ang="0">
                <a:pos x="188" y="240"/>
              </a:cxn>
              <a:cxn ang="0">
                <a:pos x="205" y="251"/>
              </a:cxn>
              <a:cxn ang="0">
                <a:pos x="224" y="262"/>
              </a:cxn>
              <a:cxn ang="0">
                <a:pos x="237" y="270"/>
              </a:cxn>
              <a:cxn ang="0">
                <a:pos x="251" y="278"/>
              </a:cxn>
              <a:cxn ang="0">
                <a:pos x="286" y="295"/>
              </a:cxn>
              <a:cxn ang="0">
                <a:pos x="310" y="303"/>
              </a:cxn>
              <a:cxn ang="0">
                <a:pos x="334" y="293"/>
              </a:cxn>
              <a:cxn ang="0">
                <a:pos x="374" y="321"/>
              </a:cxn>
              <a:cxn ang="0">
                <a:pos x="379" y="306"/>
              </a:cxn>
              <a:cxn ang="0">
                <a:pos x="391" y="279"/>
              </a:cxn>
              <a:cxn ang="0">
                <a:pos x="431" y="252"/>
              </a:cxn>
              <a:cxn ang="0">
                <a:pos x="440" y="259"/>
              </a:cxn>
              <a:cxn ang="0">
                <a:pos x="443" y="230"/>
              </a:cxn>
              <a:cxn ang="0">
                <a:pos x="455" y="201"/>
              </a:cxn>
              <a:cxn ang="0">
                <a:pos x="418" y="201"/>
              </a:cxn>
              <a:cxn ang="0">
                <a:pos x="398" y="227"/>
              </a:cxn>
              <a:cxn ang="0">
                <a:pos x="379" y="251"/>
              </a:cxn>
              <a:cxn ang="0">
                <a:pos x="358" y="251"/>
              </a:cxn>
              <a:cxn ang="0">
                <a:pos x="325" y="248"/>
              </a:cxn>
              <a:cxn ang="0">
                <a:pos x="309" y="223"/>
              </a:cxn>
              <a:cxn ang="0">
                <a:pos x="293" y="186"/>
              </a:cxn>
              <a:cxn ang="0">
                <a:pos x="290" y="142"/>
              </a:cxn>
              <a:cxn ang="0">
                <a:pos x="302" y="127"/>
              </a:cxn>
              <a:cxn ang="0">
                <a:pos x="291" y="117"/>
              </a:cxn>
              <a:cxn ang="0">
                <a:pos x="251" y="77"/>
              </a:cxn>
              <a:cxn ang="0">
                <a:pos x="209" y="66"/>
              </a:cxn>
              <a:cxn ang="0">
                <a:pos x="164" y="20"/>
              </a:cxn>
              <a:cxn ang="0">
                <a:pos x="35" y="0"/>
              </a:cxn>
              <a:cxn ang="0">
                <a:pos x="8" y="20"/>
              </a:cxn>
              <a:cxn ang="0">
                <a:pos x="19" y="40"/>
              </a:cxn>
              <a:cxn ang="0">
                <a:pos x="33" y="58"/>
              </a:cxn>
              <a:cxn ang="0">
                <a:pos x="48" y="80"/>
              </a:cxn>
              <a:cxn ang="0">
                <a:pos x="33" y="87"/>
              </a:cxn>
              <a:cxn ang="0">
                <a:pos x="47" y="98"/>
              </a:cxn>
              <a:cxn ang="0">
                <a:pos x="61" y="106"/>
              </a:cxn>
              <a:cxn ang="0">
                <a:pos x="77" y="133"/>
              </a:cxn>
              <a:cxn ang="0">
                <a:pos x="81" y="144"/>
              </a:cxn>
              <a:cxn ang="0">
                <a:pos x="107" y="172"/>
              </a:cxn>
              <a:cxn ang="0">
                <a:pos x="115" y="161"/>
              </a:cxn>
              <a:cxn ang="0">
                <a:pos x="97" y="146"/>
              </a:cxn>
              <a:cxn ang="0">
                <a:pos x="89" y="124"/>
              </a:cxn>
              <a:cxn ang="0">
                <a:pos x="83" y="109"/>
              </a:cxn>
              <a:cxn ang="0">
                <a:pos x="73" y="92"/>
              </a:cxn>
              <a:cxn ang="0">
                <a:pos x="60" y="69"/>
              </a:cxn>
              <a:cxn ang="0">
                <a:pos x="45" y="53"/>
              </a:cxn>
              <a:cxn ang="0">
                <a:pos x="36" y="29"/>
              </a:cxn>
            </a:cxnLst>
            <a:rect l="0" t="0" r="r" b="b"/>
            <a:pathLst>
              <a:path w="455" h="321">
                <a:moveTo>
                  <a:pt x="35" y="15"/>
                </a:moveTo>
                <a:lnTo>
                  <a:pt x="37" y="15"/>
                </a:lnTo>
                <a:lnTo>
                  <a:pt x="39" y="17"/>
                </a:lnTo>
                <a:lnTo>
                  <a:pt x="41" y="18"/>
                </a:lnTo>
                <a:lnTo>
                  <a:pt x="41" y="20"/>
                </a:lnTo>
                <a:lnTo>
                  <a:pt x="44" y="22"/>
                </a:lnTo>
                <a:lnTo>
                  <a:pt x="47" y="22"/>
                </a:lnTo>
                <a:lnTo>
                  <a:pt x="51" y="20"/>
                </a:lnTo>
                <a:lnTo>
                  <a:pt x="52" y="22"/>
                </a:lnTo>
                <a:lnTo>
                  <a:pt x="53" y="25"/>
                </a:lnTo>
                <a:lnTo>
                  <a:pt x="59" y="26"/>
                </a:lnTo>
                <a:lnTo>
                  <a:pt x="60" y="28"/>
                </a:lnTo>
                <a:lnTo>
                  <a:pt x="61" y="29"/>
                </a:lnTo>
                <a:lnTo>
                  <a:pt x="61" y="34"/>
                </a:lnTo>
                <a:lnTo>
                  <a:pt x="63" y="36"/>
                </a:lnTo>
                <a:lnTo>
                  <a:pt x="64" y="40"/>
                </a:lnTo>
                <a:lnTo>
                  <a:pt x="64" y="42"/>
                </a:lnTo>
                <a:lnTo>
                  <a:pt x="65" y="42"/>
                </a:lnTo>
                <a:lnTo>
                  <a:pt x="67" y="45"/>
                </a:lnTo>
                <a:lnTo>
                  <a:pt x="67" y="48"/>
                </a:lnTo>
                <a:lnTo>
                  <a:pt x="68" y="51"/>
                </a:lnTo>
                <a:lnTo>
                  <a:pt x="69" y="51"/>
                </a:lnTo>
                <a:lnTo>
                  <a:pt x="71" y="51"/>
                </a:lnTo>
                <a:lnTo>
                  <a:pt x="71" y="58"/>
                </a:lnTo>
                <a:lnTo>
                  <a:pt x="72" y="59"/>
                </a:lnTo>
                <a:lnTo>
                  <a:pt x="75" y="61"/>
                </a:lnTo>
                <a:lnTo>
                  <a:pt x="75" y="62"/>
                </a:lnTo>
                <a:lnTo>
                  <a:pt x="76" y="67"/>
                </a:lnTo>
                <a:lnTo>
                  <a:pt x="79" y="69"/>
                </a:lnTo>
                <a:lnTo>
                  <a:pt x="80" y="72"/>
                </a:lnTo>
                <a:lnTo>
                  <a:pt x="83" y="75"/>
                </a:lnTo>
                <a:lnTo>
                  <a:pt x="85" y="77"/>
                </a:lnTo>
                <a:lnTo>
                  <a:pt x="89" y="81"/>
                </a:lnTo>
                <a:lnTo>
                  <a:pt x="92" y="84"/>
                </a:lnTo>
                <a:lnTo>
                  <a:pt x="96" y="84"/>
                </a:lnTo>
                <a:lnTo>
                  <a:pt x="99" y="86"/>
                </a:lnTo>
                <a:lnTo>
                  <a:pt x="99" y="91"/>
                </a:lnTo>
                <a:lnTo>
                  <a:pt x="99" y="92"/>
                </a:lnTo>
                <a:lnTo>
                  <a:pt x="100" y="94"/>
                </a:lnTo>
                <a:lnTo>
                  <a:pt x="101" y="95"/>
                </a:lnTo>
                <a:lnTo>
                  <a:pt x="103" y="98"/>
                </a:lnTo>
                <a:lnTo>
                  <a:pt x="108" y="100"/>
                </a:lnTo>
                <a:lnTo>
                  <a:pt x="109" y="103"/>
                </a:lnTo>
                <a:lnTo>
                  <a:pt x="111" y="105"/>
                </a:lnTo>
                <a:lnTo>
                  <a:pt x="112" y="106"/>
                </a:lnTo>
                <a:lnTo>
                  <a:pt x="116" y="106"/>
                </a:lnTo>
                <a:lnTo>
                  <a:pt x="117" y="108"/>
                </a:lnTo>
                <a:lnTo>
                  <a:pt x="119" y="111"/>
                </a:lnTo>
                <a:lnTo>
                  <a:pt x="121" y="113"/>
                </a:lnTo>
                <a:lnTo>
                  <a:pt x="121" y="114"/>
                </a:lnTo>
                <a:lnTo>
                  <a:pt x="119" y="117"/>
                </a:lnTo>
                <a:lnTo>
                  <a:pt x="117" y="119"/>
                </a:lnTo>
                <a:lnTo>
                  <a:pt x="117" y="120"/>
                </a:lnTo>
                <a:lnTo>
                  <a:pt x="117" y="122"/>
                </a:lnTo>
                <a:lnTo>
                  <a:pt x="117" y="124"/>
                </a:lnTo>
                <a:lnTo>
                  <a:pt x="119" y="127"/>
                </a:lnTo>
                <a:lnTo>
                  <a:pt x="122" y="127"/>
                </a:lnTo>
                <a:lnTo>
                  <a:pt x="124" y="125"/>
                </a:lnTo>
                <a:lnTo>
                  <a:pt x="125" y="125"/>
                </a:lnTo>
                <a:lnTo>
                  <a:pt x="124" y="128"/>
                </a:lnTo>
                <a:lnTo>
                  <a:pt x="125" y="130"/>
                </a:lnTo>
                <a:lnTo>
                  <a:pt x="130" y="133"/>
                </a:lnTo>
                <a:lnTo>
                  <a:pt x="133" y="133"/>
                </a:lnTo>
                <a:lnTo>
                  <a:pt x="134" y="133"/>
                </a:lnTo>
                <a:lnTo>
                  <a:pt x="137" y="136"/>
                </a:lnTo>
                <a:lnTo>
                  <a:pt x="140" y="138"/>
                </a:lnTo>
                <a:lnTo>
                  <a:pt x="140" y="139"/>
                </a:lnTo>
                <a:lnTo>
                  <a:pt x="140" y="144"/>
                </a:lnTo>
                <a:lnTo>
                  <a:pt x="149" y="153"/>
                </a:lnTo>
                <a:lnTo>
                  <a:pt x="152" y="157"/>
                </a:lnTo>
                <a:lnTo>
                  <a:pt x="154" y="157"/>
                </a:lnTo>
                <a:lnTo>
                  <a:pt x="156" y="158"/>
                </a:lnTo>
                <a:lnTo>
                  <a:pt x="156" y="160"/>
                </a:lnTo>
                <a:lnTo>
                  <a:pt x="156" y="161"/>
                </a:lnTo>
                <a:lnTo>
                  <a:pt x="157" y="163"/>
                </a:lnTo>
                <a:lnTo>
                  <a:pt x="158" y="163"/>
                </a:lnTo>
                <a:lnTo>
                  <a:pt x="160" y="166"/>
                </a:lnTo>
                <a:lnTo>
                  <a:pt x="161" y="169"/>
                </a:lnTo>
                <a:lnTo>
                  <a:pt x="162" y="171"/>
                </a:lnTo>
                <a:lnTo>
                  <a:pt x="166" y="174"/>
                </a:lnTo>
                <a:lnTo>
                  <a:pt x="169" y="177"/>
                </a:lnTo>
                <a:lnTo>
                  <a:pt x="173" y="180"/>
                </a:lnTo>
                <a:lnTo>
                  <a:pt x="174" y="183"/>
                </a:lnTo>
                <a:lnTo>
                  <a:pt x="173" y="183"/>
                </a:lnTo>
                <a:lnTo>
                  <a:pt x="173" y="185"/>
                </a:lnTo>
                <a:lnTo>
                  <a:pt x="176" y="191"/>
                </a:lnTo>
                <a:lnTo>
                  <a:pt x="177" y="194"/>
                </a:lnTo>
                <a:lnTo>
                  <a:pt x="177" y="197"/>
                </a:lnTo>
                <a:lnTo>
                  <a:pt x="180" y="199"/>
                </a:lnTo>
                <a:lnTo>
                  <a:pt x="180" y="201"/>
                </a:lnTo>
                <a:lnTo>
                  <a:pt x="181" y="204"/>
                </a:lnTo>
                <a:lnTo>
                  <a:pt x="181" y="207"/>
                </a:lnTo>
                <a:lnTo>
                  <a:pt x="180" y="208"/>
                </a:lnTo>
                <a:lnTo>
                  <a:pt x="177" y="212"/>
                </a:lnTo>
                <a:lnTo>
                  <a:pt x="177" y="213"/>
                </a:lnTo>
                <a:lnTo>
                  <a:pt x="180" y="215"/>
                </a:lnTo>
                <a:lnTo>
                  <a:pt x="180" y="216"/>
                </a:lnTo>
                <a:lnTo>
                  <a:pt x="176" y="218"/>
                </a:lnTo>
                <a:lnTo>
                  <a:pt x="174" y="218"/>
                </a:lnTo>
                <a:lnTo>
                  <a:pt x="174" y="219"/>
                </a:lnTo>
                <a:lnTo>
                  <a:pt x="176" y="221"/>
                </a:lnTo>
                <a:lnTo>
                  <a:pt x="177" y="224"/>
                </a:lnTo>
                <a:lnTo>
                  <a:pt x="177" y="227"/>
                </a:lnTo>
                <a:lnTo>
                  <a:pt x="178" y="229"/>
                </a:lnTo>
                <a:lnTo>
                  <a:pt x="180" y="230"/>
                </a:lnTo>
                <a:lnTo>
                  <a:pt x="184" y="237"/>
                </a:lnTo>
                <a:lnTo>
                  <a:pt x="186" y="238"/>
                </a:lnTo>
                <a:lnTo>
                  <a:pt x="188" y="240"/>
                </a:lnTo>
                <a:lnTo>
                  <a:pt x="189" y="240"/>
                </a:lnTo>
                <a:lnTo>
                  <a:pt x="192" y="241"/>
                </a:lnTo>
                <a:lnTo>
                  <a:pt x="194" y="241"/>
                </a:lnTo>
                <a:lnTo>
                  <a:pt x="196" y="243"/>
                </a:lnTo>
                <a:lnTo>
                  <a:pt x="198" y="246"/>
                </a:lnTo>
                <a:lnTo>
                  <a:pt x="201" y="246"/>
                </a:lnTo>
                <a:lnTo>
                  <a:pt x="204" y="249"/>
                </a:lnTo>
                <a:lnTo>
                  <a:pt x="204" y="251"/>
                </a:lnTo>
                <a:lnTo>
                  <a:pt x="205" y="251"/>
                </a:lnTo>
                <a:lnTo>
                  <a:pt x="205" y="252"/>
                </a:lnTo>
                <a:lnTo>
                  <a:pt x="205" y="254"/>
                </a:lnTo>
                <a:lnTo>
                  <a:pt x="206" y="254"/>
                </a:lnTo>
                <a:lnTo>
                  <a:pt x="208" y="256"/>
                </a:lnTo>
                <a:lnTo>
                  <a:pt x="212" y="257"/>
                </a:lnTo>
                <a:lnTo>
                  <a:pt x="213" y="257"/>
                </a:lnTo>
                <a:lnTo>
                  <a:pt x="214" y="257"/>
                </a:lnTo>
                <a:lnTo>
                  <a:pt x="216" y="259"/>
                </a:lnTo>
                <a:lnTo>
                  <a:pt x="224" y="262"/>
                </a:lnTo>
                <a:lnTo>
                  <a:pt x="225" y="262"/>
                </a:lnTo>
                <a:lnTo>
                  <a:pt x="228" y="262"/>
                </a:lnTo>
                <a:lnTo>
                  <a:pt x="229" y="262"/>
                </a:lnTo>
                <a:lnTo>
                  <a:pt x="230" y="262"/>
                </a:lnTo>
                <a:lnTo>
                  <a:pt x="234" y="265"/>
                </a:lnTo>
                <a:lnTo>
                  <a:pt x="235" y="267"/>
                </a:lnTo>
                <a:lnTo>
                  <a:pt x="235" y="268"/>
                </a:lnTo>
                <a:lnTo>
                  <a:pt x="237" y="268"/>
                </a:lnTo>
                <a:lnTo>
                  <a:pt x="237" y="270"/>
                </a:lnTo>
                <a:lnTo>
                  <a:pt x="239" y="270"/>
                </a:lnTo>
                <a:lnTo>
                  <a:pt x="241" y="271"/>
                </a:lnTo>
                <a:lnTo>
                  <a:pt x="243" y="273"/>
                </a:lnTo>
                <a:lnTo>
                  <a:pt x="243" y="274"/>
                </a:lnTo>
                <a:lnTo>
                  <a:pt x="245" y="276"/>
                </a:lnTo>
                <a:lnTo>
                  <a:pt x="246" y="274"/>
                </a:lnTo>
                <a:lnTo>
                  <a:pt x="247" y="276"/>
                </a:lnTo>
                <a:lnTo>
                  <a:pt x="249" y="278"/>
                </a:lnTo>
                <a:lnTo>
                  <a:pt x="251" y="278"/>
                </a:lnTo>
                <a:lnTo>
                  <a:pt x="254" y="279"/>
                </a:lnTo>
                <a:lnTo>
                  <a:pt x="259" y="281"/>
                </a:lnTo>
                <a:lnTo>
                  <a:pt x="262" y="282"/>
                </a:lnTo>
                <a:lnTo>
                  <a:pt x="263" y="284"/>
                </a:lnTo>
                <a:lnTo>
                  <a:pt x="270" y="285"/>
                </a:lnTo>
                <a:lnTo>
                  <a:pt x="275" y="287"/>
                </a:lnTo>
                <a:lnTo>
                  <a:pt x="277" y="287"/>
                </a:lnTo>
                <a:lnTo>
                  <a:pt x="281" y="290"/>
                </a:lnTo>
                <a:lnTo>
                  <a:pt x="286" y="295"/>
                </a:lnTo>
                <a:lnTo>
                  <a:pt x="289" y="295"/>
                </a:lnTo>
                <a:lnTo>
                  <a:pt x="290" y="296"/>
                </a:lnTo>
                <a:lnTo>
                  <a:pt x="293" y="296"/>
                </a:lnTo>
                <a:lnTo>
                  <a:pt x="295" y="298"/>
                </a:lnTo>
                <a:lnTo>
                  <a:pt x="303" y="299"/>
                </a:lnTo>
                <a:lnTo>
                  <a:pt x="306" y="301"/>
                </a:lnTo>
                <a:lnTo>
                  <a:pt x="307" y="301"/>
                </a:lnTo>
                <a:lnTo>
                  <a:pt x="309" y="301"/>
                </a:lnTo>
                <a:lnTo>
                  <a:pt x="310" y="303"/>
                </a:lnTo>
                <a:lnTo>
                  <a:pt x="314" y="303"/>
                </a:lnTo>
                <a:lnTo>
                  <a:pt x="317" y="303"/>
                </a:lnTo>
                <a:lnTo>
                  <a:pt x="318" y="301"/>
                </a:lnTo>
                <a:lnTo>
                  <a:pt x="319" y="301"/>
                </a:lnTo>
                <a:lnTo>
                  <a:pt x="322" y="299"/>
                </a:lnTo>
                <a:lnTo>
                  <a:pt x="325" y="298"/>
                </a:lnTo>
                <a:lnTo>
                  <a:pt x="330" y="295"/>
                </a:lnTo>
                <a:lnTo>
                  <a:pt x="331" y="293"/>
                </a:lnTo>
                <a:lnTo>
                  <a:pt x="334" y="293"/>
                </a:lnTo>
                <a:lnTo>
                  <a:pt x="339" y="293"/>
                </a:lnTo>
                <a:lnTo>
                  <a:pt x="342" y="293"/>
                </a:lnTo>
                <a:lnTo>
                  <a:pt x="348" y="296"/>
                </a:lnTo>
                <a:lnTo>
                  <a:pt x="355" y="299"/>
                </a:lnTo>
                <a:lnTo>
                  <a:pt x="359" y="306"/>
                </a:lnTo>
                <a:lnTo>
                  <a:pt x="362" y="309"/>
                </a:lnTo>
                <a:lnTo>
                  <a:pt x="367" y="315"/>
                </a:lnTo>
                <a:lnTo>
                  <a:pt x="370" y="317"/>
                </a:lnTo>
                <a:lnTo>
                  <a:pt x="374" y="321"/>
                </a:lnTo>
                <a:lnTo>
                  <a:pt x="375" y="321"/>
                </a:lnTo>
                <a:lnTo>
                  <a:pt x="375" y="317"/>
                </a:lnTo>
                <a:lnTo>
                  <a:pt x="376" y="315"/>
                </a:lnTo>
                <a:lnTo>
                  <a:pt x="376" y="314"/>
                </a:lnTo>
                <a:lnTo>
                  <a:pt x="375" y="312"/>
                </a:lnTo>
                <a:lnTo>
                  <a:pt x="376" y="312"/>
                </a:lnTo>
                <a:lnTo>
                  <a:pt x="376" y="310"/>
                </a:lnTo>
                <a:lnTo>
                  <a:pt x="378" y="307"/>
                </a:lnTo>
                <a:lnTo>
                  <a:pt x="379" y="306"/>
                </a:lnTo>
                <a:lnTo>
                  <a:pt x="384" y="295"/>
                </a:lnTo>
                <a:lnTo>
                  <a:pt x="392" y="293"/>
                </a:lnTo>
                <a:lnTo>
                  <a:pt x="399" y="293"/>
                </a:lnTo>
                <a:lnTo>
                  <a:pt x="400" y="293"/>
                </a:lnTo>
                <a:lnTo>
                  <a:pt x="400" y="288"/>
                </a:lnTo>
                <a:lnTo>
                  <a:pt x="399" y="287"/>
                </a:lnTo>
                <a:lnTo>
                  <a:pt x="396" y="285"/>
                </a:lnTo>
                <a:lnTo>
                  <a:pt x="396" y="282"/>
                </a:lnTo>
                <a:lnTo>
                  <a:pt x="391" y="279"/>
                </a:lnTo>
                <a:lnTo>
                  <a:pt x="384" y="271"/>
                </a:lnTo>
                <a:lnTo>
                  <a:pt x="394" y="271"/>
                </a:lnTo>
                <a:lnTo>
                  <a:pt x="394" y="263"/>
                </a:lnTo>
                <a:lnTo>
                  <a:pt x="420" y="262"/>
                </a:lnTo>
                <a:lnTo>
                  <a:pt x="423" y="262"/>
                </a:lnTo>
                <a:lnTo>
                  <a:pt x="424" y="262"/>
                </a:lnTo>
                <a:lnTo>
                  <a:pt x="428" y="252"/>
                </a:lnTo>
                <a:lnTo>
                  <a:pt x="430" y="252"/>
                </a:lnTo>
                <a:lnTo>
                  <a:pt x="431" y="252"/>
                </a:lnTo>
                <a:lnTo>
                  <a:pt x="432" y="251"/>
                </a:lnTo>
                <a:lnTo>
                  <a:pt x="435" y="245"/>
                </a:lnTo>
                <a:lnTo>
                  <a:pt x="436" y="246"/>
                </a:lnTo>
                <a:lnTo>
                  <a:pt x="436" y="251"/>
                </a:lnTo>
                <a:lnTo>
                  <a:pt x="438" y="251"/>
                </a:lnTo>
                <a:lnTo>
                  <a:pt x="439" y="252"/>
                </a:lnTo>
                <a:lnTo>
                  <a:pt x="438" y="257"/>
                </a:lnTo>
                <a:lnTo>
                  <a:pt x="439" y="260"/>
                </a:lnTo>
                <a:lnTo>
                  <a:pt x="440" y="259"/>
                </a:lnTo>
                <a:lnTo>
                  <a:pt x="442" y="252"/>
                </a:lnTo>
                <a:lnTo>
                  <a:pt x="442" y="248"/>
                </a:lnTo>
                <a:lnTo>
                  <a:pt x="444" y="241"/>
                </a:lnTo>
                <a:lnTo>
                  <a:pt x="444" y="238"/>
                </a:lnTo>
                <a:lnTo>
                  <a:pt x="444" y="237"/>
                </a:lnTo>
                <a:lnTo>
                  <a:pt x="443" y="235"/>
                </a:lnTo>
                <a:lnTo>
                  <a:pt x="444" y="234"/>
                </a:lnTo>
                <a:lnTo>
                  <a:pt x="444" y="232"/>
                </a:lnTo>
                <a:lnTo>
                  <a:pt x="443" y="230"/>
                </a:lnTo>
                <a:lnTo>
                  <a:pt x="444" y="227"/>
                </a:lnTo>
                <a:lnTo>
                  <a:pt x="446" y="224"/>
                </a:lnTo>
                <a:lnTo>
                  <a:pt x="446" y="223"/>
                </a:lnTo>
                <a:lnTo>
                  <a:pt x="448" y="216"/>
                </a:lnTo>
                <a:lnTo>
                  <a:pt x="451" y="213"/>
                </a:lnTo>
                <a:lnTo>
                  <a:pt x="454" y="210"/>
                </a:lnTo>
                <a:lnTo>
                  <a:pt x="455" y="207"/>
                </a:lnTo>
                <a:lnTo>
                  <a:pt x="455" y="204"/>
                </a:lnTo>
                <a:lnTo>
                  <a:pt x="455" y="201"/>
                </a:lnTo>
                <a:lnTo>
                  <a:pt x="452" y="197"/>
                </a:lnTo>
                <a:lnTo>
                  <a:pt x="444" y="196"/>
                </a:lnTo>
                <a:lnTo>
                  <a:pt x="440" y="201"/>
                </a:lnTo>
                <a:lnTo>
                  <a:pt x="440" y="196"/>
                </a:lnTo>
                <a:lnTo>
                  <a:pt x="436" y="194"/>
                </a:lnTo>
                <a:lnTo>
                  <a:pt x="432" y="196"/>
                </a:lnTo>
                <a:lnTo>
                  <a:pt x="427" y="197"/>
                </a:lnTo>
                <a:lnTo>
                  <a:pt x="424" y="199"/>
                </a:lnTo>
                <a:lnTo>
                  <a:pt x="418" y="201"/>
                </a:lnTo>
                <a:lnTo>
                  <a:pt x="414" y="201"/>
                </a:lnTo>
                <a:lnTo>
                  <a:pt x="411" y="201"/>
                </a:lnTo>
                <a:lnTo>
                  <a:pt x="407" y="202"/>
                </a:lnTo>
                <a:lnTo>
                  <a:pt x="404" y="202"/>
                </a:lnTo>
                <a:lnTo>
                  <a:pt x="402" y="205"/>
                </a:lnTo>
                <a:lnTo>
                  <a:pt x="400" y="208"/>
                </a:lnTo>
                <a:lnTo>
                  <a:pt x="400" y="218"/>
                </a:lnTo>
                <a:lnTo>
                  <a:pt x="399" y="223"/>
                </a:lnTo>
                <a:lnTo>
                  <a:pt x="398" y="227"/>
                </a:lnTo>
                <a:lnTo>
                  <a:pt x="396" y="229"/>
                </a:lnTo>
                <a:lnTo>
                  <a:pt x="396" y="234"/>
                </a:lnTo>
                <a:lnTo>
                  <a:pt x="395" y="237"/>
                </a:lnTo>
                <a:lnTo>
                  <a:pt x="391" y="240"/>
                </a:lnTo>
                <a:lnTo>
                  <a:pt x="387" y="243"/>
                </a:lnTo>
                <a:lnTo>
                  <a:pt x="388" y="248"/>
                </a:lnTo>
                <a:lnTo>
                  <a:pt x="383" y="251"/>
                </a:lnTo>
                <a:lnTo>
                  <a:pt x="380" y="252"/>
                </a:lnTo>
                <a:lnTo>
                  <a:pt x="379" y="251"/>
                </a:lnTo>
                <a:lnTo>
                  <a:pt x="378" y="249"/>
                </a:lnTo>
                <a:lnTo>
                  <a:pt x="378" y="248"/>
                </a:lnTo>
                <a:lnTo>
                  <a:pt x="376" y="248"/>
                </a:lnTo>
                <a:lnTo>
                  <a:pt x="371" y="248"/>
                </a:lnTo>
                <a:lnTo>
                  <a:pt x="370" y="248"/>
                </a:lnTo>
                <a:lnTo>
                  <a:pt x="367" y="249"/>
                </a:lnTo>
                <a:lnTo>
                  <a:pt x="363" y="251"/>
                </a:lnTo>
                <a:lnTo>
                  <a:pt x="360" y="252"/>
                </a:lnTo>
                <a:lnTo>
                  <a:pt x="358" y="251"/>
                </a:lnTo>
                <a:lnTo>
                  <a:pt x="350" y="252"/>
                </a:lnTo>
                <a:lnTo>
                  <a:pt x="345" y="257"/>
                </a:lnTo>
                <a:lnTo>
                  <a:pt x="341" y="257"/>
                </a:lnTo>
                <a:lnTo>
                  <a:pt x="337" y="254"/>
                </a:lnTo>
                <a:lnTo>
                  <a:pt x="334" y="249"/>
                </a:lnTo>
                <a:lnTo>
                  <a:pt x="333" y="248"/>
                </a:lnTo>
                <a:lnTo>
                  <a:pt x="333" y="249"/>
                </a:lnTo>
                <a:lnTo>
                  <a:pt x="329" y="249"/>
                </a:lnTo>
                <a:lnTo>
                  <a:pt x="325" y="248"/>
                </a:lnTo>
                <a:lnTo>
                  <a:pt x="323" y="246"/>
                </a:lnTo>
                <a:lnTo>
                  <a:pt x="322" y="245"/>
                </a:lnTo>
                <a:lnTo>
                  <a:pt x="319" y="243"/>
                </a:lnTo>
                <a:lnTo>
                  <a:pt x="317" y="240"/>
                </a:lnTo>
                <a:lnTo>
                  <a:pt x="315" y="240"/>
                </a:lnTo>
                <a:lnTo>
                  <a:pt x="315" y="238"/>
                </a:lnTo>
                <a:lnTo>
                  <a:pt x="315" y="237"/>
                </a:lnTo>
                <a:lnTo>
                  <a:pt x="310" y="226"/>
                </a:lnTo>
                <a:lnTo>
                  <a:pt x="309" y="223"/>
                </a:lnTo>
                <a:lnTo>
                  <a:pt x="307" y="221"/>
                </a:lnTo>
                <a:lnTo>
                  <a:pt x="305" y="218"/>
                </a:lnTo>
                <a:lnTo>
                  <a:pt x="303" y="215"/>
                </a:lnTo>
                <a:lnTo>
                  <a:pt x="299" y="207"/>
                </a:lnTo>
                <a:lnTo>
                  <a:pt x="298" y="204"/>
                </a:lnTo>
                <a:lnTo>
                  <a:pt x="299" y="201"/>
                </a:lnTo>
                <a:lnTo>
                  <a:pt x="299" y="199"/>
                </a:lnTo>
                <a:lnTo>
                  <a:pt x="294" y="191"/>
                </a:lnTo>
                <a:lnTo>
                  <a:pt x="293" y="186"/>
                </a:lnTo>
                <a:lnTo>
                  <a:pt x="293" y="183"/>
                </a:lnTo>
                <a:lnTo>
                  <a:pt x="294" y="175"/>
                </a:lnTo>
                <a:lnTo>
                  <a:pt x="293" y="164"/>
                </a:lnTo>
                <a:lnTo>
                  <a:pt x="293" y="161"/>
                </a:lnTo>
                <a:lnTo>
                  <a:pt x="293" y="158"/>
                </a:lnTo>
                <a:lnTo>
                  <a:pt x="291" y="157"/>
                </a:lnTo>
                <a:lnTo>
                  <a:pt x="291" y="152"/>
                </a:lnTo>
                <a:lnTo>
                  <a:pt x="291" y="144"/>
                </a:lnTo>
                <a:lnTo>
                  <a:pt x="290" y="142"/>
                </a:lnTo>
                <a:lnTo>
                  <a:pt x="291" y="138"/>
                </a:lnTo>
                <a:lnTo>
                  <a:pt x="294" y="136"/>
                </a:lnTo>
                <a:lnTo>
                  <a:pt x="294" y="133"/>
                </a:lnTo>
                <a:lnTo>
                  <a:pt x="294" y="130"/>
                </a:lnTo>
                <a:lnTo>
                  <a:pt x="295" y="130"/>
                </a:lnTo>
                <a:lnTo>
                  <a:pt x="298" y="130"/>
                </a:lnTo>
                <a:lnTo>
                  <a:pt x="299" y="130"/>
                </a:lnTo>
                <a:lnTo>
                  <a:pt x="301" y="128"/>
                </a:lnTo>
                <a:lnTo>
                  <a:pt x="302" y="127"/>
                </a:lnTo>
                <a:lnTo>
                  <a:pt x="302" y="124"/>
                </a:lnTo>
                <a:lnTo>
                  <a:pt x="302" y="122"/>
                </a:lnTo>
                <a:lnTo>
                  <a:pt x="301" y="125"/>
                </a:lnTo>
                <a:lnTo>
                  <a:pt x="299" y="127"/>
                </a:lnTo>
                <a:lnTo>
                  <a:pt x="299" y="125"/>
                </a:lnTo>
                <a:lnTo>
                  <a:pt x="299" y="124"/>
                </a:lnTo>
                <a:lnTo>
                  <a:pt x="301" y="120"/>
                </a:lnTo>
                <a:lnTo>
                  <a:pt x="297" y="120"/>
                </a:lnTo>
                <a:lnTo>
                  <a:pt x="291" y="117"/>
                </a:lnTo>
                <a:lnTo>
                  <a:pt x="283" y="117"/>
                </a:lnTo>
                <a:lnTo>
                  <a:pt x="279" y="114"/>
                </a:lnTo>
                <a:lnTo>
                  <a:pt x="275" y="114"/>
                </a:lnTo>
                <a:lnTo>
                  <a:pt x="271" y="111"/>
                </a:lnTo>
                <a:lnTo>
                  <a:pt x="266" y="103"/>
                </a:lnTo>
                <a:lnTo>
                  <a:pt x="262" y="89"/>
                </a:lnTo>
                <a:lnTo>
                  <a:pt x="258" y="86"/>
                </a:lnTo>
                <a:lnTo>
                  <a:pt x="255" y="81"/>
                </a:lnTo>
                <a:lnTo>
                  <a:pt x="251" y="77"/>
                </a:lnTo>
                <a:lnTo>
                  <a:pt x="246" y="62"/>
                </a:lnTo>
                <a:lnTo>
                  <a:pt x="242" y="61"/>
                </a:lnTo>
                <a:lnTo>
                  <a:pt x="241" y="58"/>
                </a:lnTo>
                <a:lnTo>
                  <a:pt x="237" y="53"/>
                </a:lnTo>
                <a:lnTo>
                  <a:pt x="234" y="50"/>
                </a:lnTo>
                <a:lnTo>
                  <a:pt x="222" y="51"/>
                </a:lnTo>
                <a:lnTo>
                  <a:pt x="218" y="50"/>
                </a:lnTo>
                <a:lnTo>
                  <a:pt x="216" y="51"/>
                </a:lnTo>
                <a:lnTo>
                  <a:pt x="209" y="66"/>
                </a:lnTo>
                <a:lnTo>
                  <a:pt x="202" y="64"/>
                </a:lnTo>
                <a:lnTo>
                  <a:pt x="196" y="59"/>
                </a:lnTo>
                <a:lnTo>
                  <a:pt x="190" y="55"/>
                </a:lnTo>
                <a:lnTo>
                  <a:pt x="186" y="50"/>
                </a:lnTo>
                <a:lnTo>
                  <a:pt x="182" y="36"/>
                </a:lnTo>
                <a:lnTo>
                  <a:pt x="174" y="31"/>
                </a:lnTo>
                <a:lnTo>
                  <a:pt x="169" y="25"/>
                </a:lnTo>
                <a:lnTo>
                  <a:pt x="166" y="22"/>
                </a:lnTo>
                <a:lnTo>
                  <a:pt x="164" y="20"/>
                </a:lnTo>
                <a:lnTo>
                  <a:pt x="161" y="17"/>
                </a:lnTo>
                <a:lnTo>
                  <a:pt x="160" y="17"/>
                </a:lnTo>
                <a:lnTo>
                  <a:pt x="157" y="14"/>
                </a:lnTo>
                <a:lnTo>
                  <a:pt x="133" y="15"/>
                </a:lnTo>
                <a:lnTo>
                  <a:pt x="133" y="23"/>
                </a:lnTo>
                <a:lnTo>
                  <a:pt x="120" y="23"/>
                </a:lnTo>
                <a:lnTo>
                  <a:pt x="92" y="23"/>
                </a:lnTo>
                <a:lnTo>
                  <a:pt x="35" y="1"/>
                </a:lnTo>
                <a:lnTo>
                  <a:pt x="35" y="0"/>
                </a:lnTo>
                <a:lnTo>
                  <a:pt x="0" y="3"/>
                </a:lnTo>
                <a:lnTo>
                  <a:pt x="3" y="4"/>
                </a:lnTo>
                <a:lnTo>
                  <a:pt x="3" y="7"/>
                </a:lnTo>
                <a:lnTo>
                  <a:pt x="4" y="9"/>
                </a:lnTo>
                <a:lnTo>
                  <a:pt x="4" y="11"/>
                </a:lnTo>
                <a:lnTo>
                  <a:pt x="6" y="12"/>
                </a:lnTo>
                <a:lnTo>
                  <a:pt x="7" y="14"/>
                </a:lnTo>
                <a:lnTo>
                  <a:pt x="8" y="15"/>
                </a:lnTo>
                <a:lnTo>
                  <a:pt x="8" y="20"/>
                </a:lnTo>
                <a:lnTo>
                  <a:pt x="13" y="26"/>
                </a:lnTo>
                <a:lnTo>
                  <a:pt x="13" y="29"/>
                </a:lnTo>
                <a:lnTo>
                  <a:pt x="13" y="31"/>
                </a:lnTo>
                <a:lnTo>
                  <a:pt x="15" y="31"/>
                </a:lnTo>
                <a:lnTo>
                  <a:pt x="15" y="33"/>
                </a:lnTo>
                <a:lnTo>
                  <a:pt x="16" y="33"/>
                </a:lnTo>
                <a:lnTo>
                  <a:pt x="17" y="37"/>
                </a:lnTo>
                <a:lnTo>
                  <a:pt x="17" y="40"/>
                </a:lnTo>
                <a:lnTo>
                  <a:pt x="19" y="40"/>
                </a:lnTo>
                <a:lnTo>
                  <a:pt x="20" y="40"/>
                </a:lnTo>
                <a:lnTo>
                  <a:pt x="20" y="44"/>
                </a:lnTo>
                <a:lnTo>
                  <a:pt x="21" y="48"/>
                </a:lnTo>
                <a:lnTo>
                  <a:pt x="23" y="51"/>
                </a:lnTo>
                <a:lnTo>
                  <a:pt x="24" y="53"/>
                </a:lnTo>
                <a:lnTo>
                  <a:pt x="27" y="55"/>
                </a:lnTo>
                <a:lnTo>
                  <a:pt x="29" y="55"/>
                </a:lnTo>
                <a:lnTo>
                  <a:pt x="31" y="58"/>
                </a:lnTo>
                <a:lnTo>
                  <a:pt x="33" y="58"/>
                </a:lnTo>
                <a:lnTo>
                  <a:pt x="35" y="61"/>
                </a:lnTo>
                <a:lnTo>
                  <a:pt x="36" y="64"/>
                </a:lnTo>
                <a:lnTo>
                  <a:pt x="37" y="64"/>
                </a:lnTo>
                <a:lnTo>
                  <a:pt x="40" y="67"/>
                </a:lnTo>
                <a:lnTo>
                  <a:pt x="41" y="69"/>
                </a:lnTo>
                <a:lnTo>
                  <a:pt x="47" y="75"/>
                </a:lnTo>
                <a:lnTo>
                  <a:pt x="48" y="77"/>
                </a:lnTo>
                <a:lnTo>
                  <a:pt x="47" y="80"/>
                </a:lnTo>
                <a:lnTo>
                  <a:pt x="48" y="80"/>
                </a:lnTo>
                <a:lnTo>
                  <a:pt x="48" y="81"/>
                </a:lnTo>
                <a:lnTo>
                  <a:pt x="48" y="83"/>
                </a:lnTo>
                <a:lnTo>
                  <a:pt x="47" y="83"/>
                </a:lnTo>
                <a:lnTo>
                  <a:pt x="45" y="84"/>
                </a:lnTo>
                <a:lnTo>
                  <a:pt x="45" y="86"/>
                </a:lnTo>
                <a:lnTo>
                  <a:pt x="45" y="87"/>
                </a:lnTo>
                <a:lnTo>
                  <a:pt x="44" y="86"/>
                </a:lnTo>
                <a:lnTo>
                  <a:pt x="39" y="87"/>
                </a:lnTo>
                <a:lnTo>
                  <a:pt x="33" y="87"/>
                </a:lnTo>
                <a:lnTo>
                  <a:pt x="33" y="89"/>
                </a:lnTo>
                <a:lnTo>
                  <a:pt x="35" y="89"/>
                </a:lnTo>
                <a:lnTo>
                  <a:pt x="37" y="92"/>
                </a:lnTo>
                <a:lnTo>
                  <a:pt x="40" y="92"/>
                </a:lnTo>
                <a:lnTo>
                  <a:pt x="41" y="94"/>
                </a:lnTo>
                <a:lnTo>
                  <a:pt x="41" y="97"/>
                </a:lnTo>
                <a:lnTo>
                  <a:pt x="43" y="98"/>
                </a:lnTo>
                <a:lnTo>
                  <a:pt x="45" y="98"/>
                </a:lnTo>
                <a:lnTo>
                  <a:pt x="47" y="98"/>
                </a:lnTo>
                <a:lnTo>
                  <a:pt x="48" y="100"/>
                </a:lnTo>
                <a:lnTo>
                  <a:pt x="49" y="102"/>
                </a:lnTo>
                <a:lnTo>
                  <a:pt x="52" y="102"/>
                </a:lnTo>
                <a:lnTo>
                  <a:pt x="53" y="105"/>
                </a:lnTo>
                <a:lnTo>
                  <a:pt x="55" y="105"/>
                </a:lnTo>
                <a:lnTo>
                  <a:pt x="59" y="106"/>
                </a:lnTo>
                <a:lnTo>
                  <a:pt x="61" y="102"/>
                </a:lnTo>
                <a:lnTo>
                  <a:pt x="61" y="103"/>
                </a:lnTo>
                <a:lnTo>
                  <a:pt x="61" y="106"/>
                </a:lnTo>
                <a:lnTo>
                  <a:pt x="63" y="108"/>
                </a:lnTo>
                <a:lnTo>
                  <a:pt x="65" y="113"/>
                </a:lnTo>
                <a:lnTo>
                  <a:pt x="69" y="114"/>
                </a:lnTo>
                <a:lnTo>
                  <a:pt x="71" y="116"/>
                </a:lnTo>
                <a:lnTo>
                  <a:pt x="72" y="116"/>
                </a:lnTo>
                <a:lnTo>
                  <a:pt x="73" y="117"/>
                </a:lnTo>
                <a:lnTo>
                  <a:pt x="76" y="124"/>
                </a:lnTo>
                <a:lnTo>
                  <a:pt x="77" y="125"/>
                </a:lnTo>
                <a:lnTo>
                  <a:pt x="77" y="133"/>
                </a:lnTo>
                <a:lnTo>
                  <a:pt x="76" y="138"/>
                </a:lnTo>
                <a:lnTo>
                  <a:pt x="75" y="139"/>
                </a:lnTo>
                <a:lnTo>
                  <a:pt x="75" y="141"/>
                </a:lnTo>
                <a:lnTo>
                  <a:pt x="76" y="139"/>
                </a:lnTo>
                <a:lnTo>
                  <a:pt x="77" y="141"/>
                </a:lnTo>
                <a:lnTo>
                  <a:pt x="79" y="141"/>
                </a:lnTo>
                <a:lnTo>
                  <a:pt x="80" y="142"/>
                </a:lnTo>
                <a:lnTo>
                  <a:pt x="80" y="144"/>
                </a:lnTo>
                <a:lnTo>
                  <a:pt x="81" y="144"/>
                </a:lnTo>
                <a:lnTo>
                  <a:pt x="84" y="146"/>
                </a:lnTo>
                <a:lnTo>
                  <a:pt x="84" y="147"/>
                </a:lnTo>
                <a:lnTo>
                  <a:pt x="87" y="149"/>
                </a:lnTo>
                <a:lnTo>
                  <a:pt x="92" y="152"/>
                </a:lnTo>
                <a:lnTo>
                  <a:pt x="93" y="155"/>
                </a:lnTo>
                <a:lnTo>
                  <a:pt x="100" y="160"/>
                </a:lnTo>
                <a:lnTo>
                  <a:pt x="101" y="161"/>
                </a:lnTo>
                <a:lnTo>
                  <a:pt x="104" y="164"/>
                </a:lnTo>
                <a:lnTo>
                  <a:pt x="107" y="172"/>
                </a:lnTo>
                <a:lnTo>
                  <a:pt x="108" y="174"/>
                </a:lnTo>
                <a:lnTo>
                  <a:pt x="109" y="174"/>
                </a:lnTo>
                <a:lnTo>
                  <a:pt x="111" y="172"/>
                </a:lnTo>
                <a:lnTo>
                  <a:pt x="113" y="171"/>
                </a:lnTo>
                <a:lnTo>
                  <a:pt x="115" y="169"/>
                </a:lnTo>
                <a:lnTo>
                  <a:pt x="116" y="168"/>
                </a:lnTo>
                <a:lnTo>
                  <a:pt x="117" y="164"/>
                </a:lnTo>
                <a:lnTo>
                  <a:pt x="116" y="163"/>
                </a:lnTo>
                <a:lnTo>
                  <a:pt x="115" y="161"/>
                </a:lnTo>
                <a:lnTo>
                  <a:pt x="113" y="160"/>
                </a:lnTo>
                <a:lnTo>
                  <a:pt x="111" y="157"/>
                </a:lnTo>
                <a:lnTo>
                  <a:pt x="111" y="155"/>
                </a:lnTo>
                <a:lnTo>
                  <a:pt x="108" y="152"/>
                </a:lnTo>
                <a:lnTo>
                  <a:pt x="105" y="150"/>
                </a:lnTo>
                <a:lnTo>
                  <a:pt x="103" y="152"/>
                </a:lnTo>
                <a:lnTo>
                  <a:pt x="101" y="150"/>
                </a:lnTo>
                <a:lnTo>
                  <a:pt x="100" y="149"/>
                </a:lnTo>
                <a:lnTo>
                  <a:pt x="97" y="146"/>
                </a:lnTo>
                <a:lnTo>
                  <a:pt x="97" y="144"/>
                </a:lnTo>
                <a:lnTo>
                  <a:pt x="97" y="139"/>
                </a:lnTo>
                <a:lnTo>
                  <a:pt x="95" y="135"/>
                </a:lnTo>
                <a:lnTo>
                  <a:pt x="95" y="133"/>
                </a:lnTo>
                <a:lnTo>
                  <a:pt x="93" y="133"/>
                </a:lnTo>
                <a:lnTo>
                  <a:pt x="93" y="128"/>
                </a:lnTo>
                <a:lnTo>
                  <a:pt x="92" y="127"/>
                </a:lnTo>
                <a:lnTo>
                  <a:pt x="91" y="125"/>
                </a:lnTo>
                <a:lnTo>
                  <a:pt x="89" y="124"/>
                </a:lnTo>
                <a:lnTo>
                  <a:pt x="89" y="120"/>
                </a:lnTo>
                <a:lnTo>
                  <a:pt x="88" y="114"/>
                </a:lnTo>
                <a:lnTo>
                  <a:pt x="87" y="114"/>
                </a:lnTo>
                <a:lnTo>
                  <a:pt x="87" y="111"/>
                </a:lnTo>
                <a:lnTo>
                  <a:pt x="85" y="106"/>
                </a:lnTo>
                <a:lnTo>
                  <a:pt x="83" y="105"/>
                </a:lnTo>
                <a:lnTo>
                  <a:pt x="81" y="105"/>
                </a:lnTo>
                <a:lnTo>
                  <a:pt x="81" y="108"/>
                </a:lnTo>
                <a:lnTo>
                  <a:pt x="83" y="109"/>
                </a:lnTo>
                <a:lnTo>
                  <a:pt x="80" y="108"/>
                </a:lnTo>
                <a:lnTo>
                  <a:pt x="80" y="106"/>
                </a:lnTo>
                <a:lnTo>
                  <a:pt x="79" y="103"/>
                </a:lnTo>
                <a:lnTo>
                  <a:pt x="79" y="102"/>
                </a:lnTo>
                <a:lnTo>
                  <a:pt x="79" y="100"/>
                </a:lnTo>
                <a:lnTo>
                  <a:pt x="77" y="100"/>
                </a:lnTo>
                <a:lnTo>
                  <a:pt x="75" y="98"/>
                </a:lnTo>
                <a:lnTo>
                  <a:pt x="75" y="95"/>
                </a:lnTo>
                <a:lnTo>
                  <a:pt x="73" y="92"/>
                </a:lnTo>
                <a:lnTo>
                  <a:pt x="68" y="86"/>
                </a:lnTo>
                <a:lnTo>
                  <a:pt x="67" y="83"/>
                </a:lnTo>
                <a:lnTo>
                  <a:pt x="67" y="81"/>
                </a:lnTo>
                <a:lnTo>
                  <a:pt x="67" y="78"/>
                </a:lnTo>
                <a:lnTo>
                  <a:pt x="65" y="77"/>
                </a:lnTo>
                <a:lnTo>
                  <a:pt x="64" y="75"/>
                </a:lnTo>
                <a:lnTo>
                  <a:pt x="63" y="75"/>
                </a:lnTo>
                <a:lnTo>
                  <a:pt x="61" y="73"/>
                </a:lnTo>
                <a:lnTo>
                  <a:pt x="60" y="69"/>
                </a:lnTo>
                <a:lnTo>
                  <a:pt x="59" y="69"/>
                </a:lnTo>
                <a:lnTo>
                  <a:pt x="57" y="67"/>
                </a:lnTo>
                <a:lnTo>
                  <a:pt x="56" y="67"/>
                </a:lnTo>
                <a:lnTo>
                  <a:pt x="55" y="64"/>
                </a:lnTo>
                <a:lnTo>
                  <a:pt x="53" y="61"/>
                </a:lnTo>
                <a:lnTo>
                  <a:pt x="48" y="56"/>
                </a:lnTo>
                <a:lnTo>
                  <a:pt x="47" y="55"/>
                </a:lnTo>
                <a:lnTo>
                  <a:pt x="47" y="53"/>
                </a:lnTo>
                <a:lnTo>
                  <a:pt x="45" y="53"/>
                </a:lnTo>
                <a:lnTo>
                  <a:pt x="43" y="53"/>
                </a:lnTo>
                <a:lnTo>
                  <a:pt x="43" y="51"/>
                </a:lnTo>
                <a:lnTo>
                  <a:pt x="41" y="48"/>
                </a:lnTo>
                <a:lnTo>
                  <a:pt x="41" y="47"/>
                </a:lnTo>
                <a:lnTo>
                  <a:pt x="40" y="45"/>
                </a:lnTo>
                <a:lnTo>
                  <a:pt x="39" y="39"/>
                </a:lnTo>
                <a:lnTo>
                  <a:pt x="39" y="34"/>
                </a:lnTo>
                <a:lnTo>
                  <a:pt x="37" y="31"/>
                </a:lnTo>
                <a:lnTo>
                  <a:pt x="36" y="29"/>
                </a:lnTo>
                <a:lnTo>
                  <a:pt x="36" y="28"/>
                </a:lnTo>
                <a:lnTo>
                  <a:pt x="35" y="22"/>
                </a:lnTo>
                <a:lnTo>
                  <a:pt x="35" y="20"/>
                </a:lnTo>
                <a:lnTo>
                  <a:pt x="36" y="17"/>
                </a:lnTo>
                <a:lnTo>
                  <a:pt x="35" y="15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44" name="Freeform 1069"/>
          <p:cNvSpPr>
            <a:spLocks/>
          </p:cNvSpPr>
          <p:nvPr/>
        </p:nvSpPr>
        <p:spPr bwMode="auto">
          <a:xfrm>
            <a:off x="2306874" y="3193142"/>
            <a:ext cx="869171" cy="558378"/>
          </a:xfrm>
          <a:custGeom>
            <a:avLst/>
            <a:gdLst/>
            <a:ahLst/>
            <a:cxnLst>
              <a:cxn ang="0">
                <a:pos x="394" y="271"/>
              </a:cxn>
              <a:cxn ang="0">
                <a:pos x="424" y="262"/>
              </a:cxn>
              <a:cxn ang="0">
                <a:pos x="432" y="251"/>
              </a:cxn>
              <a:cxn ang="0">
                <a:pos x="438" y="251"/>
              </a:cxn>
              <a:cxn ang="0">
                <a:pos x="440" y="259"/>
              </a:cxn>
              <a:cxn ang="0">
                <a:pos x="444" y="238"/>
              </a:cxn>
              <a:cxn ang="0">
                <a:pos x="444" y="232"/>
              </a:cxn>
              <a:cxn ang="0">
                <a:pos x="446" y="223"/>
              </a:cxn>
              <a:cxn ang="0">
                <a:pos x="455" y="207"/>
              </a:cxn>
              <a:cxn ang="0">
                <a:pos x="444" y="196"/>
              </a:cxn>
              <a:cxn ang="0">
                <a:pos x="432" y="196"/>
              </a:cxn>
              <a:cxn ang="0">
                <a:pos x="414" y="201"/>
              </a:cxn>
              <a:cxn ang="0">
                <a:pos x="402" y="205"/>
              </a:cxn>
              <a:cxn ang="0">
                <a:pos x="398" y="227"/>
              </a:cxn>
              <a:cxn ang="0">
                <a:pos x="391" y="240"/>
              </a:cxn>
              <a:cxn ang="0">
                <a:pos x="380" y="252"/>
              </a:cxn>
              <a:cxn ang="0">
                <a:pos x="376" y="248"/>
              </a:cxn>
              <a:cxn ang="0">
                <a:pos x="363" y="251"/>
              </a:cxn>
              <a:cxn ang="0">
                <a:pos x="345" y="257"/>
              </a:cxn>
              <a:cxn ang="0">
                <a:pos x="333" y="248"/>
              </a:cxn>
              <a:cxn ang="0">
                <a:pos x="323" y="246"/>
              </a:cxn>
              <a:cxn ang="0">
                <a:pos x="315" y="240"/>
              </a:cxn>
              <a:cxn ang="0">
                <a:pos x="309" y="223"/>
              </a:cxn>
              <a:cxn ang="0">
                <a:pos x="299" y="207"/>
              </a:cxn>
              <a:cxn ang="0">
                <a:pos x="294" y="191"/>
              </a:cxn>
              <a:cxn ang="0">
                <a:pos x="293" y="164"/>
              </a:cxn>
              <a:cxn ang="0">
                <a:pos x="291" y="152"/>
              </a:cxn>
              <a:cxn ang="0">
                <a:pos x="294" y="136"/>
              </a:cxn>
              <a:cxn ang="0">
                <a:pos x="298" y="130"/>
              </a:cxn>
              <a:cxn ang="0">
                <a:pos x="302" y="124"/>
              </a:cxn>
              <a:cxn ang="0">
                <a:pos x="299" y="125"/>
              </a:cxn>
              <a:cxn ang="0">
                <a:pos x="291" y="117"/>
              </a:cxn>
              <a:cxn ang="0">
                <a:pos x="271" y="111"/>
              </a:cxn>
              <a:cxn ang="0">
                <a:pos x="255" y="81"/>
              </a:cxn>
              <a:cxn ang="0">
                <a:pos x="241" y="58"/>
              </a:cxn>
              <a:cxn ang="0">
                <a:pos x="218" y="50"/>
              </a:cxn>
              <a:cxn ang="0">
                <a:pos x="196" y="59"/>
              </a:cxn>
              <a:cxn ang="0">
                <a:pos x="174" y="31"/>
              </a:cxn>
              <a:cxn ang="0">
                <a:pos x="161" y="17"/>
              </a:cxn>
              <a:cxn ang="0">
                <a:pos x="133" y="23"/>
              </a:cxn>
              <a:cxn ang="0">
                <a:pos x="35" y="0"/>
              </a:cxn>
              <a:cxn ang="0">
                <a:pos x="4" y="9"/>
              </a:cxn>
              <a:cxn ang="0">
                <a:pos x="8" y="15"/>
              </a:cxn>
              <a:cxn ang="0">
                <a:pos x="13" y="31"/>
              </a:cxn>
              <a:cxn ang="0">
                <a:pos x="17" y="37"/>
              </a:cxn>
              <a:cxn ang="0">
                <a:pos x="20" y="44"/>
              </a:cxn>
              <a:cxn ang="0">
                <a:pos x="27" y="55"/>
              </a:cxn>
              <a:cxn ang="0">
                <a:pos x="35" y="61"/>
              </a:cxn>
              <a:cxn ang="0">
                <a:pos x="41" y="69"/>
              </a:cxn>
            </a:cxnLst>
            <a:rect l="0" t="0" r="r" b="b"/>
            <a:pathLst>
              <a:path w="455" h="282">
                <a:moveTo>
                  <a:pt x="396" y="282"/>
                </a:moveTo>
                <a:lnTo>
                  <a:pt x="391" y="279"/>
                </a:lnTo>
                <a:lnTo>
                  <a:pt x="384" y="271"/>
                </a:lnTo>
                <a:lnTo>
                  <a:pt x="394" y="271"/>
                </a:lnTo>
                <a:lnTo>
                  <a:pt x="394" y="263"/>
                </a:lnTo>
                <a:lnTo>
                  <a:pt x="420" y="262"/>
                </a:lnTo>
                <a:lnTo>
                  <a:pt x="423" y="262"/>
                </a:lnTo>
                <a:lnTo>
                  <a:pt x="424" y="262"/>
                </a:lnTo>
                <a:lnTo>
                  <a:pt x="428" y="252"/>
                </a:lnTo>
                <a:lnTo>
                  <a:pt x="430" y="252"/>
                </a:lnTo>
                <a:lnTo>
                  <a:pt x="431" y="252"/>
                </a:lnTo>
                <a:lnTo>
                  <a:pt x="432" y="251"/>
                </a:lnTo>
                <a:lnTo>
                  <a:pt x="435" y="245"/>
                </a:lnTo>
                <a:lnTo>
                  <a:pt x="436" y="246"/>
                </a:lnTo>
                <a:lnTo>
                  <a:pt x="436" y="251"/>
                </a:lnTo>
                <a:lnTo>
                  <a:pt x="438" y="251"/>
                </a:lnTo>
                <a:lnTo>
                  <a:pt x="439" y="252"/>
                </a:lnTo>
                <a:lnTo>
                  <a:pt x="438" y="257"/>
                </a:lnTo>
                <a:lnTo>
                  <a:pt x="439" y="260"/>
                </a:lnTo>
                <a:lnTo>
                  <a:pt x="440" y="259"/>
                </a:lnTo>
                <a:lnTo>
                  <a:pt x="442" y="252"/>
                </a:lnTo>
                <a:lnTo>
                  <a:pt x="442" y="248"/>
                </a:lnTo>
                <a:lnTo>
                  <a:pt x="444" y="241"/>
                </a:lnTo>
                <a:lnTo>
                  <a:pt x="444" y="238"/>
                </a:lnTo>
                <a:lnTo>
                  <a:pt x="444" y="237"/>
                </a:lnTo>
                <a:lnTo>
                  <a:pt x="443" y="235"/>
                </a:lnTo>
                <a:lnTo>
                  <a:pt x="444" y="234"/>
                </a:lnTo>
                <a:lnTo>
                  <a:pt x="444" y="232"/>
                </a:lnTo>
                <a:lnTo>
                  <a:pt x="443" y="230"/>
                </a:lnTo>
                <a:lnTo>
                  <a:pt x="444" y="227"/>
                </a:lnTo>
                <a:lnTo>
                  <a:pt x="446" y="224"/>
                </a:lnTo>
                <a:lnTo>
                  <a:pt x="446" y="223"/>
                </a:lnTo>
                <a:lnTo>
                  <a:pt x="448" y="216"/>
                </a:lnTo>
                <a:lnTo>
                  <a:pt x="451" y="213"/>
                </a:lnTo>
                <a:lnTo>
                  <a:pt x="454" y="210"/>
                </a:lnTo>
                <a:lnTo>
                  <a:pt x="455" y="207"/>
                </a:lnTo>
                <a:lnTo>
                  <a:pt x="455" y="204"/>
                </a:lnTo>
                <a:lnTo>
                  <a:pt x="455" y="201"/>
                </a:lnTo>
                <a:lnTo>
                  <a:pt x="452" y="197"/>
                </a:lnTo>
                <a:lnTo>
                  <a:pt x="444" y="196"/>
                </a:lnTo>
                <a:lnTo>
                  <a:pt x="440" y="201"/>
                </a:lnTo>
                <a:lnTo>
                  <a:pt x="440" y="196"/>
                </a:lnTo>
                <a:lnTo>
                  <a:pt x="436" y="194"/>
                </a:lnTo>
                <a:lnTo>
                  <a:pt x="432" y="196"/>
                </a:lnTo>
                <a:lnTo>
                  <a:pt x="427" y="197"/>
                </a:lnTo>
                <a:lnTo>
                  <a:pt x="424" y="199"/>
                </a:lnTo>
                <a:lnTo>
                  <a:pt x="418" y="201"/>
                </a:lnTo>
                <a:lnTo>
                  <a:pt x="414" y="201"/>
                </a:lnTo>
                <a:lnTo>
                  <a:pt x="411" y="201"/>
                </a:lnTo>
                <a:lnTo>
                  <a:pt x="407" y="202"/>
                </a:lnTo>
                <a:lnTo>
                  <a:pt x="404" y="202"/>
                </a:lnTo>
                <a:lnTo>
                  <a:pt x="402" y="205"/>
                </a:lnTo>
                <a:lnTo>
                  <a:pt x="400" y="208"/>
                </a:lnTo>
                <a:lnTo>
                  <a:pt x="400" y="218"/>
                </a:lnTo>
                <a:lnTo>
                  <a:pt x="399" y="223"/>
                </a:lnTo>
                <a:lnTo>
                  <a:pt x="398" y="227"/>
                </a:lnTo>
                <a:lnTo>
                  <a:pt x="396" y="229"/>
                </a:lnTo>
                <a:lnTo>
                  <a:pt x="396" y="234"/>
                </a:lnTo>
                <a:lnTo>
                  <a:pt x="395" y="237"/>
                </a:lnTo>
                <a:lnTo>
                  <a:pt x="391" y="240"/>
                </a:lnTo>
                <a:lnTo>
                  <a:pt x="387" y="243"/>
                </a:lnTo>
                <a:lnTo>
                  <a:pt x="388" y="248"/>
                </a:lnTo>
                <a:lnTo>
                  <a:pt x="383" y="251"/>
                </a:lnTo>
                <a:lnTo>
                  <a:pt x="380" y="252"/>
                </a:lnTo>
                <a:lnTo>
                  <a:pt x="379" y="251"/>
                </a:lnTo>
                <a:lnTo>
                  <a:pt x="378" y="249"/>
                </a:lnTo>
                <a:lnTo>
                  <a:pt x="378" y="248"/>
                </a:lnTo>
                <a:lnTo>
                  <a:pt x="376" y="248"/>
                </a:lnTo>
                <a:lnTo>
                  <a:pt x="371" y="248"/>
                </a:lnTo>
                <a:lnTo>
                  <a:pt x="370" y="248"/>
                </a:lnTo>
                <a:lnTo>
                  <a:pt x="367" y="249"/>
                </a:lnTo>
                <a:lnTo>
                  <a:pt x="363" y="251"/>
                </a:lnTo>
                <a:lnTo>
                  <a:pt x="360" y="252"/>
                </a:lnTo>
                <a:lnTo>
                  <a:pt x="358" y="251"/>
                </a:lnTo>
                <a:lnTo>
                  <a:pt x="350" y="252"/>
                </a:lnTo>
                <a:lnTo>
                  <a:pt x="345" y="257"/>
                </a:lnTo>
                <a:lnTo>
                  <a:pt x="341" y="257"/>
                </a:lnTo>
                <a:lnTo>
                  <a:pt x="337" y="254"/>
                </a:lnTo>
                <a:lnTo>
                  <a:pt x="334" y="249"/>
                </a:lnTo>
                <a:lnTo>
                  <a:pt x="333" y="248"/>
                </a:lnTo>
                <a:lnTo>
                  <a:pt x="333" y="249"/>
                </a:lnTo>
                <a:lnTo>
                  <a:pt x="329" y="249"/>
                </a:lnTo>
                <a:lnTo>
                  <a:pt x="325" y="248"/>
                </a:lnTo>
                <a:lnTo>
                  <a:pt x="323" y="246"/>
                </a:lnTo>
                <a:lnTo>
                  <a:pt x="322" y="245"/>
                </a:lnTo>
                <a:lnTo>
                  <a:pt x="319" y="243"/>
                </a:lnTo>
                <a:lnTo>
                  <a:pt x="317" y="240"/>
                </a:lnTo>
                <a:lnTo>
                  <a:pt x="315" y="240"/>
                </a:lnTo>
                <a:lnTo>
                  <a:pt x="315" y="238"/>
                </a:lnTo>
                <a:lnTo>
                  <a:pt x="315" y="237"/>
                </a:lnTo>
                <a:lnTo>
                  <a:pt x="310" y="226"/>
                </a:lnTo>
                <a:lnTo>
                  <a:pt x="309" y="223"/>
                </a:lnTo>
                <a:lnTo>
                  <a:pt x="307" y="221"/>
                </a:lnTo>
                <a:lnTo>
                  <a:pt x="305" y="218"/>
                </a:lnTo>
                <a:lnTo>
                  <a:pt x="303" y="215"/>
                </a:lnTo>
                <a:lnTo>
                  <a:pt x="299" y="207"/>
                </a:lnTo>
                <a:lnTo>
                  <a:pt x="298" y="204"/>
                </a:lnTo>
                <a:lnTo>
                  <a:pt x="299" y="201"/>
                </a:lnTo>
                <a:lnTo>
                  <a:pt x="299" y="199"/>
                </a:lnTo>
                <a:lnTo>
                  <a:pt x="294" y="191"/>
                </a:lnTo>
                <a:lnTo>
                  <a:pt x="293" y="186"/>
                </a:lnTo>
                <a:lnTo>
                  <a:pt x="293" y="183"/>
                </a:lnTo>
                <a:lnTo>
                  <a:pt x="294" y="175"/>
                </a:lnTo>
                <a:lnTo>
                  <a:pt x="293" y="164"/>
                </a:lnTo>
                <a:lnTo>
                  <a:pt x="293" y="161"/>
                </a:lnTo>
                <a:lnTo>
                  <a:pt x="293" y="158"/>
                </a:lnTo>
                <a:lnTo>
                  <a:pt x="291" y="157"/>
                </a:lnTo>
                <a:lnTo>
                  <a:pt x="291" y="152"/>
                </a:lnTo>
                <a:lnTo>
                  <a:pt x="291" y="144"/>
                </a:lnTo>
                <a:lnTo>
                  <a:pt x="290" y="142"/>
                </a:lnTo>
                <a:lnTo>
                  <a:pt x="291" y="138"/>
                </a:lnTo>
                <a:lnTo>
                  <a:pt x="294" y="136"/>
                </a:lnTo>
                <a:lnTo>
                  <a:pt x="294" y="133"/>
                </a:lnTo>
                <a:lnTo>
                  <a:pt x="294" y="130"/>
                </a:lnTo>
                <a:lnTo>
                  <a:pt x="295" y="130"/>
                </a:lnTo>
                <a:lnTo>
                  <a:pt x="298" y="130"/>
                </a:lnTo>
                <a:lnTo>
                  <a:pt x="299" y="130"/>
                </a:lnTo>
                <a:lnTo>
                  <a:pt x="301" y="128"/>
                </a:lnTo>
                <a:lnTo>
                  <a:pt x="302" y="127"/>
                </a:lnTo>
                <a:lnTo>
                  <a:pt x="302" y="124"/>
                </a:lnTo>
                <a:lnTo>
                  <a:pt x="302" y="122"/>
                </a:lnTo>
                <a:lnTo>
                  <a:pt x="301" y="125"/>
                </a:lnTo>
                <a:lnTo>
                  <a:pt x="299" y="127"/>
                </a:lnTo>
                <a:lnTo>
                  <a:pt x="299" y="125"/>
                </a:lnTo>
                <a:lnTo>
                  <a:pt x="299" y="124"/>
                </a:lnTo>
                <a:lnTo>
                  <a:pt x="301" y="120"/>
                </a:lnTo>
                <a:lnTo>
                  <a:pt x="297" y="120"/>
                </a:lnTo>
                <a:lnTo>
                  <a:pt x="291" y="117"/>
                </a:lnTo>
                <a:lnTo>
                  <a:pt x="283" y="117"/>
                </a:lnTo>
                <a:lnTo>
                  <a:pt x="279" y="114"/>
                </a:lnTo>
                <a:lnTo>
                  <a:pt x="275" y="114"/>
                </a:lnTo>
                <a:lnTo>
                  <a:pt x="271" y="111"/>
                </a:lnTo>
                <a:lnTo>
                  <a:pt x="266" y="103"/>
                </a:lnTo>
                <a:lnTo>
                  <a:pt x="262" y="89"/>
                </a:lnTo>
                <a:lnTo>
                  <a:pt x="258" y="86"/>
                </a:lnTo>
                <a:lnTo>
                  <a:pt x="255" y="81"/>
                </a:lnTo>
                <a:lnTo>
                  <a:pt x="251" y="77"/>
                </a:lnTo>
                <a:lnTo>
                  <a:pt x="246" y="62"/>
                </a:lnTo>
                <a:lnTo>
                  <a:pt x="242" y="61"/>
                </a:lnTo>
                <a:lnTo>
                  <a:pt x="241" y="58"/>
                </a:lnTo>
                <a:lnTo>
                  <a:pt x="237" y="53"/>
                </a:lnTo>
                <a:lnTo>
                  <a:pt x="234" y="50"/>
                </a:lnTo>
                <a:lnTo>
                  <a:pt x="222" y="51"/>
                </a:lnTo>
                <a:lnTo>
                  <a:pt x="218" y="50"/>
                </a:lnTo>
                <a:lnTo>
                  <a:pt x="216" y="51"/>
                </a:lnTo>
                <a:lnTo>
                  <a:pt x="209" y="66"/>
                </a:lnTo>
                <a:lnTo>
                  <a:pt x="202" y="64"/>
                </a:lnTo>
                <a:lnTo>
                  <a:pt x="196" y="59"/>
                </a:lnTo>
                <a:lnTo>
                  <a:pt x="190" y="55"/>
                </a:lnTo>
                <a:lnTo>
                  <a:pt x="186" y="50"/>
                </a:lnTo>
                <a:lnTo>
                  <a:pt x="182" y="36"/>
                </a:lnTo>
                <a:lnTo>
                  <a:pt x="174" y="31"/>
                </a:lnTo>
                <a:lnTo>
                  <a:pt x="169" y="25"/>
                </a:lnTo>
                <a:lnTo>
                  <a:pt x="166" y="22"/>
                </a:lnTo>
                <a:lnTo>
                  <a:pt x="164" y="20"/>
                </a:lnTo>
                <a:lnTo>
                  <a:pt x="161" y="17"/>
                </a:lnTo>
                <a:lnTo>
                  <a:pt x="160" y="17"/>
                </a:lnTo>
                <a:lnTo>
                  <a:pt x="157" y="14"/>
                </a:lnTo>
                <a:lnTo>
                  <a:pt x="133" y="15"/>
                </a:lnTo>
                <a:lnTo>
                  <a:pt x="133" y="23"/>
                </a:lnTo>
                <a:lnTo>
                  <a:pt x="120" y="23"/>
                </a:lnTo>
                <a:lnTo>
                  <a:pt x="92" y="23"/>
                </a:lnTo>
                <a:lnTo>
                  <a:pt x="35" y="1"/>
                </a:lnTo>
                <a:lnTo>
                  <a:pt x="35" y="0"/>
                </a:lnTo>
                <a:lnTo>
                  <a:pt x="0" y="3"/>
                </a:lnTo>
                <a:lnTo>
                  <a:pt x="3" y="4"/>
                </a:lnTo>
                <a:lnTo>
                  <a:pt x="3" y="7"/>
                </a:lnTo>
                <a:lnTo>
                  <a:pt x="4" y="9"/>
                </a:lnTo>
                <a:lnTo>
                  <a:pt x="4" y="11"/>
                </a:lnTo>
                <a:lnTo>
                  <a:pt x="6" y="12"/>
                </a:lnTo>
                <a:lnTo>
                  <a:pt x="7" y="14"/>
                </a:lnTo>
                <a:lnTo>
                  <a:pt x="8" y="15"/>
                </a:lnTo>
                <a:lnTo>
                  <a:pt x="8" y="20"/>
                </a:lnTo>
                <a:lnTo>
                  <a:pt x="13" y="26"/>
                </a:lnTo>
                <a:lnTo>
                  <a:pt x="13" y="29"/>
                </a:lnTo>
                <a:lnTo>
                  <a:pt x="13" y="31"/>
                </a:lnTo>
                <a:lnTo>
                  <a:pt x="15" y="31"/>
                </a:lnTo>
                <a:lnTo>
                  <a:pt x="15" y="33"/>
                </a:lnTo>
                <a:lnTo>
                  <a:pt x="16" y="33"/>
                </a:lnTo>
                <a:lnTo>
                  <a:pt x="17" y="37"/>
                </a:lnTo>
                <a:lnTo>
                  <a:pt x="17" y="40"/>
                </a:lnTo>
                <a:lnTo>
                  <a:pt x="19" y="40"/>
                </a:lnTo>
                <a:lnTo>
                  <a:pt x="20" y="40"/>
                </a:lnTo>
                <a:lnTo>
                  <a:pt x="20" y="44"/>
                </a:lnTo>
                <a:lnTo>
                  <a:pt x="21" y="48"/>
                </a:lnTo>
                <a:lnTo>
                  <a:pt x="23" y="51"/>
                </a:lnTo>
                <a:lnTo>
                  <a:pt x="24" y="53"/>
                </a:lnTo>
                <a:lnTo>
                  <a:pt x="27" y="55"/>
                </a:lnTo>
                <a:lnTo>
                  <a:pt x="29" y="55"/>
                </a:lnTo>
                <a:lnTo>
                  <a:pt x="31" y="58"/>
                </a:lnTo>
                <a:lnTo>
                  <a:pt x="33" y="58"/>
                </a:lnTo>
                <a:lnTo>
                  <a:pt x="35" y="61"/>
                </a:lnTo>
                <a:lnTo>
                  <a:pt x="36" y="64"/>
                </a:lnTo>
                <a:lnTo>
                  <a:pt x="37" y="64"/>
                </a:lnTo>
                <a:lnTo>
                  <a:pt x="40" y="67"/>
                </a:lnTo>
                <a:lnTo>
                  <a:pt x="41" y="69"/>
                </a:lnTo>
                <a:lnTo>
                  <a:pt x="47" y="75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45" name="Freeform 1070"/>
          <p:cNvSpPr>
            <a:spLocks/>
          </p:cNvSpPr>
          <p:nvPr/>
        </p:nvSpPr>
        <p:spPr bwMode="auto">
          <a:xfrm>
            <a:off x="2369235" y="3221062"/>
            <a:ext cx="161750" cy="315698"/>
          </a:xfrm>
          <a:custGeom>
            <a:avLst/>
            <a:gdLst/>
            <a:ahLst/>
            <a:cxnLst>
              <a:cxn ang="0">
                <a:pos x="14" y="65"/>
              </a:cxn>
              <a:cxn ang="0">
                <a:pos x="15" y="68"/>
              </a:cxn>
              <a:cxn ang="0">
                <a:pos x="12" y="71"/>
              </a:cxn>
              <a:cxn ang="0">
                <a:pos x="6" y="72"/>
              </a:cxn>
              <a:cxn ang="0">
                <a:pos x="2" y="74"/>
              </a:cxn>
              <a:cxn ang="0">
                <a:pos x="8" y="79"/>
              </a:cxn>
              <a:cxn ang="0">
                <a:pos x="12" y="83"/>
              </a:cxn>
              <a:cxn ang="0">
                <a:pos x="16" y="87"/>
              </a:cxn>
              <a:cxn ang="0">
                <a:pos x="22" y="90"/>
              </a:cxn>
              <a:cxn ang="0">
                <a:pos x="28" y="88"/>
              </a:cxn>
              <a:cxn ang="0">
                <a:pos x="32" y="98"/>
              </a:cxn>
              <a:cxn ang="0">
                <a:pos x="39" y="101"/>
              </a:cxn>
              <a:cxn ang="0">
                <a:pos x="44" y="110"/>
              </a:cxn>
              <a:cxn ang="0">
                <a:pos x="42" y="124"/>
              </a:cxn>
              <a:cxn ang="0">
                <a:pos x="44" y="126"/>
              </a:cxn>
              <a:cxn ang="0">
                <a:pos x="47" y="129"/>
              </a:cxn>
              <a:cxn ang="0">
                <a:pos x="51" y="132"/>
              </a:cxn>
              <a:cxn ang="0">
                <a:pos x="60" y="140"/>
              </a:cxn>
              <a:cxn ang="0">
                <a:pos x="71" y="149"/>
              </a:cxn>
              <a:cxn ang="0">
                <a:pos x="76" y="159"/>
              </a:cxn>
              <a:cxn ang="0">
                <a:pos x="82" y="154"/>
              </a:cxn>
              <a:cxn ang="0">
                <a:pos x="83" y="148"/>
              </a:cxn>
              <a:cxn ang="0">
                <a:pos x="78" y="142"/>
              </a:cxn>
              <a:cxn ang="0">
                <a:pos x="72" y="135"/>
              </a:cxn>
              <a:cxn ang="0">
                <a:pos x="67" y="134"/>
              </a:cxn>
              <a:cxn ang="0">
                <a:pos x="64" y="124"/>
              </a:cxn>
              <a:cxn ang="0">
                <a:pos x="60" y="118"/>
              </a:cxn>
              <a:cxn ang="0">
                <a:pos x="58" y="110"/>
              </a:cxn>
              <a:cxn ang="0">
                <a:pos x="55" y="99"/>
              </a:cxn>
              <a:cxn ang="0">
                <a:pos x="52" y="91"/>
              </a:cxn>
              <a:cxn ang="0">
                <a:pos x="48" y="93"/>
              </a:cxn>
              <a:cxn ang="0">
                <a:pos x="47" y="91"/>
              </a:cxn>
              <a:cxn ang="0">
                <a:pos x="46" y="85"/>
              </a:cxn>
              <a:cxn ang="0">
                <a:pos x="42" y="80"/>
              </a:cxn>
              <a:cxn ang="0">
                <a:pos x="34" y="68"/>
              </a:cxn>
              <a:cxn ang="0">
                <a:pos x="32" y="62"/>
              </a:cxn>
              <a:cxn ang="0">
                <a:pos x="28" y="58"/>
              </a:cxn>
              <a:cxn ang="0">
                <a:pos x="24" y="52"/>
              </a:cxn>
              <a:cxn ang="0">
                <a:pos x="20" y="46"/>
              </a:cxn>
              <a:cxn ang="0">
                <a:pos x="14" y="38"/>
              </a:cxn>
              <a:cxn ang="0">
                <a:pos x="10" y="36"/>
              </a:cxn>
              <a:cxn ang="0">
                <a:pos x="7" y="30"/>
              </a:cxn>
              <a:cxn ang="0">
                <a:pos x="4" y="16"/>
              </a:cxn>
              <a:cxn ang="0">
                <a:pos x="2" y="7"/>
              </a:cxn>
              <a:cxn ang="0">
                <a:pos x="2" y="0"/>
              </a:cxn>
            </a:cxnLst>
            <a:rect l="0" t="0" r="r" b="b"/>
            <a:pathLst>
              <a:path w="84" h="159">
                <a:moveTo>
                  <a:pt x="14" y="60"/>
                </a:moveTo>
                <a:lnTo>
                  <a:pt x="15" y="62"/>
                </a:lnTo>
                <a:lnTo>
                  <a:pt x="14" y="65"/>
                </a:lnTo>
                <a:lnTo>
                  <a:pt x="15" y="65"/>
                </a:lnTo>
                <a:lnTo>
                  <a:pt x="15" y="66"/>
                </a:lnTo>
                <a:lnTo>
                  <a:pt x="15" y="68"/>
                </a:lnTo>
                <a:lnTo>
                  <a:pt x="14" y="68"/>
                </a:lnTo>
                <a:lnTo>
                  <a:pt x="12" y="69"/>
                </a:lnTo>
                <a:lnTo>
                  <a:pt x="12" y="71"/>
                </a:lnTo>
                <a:lnTo>
                  <a:pt x="12" y="72"/>
                </a:lnTo>
                <a:lnTo>
                  <a:pt x="11" y="71"/>
                </a:lnTo>
                <a:lnTo>
                  <a:pt x="6" y="72"/>
                </a:lnTo>
                <a:lnTo>
                  <a:pt x="0" y="72"/>
                </a:lnTo>
                <a:lnTo>
                  <a:pt x="0" y="74"/>
                </a:lnTo>
                <a:lnTo>
                  <a:pt x="2" y="74"/>
                </a:lnTo>
                <a:lnTo>
                  <a:pt x="4" y="77"/>
                </a:lnTo>
                <a:lnTo>
                  <a:pt x="7" y="77"/>
                </a:lnTo>
                <a:lnTo>
                  <a:pt x="8" y="79"/>
                </a:lnTo>
                <a:lnTo>
                  <a:pt x="8" y="82"/>
                </a:lnTo>
                <a:lnTo>
                  <a:pt x="10" y="83"/>
                </a:lnTo>
                <a:lnTo>
                  <a:pt x="12" y="83"/>
                </a:lnTo>
                <a:lnTo>
                  <a:pt x="14" y="83"/>
                </a:lnTo>
                <a:lnTo>
                  <a:pt x="15" y="85"/>
                </a:lnTo>
                <a:lnTo>
                  <a:pt x="16" y="87"/>
                </a:lnTo>
                <a:lnTo>
                  <a:pt x="19" y="87"/>
                </a:lnTo>
                <a:lnTo>
                  <a:pt x="20" y="90"/>
                </a:lnTo>
                <a:lnTo>
                  <a:pt x="22" y="90"/>
                </a:lnTo>
                <a:lnTo>
                  <a:pt x="26" y="91"/>
                </a:lnTo>
                <a:lnTo>
                  <a:pt x="28" y="87"/>
                </a:lnTo>
                <a:lnTo>
                  <a:pt x="28" y="88"/>
                </a:lnTo>
                <a:lnTo>
                  <a:pt x="28" y="91"/>
                </a:lnTo>
                <a:lnTo>
                  <a:pt x="30" y="93"/>
                </a:lnTo>
                <a:lnTo>
                  <a:pt x="32" y="98"/>
                </a:lnTo>
                <a:lnTo>
                  <a:pt x="36" y="99"/>
                </a:lnTo>
                <a:lnTo>
                  <a:pt x="38" y="101"/>
                </a:lnTo>
                <a:lnTo>
                  <a:pt x="39" y="101"/>
                </a:lnTo>
                <a:lnTo>
                  <a:pt x="40" y="102"/>
                </a:lnTo>
                <a:lnTo>
                  <a:pt x="43" y="109"/>
                </a:lnTo>
                <a:lnTo>
                  <a:pt x="44" y="110"/>
                </a:lnTo>
                <a:lnTo>
                  <a:pt x="44" y="118"/>
                </a:lnTo>
                <a:lnTo>
                  <a:pt x="43" y="123"/>
                </a:lnTo>
                <a:lnTo>
                  <a:pt x="42" y="124"/>
                </a:lnTo>
                <a:lnTo>
                  <a:pt x="42" y="126"/>
                </a:lnTo>
                <a:lnTo>
                  <a:pt x="43" y="124"/>
                </a:lnTo>
                <a:lnTo>
                  <a:pt x="44" y="126"/>
                </a:lnTo>
                <a:lnTo>
                  <a:pt x="46" y="126"/>
                </a:lnTo>
                <a:lnTo>
                  <a:pt x="47" y="127"/>
                </a:lnTo>
                <a:lnTo>
                  <a:pt x="47" y="129"/>
                </a:lnTo>
                <a:lnTo>
                  <a:pt x="48" y="129"/>
                </a:lnTo>
                <a:lnTo>
                  <a:pt x="51" y="131"/>
                </a:lnTo>
                <a:lnTo>
                  <a:pt x="51" y="132"/>
                </a:lnTo>
                <a:lnTo>
                  <a:pt x="54" y="134"/>
                </a:lnTo>
                <a:lnTo>
                  <a:pt x="59" y="137"/>
                </a:lnTo>
                <a:lnTo>
                  <a:pt x="60" y="140"/>
                </a:lnTo>
                <a:lnTo>
                  <a:pt x="67" y="145"/>
                </a:lnTo>
                <a:lnTo>
                  <a:pt x="68" y="146"/>
                </a:lnTo>
                <a:lnTo>
                  <a:pt x="71" y="149"/>
                </a:lnTo>
                <a:lnTo>
                  <a:pt x="74" y="157"/>
                </a:lnTo>
                <a:lnTo>
                  <a:pt x="75" y="159"/>
                </a:lnTo>
                <a:lnTo>
                  <a:pt x="76" y="159"/>
                </a:lnTo>
                <a:lnTo>
                  <a:pt x="78" y="157"/>
                </a:lnTo>
                <a:lnTo>
                  <a:pt x="80" y="156"/>
                </a:lnTo>
                <a:lnTo>
                  <a:pt x="82" y="154"/>
                </a:lnTo>
                <a:lnTo>
                  <a:pt x="83" y="153"/>
                </a:lnTo>
                <a:lnTo>
                  <a:pt x="84" y="149"/>
                </a:lnTo>
                <a:lnTo>
                  <a:pt x="83" y="148"/>
                </a:lnTo>
                <a:lnTo>
                  <a:pt x="82" y="146"/>
                </a:lnTo>
                <a:lnTo>
                  <a:pt x="80" y="145"/>
                </a:lnTo>
                <a:lnTo>
                  <a:pt x="78" y="142"/>
                </a:lnTo>
                <a:lnTo>
                  <a:pt x="78" y="140"/>
                </a:lnTo>
                <a:lnTo>
                  <a:pt x="75" y="137"/>
                </a:lnTo>
                <a:lnTo>
                  <a:pt x="72" y="135"/>
                </a:lnTo>
                <a:lnTo>
                  <a:pt x="70" y="137"/>
                </a:lnTo>
                <a:lnTo>
                  <a:pt x="68" y="135"/>
                </a:lnTo>
                <a:lnTo>
                  <a:pt x="67" y="134"/>
                </a:lnTo>
                <a:lnTo>
                  <a:pt x="64" y="131"/>
                </a:lnTo>
                <a:lnTo>
                  <a:pt x="64" y="129"/>
                </a:lnTo>
                <a:lnTo>
                  <a:pt x="64" y="124"/>
                </a:lnTo>
                <a:lnTo>
                  <a:pt x="62" y="120"/>
                </a:lnTo>
                <a:lnTo>
                  <a:pt x="62" y="118"/>
                </a:lnTo>
                <a:lnTo>
                  <a:pt x="60" y="118"/>
                </a:lnTo>
                <a:lnTo>
                  <a:pt x="60" y="113"/>
                </a:lnTo>
                <a:lnTo>
                  <a:pt x="59" y="112"/>
                </a:lnTo>
                <a:lnTo>
                  <a:pt x="58" y="110"/>
                </a:lnTo>
                <a:lnTo>
                  <a:pt x="56" y="109"/>
                </a:lnTo>
                <a:lnTo>
                  <a:pt x="56" y="105"/>
                </a:lnTo>
                <a:lnTo>
                  <a:pt x="55" y="99"/>
                </a:lnTo>
                <a:lnTo>
                  <a:pt x="54" y="99"/>
                </a:lnTo>
                <a:lnTo>
                  <a:pt x="54" y="96"/>
                </a:lnTo>
                <a:lnTo>
                  <a:pt x="52" y="91"/>
                </a:lnTo>
                <a:lnTo>
                  <a:pt x="50" y="90"/>
                </a:lnTo>
                <a:lnTo>
                  <a:pt x="48" y="90"/>
                </a:lnTo>
                <a:lnTo>
                  <a:pt x="48" y="93"/>
                </a:lnTo>
                <a:lnTo>
                  <a:pt x="50" y="94"/>
                </a:lnTo>
                <a:lnTo>
                  <a:pt x="47" y="93"/>
                </a:lnTo>
                <a:lnTo>
                  <a:pt x="47" y="91"/>
                </a:lnTo>
                <a:lnTo>
                  <a:pt x="46" y="88"/>
                </a:lnTo>
                <a:lnTo>
                  <a:pt x="46" y="87"/>
                </a:lnTo>
                <a:lnTo>
                  <a:pt x="46" y="85"/>
                </a:lnTo>
                <a:lnTo>
                  <a:pt x="44" y="85"/>
                </a:lnTo>
                <a:lnTo>
                  <a:pt x="42" y="83"/>
                </a:lnTo>
                <a:lnTo>
                  <a:pt x="42" y="80"/>
                </a:lnTo>
                <a:lnTo>
                  <a:pt x="40" y="77"/>
                </a:lnTo>
                <a:lnTo>
                  <a:pt x="35" y="71"/>
                </a:lnTo>
                <a:lnTo>
                  <a:pt x="34" y="68"/>
                </a:lnTo>
                <a:lnTo>
                  <a:pt x="34" y="66"/>
                </a:lnTo>
                <a:lnTo>
                  <a:pt x="34" y="63"/>
                </a:lnTo>
                <a:lnTo>
                  <a:pt x="32" y="62"/>
                </a:lnTo>
                <a:lnTo>
                  <a:pt x="31" y="60"/>
                </a:lnTo>
                <a:lnTo>
                  <a:pt x="30" y="60"/>
                </a:lnTo>
                <a:lnTo>
                  <a:pt x="28" y="58"/>
                </a:lnTo>
                <a:lnTo>
                  <a:pt x="27" y="54"/>
                </a:lnTo>
                <a:lnTo>
                  <a:pt x="26" y="54"/>
                </a:lnTo>
                <a:lnTo>
                  <a:pt x="24" y="52"/>
                </a:lnTo>
                <a:lnTo>
                  <a:pt x="23" y="52"/>
                </a:lnTo>
                <a:lnTo>
                  <a:pt x="22" y="49"/>
                </a:lnTo>
                <a:lnTo>
                  <a:pt x="20" y="46"/>
                </a:lnTo>
                <a:lnTo>
                  <a:pt x="15" y="41"/>
                </a:lnTo>
                <a:lnTo>
                  <a:pt x="14" y="40"/>
                </a:lnTo>
                <a:lnTo>
                  <a:pt x="14" y="38"/>
                </a:lnTo>
                <a:lnTo>
                  <a:pt x="12" y="38"/>
                </a:lnTo>
                <a:lnTo>
                  <a:pt x="10" y="38"/>
                </a:lnTo>
                <a:lnTo>
                  <a:pt x="10" y="36"/>
                </a:lnTo>
                <a:lnTo>
                  <a:pt x="8" y="33"/>
                </a:lnTo>
                <a:lnTo>
                  <a:pt x="8" y="32"/>
                </a:lnTo>
                <a:lnTo>
                  <a:pt x="7" y="30"/>
                </a:lnTo>
                <a:lnTo>
                  <a:pt x="6" y="24"/>
                </a:lnTo>
                <a:lnTo>
                  <a:pt x="6" y="19"/>
                </a:lnTo>
                <a:lnTo>
                  <a:pt x="4" y="16"/>
                </a:lnTo>
                <a:lnTo>
                  <a:pt x="3" y="14"/>
                </a:lnTo>
                <a:lnTo>
                  <a:pt x="3" y="13"/>
                </a:lnTo>
                <a:lnTo>
                  <a:pt x="2" y="7"/>
                </a:lnTo>
                <a:lnTo>
                  <a:pt x="2" y="5"/>
                </a:lnTo>
                <a:lnTo>
                  <a:pt x="3" y="2"/>
                </a:lnTo>
                <a:lnTo>
                  <a:pt x="2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46" name="Freeform 1071"/>
          <p:cNvSpPr>
            <a:spLocks/>
          </p:cNvSpPr>
          <p:nvPr/>
        </p:nvSpPr>
        <p:spPr bwMode="auto">
          <a:xfrm>
            <a:off x="3400158" y="3908296"/>
            <a:ext cx="348839" cy="579854"/>
          </a:xfrm>
          <a:custGeom>
            <a:avLst/>
            <a:gdLst/>
            <a:ahLst/>
            <a:cxnLst>
              <a:cxn ang="0">
                <a:pos x="116" y="1"/>
              </a:cxn>
              <a:cxn ang="0">
                <a:pos x="107" y="3"/>
              </a:cxn>
              <a:cxn ang="0">
                <a:pos x="101" y="9"/>
              </a:cxn>
              <a:cxn ang="0">
                <a:pos x="77" y="20"/>
              </a:cxn>
              <a:cxn ang="0">
                <a:pos x="71" y="25"/>
              </a:cxn>
              <a:cxn ang="0">
                <a:pos x="64" y="25"/>
              </a:cxn>
              <a:cxn ang="0">
                <a:pos x="51" y="33"/>
              </a:cxn>
              <a:cxn ang="0">
                <a:pos x="44" y="53"/>
              </a:cxn>
              <a:cxn ang="0">
                <a:pos x="32" y="67"/>
              </a:cxn>
              <a:cxn ang="0">
                <a:pos x="33" y="78"/>
              </a:cxn>
              <a:cxn ang="0">
                <a:pos x="23" y="70"/>
              </a:cxn>
              <a:cxn ang="0">
                <a:pos x="27" y="77"/>
              </a:cxn>
              <a:cxn ang="0">
                <a:pos x="20" y="83"/>
              </a:cxn>
              <a:cxn ang="0">
                <a:pos x="16" y="89"/>
              </a:cxn>
              <a:cxn ang="0">
                <a:pos x="24" y="103"/>
              </a:cxn>
              <a:cxn ang="0">
                <a:pos x="23" y="121"/>
              </a:cxn>
              <a:cxn ang="0">
                <a:pos x="24" y="146"/>
              </a:cxn>
              <a:cxn ang="0">
                <a:pos x="29" y="150"/>
              </a:cxn>
              <a:cxn ang="0">
                <a:pos x="27" y="157"/>
              </a:cxn>
              <a:cxn ang="0">
                <a:pos x="12" y="172"/>
              </a:cxn>
              <a:cxn ang="0">
                <a:pos x="7" y="185"/>
              </a:cxn>
              <a:cxn ang="0">
                <a:pos x="0" y="193"/>
              </a:cxn>
              <a:cxn ang="0">
                <a:pos x="20" y="207"/>
              </a:cxn>
              <a:cxn ang="0">
                <a:pos x="29" y="216"/>
              </a:cxn>
              <a:cxn ang="0">
                <a:pos x="43" y="216"/>
              </a:cxn>
              <a:cxn ang="0">
                <a:pos x="49" y="218"/>
              </a:cxn>
              <a:cxn ang="0">
                <a:pos x="63" y="223"/>
              </a:cxn>
              <a:cxn ang="0">
                <a:pos x="69" y="234"/>
              </a:cxn>
              <a:cxn ang="0">
                <a:pos x="77" y="240"/>
              </a:cxn>
              <a:cxn ang="0">
                <a:pos x="81" y="251"/>
              </a:cxn>
              <a:cxn ang="0">
                <a:pos x="87" y="260"/>
              </a:cxn>
              <a:cxn ang="0">
                <a:pos x="97" y="264"/>
              </a:cxn>
              <a:cxn ang="0">
                <a:pos x="104" y="262"/>
              </a:cxn>
              <a:cxn ang="0">
                <a:pos x="112" y="260"/>
              </a:cxn>
              <a:cxn ang="0">
                <a:pos x="121" y="260"/>
              </a:cxn>
              <a:cxn ang="0">
                <a:pos x="134" y="271"/>
              </a:cxn>
              <a:cxn ang="0">
                <a:pos x="126" y="287"/>
              </a:cxn>
              <a:cxn ang="0">
                <a:pos x="132" y="290"/>
              </a:cxn>
              <a:cxn ang="0">
                <a:pos x="137" y="286"/>
              </a:cxn>
              <a:cxn ang="0">
                <a:pos x="141" y="268"/>
              </a:cxn>
              <a:cxn ang="0">
                <a:pos x="141" y="231"/>
              </a:cxn>
              <a:cxn ang="0">
                <a:pos x="136" y="210"/>
              </a:cxn>
              <a:cxn ang="0">
                <a:pos x="148" y="210"/>
              </a:cxn>
              <a:cxn ang="0">
                <a:pos x="142" y="202"/>
              </a:cxn>
              <a:cxn ang="0">
                <a:pos x="138" y="190"/>
              </a:cxn>
              <a:cxn ang="0">
                <a:pos x="164" y="185"/>
              </a:cxn>
              <a:cxn ang="0">
                <a:pos x="176" y="187"/>
              </a:cxn>
              <a:cxn ang="0">
                <a:pos x="181" y="194"/>
              </a:cxn>
              <a:cxn ang="0">
                <a:pos x="169" y="169"/>
              </a:cxn>
              <a:cxn ang="0">
                <a:pos x="177" y="160"/>
              </a:cxn>
              <a:cxn ang="0">
                <a:pos x="170" y="149"/>
              </a:cxn>
              <a:cxn ang="0">
                <a:pos x="168" y="138"/>
              </a:cxn>
              <a:cxn ang="0">
                <a:pos x="172" y="122"/>
              </a:cxn>
              <a:cxn ang="0">
                <a:pos x="173" y="110"/>
              </a:cxn>
              <a:cxn ang="0">
                <a:pos x="158" y="113"/>
              </a:cxn>
              <a:cxn ang="0">
                <a:pos x="150" y="111"/>
              </a:cxn>
              <a:cxn ang="0">
                <a:pos x="136" y="97"/>
              </a:cxn>
              <a:cxn ang="0">
                <a:pos x="122" y="92"/>
              </a:cxn>
              <a:cxn ang="0">
                <a:pos x="105" y="91"/>
              </a:cxn>
              <a:cxn ang="0">
                <a:pos x="99" y="72"/>
              </a:cxn>
              <a:cxn ang="0">
                <a:pos x="93" y="59"/>
              </a:cxn>
              <a:cxn ang="0">
                <a:pos x="89" y="48"/>
              </a:cxn>
              <a:cxn ang="0">
                <a:pos x="105" y="14"/>
              </a:cxn>
            </a:cxnLst>
            <a:rect l="0" t="0" r="r" b="b"/>
            <a:pathLst>
              <a:path w="182" h="293">
                <a:moveTo>
                  <a:pt x="116" y="9"/>
                </a:moveTo>
                <a:lnTo>
                  <a:pt x="117" y="8"/>
                </a:lnTo>
                <a:lnTo>
                  <a:pt x="118" y="6"/>
                </a:lnTo>
                <a:lnTo>
                  <a:pt x="118" y="3"/>
                </a:lnTo>
                <a:lnTo>
                  <a:pt x="116" y="1"/>
                </a:lnTo>
                <a:lnTo>
                  <a:pt x="112" y="0"/>
                </a:lnTo>
                <a:lnTo>
                  <a:pt x="109" y="0"/>
                </a:lnTo>
                <a:lnTo>
                  <a:pt x="108" y="0"/>
                </a:lnTo>
                <a:lnTo>
                  <a:pt x="108" y="3"/>
                </a:lnTo>
                <a:lnTo>
                  <a:pt x="107" y="3"/>
                </a:lnTo>
                <a:lnTo>
                  <a:pt x="105" y="3"/>
                </a:lnTo>
                <a:lnTo>
                  <a:pt x="104" y="4"/>
                </a:lnTo>
                <a:lnTo>
                  <a:pt x="104" y="6"/>
                </a:lnTo>
                <a:lnTo>
                  <a:pt x="103" y="9"/>
                </a:lnTo>
                <a:lnTo>
                  <a:pt x="101" y="9"/>
                </a:lnTo>
                <a:lnTo>
                  <a:pt x="95" y="12"/>
                </a:lnTo>
                <a:lnTo>
                  <a:pt x="87" y="17"/>
                </a:lnTo>
                <a:lnTo>
                  <a:pt x="85" y="19"/>
                </a:lnTo>
                <a:lnTo>
                  <a:pt x="80" y="20"/>
                </a:lnTo>
                <a:lnTo>
                  <a:pt x="77" y="20"/>
                </a:lnTo>
                <a:lnTo>
                  <a:pt x="75" y="19"/>
                </a:lnTo>
                <a:lnTo>
                  <a:pt x="72" y="19"/>
                </a:lnTo>
                <a:lnTo>
                  <a:pt x="72" y="20"/>
                </a:lnTo>
                <a:lnTo>
                  <a:pt x="71" y="22"/>
                </a:lnTo>
                <a:lnTo>
                  <a:pt x="71" y="25"/>
                </a:lnTo>
                <a:lnTo>
                  <a:pt x="69" y="28"/>
                </a:lnTo>
                <a:lnTo>
                  <a:pt x="68" y="28"/>
                </a:lnTo>
                <a:lnTo>
                  <a:pt x="68" y="25"/>
                </a:lnTo>
                <a:lnTo>
                  <a:pt x="67" y="25"/>
                </a:lnTo>
                <a:lnTo>
                  <a:pt x="64" y="25"/>
                </a:lnTo>
                <a:lnTo>
                  <a:pt x="61" y="25"/>
                </a:lnTo>
                <a:lnTo>
                  <a:pt x="60" y="25"/>
                </a:lnTo>
                <a:lnTo>
                  <a:pt x="53" y="30"/>
                </a:lnTo>
                <a:lnTo>
                  <a:pt x="52" y="31"/>
                </a:lnTo>
                <a:lnTo>
                  <a:pt x="51" y="33"/>
                </a:lnTo>
                <a:lnTo>
                  <a:pt x="51" y="41"/>
                </a:lnTo>
                <a:lnTo>
                  <a:pt x="49" y="45"/>
                </a:lnTo>
                <a:lnTo>
                  <a:pt x="49" y="50"/>
                </a:lnTo>
                <a:lnTo>
                  <a:pt x="48" y="52"/>
                </a:lnTo>
                <a:lnTo>
                  <a:pt x="44" y="53"/>
                </a:lnTo>
                <a:lnTo>
                  <a:pt x="43" y="55"/>
                </a:lnTo>
                <a:lnTo>
                  <a:pt x="40" y="59"/>
                </a:lnTo>
                <a:lnTo>
                  <a:pt x="37" y="63"/>
                </a:lnTo>
                <a:lnTo>
                  <a:pt x="32" y="66"/>
                </a:lnTo>
                <a:lnTo>
                  <a:pt x="32" y="67"/>
                </a:lnTo>
                <a:lnTo>
                  <a:pt x="32" y="69"/>
                </a:lnTo>
                <a:lnTo>
                  <a:pt x="33" y="69"/>
                </a:lnTo>
                <a:lnTo>
                  <a:pt x="33" y="75"/>
                </a:lnTo>
                <a:lnTo>
                  <a:pt x="33" y="77"/>
                </a:lnTo>
                <a:lnTo>
                  <a:pt x="33" y="78"/>
                </a:lnTo>
                <a:lnTo>
                  <a:pt x="32" y="77"/>
                </a:lnTo>
                <a:lnTo>
                  <a:pt x="29" y="72"/>
                </a:lnTo>
                <a:lnTo>
                  <a:pt x="24" y="66"/>
                </a:lnTo>
                <a:lnTo>
                  <a:pt x="24" y="67"/>
                </a:lnTo>
                <a:lnTo>
                  <a:pt x="23" y="70"/>
                </a:lnTo>
                <a:lnTo>
                  <a:pt x="25" y="72"/>
                </a:lnTo>
                <a:lnTo>
                  <a:pt x="25" y="74"/>
                </a:lnTo>
                <a:lnTo>
                  <a:pt x="25" y="75"/>
                </a:lnTo>
                <a:lnTo>
                  <a:pt x="27" y="75"/>
                </a:lnTo>
                <a:lnTo>
                  <a:pt x="27" y="77"/>
                </a:lnTo>
                <a:lnTo>
                  <a:pt x="27" y="78"/>
                </a:lnTo>
                <a:lnTo>
                  <a:pt x="25" y="80"/>
                </a:lnTo>
                <a:lnTo>
                  <a:pt x="23" y="83"/>
                </a:lnTo>
                <a:lnTo>
                  <a:pt x="21" y="85"/>
                </a:lnTo>
                <a:lnTo>
                  <a:pt x="20" y="83"/>
                </a:lnTo>
                <a:lnTo>
                  <a:pt x="19" y="83"/>
                </a:lnTo>
                <a:lnTo>
                  <a:pt x="19" y="86"/>
                </a:lnTo>
                <a:lnTo>
                  <a:pt x="17" y="88"/>
                </a:lnTo>
                <a:lnTo>
                  <a:pt x="17" y="89"/>
                </a:lnTo>
                <a:lnTo>
                  <a:pt x="16" y="89"/>
                </a:lnTo>
                <a:lnTo>
                  <a:pt x="17" y="91"/>
                </a:lnTo>
                <a:lnTo>
                  <a:pt x="19" y="97"/>
                </a:lnTo>
                <a:lnTo>
                  <a:pt x="20" y="99"/>
                </a:lnTo>
                <a:lnTo>
                  <a:pt x="23" y="102"/>
                </a:lnTo>
                <a:lnTo>
                  <a:pt x="24" y="103"/>
                </a:lnTo>
                <a:lnTo>
                  <a:pt x="24" y="105"/>
                </a:lnTo>
                <a:lnTo>
                  <a:pt x="24" y="113"/>
                </a:lnTo>
                <a:lnTo>
                  <a:pt x="25" y="118"/>
                </a:lnTo>
                <a:lnTo>
                  <a:pt x="25" y="119"/>
                </a:lnTo>
                <a:lnTo>
                  <a:pt x="23" y="121"/>
                </a:lnTo>
                <a:lnTo>
                  <a:pt x="23" y="124"/>
                </a:lnTo>
                <a:lnTo>
                  <a:pt x="24" y="132"/>
                </a:lnTo>
                <a:lnTo>
                  <a:pt x="25" y="138"/>
                </a:lnTo>
                <a:lnTo>
                  <a:pt x="25" y="141"/>
                </a:lnTo>
                <a:lnTo>
                  <a:pt x="24" y="146"/>
                </a:lnTo>
                <a:lnTo>
                  <a:pt x="23" y="147"/>
                </a:lnTo>
                <a:lnTo>
                  <a:pt x="24" y="150"/>
                </a:lnTo>
                <a:lnTo>
                  <a:pt x="25" y="150"/>
                </a:lnTo>
                <a:lnTo>
                  <a:pt x="28" y="152"/>
                </a:lnTo>
                <a:lnTo>
                  <a:pt x="29" y="150"/>
                </a:lnTo>
                <a:lnTo>
                  <a:pt x="31" y="149"/>
                </a:lnTo>
                <a:lnTo>
                  <a:pt x="31" y="150"/>
                </a:lnTo>
                <a:lnTo>
                  <a:pt x="31" y="152"/>
                </a:lnTo>
                <a:lnTo>
                  <a:pt x="29" y="154"/>
                </a:lnTo>
                <a:lnTo>
                  <a:pt x="27" y="157"/>
                </a:lnTo>
                <a:lnTo>
                  <a:pt x="23" y="163"/>
                </a:lnTo>
                <a:lnTo>
                  <a:pt x="20" y="171"/>
                </a:lnTo>
                <a:lnTo>
                  <a:pt x="19" y="172"/>
                </a:lnTo>
                <a:lnTo>
                  <a:pt x="15" y="174"/>
                </a:lnTo>
                <a:lnTo>
                  <a:pt x="12" y="172"/>
                </a:lnTo>
                <a:lnTo>
                  <a:pt x="11" y="174"/>
                </a:lnTo>
                <a:lnTo>
                  <a:pt x="7" y="176"/>
                </a:lnTo>
                <a:lnTo>
                  <a:pt x="5" y="180"/>
                </a:lnTo>
                <a:lnTo>
                  <a:pt x="5" y="183"/>
                </a:lnTo>
                <a:lnTo>
                  <a:pt x="7" y="185"/>
                </a:lnTo>
                <a:lnTo>
                  <a:pt x="5" y="188"/>
                </a:lnTo>
                <a:lnTo>
                  <a:pt x="3" y="188"/>
                </a:lnTo>
                <a:lnTo>
                  <a:pt x="1" y="190"/>
                </a:lnTo>
                <a:lnTo>
                  <a:pt x="0" y="191"/>
                </a:lnTo>
                <a:lnTo>
                  <a:pt x="0" y="193"/>
                </a:lnTo>
                <a:lnTo>
                  <a:pt x="1" y="196"/>
                </a:lnTo>
                <a:lnTo>
                  <a:pt x="3" y="198"/>
                </a:lnTo>
                <a:lnTo>
                  <a:pt x="4" y="198"/>
                </a:lnTo>
                <a:lnTo>
                  <a:pt x="12" y="202"/>
                </a:lnTo>
                <a:lnTo>
                  <a:pt x="20" y="207"/>
                </a:lnTo>
                <a:lnTo>
                  <a:pt x="24" y="210"/>
                </a:lnTo>
                <a:lnTo>
                  <a:pt x="25" y="212"/>
                </a:lnTo>
                <a:lnTo>
                  <a:pt x="25" y="215"/>
                </a:lnTo>
                <a:lnTo>
                  <a:pt x="25" y="216"/>
                </a:lnTo>
                <a:lnTo>
                  <a:pt x="29" y="216"/>
                </a:lnTo>
                <a:lnTo>
                  <a:pt x="32" y="216"/>
                </a:lnTo>
                <a:lnTo>
                  <a:pt x="33" y="216"/>
                </a:lnTo>
                <a:lnTo>
                  <a:pt x="39" y="216"/>
                </a:lnTo>
                <a:lnTo>
                  <a:pt x="41" y="216"/>
                </a:lnTo>
                <a:lnTo>
                  <a:pt x="43" y="216"/>
                </a:lnTo>
                <a:lnTo>
                  <a:pt x="43" y="215"/>
                </a:lnTo>
                <a:lnTo>
                  <a:pt x="44" y="215"/>
                </a:lnTo>
                <a:lnTo>
                  <a:pt x="47" y="215"/>
                </a:lnTo>
                <a:lnTo>
                  <a:pt x="48" y="216"/>
                </a:lnTo>
                <a:lnTo>
                  <a:pt x="49" y="218"/>
                </a:lnTo>
                <a:lnTo>
                  <a:pt x="55" y="221"/>
                </a:lnTo>
                <a:lnTo>
                  <a:pt x="56" y="221"/>
                </a:lnTo>
                <a:lnTo>
                  <a:pt x="57" y="221"/>
                </a:lnTo>
                <a:lnTo>
                  <a:pt x="60" y="223"/>
                </a:lnTo>
                <a:lnTo>
                  <a:pt x="63" y="223"/>
                </a:lnTo>
                <a:lnTo>
                  <a:pt x="64" y="224"/>
                </a:lnTo>
                <a:lnTo>
                  <a:pt x="65" y="227"/>
                </a:lnTo>
                <a:lnTo>
                  <a:pt x="67" y="227"/>
                </a:lnTo>
                <a:lnTo>
                  <a:pt x="69" y="229"/>
                </a:lnTo>
                <a:lnTo>
                  <a:pt x="69" y="234"/>
                </a:lnTo>
                <a:lnTo>
                  <a:pt x="72" y="237"/>
                </a:lnTo>
                <a:lnTo>
                  <a:pt x="73" y="238"/>
                </a:lnTo>
                <a:lnTo>
                  <a:pt x="73" y="240"/>
                </a:lnTo>
                <a:lnTo>
                  <a:pt x="76" y="240"/>
                </a:lnTo>
                <a:lnTo>
                  <a:pt x="77" y="240"/>
                </a:lnTo>
                <a:lnTo>
                  <a:pt x="79" y="240"/>
                </a:lnTo>
                <a:lnTo>
                  <a:pt x="80" y="242"/>
                </a:lnTo>
                <a:lnTo>
                  <a:pt x="81" y="243"/>
                </a:lnTo>
                <a:lnTo>
                  <a:pt x="81" y="248"/>
                </a:lnTo>
                <a:lnTo>
                  <a:pt x="81" y="251"/>
                </a:lnTo>
                <a:lnTo>
                  <a:pt x="83" y="251"/>
                </a:lnTo>
                <a:lnTo>
                  <a:pt x="84" y="253"/>
                </a:lnTo>
                <a:lnTo>
                  <a:pt x="85" y="253"/>
                </a:lnTo>
                <a:lnTo>
                  <a:pt x="87" y="253"/>
                </a:lnTo>
                <a:lnTo>
                  <a:pt x="87" y="260"/>
                </a:lnTo>
                <a:lnTo>
                  <a:pt x="88" y="262"/>
                </a:lnTo>
                <a:lnTo>
                  <a:pt x="89" y="264"/>
                </a:lnTo>
                <a:lnTo>
                  <a:pt x="92" y="264"/>
                </a:lnTo>
                <a:lnTo>
                  <a:pt x="93" y="264"/>
                </a:lnTo>
                <a:lnTo>
                  <a:pt x="97" y="264"/>
                </a:lnTo>
                <a:lnTo>
                  <a:pt x="100" y="265"/>
                </a:lnTo>
                <a:lnTo>
                  <a:pt x="101" y="265"/>
                </a:lnTo>
                <a:lnTo>
                  <a:pt x="103" y="265"/>
                </a:lnTo>
                <a:lnTo>
                  <a:pt x="104" y="264"/>
                </a:lnTo>
                <a:lnTo>
                  <a:pt x="104" y="262"/>
                </a:lnTo>
                <a:lnTo>
                  <a:pt x="105" y="262"/>
                </a:lnTo>
                <a:lnTo>
                  <a:pt x="107" y="260"/>
                </a:lnTo>
                <a:lnTo>
                  <a:pt x="108" y="260"/>
                </a:lnTo>
                <a:lnTo>
                  <a:pt x="109" y="260"/>
                </a:lnTo>
                <a:lnTo>
                  <a:pt x="112" y="260"/>
                </a:lnTo>
                <a:lnTo>
                  <a:pt x="113" y="262"/>
                </a:lnTo>
                <a:lnTo>
                  <a:pt x="116" y="264"/>
                </a:lnTo>
                <a:lnTo>
                  <a:pt x="117" y="262"/>
                </a:lnTo>
                <a:lnTo>
                  <a:pt x="120" y="260"/>
                </a:lnTo>
                <a:lnTo>
                  <a:pt x="121" y="260"/>
                </a:lnTo>
                <a:lnTo>
                  <a:pt x="122" y="260"/>
                </a:lnTo>
                <a:lnTo>
                  <a:pt x="126" y="264"/>
                </a:lnTo>
                <a:lnTo>
                  <a:pt x="132" y="267"/>
                </a:lnTo>
                <a:lnTo>
                  <a:pt x="134" y="270"/>
                </a:lnTo>
                <a:lnTo>
                  <a:pt x="134" y="271"/>
                </a:lnTo>
                <a:lnTo>
                  <a:pt x="133" y="275"/>
                </a:lnTo>
                <a:lnTo>
                  <a:pt x="132" y="276"/>
                </a:lnTo>
                <a:lnTo>
                  <a:pt x="128" y="281"/>
                </a:lnTo>
                <a:lnTo>
                  <a:pt x="126" y="284"/>
                </a:lnTo>
                <a:lnTo>
                  <a:pt x="126" y="287"/>
                </a:lnTo>
                <a:lnTo>
                  <a:pt x="126" y="289"/>
                </a:lnTo>
                <a:lnTo>
                  <a:pt x="128" y="289"/>
                </a:lnTo>
                <a:lnTo>
                  <a:pt x="129" y="289"/>
                </a:lnTo>
                <a:lnTo>
                  <a:pt x="130" y="289"/>
                </a:lnTo>
                <a:lnTo>
                  <a:pt x="132" y="290"/>
                </a:lnTo>
                <a:lnTo>
                  <a:pt x="134" y="293"/>
                </a:lnTo>
                <a:lnTo>
                  <a:pt x="136" y="293"/>
                </a:lnTo>
                <a:lnTo>
                  <a:pt x="136" y="292"/>
                </a:lnTo>
                <a:lnTo>
                  <a:pt x="137" y="290"/>
                </a:lnTo>
                <a:lnTo>
                  <a:pt x="137" y="286"/>
                </a:lnTo>
                <a:lnTo>
                  <a:pt x="138" y="282"/>
                </a:lnTo>
                <a:lnTo>
                  <a:pt x="138" y="281"/>
                </a:lnTo>
                <a:lnTo>
                  <a:pt x="138" y="278"/>
                </a:lnTo>
                <a:lnTo>
                  <a:pt x="140" y="275"/>
                </a:lnTo>
                <a:lnTo>
                  <a:pt x="141" y="268"/>
                </a:lnTo>
                <a:lnTo>
                  <a:pt x="144" y="248"/>
                </a:lnTo>
                <a:lnTo>
                  <a:pt x="144" y="245"/>
                </a:lnTo>
                <a:lnTo>
                  <a:pt x="144" y="243"/>
                </a:lnTo>
                <a:lnTo>
                  <a:pt x="142" y="234"/>
                </a:lnTo>
                <a:lnTo>
                  <a:pt x="141" y="231"/>
                </a:lnTo>
                <a:lnTo>
                  <a:pt x="140" y="227"/>
                </a:lnTo>
                <a:lnTo>
                  <a:pt x="136" y="224"/>
                </a:lnTo>
                <a:lnTo>
                  <a:pt x="134" y="223"/>
                </a:lnTo>
                <a:lnTo>
                  <a:pt x="134" y="210"/>
                </a:lnTo>
                <a:lnTo>
                  <a:pt x="136" y="210"/>
                </a:lnTo>
                <a:lnTo>
                  <a:pt x="141" y="209"/>
                </a:lnTo>
                <a:lnTo>
                  <a:pt x="142" y="209"/>
                </a:lnTo>
                <a:lnTo>
                  <a:pt x="145" y="209"/>
                </a:lnTo>
                <a:lnTo>
                  <a:pt x="146" y="210"/>
                </a:lnTo>
                <a:lnTo>
                  <a:pt x="148" y="210"/>
                </a:lnTo>
                <a:lnTo>
                  <a:pt x="148" y="209"/>
                </a:lnTo>
                <a:lnTo>
                  <a:pt x="148" y="205"/>
                </a:lnTo>
                <a:lnTo>
                  <a:pt x="146" y="204"/>
                </a:lnTo>
                <a:lnTo>
                  <a:pt x="145" y="201"/>
                </a:lnTo>
                <a:lnTo>
                  <a:pt x="142" y="202"/>
                </a:lnTo>
                <a:lnTo>
                  <a:pt x="140" y="202"/>
                </a:lnTo>
                <a:lnTo>
                  <a:pt x="140" y="201"/>
                </a:lnTo>
                <a:lnTo>
                  <a:pt x="138" y="201"/>
                </a:lnTo>
                <a:lnTo>
                  <a:pt x="138" y="199"/>
                </a:lnTo>
                <a:lnTo>
                  <a:pt x="138" y="190"/>
                </a:lnTo>
                <a:lnTo>
                  <a:pt x="160" y="190"/>
                </a:lnTo>
                <a:lnTo>
                  <a:pt x="161" y="188"/>
                </a:lnTo>
                <a:lnTo>
                  <a:pt x="162" y="187"/>
                </a:lnTo>
                <a:lnTo>
                  <a:pt x="162" y="185"/>
                </a:lnTo>
                <a:lnTo>
                  <a:pt x="164" y="185"/>
                </a:lnTo>
                <a:lnTo>
                  <a:pt x="165" y="188"/>
                </a:lnTo>
                <a:lnTo>
                  <a:pt x="166" y="188"/>
                </a:lnTo>
                <a:lnTo>
                  <a:pt x="172" y="185"/>
                </a:lnTo>
                <a:lnTo>
                  <a:pt x="174" y="185"/>
                </a:lnTo>
                <a:lnTo>
                  <a:pt x="176" y="187"/>
                </a:lnTo>
                <a:lnTo>
                  <a:pt x="178" y="190"/>
                </a:lnTo>
                <a:lnTo>
                  <a:pt x="180" y="199"/>
                </a:lnTo>
                <a:lnTo>
                  <a:pt x="182" y="198"/>
                </a:lnTo>
                <a:lnTo>
                  <a:pt x="182" y="196"/>
                </a:lnTo>
                <a:lnTo>
                  <a:pt x="181" y="194"/>
                </a:lnTo>
                <a:lnTo>
                  <a:pt x="181" y="190"/>
                </a:lnTo>
                <a:lnTo>
                  <a:pt x="176" y="179"/>
                </a:lnTo>
                <a:lnTo>
                  <a:pt x="174" y="174"/>
                </a:lnTo>
                <a:lnTo>
                  <a:pt x="169" y="171"/>
                </a:lnTo>
                <a:lnTo>
                  <a:pt x="169" y="169"/>
                </a:lnTo>
                <a:lnTo>
                  <a:pt x="173" y="166"/>
                </a:lnTo>
                <a:lnTo>
                  <a:pt x="174" y="163"/>
                </a:lnTo>
                <a:lnTo>
                  <a:pt x="176" y="161"/>
                </a:lnTo>
                <a:lnTo>
                  <a:pt x="177" y="161"/>
                </a:lnTo>
                <a:lnTo>
                  <a:pt x="177" y="160"/>
                </a:lnTo>
                <a:lnTo>
                  <a:pt x="177" y="158"/>
                </a:lnTo>
                <a:lnTo>
                  <a:pt x="176" y="157"/>
                </a:lnTo>
                <a:lnTo>
                  <a:pt x="174" y="154"/>
                </a:lnTo>
                <a:lnTo>
                  <a:pt x="172" y="150"/>
                </a:lnTo>
                <a:lnTo>
                  <a:pt x="170" y="149"/>
                </a:lnTo>
                <a:lnTo>
                  <a:pt x="169" y="149"/>
                </a:lnTo>
                <a:lnTo>
                  <a:pt x="169" y="146"/>
                </a:lnTo>
                <a:lnTo>
                  <a:pt x="169" y="143"/>
                </a:lnTo>
                <a:lnTo>
                  <a:pt x="169" y="139"/>
                </a:lnTo>
                <a:lnTo>
                  <a:pt x="168" y="138"/>
                </a:lnTo>
                <a:lnTo>
                  <a:pt x="168" y="133"/>
                </a:lnTo>
                <a:lnTo>
                  <a:pt x="169" y="132"/>
                </a:lnTo>
                <a:lnTo>
                  <a:pt x="169" y="128"/>
                </a:lnTo>
                <a:lnTo>
                  <a:pt x="169" y="125"/>
                </a:lnTo>
                <a:lnTo>
                  <a:pt x="172" y="122"/>
                </a:lnTo>
                <a:lnTo>
                  <a:pt x="172" y="118"/>
                </a:lnTo>
                <a:lnTo>
                  <a:pt x="173" y="116"/>
                </a:lnTo>
                <a:lnTo>
                  <a:pt x="174" y="114"/>
                </a:lnTo>
                <a:lnTo>
                  <a:pt x="174" y="113"/>
                </a:lnTo>
                <a:lnTo>
                  <a:pt x="173" y="110"/>
                </a:lnTo>
                <a:lnTo>
                  <a:pt x="172" y="108"/>
                </a:lnTo>
                <a:lnTo>
                  <a:pt x="169" y="110"/>
                </a:lnTo>
                <a:lnTo>
                  <a:pt x="164" y="111"/>
                </a:lnTo>
                <a:lnTo>
                  <a:pt x="161" y="113"/>
                </a:lnTo>
                <a:lnTo>
                  <a:pt x="158" y="113"/>
                </a:lnTo>
                <a:lnTo>
                  <a:pt x="156" y="111"/>
                </a:lnTo>
                <a:lnTo>
                  <a:pt x="154" y="111"/>
                </a:lnTo>
                <a:lnTo>
                  <a:pt x="153" y="110"/>
                </a:lnTo>
                <a:lnTo>
                  <a:pt x="152" y="110"/>
                </a:lnTo>
                <a:lnTo>
                  <a:pt x="150" y="111"/>
                </a:lnTo>
                <a:lnTo>
                  <a:pt x="149" y="111"/>
                </a:lnTo>
                <a:lnTo>
                  <a:pt x="148" y="111"/>
                </a:lnTo>
                <a:lnTo>
                  <a:pt x="145" y="111"/>
                </a:lnTo>
                <a:lnTo>
                  <a:pt x="144" y="111"/>
                </a:lnTo>
                <a:lnTo>
                  <a:pt x="136" y="97"/>
                </a:lnTo>
                <a:lnTo>
                  <a:pt x="134" y="96"/>
                </a:lnTo>
                <a:lnTo>
                  <a:pt x="132" y="96"/>
                </a:lnTo>
                <a:lnTo>
                  <a:pt x="130" y="94"/>
                </a:lnTo>
                <a:lnTo>
                  <a:pt x="126" y="92"/>
                </a:lnTo>
                <a:lnTo>
                  <a:pt x="122" y="92"/>
                </a:lnTo>
                <a:lnTo>
                  <a:pt x="117" y="96"/>
                </a:lnTo>
                <a:lnTo>
                  <a:pt x="114" y="96"/>
                </a:lnTo>
                <a:lnTo>
                  <a:pt x="111" y="96"/>
                </a:lnTo>
                <a:lnTo>
                  <a:pt x="105" y="92"/>
                </a:lnTo>
                <a:lnTo>
                  <a:pt x="105" y="91"/>
                </a:lnTo>
                <a:lnTo>
                  <a:pt x="104" y="89"/>
                </a:lnTo>
                <a:lnTo>
                  <a:pt x="100" y="88"/>
                </a:lnTo>
                <a:lnTo>
                  <a:pt x="100" y="77"/>
                </a:lnTo>
                <a:lnTo>
                  <a:pt x="100" y="74"/>
                </a:lnTo>
                <a:lnTo>
                  <a:pt x="99" y="72"/>
                </a:lnTo>
                <a:lnTo>
                  <a:pt x="97" y="70"/>
                </a:lnTo>
                <a:lnTo>
                  <a:pt x="97" y="69"/>
                </a:lnTo>
                <a:lnTo>
                  <a:pt x="95" y="67"/>
                </a:lnTo>
                <a:lnTo>
                  <a:pt x="95" y="66"/>
                </a:lnTo>
                <a:lnTo>
                  <a:pt x="93" y="59"/>
                </a:lnTo>
                <a:lnTo>
                  <a:pt x="92" y="58"/>
                </a:lnTo>
                <a:lnTo>
                  <a:pt x="92" y="56"/>
                </a:lnTo>
                <a:lnTo>
                  <a:pt x="85" y="56"/>
                </a:lnTo>
                <a:lnTo>
                  <a:pt x="87" y="53"/>
                </a:lnTo>
                <a:lnTo>
                  <a:pt x="89" y="48"/>
                </a:lnTo>
                <a:lnTo>
                  <a:pt x="93" y="33"/>
                </a:lnTo>
                <a:lnTo>
                  <a:pt x="97" y="26"/>
                </a:lnTo>
                <a:lnTo>
                  <a:pt x="104" y="19"/>
                </a:lnTo>
                <a:lnTo>
                  <a:pt x="104" y="17"/>
                </a:lnTo>
                <a:lnTo>
                  <a:pt x="105" y="14"/>
                </a:lnTo>
                <a:lnTo>
                  <a:pt x="108" y="12"/>
                </a:lnTo>
                <a:lnTo>
                  <a:pt x="112" y="9"/>
                </a:lnTo>
                <a:lnTo>
                  <a:pt x="116" y="9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47" name="Freeform 1072"/>
          <p:cNvSpPr>
            <a:spLocks/>
          </p:cNvSpPr>
          <p:nvPr/>
        </p:nvSpPr>
        <p:spPr bwMode="auto">
          <a:xfrm>
            <a:off x="3400158" y="3908296"/>
            <a:ext cx="265039" cy="579854"/>
          </a:xfrm>
          <a:custGeom>
            <a:avLst/>
            <a:gdLst/>
            <a:ahLst/>
            <a:cxnLst>
              <a:cxn ang="0">
                <a:pos x="118" y="3"/>
              </a:cxn>
              <a:cxn ang="0">
                <a:pos x="108" y="0"/>
              </a:cxn>
              <a:cxn ang="0">
                <a:pos x="104" y="4"/>
              </a:cxn>
              <a:cxn ang="0">
                <a:pos x="95" y="12"/>
              </a:cxn>
              <a:cxn ang="0">
                <a:pos x="77" y="20"/>
              </a:cxn>
              <a:cxn ang="0">
                <a:pos x="71" y="22"/>
              </a:cxn>
              <a:cxn ang="0">
                <a:pos x="68" y="25"/>
              </a:cxn>
              <a:cxn ang="0">
                <a:pos x="60" y="25"/>
              </a:cxn>
              <a:cxn ang="0">
                <a:pos x="51" y="41"/>
              </a:cxn>
              <a:cxn ang="0">
                <a:pos x="44" y="53"/>
              </a:cxn>
              <a:cxn ang="0">
                <a:pos x="32" y="66"/>
              </a:cxn>
              <a:cxn ang="0">
                <a:pos x="33" y="75"/>
              </a:cxn>
              <a:cxn ang="0">
                <a:pos x="29" y="72"/>
              </a:cxn>
              <a:cxn ang="0">
                <a:pos x="25" y="72"/>
              </a:cxn>
              <a:cxn ang="0">
                <a:pos x="27" y="77"/>
              </a:cxn>
              <a:cxn ang="0">
                <a:pos x="21" y="85"/>
              </a:cxn>
              <a:cxn ang="0">
                <a:pos x="17" y="88"/>
              </a:cxn>
              <a:cxn ang="0">
                <a:pos x="19" y="97"/>
              </a:cxn>
              <a:cxn ang="0">
                <a:pos x="24" y="105"/>
              </a:cxn>
              <a:cxn ang="0">
                <a:pos x="23" y="121"/>
              </a:cxn>
              <a:cxn ang="0">
                <a:pos x="25" y="141"/>
              </a:cxn>
              <a:cxn ang="0">
                <a:pos x="25" y="150"/>
              </a:cxn>
              <a:cxn ang="0">
                <a:pos x="31" y="150"/>
              </a:cxn>
              <a:cxn ang="0">
                <a:pos x="23" y="163"/>
              </a:cxn>
              <a:cxn ang="0">
                <a:pos x="12" y="172"/>
              </a:cxn>
              <a:cxn ang="0">
                <a:pos x="5" y="183"/>
              </a:cxn>
              <a:cxn ang="0">
                <a:pos x="1" y="190"/>
              </a:cxn>
              <a:cxn ang="0">
                <a:pos x="3" y="198"/>
              </a:cxn>
              <a:cxn ang="0">
                <a:pos x="24" y="210"/>
              </a:cxn>
              <a:cxn ang="0">
                <a:pos x="29" y="216"/>
              </a:cxn>
              <a:cxn ang="0">
                <a:pos x="41" y="216"/>
              </a:cxn>
              <a:cxn ang="0">
                <a:pos x="47" y="215"/>
              </a:cxn>
              <a:cxn ang="0">
                <a:pos x="56" y="221"/>
              </a:cxn>
              <a:cxn ang="0">
                <a:pos x="64" y="224"/>
              </a:cxn>
              <a:cxn ang="0">
                <a:pos x="69" y="234"/>
              </a:cxn>
              <a:cxn ang="0">
                <a:pos x="76" y="240"/>
              </a:cxn>
              <a:cxn ang="0">
                <a:pos x="81" y="243"/>
              </a:cxn>
              <a:cxn ang="0">
                <a:pos x="84" y="253"/>
              </a:cxn>
              <a:cxn ang="0">
                <a:pos x="88" y="262"/>
              </a:cxn>
              <a:cxn ang="0">
                <a:pos x="97" y="264"/>
              </a:cxn>
              <a:cxn ang="0">
                <a:pos x="104" y="264"/>
              </a:cxn>
              <a:cxn ang="0">
                <a:pos x="108" y="260"/>
              </a:cxn>
              <a:cxn ang="0">
                <a:pos x="116" y="264"/>
              </a:cxn>
              <a:cxn ang="0">
                <a:pos x="122" y="260"/>
              </a:cxn>
              <a:cxn ang="0">
                <a:pos x="134" y="271"/>
              </a:cxn>
              <a:cxn ang="0">
                <a:pos x="126" y="284"/>
              </a:cxn>
              <a:cxn ang="0">
                <a:pos x="129" y="289"/>
              </a:cxn>
              <a:cxn ang="0">
                <a:pos x="136" y="293"/>
              </a:cxn>
              <a:cxn ang="0">
                <a:pos x="138" y="282"/>
              </a:cxn>
            </a:cxnLst>
            <a:rect l="0" t="0" r="r" b="b"/>
            <a:pathLst>
              <a:path w="138" h="293">
                <a:moveTo>
                  <a:pt x="116" y="9"/>
                </a:moveTo>
                <a:lnTo>
                  <a:pt x="117" y="8"/>
                </a:lnTo>
                <a:lnTo>
                  <a:pt x="118" y="6"/>
                </a:lnTo>
                <a:lnTo>
                  <a:pt x="118" y="3"/>
                </a:lnTo>
                <a:lnTo>
                  <a:pt x="116" y="1"/>
                </a:lnTo>
                <a:lnTo>
                  <a:pt x="112" y="0"/>
                </a:lnTo>
                <a:lnTo>
                  <a:pt x="109" y="0"/>
                </a:lnTo>
                <a:lnTo>
                  <a:pt x="108" y="0"/>
                </a:lnTo>
                <a:lnTo>
                  <a:pt x="108" y="3"/>
                </a:lnTo>
                <a:lnTo>
                  <a:pt x="107" y="3"/>
                </a:lnTo>
                <a:lnTo>
                  <a:pt x="105" y="3"/>
                </a:lnTo>
                <a:lnTo>
                  <a:pt x="104" y="4"/>
                </a:lnTo>
                <a:lnTo>
                  <a:pt x="104" y="6"/>
                </a:lnTo>
                <a:lnTo>
                  <a:pt x="103" y="9"/>
                </a:lnTo>
                <a:lnTo>
                  <a:pt x="101" y="9"/>
                </a:lnTo>
                <a:lnTo>
                  <a:pt x="95" y="12"/>
                </a:lnTo>
                <a:lnTo>
                  <a:pt x="87" y="17"/>
                </a:lnTo>
                <a:lnTo>
                  <a:pt x="85" y="19"/>
                </a:lnTo>
                <a:lnTo>
                  <a:pt x="80" y="20"/>
                </a:lnTo>
                <a:lnTo>
                  <a:pt x="77" y="20"/>
                </a:lnTo>
                <a:lnTo>
                  <a:pt x="75" y="19"/>
                </a:lnTo>
                <a:lnTo>
                  <a:pt x="72" y="19"/>
                </a:lnTo>
                <a:lnTo>
                  <a:pt x="72" y="20"/>
                </a:lnTo>
                <a:lnTo>
                  <a:pt x="71" y="22"/>
                </a:lnTo>
                <a:lnTo>
                  <a:pt x="71" y="25"/>
                </a:lnTo>
                <a:lnTo>
                  <a:pt x="69" y="28"/>
                </a:lnTo>
                <a:lnTo>
                  <a:pt x="68" y="28"/>
                </a:lnTo>
                <a:lnTo>
                  <a:pt x="68" y="25"/>
                </a:lnTo>
                <a:lnTo>
                  <a:pt x="67" y="25"/>
                </a:lnTo>
                <a:lnTo>
                  <a:pt x="64" y="25"/>
                </a:lnTo>
                <a:lnTo>
                  <a:pt x="61" y="25"/>
                </a:lnTo>
                <a:lnTo>
                  <a:pt x="60" y="25"/>
                </a:lnTo>
                <a:lnTo>
                  <a:pt x="53" y="30"/>
                </a:lnTo>
                <a:lnTo>
                  <a:pt x="52" y="31"/>
                </a:lnTo>
                <a:lnTo>
                  <a:pt x="51" y="33"/>
                </a:lnTo>
                <a:lnTo>
                  <a:pt x="51" y="41"/>
                </a:lnTo>
                <a:lnTo>
                  <a:pt x="49" y="45"/>
                </a:lnTo>
                <a:lnTo>
                  <a:pt x="49" y="50"/>
                </a:lnTo>
                <a:lnTo>
                  <a:pt x="48" y="52"/>
                </a:lnTo>
                <a:lnTo>
                  <a:pt x="44" y="53"/>
                </a:lnTo>
                <a:lnTo>
                  <a:pt x="43" y="55"/>
                </a:lnTo>
                <a:lnTo>
                  <a:pt x="40" y="59"/>
                </a:lnTo>
                <a:lnTo>
                  <a:pt x="37" y="63"/>
                </a:lnTo>
                <a:lnTo>
                  <a:pt x="32" y="66"/>
                </a:lnTo>
                <a:lnTo>
                  <a:pt x="32" y="67"/>
                </a:lnTo>
                <a:lnTo>
                  <a:pt x="32" y="69"/>
                </a:lnTo>
                <a:lnTo>
                  <a:pt x="33" y="69"/>
                </a:lnTo>
                <a:lnTo>
                  <a:pt x="33" y="75"/>
                </a:lnTo>
                <a:lnTo>
                  <a:pt x="33" y="77"/>
                </a:lnTo>
                <a:lnTo>
                  <a:pt x="33" y="78"/>
                </a:lnTo>
                <a:lnTo>
                  <a:pt x="32" y="77"/>
                </a:lnTo>
                <a:lnTo>
                  <a:pt x="29" y="72"/>
                </a:lnTo>
                <a:lnTo>
                  <a:pt x="24" y="66"/>
                </a:lnTo>
                <a:lnTo>
                  <a:pt x="24" y="67"/>
                </a:lnTo>
                <a:lnTo>
                  <a:pt x="23" y="70"/>
                </a:lnTo>
                <a:lnTo>
                  <a:pt x="25" y="72"/>
                </a:lnTo>
                <a:lnTo>
                  <a:pt x="25" y="74"/>
                </a:lnTo>
                <a:lnTo>
                  <a:pt x="25" y="75"/>
                </a:lnTo>
                <a:lnTo>
                  <a:pt x="27" y="75"/>
                </a:lnTo>
                <a:lnTo>
                  <a:pt x="27" y="77"/>
                </a:lnTo>
                <a:lnTo>
                  <a:pt x="27" y="78"/>
                </a:lnTo>
                <a:lnTo>
                  <a:pt x="25" y="80"/>
                </a:lnTo>
                <a:lnTo>
                  <a:pt x="23" y="83"/>
                </a:lnTo>
                <a:lnTo>
                  <a:pt x="21" y="85"/>
                </a:lnTo>
                <a:lnTo>
                  <a:pt x="20" y="83"/>
                </a:lnTo>
                <a:lnTo>
                  <a:pt x="19" y="83"/>
                </a:lnTo>
                <a:lnTo>
                  <a:pt x="19" y="86"/>
                </a:lnTo>
                <a:lnTo>
                  <a:pt x="17" y="88"/>
                </a:lnTo>
                <a:lnTo>
                  <a:pt x="17" y="89"/>
                </a:lnTo>
                <a:lnTo>
                  <a:pt x="16" y="89"/>
                </a:lnTo>
                <a:lnTo>
                  <a:pt x="17" y="91"/>
                </a:lnTo>
                <a:lnTo>
                  <a:pt x="19" y="97"/>
                </a:lnTo>
                <a:lnTo>
                  <a:pt x="20" y="99"/>
                </a:lnTo>
                <a:lnTo>
                  <a:pt x="23" y="102"/>
                </a:lnTo>
                <a:lnTo>
                  <a:pt x="24" y="103"/>
                </a:lnTo>
                <a:lnTo>
                  <a:pt x="24" y="105"/>
                </a:lnTo>
                <a:lnTo>
                  <a:pt x="24" y="113"/>
                </a:lnTo>
                <a:lnTo>
                  <a:pt x="25" y="118"/>
                </a:lnTo>
                <a:lnTo>
                  <a:pt x="25" y="119"/>
                </a:lnTo>
                <a:lnTo>
                  <a:pt x="23" y="121"/>
                </a:lnTo>
                <a:lnTo>
                  <a:pt x="23" y="124"/>
                </a:lnTo>
                <a:lnTo>
                  <a:pt x="24" y="132"/>
                </a:lnTo>
                <a:lnTo>
                  <a:pt x="25" y="138"/>
                </a:lnTo>
                <a:lnTo>
                  <a:pt x="25" y="141"/>
                </a:lnTo>
                <a:lnTo>
                  <a:pt x="24" y="146"/>
                </a:lnTo>
                <a:lnTo>
                  <a:pt x="23" y="147"/>
                </a:lnTo>
                <a:lnTo>
                  <a:pt x="24" y="150"/>
                </a:lnTo>
                <a:lnTo>
                  <a:pt x="25" y="150"/>
                </a:lnTo>
                <a:lnTo>
                  <a:pt x="28" y="152"/>
                </a:lnTo>
                <a:lnTo>
                  <a:pt x="29" y="150"/>
                </a:lnTo>
                <a:lnTo>
                  <a:pt x="31" y="149"/>
                </a:lnTo>
                <a:lnTo>
                  <a:pt x="31" y="150"/>
                </a:lnTo>
                <a:lnTo>
                  <a:pt x="31" y="152"/>
                </a:lnTo>
                <a:lnTo>
                  <a:pt x="29" y="154"/>
                </a:lnTo>
                <a:lnTo>
                  <a:pt x="27" y="157"/>
                </a:lnTo>
                <a:lnTo>
                  <a:pt x="23" y="163"/>
                </a:lnTo>
                <a:lnTo>
                  <a:pt x="20" y="171"/>
                </a:lnTo>
                <a:lnTo>
                  <a:pt x="19" y="172"/>
                </a:lnTo>
                <a:lnTo>
                  <a:pt x="15" y="174"/>
                </a:lnTo>
                <a:lnTo>
                  <a:pt x="12" y="172"/>
                </a:lnTo>
                <a:lnTo>
                  <a:pt x="11" y="174"/>
                </a:lnTo>
                <a:lnTo>
                  <a:pt x="7" y="176"/>
                </a:lnTo>
                <a:lnTo>
                  <a:pt x="5" y="180"/>
                </a:lnTo>
                <a:lnTo>
                  <a:pt x="5" y="183"/>
                </a:lnTo>
                <a:lnTo>
                  <a:pt x="7" y="185"/>
                </a:lnTo>
                <a:lnTo>
                  <a:pt x="5" y="188"/>
                </a:lnTo>
                <a:lnTo>
                  <a:pt x="3" y="188"/>
                </a:lnTo>
                <a:lnTo>
                  <a:pt x="1" y="190"/>
                </a:lnTo>
                <a:lnTo>
                  <a:pt x="0" y="191"/>
                </a:lnTo>
                <a:lnTo>
                  <a:pt x="0" y="193"/>
                </a:lnTo>
                <a:lnTo>
                  <a:pt x="1" y="196"/>
                </a:lnTo>
                <a:lnTo>
                  <a:pt x="3" y="198"/>
                </a:lnTo>
                <a:lnTo>
                  <a:pt x="4" y="198"/>
                </a:lnTo>
                <a:lnTo>
                  <a:pt x="12" y="202"/>
                </a:lnTo>
                <a:lnTo>
                  <a:pt x="20" y="207"/>
                </a:lnTo>
                <a:lnTo>
                  <a:pt x="24" y="210"/>
                </a:lnTo>
                <a:lnTo>
                  <a:pt x="25" y="212"/>
                </a:lnTo>
                <a:lnTo>
                  <a:pt x="25" y="215"/>
                </a:lnTo>
                <a:lnTo>
                  <a:pt x="25" y="216"/>
                </a:lnTo>
                <a:lnTo>
                  <a:pt x="29" y="216"/>
                </a:lnTo>
                <a:lnTo>
                  <a:pt x="32" y="216"/>
                </a:lnTo>
                <a:lnTo>
                  <a:pt x="33" y="216"/>
                </a:lnTo>
                <a:lnTo>
                  <a:pt x="39" y="216"/>
                </a:lnTo>
                <a:lnTo>
                  <a:pt x="41" y="216"/>
                </a:lnTo>
                <a:lnTo>
                  <a:pt x="43" y="216"/>
                </a:lnTo>
                <a:lnTo>
                  <a:pt x="43" y="215"/>
                </a:lnTo>
                <a:lnTo>
                  <a:pt x="44" y="215"/>
                </a:lnTo>
                <a:lnTo>
                  <a:pt x="47" y="215"/>
                </a:lnTo>
                <a:lnTo>
                  <a:pt x="48" y="216"/>
                </a:lnTo>
                <a:lnTo>
                  <a:pt x="49" y="218"/>
                </a:lnTo>
                <a:lnTo>
                  <a:pt x="55" y="221"/>
                </a:lnTo>
                <a:lnTo>
                  <a:pt x="56" y="221"/>
                </a:lnTo>
                <a:lnTo>
                  <a:pt x="57" y="221"/>
                </a:lnTo>
                <a:lnTo>
                  <a:pt x="60" y="223"/>
                </a:lnTo>
                <a:lnTo>
                  <a:pt x="63" y="223"/>
                </a:lnTo>
                <a:lnTo>
                  <a:pt x="64" y="224"/>
                </a:lnTo>
                <a:lnTo>
                  <a:pt x="65" y="227"/>
                </a:lnTo>
                <a:lnTo>
                  <a:pt x="67" y="227"/>
                </a:lnTo>
                <a:lnTo>
                  <a:pt x="69" y="229"/>
                </a:lnTo>
                <a:lnTo>
                  <a:pt x="69" y="234"/>
                </a:lnTo>
                <a:lnTo>
                  <a:pt x="72" y="237"/>
                </a:lnTo>
                <a:lnTo>
                  <a:pt x="73" y="238"/>
                </a:lnTo>
                <a:lnTo>
                  <a:pt x="73" y="240"/>
                </a:lnTo>
                <a:lnTo>
                  <a:pt x="76" y="240"/>
                </a:lnTo>
                <a:lnTo>
                  <a:pt x="77" y="240"/>
                </a:lnTo>
                <a:lnTo>
                  <a:pt x="79" y="240"/>
                </a:lnTo>
                <a:lnTo>
                  <a:pt x="80" y="242"/>
                </a:lnTo>
                <a:lnTo>
                  <a:pt x="81" y="243"/>
                </a:lnTo>
                <a:lnTo>
                  <a:pt x="81" y="248"/>
                </a:lnTo>
                <a:lnTo>
                  <a:pt x="81" y="251"/>
                </a:lnTo>
                <a:lnTo>
                  <a:pt x="83" y="251"/>
                </a:lnTo>
                <a:lnTo>
                  <a:pt x="84" y="253"/>
                </a:lnTo>
                <a:lnTo>
                  <a:pt x="85" y="253"/>
                </a:lnTo>
                <a:lnTo>
                  <a:pt x="87" y="253"/>
                </a:lnTo>
                <a:lnTo>
                  <a:pt x="87" y="260"/>
                </a:lnTo>
                <a:lnTo>
                  <a:pt x="88" y="262"/>
                </a:lnTo>
                <a:lnTo>
                  <a:pt x="89" y="264"/>
                </a:lnTo>
                <a:lnTo>
                  <a:pt x="92" y="264"/>
                </a:lnTo>
                <a:lnTo>
                  <a:pt x="93" y="264"/>
                </a:lnTo>
                <a:lnTo>
                  <a:pt x="97" y="264"/>
                </a:lnTo>
                <a:lnTo>
                  <a:pt x="100" y="265"/>
                </a:lnTo>
                <a:lnTo>
                  <a:pt x="101" y="265"/>
                </a:lnTo>
                <a:lnTo>
                  <a:pt x="103" y="265"/>
                </a:lnTo>
                <a:lnTo>
                  <a:pt x="104" y="264"/>
                </a:lnTo>
                <a:lnTo>
                  <a:pt x="104" y="262"/>
                </a:lnTo>
                <a:lnTo>
                  <a:pt x="105" y="262"/>
                </a:lnTo>
                <a:lnTo>
                  <a:pt x="107" y="260"/>
                </a:lnTo>
                <a:lnTo>
                  <a:pt x="108" y="260"/>
                </a:lnTo>
                <a:lnTo>
                  <a:pt x="109" y="260"/>
                </a:lnTo>
                <a:lnTo>
                  <a:pt x="112" y="260"/>
                </a:lnTo>
                <a:lnTo>
                  <a:pt x="113" y="262"/>
                </a:lnTo>
                <a:lnTo>
                  <a:pt x="116" y="264"/>
                </a:lnTo>
                <a:lnTo>
                  <a:pt x="117" y="262"/>
                </a:lnTo>
                <a:lnTo>
                  <a:pt x="120" y="260"/>
                </a:lnTo>
                <a:lnTo>
                  <a:pt x="121" y="260"/>
                </a:lnTo>
                <a:lnTo>
                  <a:pt x="122" y="260"/>
                </a:lnTo>
                <a:lnTo>
                  <a:pt x="126" y="264"/>
                </a:lnTo>
                <a:lnTo>
                  <a:pt x="132" y="267"/>
                </a:lnTo>
                <a:lnTo>
                  <a:pt x="134" y="270"/>
                </a:lnTo>
                <a:lnTo>
                  <a:pt x="134" y="271"/>
                </a:lnTo>
                <a:lnTo>
                  <a:pt x="133" y="275"/>
                </a:lnTo>
                <a:lnTo>
                  <a:pt x="132" y="276"/>
                </a:lnTo>
                <a:lnTo>
                  <a:pt x="128" y="281"/>
                </a:lnTo>
                <a:lnTo>
                  <a:pt x="126" y="284"/>
                </a:lnTo>
                <a:lnTo>
                  <a:pt x="126" y="287"/>
                </a:lnTo>
                <a:lnTo>
                  <a:pt x="126" y="289"/>
                </a:lnTo>
                <a:lnTo>
                  <a:pt x="128" y="289"/>
                </a:lnTo>
                <a:lnTo>
                  <a:pt x="129" y="289"/>
                </a:lnTo>
                <a:lnTo>
                  <a:pt x="130" y="289"/>
                </a:lnTo>
                <a:lnTo>
                  <a:pt x="132" y="290"/>
                </a:lnTo>
                <a:lnTo>
                  <a:pt x="134" y="293"/>
                </a:lnTo>
                <a:lnTo>
                  <a:pt x="136" y="293"/>
                </a:lnTo>
                <a:lnTo>
                  <a:pt x="136" y="292"/>
                </a:lnTo>
                <a:lnTo>
                  <a:pt x="137" y="290"/>
                </a:lnTo>
                <a:lnTo>
                  <a:pt x="137" y="286"/>
                </a:lnTo>
                <a:lnTo>
                  <a:pt x="138" y="282"/>
                </a:lnTo>
                <a:lnTo>
                  <a:pt x="138" y="281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48" name="Freeform 1073"/>
          <p:cNvSpPr>
            <a:spLocks/>
          </p:cNvSpPr>
          <p:nvPr/>
        </p:nvSpPr>
        <p:spPr bwMode="auto">
          <a:xfrm>
            <a:off x="3563859" y="3927625"/>
            <a:ext cx="185138" cy="536903"/>
          </a:xfrm>
          <a:custGeom>
            <a:avLst/>
            <a:gdLst/>
            <a:ahLst/>
            <a:cxnLst>
              <a:cxn ang="0">
                <a:pos x="53" y="269"/>
              </a:cxn>
              <a:cxn ang="0">
                <a:pos x="56" y="259"/>
              </a:cxn>
              <a:cxn ang="0">
                <a:pos x="59" y="236"/>
              </a:cxn>
              <a:cxn ang="0">
                <a:pos x="57" y="225"/>
              </a:cxn>
              <a:cxn ang="0">
                <a:pos x="55" y="218"/>
              </a:cxn>
              <a:cxn ang="0">
                <a:pos x="49" y="214"/>
              </a:cxn>
              <a:cxn ang="0">
                <a:pos x="51" y="201"/>
              </a:cxn>
              <a:cxn ang="0">
                <a:pos x="57" y="200"/>
              </a:cxn>
              <a:cxn ang="0">
                <a:pos x="61" y="201"/>
              </a:cxn>
              <a:cxn ang="0">
                <a:pos x="63" y="200"/>
              </a:cxn>
              <a:cxn ang="0">
                <a:pos x="61" y="195"/>
              </a:cxn>
              <a:cxn ang="0">
                <a:pos x="57" y="193"/>
              </a:cxn>
              <a:cxn ang="0">
                <a:pos x="55" y="192"/>
              </a:cxn>
              <a:cxn ang="0">
                <a:pos x="53" y="190"/>
              </a:cxn>
              <a:cxn ang="0">
                <a:pos x="75" y="181"/>
              </a:cxn>
              <a:cxn ang="0">
                <a:pos x="77" y="178"/>
              </a:cxn>
              <a:cxn ang="0">
                <a:pos x="79" y="176"/>
              </a:cxn>
              <a:cxn ang="0">
                <a:pos x="81" y="179"/>
              </a:cxn>
              <a:cxn ang="0">
                <a:pos x="89" y="176"/>
              </a:cxn>
              <a:cxn ang="0">
                <a:pos x="93" y="181"/>
              </a:cxn>
              <a:cxn ang="0">
                <a:pos x="97" y="189"/>
              </a:cxn>
              <a:cxn ang="0">
                <a:pos x="96" y="185"/>
              </a:cxn>
              <a:cxn ang="0">
                <a:pos x="91" y="170"/>
              </a:cxn>
              <a:cxn ang="0">
                <a:pos x="84" y="162"/>
              </a:cxn>
              <a:cxn ang="0">
                <a:pos x="88" y="157"/>
              </a:cxn>
              <a:cxn ang="0">
                <a:pos x="91" y="152"/>
              </a:cxn>
              <a:cxn ang="0">
                <a:pos x="92" y="151"/>
              </a:cxn>
              <a:cxn ang="0">
                <a:pos x="91" y="148"/>
              </a:cxn>
              <a:cxn ang="0">
                <a:pos x="87" y="141"/>
              </a:cxn>
              <a:cxn ang="0">
                <a:pos x="84" y="140"/>
              </a:cxn>
              <a:cxn ang="0">
                <a:pos x="84" y="134"/>
              </a:cxn>
              <a:cxn ang="0">
                <a:pos x="83" y="129"/>
              </a:cxn>
              <a:cxn ang="0">
                <a:pos x="84" y="123"/>
              </a:cxn>
              <a:cxn ang="0">
                <a:pos x="84" y="116"/>
              </a:cxn>
              <a:cxn ang="0">
                <a:pos x="87" y="109"/>
              </a:cxn>
              <a:cxn ang="0">
                <a:pos x="89" y="105"/>
              </a:cxn>
              <a:cxn ang="0">
                <a:pos x="88" y="101"/>
              </a:cxn>
              <a:cxn ang="0">
                <a:pos x="84" y="101"/>
              </a:cxn>
              <a:cxn ang="0">
                <a:pos x="76" y="104"/>
              </a:cxn>
              <a:cxn ang="0">
                <a:pos x="71" y="102"/>
              </a:cxn>
              <a:cxn ang="0">
                <a:pos x="68" y="101"/>
              </a:cxn>
              <a:cxn ang="0">
                <a:pos x="65" y="102"/>
              </a:cxn>
              <a:cxn ang="0">
                <a:pos x="63" y="102"/>
              </a:cxn>
              <a:cxn ang="0">
                <a:pos x="59" y="102"/>
              </a:cxn>
              <a:cxn ang="0">
                <a:pos x="49" y="87"/>
              </a:cxn>
              <a:cxn ang="0">
                <a:pos x="45" y="85"/>
              </a:cxn>
              <a:cxn ang="0">
                <a:pos x="37" y="83"/>
              </a:cxn>
              <a:cxn ang="0">
                <a:pos x="29" y="87"/>
              </a:cxn>
              <a:cxn ang="0">
                <a:pos x="20" y="83"/>
              </a:cxn>
              <a:cxn ang="0">
                <a:pos x="19" y="80"/>
              </a:cxn>
              <a:cxn ang="0">
                <a:pos x="15" y="68"/>
              </a:cxn>
              <a:cxn ang="0">
                <a:pos x="14" y="63"/>
              </a:cxn>
              <a:cxn ang="0">
                <a:pos x="12" y="60"/>
              </a:cxn>
              <a:cxn ang="0">
                <a:pos x="10" y="57"/>
              </a:cxn>
              <a:cxn ang="0">
                <a:pos x="7" y="49"/>
              </a:cxn>
              <a:cxn ang="0">
                <a:pos x="0" y="47"/>
              </a:cxn>
              <a:cxn ang="0">
                <a:pos x="4" y="39"/>
              </a:cxn>
              <a:cxn ang="0">
                <a:pos x="12" y="17"/>
              </a:cxn>
              <a:cxn ang="0">
                <a:pos x="19" y="8"/>
              </a:cxn>
              <a:cxn ang="0">
                <a:pos x="23" y="3"/>
              </a:cxn>
              <a:cxn ang="0">
                <a:pos x="31" y="0"/>
              </a:cxn>
            </a:cxnLst>
            <a:rect l="0" t="0" r="r" b="b"/>
            <a:pathLst>
              <a:path w="97" h="272">
                <a:moveTo>
                  <a:pt x="53" y="272"/>
                </a:moveTo>
                <a:lnTo>
                  <a:pt x="53" y="269"/>
                </a:lnTo>
                <a:lnTo>
                  <a:pt x="55" y="266"/>
                </a:lnTo>
                <a:lnTo>
                  <a:pt x="56" y="259"/>
                </a:lnTo>
                <a:lnTo>
                  <a:pt x="59" y="239"/>
                </a:lnTo>
                <a:lnTo>
                  <a:pt x="59" y="236"/>
                </a:lnTo>
                <a:lnTo>
                  <a:pt x="59" y="234"/>
                </a:lnTo>
                <a:lnTo>
                  <a:pt x="57" y="225"/>
                </a:lnTo>
                <a:lnTo>
                  <a:pt x="56" y="222"/>
                </a:lnTo>
                <a:lnTo>
                  <a:pt x="55" y="218"/>
                </a:lnTo>
                <a:lnTo>
                  <a:pt x="51" y="215"/>
                </a:lnTo>
                <a:lnTo>
                  <a:pt x="49" y="214"/>
                </a:lnTo>
                <a:lnTo>
                  <a:pt x="49" y="201"/>
                </a:lnTo>
                <a:lnTo>
                  <a:pt x="51" y="201"/>
                </a:lnTo>
                <a:lnTo>
                  <a:pt x="56" y="200"/>
                </a:lnTo>
                <a:lnTo>
                  <a:pt x="57" y="200"/>
                </a:lnTo>
                <a:lnTo>
                  <a:pt x="60" y="200"/>
                </a:lnTo>
                <a:lnTo>
                  <a:pt x="61" y="201"/>
                </a:lnTo>
                <a:lnTo>
                  <a:pt x="63" y="201"/>
                </a:lnTo>
                <a:lnTo>
                  <a:pt x="63" y="200"/>
                </a:lnTo>
                <a:lnTo>
                  <a:pt x="63" y="196"/>
                </a:lnTo>
                <a:lnTo>
                  <a:pt x="61" y="195"/>
                </a:lnTo>
                <a:lnTo>
                  <a:pt x="60" y="192"/>
                </a:lnTo>
                <a:lnTo>
                  <a:pt x="57" y="193"/>
                </a:lnTo>
                <a:lnTo>
                  <a:pt x="55" y="193"/>
                </a:lnTo>
                <a:lnTo>
                  <a:pt x="55" y="192"/>
                </a:lnTo>
                <a:lnTo>
                  <a:pt x="53" y="192"/>
                </a:lnTo>
                <a:lnTo>
                  <a:pt x="53" y="190"/>
                </a:lnTo>
                <a:lnTo>
                  <a:pt x="53" y="181"/>
                </a:lnTo>
                <a:lnTo>
                  <a:pt x="75" y="181"/>
                </a:lnTo>
                <a:lnTo>
                  <a:pt x="76" y="179"/>
                </a:lnTo>
                <a:lnTo>
                  <a:pt x="77" y="178"/>
                </a:lnTo>
                <a:lnTo>
                  <a:pt x="77" y="176"/>
                </a:lnTo>
                <a:lnTo>
                  <a:pt x="79" y="176"/>
                </a:lnTo>
                <a:lnTo>
                  <a:pt x="80" y="179"/>
                </a:lnTo>
                <a:lnTo>
                  <a:pt x="81" y="179"/>
                </a:lnTo>
                <a:lnTo>
                  <a:pt x="87" y="176"/>
                </a:lnTo>
                <a:lnTo>
                  <a:pt x="89" y="176"/>
                </a:lnTo>
                <a:lnTo>
                  <a:pt x="91" y="178"/>
                </a:lnTo>
                <a:lnTo>
                  <a:pt x="93" y="181"/>
                </a:lnTo>
                <a:lnTo>
                  <a:pt x="95" y="190"/>
                </a:lnTo>
                <a:lnTo>
                  <a:pt x="97" y="189"/>
                </a:lnTo>
                <a:lnTo>
                  <a:pt x="97" y="187"/>
                </a:lnTo>
                <a:lnTo>
                  <a:pt x="96" y="185"/>
                </a:lnTo>
                <a:lnTo>
                  <a:pt x="96" y="181"/>
                </a:lnTo>
                <a:lnTo>
                  <a:pt x="91" y="170"/>
                </a:lnTo>
                <a:lnTo>
                  <a:pt x="89" y="165"/>
                </a:lnTo>
                <a:lnTo>
                  <a:pt x="84" y="162"/>
                </a:lnTo>
                <a:lnTo>
                  <a:pt x="84" y="160"/>
                </a:lnTo>
                <a:lnTo>
                  <a:pt x="88" y="157"/>
                </a:lnTo>
                <a:lnTo>
                  <a:pt x="89" y="154"/>
                </a:lnTo>
                <a:lnTo>
                  <a:pt x="91" y="152"/>
                </a:lnTo>
                <a:lnTo>
                  <a:pt x="92" y="152"/>
                </a:lnTo>
                <a:lnTo>
                  <a:pt x="92" y="151"/>
                </a:lnTo>
                <a:lnTo>
                  <a:pt x="92" y="149"/>
                </a:lnTo>
                <a:lnTo>
                  <a:pt x="91" y="148"/>
                </a:lnTo>
                <a:lnTo>
                  <a:pt x="89" y="145"/>
                </a:lnTo>
                <a:lnTo>
                  <a:pt x="87" y="141"/>
                </a:lnTo>
                <a:lnTo>
                  <a:pt x="85" y="140"/>
                </a:lnTo>
                <a:lnTo>
                  <a:pt x="84" y="140"/>
                </a:lnTo>
                <a:lnTo>
                  <a:pt x="84" y="137"/>
                </a:lnTo>
                <a:lnTo>
                  <a:pt x="84" y="134"/>
                </a:lnTo>
                <a:lnTo>
                  <a:pt x="84" y="130"/>
                </a:lnTo>
                <a:lnTo>
                  <a:pt x="83" y="129"/>
                </a:lnTo>
                <a:lnTo>
                  <a:pt x="83" y="124"/>
                </a:lnTo>
                <a:lnTo>
                  <a:pt x="84" y="123"/>
                </a:lnTo>
                <a:lnTo>
                  <a:pt x="84" y="119"/>
                </a:lnTo>
                <a:lnTo>
                  <a:pt x="84" y="116"/>
                </a:lnTo>
                <a:lnTo>
                  <a:pt x="87" y="113"/>
                </a:lnTo>
                <a:lnTo>
                  <a:pt x="87" y="109"/>
                </a:lnTo>
                <a:lnTo>
                  <a:pt x="88" y="107"/>
                </a:lnTo>
                <a:lnTo>
                  <a:pt x="89" y="105"/>
                </a:lnTo>
                <a:lnTo>
                  <a:pt x="89" y="104"/>
                </a:lnTo>
                <a:lnTo>
                  <a:pt x="88" y="101"/>
                </a:lnTo>
                <a:lnTo>
                  <a:pt x="87" y="99"/>
                </a:lnTo>
                <a:lnTo>
                  <a:pt x="84" y="101"/>
                </a:lnTo>
                <a:lnTo>
                  <a:pt x="79" y="102"/>
                </a:lnTo>
                <a:lnTo>
                  <a:pt x="76" y="104"/>
                </a:lnTo>
                <a:lnTo>
                  <a:pt x="73" y="104"/>
                </a:lnTo>
                <a:lnTo>
                  <a:pt x="71" y="102"/>
                </a:lnTo>
                <a:lnTo>
                  <a:pt x="69" y="102"/>
                </a:lnTo>
                <a:lnTo>
                  <a:pt x="68" y="101"/>
                </a:lnTo>
                <a:lnTo>
                  <a:pt x="67" y="101"/>
                </a:lnTo>
                <a:lnTo>
                  <a:pt x="65" y="102"/>
                </a:lnTo>
                <a:lnTo>
                  <a:pt x="64" y="102"/>
                </a:lnTo>
                <a:lnTo>
                  <a:pt x="63" y="102"/>
                </a:lnTo>
                <a:lnTo>
                  <a:pt x="60" y="102"/>
                </a:lnTo>
                <a:lnTo>
                  <a:pt x="59" y="102"/>
                </a:lnTo>
                <a:lnTo>
                  <a:pt x="51" y="88"/>
                </a:lnTo>
                <a:lnTo>
                  <a:pt x="49" y="87"/>
                </a:lnTo>
                <a:lnTo>
                  <a:pt x="47" y="87"/>
                </a:lnTo>
                <a:lnTo>
                  <a:pt x="45" y="85"/>
                </a:lnTo>
                <a:lnTo>
                  <a:pt x="41" y="83"/>
                </a:lnTo>
                <a:lnTo>
                  <a:pt x="37" y="83"/>
                </a:lnTo>
                <a:lnTo>
                  <a:pt x="32" y="87"/>
                </a:lnTo>
                <a:lnTo>
                  <a:pt x="29" y="87"/>
                </a:lnTo>
                <a:lnTo>
                  <a:pt x="26" y="87"/>
                </a:lnTo>
                <a:lnTo>
                  <a:pt x="20" y="83"/>
                </a:lnTo>
                <a:lnTo>
                  <a:pt x="20" y="82"/>
                </a:lnTo>
                <a:lnTo>
                  <a:pt x="19" y="80"/>
                </a:lnTo>
                <a:lnTo>
                  <a:pt x="15" y="79"/>
                </a:lnTo>
                <a:lnTo>
                  <a:pt x="15" y="68"/>
                </a:lnTo>
                <a:lnTo>
                  <a:pt x="15" y="65"/>
                </a:lnTo>
                <a:lnTo>
                  <a:pt x="14" y="63"/>
                </a:lnTo>
                <a:lnTo>
                  <a:pt x="12" y="61"/>
                </a:lnTo>
                <a:lnTo>
                  <a:pt x="12" y="60"/>
                </a:lnTo>
                <a:lnTo>
                  <a:pt x="10" y="58"/>
                </a:lnTo>
                <a:lnTo>
                  <a:pt x="10" y="57"/>
                </a:lnTo>
                <a:lnTo>
                  <a:pt x="8" y="50"/>
                </a:lnTo>
                <a:lnTo>
                  <a:pt x="7" y="49"/>
                </a:lnTo>
                <a:lnTo>
                  <a:pt x="7" y="47"/>
                </a:lnTo>
                <a:lnTo>
                  <a:pt x="0" y="47"/>
                </a:lnTo>
                <a:lnTo>
                  <a:pt x="2" y="44"/>
                </a:lnTo>
                <a:lnTo>
                  <a:pt x="4" y="39"/>
                </a:lnTo>
                <a:lnTo>
                  <a:pt x="8" y="24"/>
                </a:lnTo>
                <a:lnTo>
                  <a:pt x="12" y="17"/>
                </a:lnTo>
                <a:lnTo>
                  <a:pt x="19" y="10"/>
                </a:lnTo>
                <a:lnTo>
                  <a:pt x="19" y="8"/>
                </a:lnTo>
                <a:lnTo>
                  <a:pt x="20" y="5"/>
                </a:lnTo>
                <a:lnTo>
                  <a:pt x="23" y="3"/>
                </a:lnTo>
                <a:lnTo>
                  <a:pt x="27" y="0"/>
                </a:lnTo>
                <a:lnTo>
                  <a:pt x="31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49" name="Freeform 1074"/>
          <p:cNvSpPr>
            <a:spLocks/>
          </p:cNvSpPr>
          <p:nvPr/>
        </p:nvSpPr>
        <p:spPr bwMode="auto">
          <a:xfrm>
            <a:off x="3669094" y="4683582"/>
            <a:ext cx="344941" cy="470325"/>
          </a:xfrm>
          <a:custGeom>
            <a:avLst/>
            <a:gdLst/>
            <a:ahLst/>
            <a:cxnLst>
              <a:cxn ang="0">
                <a:pos x="8" y="25"/>
              </a:cxn>
              <a:cxn ang="0">
                <a:pos x="30" y="20"/>
              </a:cxn>
              <a:cxn ang="0">
                <a:pos x="45" y="3"/>
              </a:cxn>
              <a:cxn ang="0">
                <a:pos x="64" y="1"/>
              </a:cxn>
              <a:cxn ang="0">
                <a:pos x="66" y="20"/>
              </a:cxn>
              <a:cxn ang="0">
                <a:pos x="65" y="30"/>
              </a:cxn>
              <a:cxn ang="0">
                <a:pos x="78" y="48"/>
              </a:cxn>
              <a:cxn ang="0">
                <a:pos x="95" y="52"/>
              </a:cxn>
              <a:cxn ang="0">
                <a:pos x="102" y="59"/>
              </a:cxn>
              <a:cxn ang="0">
                <a:pos x="121" y="67"/>
              </a:cxn>
              <a:cxn ang="0">
                <a:pos x="134" y="72"/>
              </a:cxn>
              <a:cxn ang="0">
                <a:pos x="139" y="86"/>
              </a:cxn>
              <a:cxn ang="0">
                <a:pos x="141" y="99"/>
              </a:cxn>
              <a:cxn ang="0">
                <a:pos x="141" y="107"/>
              </a:cxn>
              <a:cxn ang="0">
                <a:pos x="151" y="118"/>
              </a:cxn>
              <a:cxn ang="0">
                <a:pos x="170" y="119"/>
              </a:cxn>
              <a:cxn ang="0">
                <a:pos x="170" y="129"/>
              </a:cxn>
              <a:cxn ang="0">
                <a:pos x="178" y="143"/>
              </a:cxn>
              <a:cxn ang="0">
                <a:pos x="181" y="168"/>
              </a:cxn>
              <a:cxn ang="0">
                <a:pos x="177" y="177"/>
              </a:cxn>
              <a:cxn ang="0">
                <a:pos x="175" y="187"/>
              </a:cxn>
              <a:cxn ang="0">
                <a:pos x="166" y="174"/>
              </a:cxn>
              <a:cxn ang="0">
                <a:pos x="147" y="171"/>
              </a:cxn>
              <a:cxn ang="0">
                <a:pos x="117" y="182"/>
              </a:cxn>
              <a:cxn ang="0">
                <a:pos x="110" y="205"/>
              </a:cxn>
              <a:cxn ang="0">
                <a:pos x="105" y="226"/>
              </a:cxn>
              <a:cxn ang="0">
                <a:pos x="97" y="221"/>
              </a:cxn>
              <a:cxn ang="0">
                <a:pos x="84" y="221"/>
              </a:cxn>
              <a:cxn ang="0">
                <a:pos x="78" y="229"/>
              </a:cxn>
              <a:cxn ang="0">
                <a:pos x="69" y="223"/>
              </a:cxn>
              <a:cxn ang="0">
                <a:pos x="56" y="218"/>
              </a:cxn>
              <a:cxn ang="0">
                <a:pos x="49" y="221"/>
              </a:cxn>
              <a:cxn ang="0">
                <a:pos x="41" y="231"/>
              </a:cxn>
              <a:cxn ang="0">
                <a:pos x="34" y="235"/>
              </a:cxn>
              <a:cxn ang="0">
                <a:pos x="26" y="235"/>
              </a:cxn>
              <a:cxn ang="0">
                <a:pos x="24" y="223"/>
              </a:cxn>
              <a:cxn ang="0">
                <a:pos x="21" y="205"/>
              </a:cxn>
              <a:cxn ang="0">
                <a:pos x="17" y="198"/>
              </a:cxn>
              <a:cxn ang="0">
                <a:pos x="16" y="190"/>
              </a:cxn>
              <a:cxn ang="0">
                <a:pos x="14" y="182"/>
              </a:cxn>
              <a:cxn ang="0">
                <a:pos x="17" y="176"/>
              </a:cxn>
              <a:cxn ang="0">
                <a:pos x="12" y="166"/>
              </a:cxn>
              <a:cxn ang="0">
                <a:pos x="8" y="149"/>
              </a:cxn>
              <a:cxn ang="0">
                <a:pos x="1" y="141"/>
              </a:cxn>
              <a:cxn ang="0">
                <a:pos x="4" y="132"/>
              </a:cxn>
              <a:cxn ang="0">
                <a:pos x="10" y="118"/>
              </a:cxn>
              <a:cxn ang="0">
                <a:pos x="5" y="114"/>
              </a:cxn>
              <a:cxn ang="0">
                <a:pos x="6" y="102"/>
              </a:cxn>
              <a:cxn ang="0">
                <a:pos x="8" y="96"/>
              </a:cxn>
              <a:cxn ang="0">
                <a:pos x="10" y="80"/>
              </a:cxn>
              <a:cxn ang="0">
                <a:pos x="10" y="56"/>
              </a:cxn>
              <a:cxn ang="0">
                <a:pos x="10" y="42"/>
              </a:cxn>
            </a:cxnLst>
            <a:rect l="0" t="0" r="r" b="b"/>
            <a:pathLst>
              <a:path w="181" h="237">
                <a:moveTo>
                  <a:pt x="0" y="23"/>
                </a:moveTo>
                <a:lnTo>
                  <a:pt x="1" y="22"/>
                </a:lnTo>
                <a:lnTo>
                  <a:pt x="4" y="22"/>
                </a:lnTo>
                <a:lnTo>
                  <a:pt x="8" y="25"/>
                </a:lnTo>
                <a:lnTo>
                  <a:pt x="20" y="25"/>
                </a:lnTo>
                <a:lnTo>
                  <a:pt x="22" y="23"/>
                </a:lnTo>
                <a:lnTo>
                  <a:pt x="24" y="22"/>
                </a:lnTo>
                <a:lnTo>
                  <a:pt x="30" y="20"/>
                </a:lnTo>
                <a:lnTo>
                  <a:pt x="32" y="19"/>
                </a:lnTo>
                <a:lnTo>
                  <a:pt x="38" y="11"/>
                </a:lnTo>
                <a:lnTo>
                  <a:pt x="44" y="4"/>
                </a:lnTo>
                <a:lnTo>
                  <a:pt x="45" y="3"/>
                </a:lnTo>
                <a:lnTo>
                  <a:pt x="49" y="1"/>
                </a:lnTo>
                <a:lnTo>
                  <a:pt x="52" y="1"/>
                </a:lnTo>
                <a:lnTo>
                  <a:pt x="58" y="0"/>
                </a:lnTo>
                <a:lnTo>
                  <a:pt x="64" y="1"/>
                </a:lnTo>
                <a:lnTo>
                  <a:pt x="65" y="1"/>
                </a:lnTo>
                <a:lnTo>
                  <a:pt x="66" y="4"/>
                </a:lnTo>
                <a:lnTo>
                  <a:pt x="66" y="9"/>
                </a:lnTo>
                <a:lnTo>
                  <a:pt x="66" y="20"/>
                </a:lnTo>
                <a:lnTo>
                  <a:pt x="66" y="23"/>
                </a:lnTo>
                <a:lnTo>
                  <a:pt x="65" y="25"/>
                </a:lnTo>
                <a:lnTo>
                  <a:pt x="65" y="26"/>
                </a:lnTo>
                <a:lnTo>
                  <a:pt x="65" y="30"/>
                </a:lnTo>
                <a:lnTo>
                  <a:pt x="66" y="36"/>
                </a:lnTo>
                <a:lnTo>
                  <a:pt x="69" y="41"/>
                </a:lnTo>
                <a:lnTo>
                  <a:pt x="70" y="42"/>
                </a:lnTo>
                <a:lnTo>
                  <a:pt x="78" y="48"/>
                </a:lnTo>
                <a:lnTo>
                  <a:pt x="81" y="50"/>
                </a:lnTo>
                <a:lnTo>
                  <a:pt x="86" y="50"/>
                </a:lnTo>
                <a:lnTo>
                  <a:pt x="91" y="50"/>
                </a:lnTo>
                <a:lnTo>
                  <a:pt x="95" y="52"/>
                </a:lnTo>
                <a:lnTo>
                  <a:pt x="97" y="53"/>
                </a:lnTo>
                <a:lnTo>
                  <a:pt x="98" y="55"/>
                </a:lnTo>
                <a:lnTo>
                  <a:pt x="99" y="58"/>
                </a:lnTo>
                <a:lnTo>
                  <a:pt x="102" y="59"/>
                </a:lnTo>
                <a:lnTo>
                  <a:pt x="113" y="63"/>
                </a:lnTo>
                <a:lnTo>
                  <a:pt x="117" y="67"/>
                </a:lnTo>
                <a:lnTo>
                  <a:pt x="118" y="67"/>
                </a:lnTo>
                <a:lnTo>
                  <a:pt x="121" y="67"/>
                </a:lnTo>
                <a:lnTo>
                  <a:pt x="123" y="67"/>
                </a:lnTo>
                <a:lnTo>
                  <a:pt x="125" y="67"/>
                </a:lnTo>
                <a:lnTo>
                  <a:pt x="129" y="67"/>
                </a:lnTo>
                <a:lnTo>
                  <a:pt x="134" y="72"/>
                </a:lnTo>
                <a:lnTo>
                  <a:pt x="135" y="74"/>
                </a:lnTo>
                <a:lnTo>
                  <a:pt x="138" y="77"/>
                </a:lnTo>
                <a:lnTo>
                  <a:pt x="139" y="81"/>
                </a:lnTo>
                <a:lnTo>
                  <a:pt x="139" y="86"/>
                </a:lnTo>
                <a:lnTo>
                  <a:pt x="141" y="88"/>
                </a:lnTo>
                <a:lnTo>
                  <a:pt x="141" y="91"/>
                </a:lnTo>
                <a:lnTo>
                  <a:pt x="141" y="92"/>
                </a:lnTo>
                <a:lnTo>
                  <a:pt x="141" y="99"/>
                </a:lnTo>
                <a:lnTo>
                  <a:pt x="138" y="99"/>
                </a:lnTo>
                <a:lnTo>
                  <a:pt x="138" y="100"/>
                </a:lnTo>
                <a:lnTo>
                  <a:pt x="138" y="102"/>
                </a:lnTo>
                <a:lnTo>
                  <a:pt x="141" y="107"/>
                </a:lnTo>
                <a:lnTo>
                  <a:pt x="142" y="113"/>
                </a:lnTo>
                <a:lnTo>
                  <a:pt x="145" y="118"/>
                </a:lnTo>
                <a:lnTo>
                  <a:pt x="149" y="118"/>
                </a:lnTo>
                <a:lnTo>
                  <a:pt x="151" y="118"/>
                </a:lnTo>
                <a:lnTo>
                  <a:pt x="155" y="118"/>
                </a:lnTo>
                <a:lnTo>
                  <a:pt x="157" y="119"/>
                </a:lnTo>
                <a:lnTo>
                  <a:pt x="169" y="119"/>
                </a:lnTo>
                <a:lnTo>
                  <a:pt x="170" y="119"/>
                </a:lnTo>
                <a:lnTo>
                  <a:pt x="170" y="121"/>
                </a:lnTo>
                <a:lnTo>
                  <a:pt x="170" y="124"/>
                </a:lnTo>
                <a:lnTo>
                  <a:pt x="170" y="127"/>
                </a:lnTo>
                <a:lnTo>
                  <a:pt x="170" y="129"/>
                </a:lnTo>
                <a:lnTo>
                  <a:pt x="170" y="135"/>
                </a:lnTo>
                <a:lnTo>
                  <a:pt x="175" y="136"/>
                </a:lnTo>
                <a:lnTo>
                  <a:pt x="177" y="138"/>
                </a:lnTo>
                <a:lnTo>
                  <a:pt x="178" y="143"/>
                </a:lnTo>
                <a:lnTo>
                  <a:pt x="181" y="147"/>
                </a:lnTo>
                <a:lnTo>
                  <a:pt x="181" y="150"/>
                </a:lnTo>
                <a:lnTo>
                  <a:pt x="181" y="158"/>
                </a:lnTo>
                <a:lnTo>
                  <a:pt x="181" y="168"/>
                </a:lnTo>
                <a:lnTo>
                  <a:pt x="181" y="169"/>
                </a:lnTo>
                <a:lnTo>
                  <a:pt x="179" y="172"/>
                </a:lnTo>
                <a:lnTo>
                  <a:pt x="178" y="176"/>
                </a:lnTo>
                <a:lnTo>
                  <a:pt x="177" y="177"/>
                </a:lnTo>
                <a:lnTo>
                  <a:pt x="177" y="180"/>
                </a:lnTo>
                <a:lnTo>
                  <a:pt x="178" y="182"/>
                </a:lnTo>
                <a:lnTo>
                  <a:pt x="178" y="185"/>
                </a:lnTo>
                <a:lnTo>
                  <a:pt x="175" y="187"/>
                </a:lnTo>
                <a:lnTo>
                  <a:pt x="174" y="185"/>
                </a:lnTo>
                <a:lnTo>
                  <a:pt x="173" y="183"/>
                </a:lnTo>
                <a:lnTo>
                  <a:pt x="169" y="177"/>
                </a:lnTo>
                <a:lnTo>
                  <a:pt x="166" y="174"/>
                </a:lnTo>
                <a:lnTo>
                  <a:pt x="163" y="172"/>
                </a:lnTo>
                <a:lnTo>
                  <a:pt x="159" y="171"/>
                </a:lnTo>
                <a:lnTo>
                  <a:pt x="149" y="171"/>
                </a:lnTo>
                <a:lnTo>
                  <a:pt x="147" y="171"/>
                </a:lnTo>
                <a:lnTo>
                  <a:pt x="138" y="174"/>
                </a:lnTo>
                <a:lnTo>
                  <a:pt x="123" y="179"/>
                </a:lnTo>
                <a:lnTo>
                  <a:pt x="118" y="180"/>
                </a:lnTo>
                <a:lnTo>
                  <a:pt x="117" y="182"/>
                </a:lnTo>
                <a:lnTo>
                  <a:pt x="117" y="187"/>
                </a:lnTo>
                <a:lnTo>
                  <a:pt x="113" y="191"/>
                </a:lnTo>
                <a:lnTo>
                  <a:pt x="110" y="198"/>
                </a:lnTo>
                <a:lnTo>
                  <a:pt x="110" y="205"/>
                </a:lnTo>
                <a:lnTo>
                  <a:pt x="110" y="207"/>
                </a:lnTo>
                <a:lnTo>
                  <a:pt x="110" y="209"/>
                </a:lnTo>
                <a:lnTo>
                  <a:pt x="107" y="221"/>
                </a:lnTo>
                <a:lnTo>
                  <a:pt x="105" y="226"/>
                </a:lnTo>
                <a:lnTo>
                  <a:pt x="103" y="224"/>
                </a:lnTo>
                <a:lnTo>
                  <a:pt x="102" y="223"/>
                </a:lnTo>
                <a:lnTo>
                  <a:pt x="99" y="221"/>
                </a:lnTo>
                <a:lnTo>
                  <a:pt x="97" y="221"/>
                </a:lnTo>
                <a:lnTo>
                  <a:pt x="91" y="221"/>
                </a:lnTo>
                <a:lnTo>
                  <a:pt x="86" y="220"/>
                </a:lnTo>
                <a:lnTo>
                  <a:pt x="85" y="220"/>
                </a:lnTo>
                <a:lnTo>
                  <a:pt x="84" y="221"/>
                </a:lnTo>
                <a:lnTo>
                  <a:pt x="84" y="227"/>
                </a:lnTo>
                <a:lnTo>
                  <a:pt x="82" y="231"/>
                </a:lnTo>
                <a:lnTo>
                  <a:pt x="81" y="232"/>
                </a:lnTo>
                <a:lnTo>
                  <a:pt x="78" y="229"/>
                </a:lnTo>
                <a:lnTo>
                  <a:pt x="77" y="227"/>
                </a:lnTo>
                <a:lnTo>
                  <a:pt x="76" y="224"/>
                </a:lnTo>
                <a:lnTo>
                  <a:pt x="74" y="224"/>
                </a:lnTo>
                <a:lnTo>
                  <a:pt x="69" y="223"/>
                </a:lnTo>
                <a:lnTo>
                  <a:pt x="68" y="223"/>
                </a:lnTo>
                <a:lnTo>
                  <a:pt x="65" y="223"/>
                </a:lnTo>
                <a:lnTo>
                  <a:pt x="58" y="223"/>
                </a:lnTo>
                <a:lnTo>
                  <a:pt x="56" y="218"/>
                </a:lnTo>
                <a:lnTo>
                  <a:pt x="54" y="216"/>
                </a:lnTo>
                <a:lnTo>
                  <a:pt x="53" y="216"/>
                </a:lnTo>
                <a:lnTo>
                  <a:pt x="52" y="216"/>
                </a:lnTo>
                <a:lnTo>
                  <a:pt x="49" y="221"/>
                </a:lnTo>
                <a:lnTo>
                  <a:pt x="45" y="224"/>
                </a:lnTo>
                <a:lnTo>
                  <a:pt x="44" y="227"/>
                </a:lnTo>
                <a:lnTo>
                  <a:pt x="41" y="229"/>
                </a:lnTo>
                <a:lnTo>
                  <a:pt x="41" y="231"/>
                </a:lnTo>
                <a:lnTo>
                  <a:pt x="40" y="234"/>
                </a:lnTo>
                <a:lnTo>
                  <a:pt x="38" y="235"/>
                </a:lnTo>
                <a:lnTo>
                  <a:pt x="37" y="235"/>
                </a:lnTo>
                <a:lnTo>
                  <a:pt x="34" y="235"/>
                </a:lnTo>
                <a:lnTo>
                  <a:pt x="33" y="235"/>
                </a:lnTo>
                <a:lnTo>
                  <a:pt x="30" y="237"/>
                </a:lnTo>
                <a:lnTo>
                  <a:pt x="28" y="235"/>
                </a:lnTo>
                <a:lnTo>
                  <a:pt x="26" y="235"/>
                </a:lnTo>
                <a:lnTo>
                  <a:pt x="26" y="234"/>
                </a:lnTo>
                <a:lnTo>
                  <a:pt x="25" y="231"/>
                </a:lnTo>
                <a:lnTo>
                  <a:pt x="25" y="229"/>
                </a:lnTo>
                <a:lnTo>
                  <a:pt x="24" y="223"/>
                </a:lnTo>
                <a:lnTo>
                  <a:pt x="24" y="218"/>
                </a:lnTo>
                <a:lnTo>
                  <a:pt x="22" y="210"/>
                </a:lnTo>
                <a:lnTo>
                  <a:pt x="21" y="207"/>
                </a:lnTo>
                <a:lnTo>
                  <a:pt x="21" y="205"/>
                </a:lnTo>
                <a:lnTo>
                  <a:pt x="21" y="201"/>
                </a:lnTo>
                <a:lnTo>
                  <a:pt x="20" y="199"/>
                </a:lnTo>
                <a:lnTo>
                  <a:pt x="18" y="198"/>
                </a:lnTo>
                <a:lnTo>
                  <a:pt x="17" y="198"/>
                </a:lnTo>
                <a:lnTo>
                  <a:pt x="16" y="196"/>
                </a:lnTo>
                <a:lnTo>
                  <a:pt x="17" y="194"/>
                </a:lnTo>
                <a:lnTo>
                  <a:pt x="16" y="191"/>
                </a:lnTo>
                <a:lnTo>
                  <a:pt x="16" y="190"/>
                </a:lnTo>
                <a:lnTo>
                  <a:pt x="13" y="188"/>
                </a:lnTo>
                <a:lnTo>
                  <a:pt x="13" y="187"/>
                </a:lnTo>
                <a:lnTo>
                  <a:pt x="14" y="183"/>
                </a:lnTo>
                <a:lnTo>
                  <a:pt x="14" y="182"/>
                </a:lnTo>
                <a:lnTo>
                  <a:pt x="17" y="182"/>
                </a:lnTo>
                <a:lnTo>
                  <a:pt x="17" y="180"/>
                </a:lnTo>
                <a:lnTo>
                  <a:pt x="16" y="179"/>
                </a:lnTo>
                <a:lnTo>
                  <a:pt x="17" y="176"/>
                </a:lnTo>
                <a:lnTo>
                  <a:pt x="17" y="174"/>
                </a:lnTo>
                <a:lnTo>
                  <a:pt x="17" y="172"/>
                </a:lnTo>
                <a:lnTo>
                  <a:pt x="14" y="169"/>
                </a:lnTo>
                <a:lnTo>
                  <a:pt x="12" y="166"/>
                </a:lnTo>
                <a:lnTo>
                  <a:pt x="10" y="165"/>
                </a:lnTo>
                <a:lnTo>
                  <a:pt x="9" y="161"/>
                </a:lnTo>
                <a:lnTo>
                  <a:pt x="8" y="152"/>
                </a:lnTo>
                <a:lnTo>
                  <a:pt x="8" y="149"/>
                </a:lnTo>
                <a:lnTo>
                  <a:pt x="6" y="146"/>
                </a:lnTo>
                <a:lnTo>
                  <a:pt x="5" y="146"/>
                </a:lnTo>
                <a:lnTo>
                  <a:pt x="2" y="141"/>
                </a:lnTo>
                <a:lnTo>
                  <a:pt x="1" y="141"/>
                </a:lnTo>
                <a:lnTo>
                  <a:pt x="1" y="139"/>
                </a:lnTo>
                <a:lnTo>
                  <a:pt x="0" y="139"/>
                </a:lnTo>
                <a:lnTo>
                  <a:pt x="0" y="136"/>
                </a:lnTo>
                <a:lnTo>
                  <a:pt x="4" y="132"/>
                </a:lnTo>
                <a:lnTo>
                  <a:pt x="6" y="127"/>
                </a:lnTo>
                <a:lnTo>
                  <a:pt x="10" y="122"/>
                </a:lnTo>
                <a:lnTo>
                  <a:pt x="10" y="119"/>
                </a:lnTo>
                <a:lnTo>
                  <a:pt x="10" y="118"/>
                </a:lnTo>
                <a:lnTo>
                  <a:pt x="8" y="116"/>
                </a:lnTo>
                <a:lnTo>
                  <a:pt x="6" y="116"/>
                </a:lnTo>
                <a:lnTo>
                  <a:pt x="6" y="114"/>
                </a:lnTo>
                <a:lnTo>
                  <a:pt x="5" y="114"/>
                </a:lnTo>
                <a:lnTo>
                  <a:pt x="5" y="111"/>
                </a:lnTo>
                <a:lnTo>
                  <a:pt x="5" y="108"/>
                </a:lnTo>
                <a:lnTo>
                  <a:pt x="5" y="105"/>
                </a:lnTo>
                <a:lnTo>
                  <a:pt x="6" y="102"/>
                </a:lnTo>
                <a:lnTo>
                  <a:pt x="8" y="100"/>
                </a:lnTo>
                <a:lnTo>
                  <a:pt x="8" y="99"/>
                </a:lnTo>
                <a:lnTo>
                  <a:pt x="8" y="97"/>
                </a:lnTo>
                <a:lnTo>
                  <a:pt x="8" y="96"/>
                </a:lnTo>
                <a:lnTo>
                  <a:pt x="5" y="91"/>
                </a:lnTo>
                <a:lnTo>
                  <a:pt x="6" y="88"/>
                </a:lnTo>
                <a:lnTo>
                  <a:pt x="10" y="86"/>
                </a:lnTo>
                <a:lnTo>
                  <a:pt x="10" y="80"/>
                </a:lnTo>
                <a:lnTo>
                  <a:pt x="9" y="74"/>
                </a:lnTo>
                <a:lnTo>
                  <a:pt x="9" y="70"/>
                </a:lnTo>
                <a:lnTo>
                  <a:pt x="10" y="64"/>
                </a:lnTo>
                <a:lnTo>
                  <a:pt x="10" y="56"/>
                </a:lnTo>
                <a:lnTo>
                  <a:pt x="12" y="53"/>
                </a:lnTo>
                <a:lnTo>
                  <a:pt x="13" y="50"/>
                </a:lnTo>
                <a:lnTo>
                  <a:pt x="14" y="50"/>
                </a:lnTo>
                <a:lnTo>
                  <a:pt x="10" y="42"/>
                </a:lnTo>
                <a:lnTo>
                  <a:pt x="0" y="23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50" name="Freeform 1075"/>
          <p:cNvSpPr>
            <a:spLocks/>
          </p:cNvSpPr>
          <p:nvPr/>
        </p:nvSpPr>
        <p:spPr bwMode="auto">
          <a:xfrm>
            <a:off x="3669094" y="4683582"/>
            <a:ext cx="344941" cy="470325"/>
          </a:xfrm>
          <a:custGeom>
            <a:avLst/>
            <a:gdLst/>
            <a:ahLst/>
            <a:cxnLst>
              <a:cxn ang="0">
                <a:pos x="8" y="25"/>
              </a:cxn>
              <a:cxn ang="0">
                <a:pos x="30" y="20"/>
              </a:cxn>
              <a:cxn ang="0">
                <a:pos x="45" y="3"/>
              </a:cxn>
              <a:cxn ang="0">
                <a:pos x="64" y="1"/>
              </a:cxn>
              <a:cxn ang="0">
                <a:pos x="66" y="20"/>
              </a:cxn>
              <a:cxn ang="0">
                <a:pos x="65" y="30"/>
              </a:cxn>
              <a:cxn ang="0">
                <a:pos x="78" y="48"/>
              </a:cxn>
              <a:cxn ang="0">
                <a:pos x="95" y="52"/>
              </a:cxn>
              <a:cxn ang="0">
                <a:pos x="102" y="59"/>
              </a:cxn>
              <a:cxn ang="0">
                <a:pos x="121" y="67"/>
              </a:cxn>
              <a:cxn ang="0">
                <a:pos x="134" y="72"/>
              </a:cxn>
              <a:cxn ang="0">
                <a:pos x="139" y="86"/>
              </a:cxn>
              <a:cxn ang="0">
                <a:pos x="141" y="99"/>
              </a:cxn>
              <a:cxn ang="0">
                <a:pos x="141" y="107"/>
              </a:cxn>
              <a:cxn ang="0">
                <a:pos x="151" y="118"/>
              </a:cxn>
              <a:cxn ang="0">
                <a:pos x="170" y="119"/>
              </a:cxn>
              <a:cxn ang="0">
                <a:pos x="170" y="129"/>
              </a:cxn>
              <a:cxn ang="0">
                <a:pos x="178" y="143"/>
              </a:cxn>
              <a:cxn ang="0">
                <a:pos x="181" y="168"/>
              </a:cxn>
              <a:cxn ang="0">
                <a:pos x="177" y="177"/>
              </a:cxn>
              <a:cxn ang="0">
                <a:pos x="175" y="187"/>
              </a:cxn>
              <a:cxn ang="0">
                <a:pos x="166" y="174"/>
              </a:cxn>
              <a:cxn ang="0">
                <a:pos x="147" y="171"/>
              </a:cxn>
              <a:cxn ang="0">
                <a:pos x="117" y="182"/>
              </a:cxn>
              <a:cxn ang="0">
                <a:pos x="110" y="205"/>
              </a:cxn>
              <a:cxn ang="0">
                <a:pos x="105" y="226"/>
              </a:cxn>
              <a:cxn ang="0">
                <a:pos x="97" y="221"/>
              </a:cxn>
              <a:cxn ang="0">
                <a:pos x="84" y="221"/>
              </a:cxn>
              <a:cxn ang="0">
                <a:pos x="78" y="229"/>
              </a:cxn>
              <a:cxn ang="0">
                <a:pos x="69" y="223"/>
              </a:cxn>
              <a:cxn ang="0">
                <a:pos x="56" y="218"/>
              </a:cxn>
              <a:cxn ang="0">
                <a:pos x="49" y="221"/>
              </a:cxn>
              <a:cxn ang="0">
                <a:pos x="41" y="231"/>
              </a:cxn>
              <a:cxn ang="0">
                <a:pos x="34" y="235"/>
              </a:cxn>
              <a:cxn ang="0">
                <a:pos x="26" y="235"/>
              </a:cxn>
              <a:cxn ang="0">
                <a:pos x="24" y="223"/>
              </a:cxn>
              <a:cxn ang="0">
                <a:pos x="21" y="205"/>
              </a:cxn>
              <a:cxn ang="0">
                <a:pos x="17" y="198"/>
              </a:cxn>
              <a:cxn ang="0">
                <a:pos x="16" y="190"/>
              </a:cxn>
              <a:cxn ang="0">
                <a:pos x="14" y="182"/>
              </a:cxn>
              <a:cxn ang="0">
                <a:pos x="17" y="176"/>
              </a:cxn>
              <a:cxn ang="0">
                <a:pos x="12" y="166"/>
              </a:cxn>
              <a:cxn ang="0">
                <a:pos x="8" y="149"/>
              </a:cxn>
              <a:cxn ang="0">
                <a:pos x="1" y="141"/>
              </a:cxn>
              <a:cxn ang="0">
                <a:pos x="4" y="132"/>
              </a:cxn>
              <a:cxn ang="0">
                <a:pos x="10" y="118"/>
              </a:cxn>
              <a:cxn ang="0">
                <a:pos x="5" y="114"/>
              </a:cxn>
              <a:cxn ang="0">
                <a:pos x="6" y="102"/>
              </a:cxn>
              <a:cxn ang="0">
                <a:pos x="8" y="96"/>
              </a:cxn>
            </a:cxnLst>
            <a:rect l="0" t="0" r="r" b="b"/>
            <a:pathLst>
              <a:path w="181" h="237">
                <a:moveTo>
                  <a:pt x="0" y="23"/>
                </a:moveTo>
                <a:lnTo>
                  <a:pt x="1" y="22"/>
                </a:lnTo>
                <a:lnTo>
                  <a:pt x="4" y="22"/>
                </a:lnTo>
                <a:lnTo>
                  <a:pt x="8" y="25"/>
                </a:lnTo>
                <a:lnTo>
                  <a:pt x="20" y="25"/>
                </a:lnTo>
                <a:lnTo>
                  <a:pt x="22" y="23"/>
                </a:lnTo>
                <a:lnTo>
                  <a:pt x="24" y="22"/>
                </a:lnTo>
                <a:lnTo>
                  <a:pt x="30" y="20"/>
                </a:lnTo>
                <a:lnTo>
                  <a:pt x="32" y="19"/>
                </a:lnTo>
                <a:lnTo>
                  <a:pt x="38" y="11"/>
                </a:lnTo>
                <a:lnTo>
                  <a:pt x="44" y="4"/>
                </a:lnTo>
                <a:lnTo>
                  <a:pt x="45" y="3"/>
                </a:lnTo>
                <a:lnTo>
                  <a:pt x="49" y="1"/>
                </a:lnTo>
                <a:lnTo>
                  <a:pt x="52" y="1"/>
                </a:lnTo>
                <a:lnTo>
                  <a:pt x="58" y="0"/>
                </a:lnTo>
                <a:lnTo>
                  <a:pt x="64" y="1"/>
                </a:lnTo>
                <a:lnTo>
                  <a:pt x="65" y="1"/>
                </a:lnTo>
                <a:lnTo>
                  <a:pt x="66" y="4"/>
                </a:lnTo>
                <a:lnTo>
                  <a:pt x="66" y="9"/>
                </a:lnTo>
                <a:lnTo>
                  <a:pt x="66" y="20"/>
                </a:lnTo>
                <a:lnTo>
                  <a:pt x="66" y="23"/>
                </a:lnTo>
                <a:lnTo>
                  <a:pt x="65" y="25"/>
                </a:lnTo>
                <a:lnTo>
                  <a:pt x="65" y="26"/>
                </a:lnTo>
                <a:lnTo>
                  <a:pt x="65" y="30"/>
                </a:lnTo>
                <a:lnTo>
                  <a:pt x="66" y="36"/>
                </a:lnTo>
                <a:lnTo>
                  <a:pt x="69" y="41"/>
                </a:lnTo>
                <a:lnTo>
                  <a:pt x="70" y="42"/>
                </a:lnTo>
                <a:lnTo>
                  <a:pt x="78" y="48"/>
                </a:lnTo>
                <a:lnTo>
                  <a:pt x="81" y="50"/>
                </a:lnTo>
                <a:lnTo>
                  <a:pt x="86" y="50"/>
                </a:lnTo>
                <a:lnTo>
                  <a:pt x="91" y="50"/>
                </a:lnTo>
                <a:lnTo>
                  <a:pt x="95" y="52"/>
                </a:lnTo>
                <a:lnTo>
                  <a:pt x="97" y="53"/>
                </a:lnTo>
                <a:lnTo>
                  <a:pt x="98" y="55"/>
                </a:lnTo>
                <a:lnTo>
                  <a:pt x="99" y="58"/>
                </a:lnTo>
                <a:lnTo>
                  <a:pt x="102" y="59"/>
                </a:lnTo>
                <a:lnTo>
                  <a:pt x="113" y="63"/>
                </a:lnTo>
                <a:lnTo>
                  <a:pt x="117" y="67"/>
                </a:lnTo>
                <a:lnTo>
                  <a:pt x="118" y="67"/>
                </a:lnTo>
                <a:lnTo>
                  <a:pt x="121" y="67"/>
                </a:lnTo>
                <a:lnTo>
                  <a:pt x="123" y="67"/>
                </a:lnTo>
                <a:lnTo>
                  <a:pt x="125" y="67"/>
                </a:lnTo>
                <a:lnTo>
                  <a:pt x="129" y="67"/>
                </a:lnTo>
                <a:lnTo>
                  <a:pt x="134" y="72"/>
                </a:lnTo>
                <a:lnTo>
                  <a:pt x="135" y="74"/>
                </a:lnTo>
                <a:lnTo>
                  <a:pt x="138" y="77"/>
                </a:lnTo>
                <a:lnTo>
                  <a:pt x="139" y="81"/>
                </a:lnTo>
                <a:lnTo>
                  <a:pt x="139" y="86"/>
                </a:lnTo>
                <a:lnTo>
                  <a:pt x="141" y="88"/>
                </a:lnTo>
                <a:lnTo>
                  <a:pt x="141" y="91"/>
                </a:lnTo>
                <a:lnTo>
                  <a:pt x="141" y="92"/>
                </a:lnTo>
                <a:lnTo>
                  <a:pt x="141" y="99"/>
                </a:lnTo>
                <a:lnTo>
                  <a:pt x="138" y="99"/>
                </a:lnTo>
                <a:lnTo>
                  <a:pt x="138" y="100"/>
                </a:lnTo>
                <a:lnTo>
                  <a:pt x="138" y="102"/>
                </a:lnTo>
                <a:lnTo>
                  <a:pt x="141" y="107"/>
                </a:lnTo>
                <a:lnTo>
                  <a:pt x="142" y="113"/>
                </a:lnTo>
                <a:lnTo>
                  <a:pt x="145" y="118"/>
                </a:lnTo>
                <a:lnTo>
                  <a:pt x="149" y="118"/>
                </a:lnTo>
                <a:lnTo>
                  <a:pt x="151" y="118"/>
                </a:lnTo>
                <a:lnTo>
                  <a:pt x="155" y="118"/>
                </a:lnTo>
                <a:lnTo>
                  <a:pt x="157" y="119"/>
                </a:lnTo>
                <a:lnTo>
                  <a:pt x="169" y="119"/>
                </a:lnTo>
                <a:lnTo>
                  <a:pt x="170" y="119"/>
                </a:lnTo>
                <a:lnTo>
                  <a:pt x="170" y="121"/>
                </a:lnTo>
                <a:lnTo>
                  <a:pt x="170" y="124"/>
                </a:lnTo>
                <a:lnTo>
                  <a:pt x="170" y="127"/>
                </a:lnTo>
                <a:lnTo>
                  <a:pt x="170" y="129"/>
                </a:lnTo>
                <a:lnTo>
                  <a:pt x="170" y="135"/>
                </a:lnTo>
                <a:lnTo>
                  <a:pt x="175" y="136"/>
                </a:lnTo>
                <a:lnTo>
                  <a:pt x="177" y="138"/>
                </a:lnTo>
                <a:lnTo>
                  <a:pt x="178" y="143"/>
                </a:lnTo>
                <a:lnTo>
                  <a:pt x="181" y="147"/>
                </a:lnTo>
                <a:lnTo>
                  <a:pt x="181" y="150"/>
                </a:lnTo>
                <a:lnTo>
                  <a:pt x="181" y="158"/>
                </a:lnTo>
                <a:lnTo>
                  <a:pt x="181" y="168"/>
                </a:lnTo>
                <a:lnTo>
                  <a:pt x="181" y="169"/>
                </a:lnTo>
                <a:lnTo>
                  <a:pt x="179" y="172"/>
                </a:lnTo>
                <a:lnTo>
                  <a:pt x="178" y="176"/>
                </a:lnTo>
                <a:lnTo>
                  <a:pt x="177" y="177"/>
                </a:lnTo>
                <a:lnTo>
                  <a:pt x="177" y="180"/>
                </a:lnTo>
                <a:lnTo>
                  <a:pt x="178" y="182"/>
                </a:lnTo>
                <a:lnTo>
                  <a:pt x="178" y="185"/>
                </a:lnTo>
                <a:lnTo>
                  <a:pt x="175" y="187"/>
                </a:lnTo>
                <a:lnTo>
                  <a:pt x="174" y="185"/>
                </a:lnTo>
                <a:lnTo>
                  <a:pt x="173" y="183"/>
                </a:lnTo>
                <a:lnTo>
                  <a:pt x="169" y="177"/>
                </a:lnTo>
                <a:lnTo>
                  <a:pt x="166" y="174"/>
                </a:lnTo>
                <a:lnTo>
                  <a:pt x="163" y="172"/>
                </a:lnTo>
                <a:lnTo>
                  <a:pt x="159" y="171"/>
                </a:lnTo>
                <a:lnTo>
                  <a:pt x="149" y="171"/>
                </a:lnTo>
                <a:lnTo>
                  <a:pt x="147" y="171"/>
                </a:lnTo>
                <a:lnTo>
                  <a:pt x="138" y="174"/>
                </a:lnTo>
                <a:lnTo>
                  <a:pt x="123" y="179"/>
                </a:lnTo>
                <a:lnTo>
                  <a:pt x="118" y="180"/>
                </a:lnTo>
                <a:lnTo>
                  <a:pt x="117" y="182"/>
                </a:lnTo>
                <a:lnTo>
                  <a:pt x="117" y="187"/>
                </a:lnTo>
                <a:lnTo>
                  <a:pt x="113" y="191"/>
                </a:lnTo>
                <a:lnTo>
                  <a:pt x="110" y="198"/>
                </a:lnTo>
                <a:lnTo>
                  <a:pt x="110" y="205"/>
                </a:lnTo>
                <a:lnTo>
                  <a:pt x="110" y="207"/>
                </a:lnTo>
                <a:lnTo>
                  <a:pt x="110" y="209"/>
                </a:lnTo>
                <a:lnTo>
                  <a:pt x="107" y="221"/>
                </a:lnTo>
                <a:lnTo>
                  <a:pt x="105" y="226"/>
                </a:lnTo>
                <a:lnTo>
                  <a:pt x="103" y="224"/>
                </a:lnTo>
                <a:lnTo>
                  <a:pt x="102" y="223"/>
                </a:lnTo>
                <a:lnTo>
                  <a:pt x="99" y="221"/>
                </a:lnTo>
                <a:lnTo>
                  <a:pt x="97" y="221"/>
                </a:lnTo>
                <a:lnTo>
                  <a:pt x="91" y="221"/>
                </a:lnTo>
                <a:lnTo>
                  <a:pt x="86" y="220"/>
                </a:lnTo>
                <a:lnTo>
                  <a:pt x="85" y="220"/>
                </a:lnTo>
                <a:lnTo>
                  <a:pt x="84" y="221"/>
                </a:lnTo>
                <a:lnTo>
                  <a:pt x="84" y="227"/>
                </a:lnTo>
                <a:lnTo>
                  <a:pt x="82" y="231"/>
                </a:lnTo>
                <a:lnTo>
                  <a:pt x="81" y="232"/>
                </a:lnTo>
                <a:lnTo>
                  <a:pt x="78" y="229"/>
                </a:lnTo>
                <a:lnTo>
                  <a:pt x="77" y="227"/>
                </a:lnTo>
                <a:lnTo>
                  <a:pt x="76" y="224"/>
                </a:lnTo>
                <a:lnTo>
                  <a:pt x="74" y="224"/>
                </a:lnTo>
                <a:lnTo>
                  <a:pt x="69" y="223"/>
                </a:lnTo>
                <a:lnTo>
                  <a:pt x="68" y="223"/>
                </a:lnTo>
                <a:lnTo>
                  <a:pt x="65" y="223"/>
                </a:lnTo>
                <a:lnTo>
                  <a:pt x="58" y="223"/>
                </a:lnTo>
                <a:lnTo>
                  <a:pt x="56" y="218"/>
                </a:lnTo>
                <a:lnTo>
                  <a:pt x="54" y="216"/>
                </a:lnTo>
                <a:lnTo>
                  <a:pt x="53" y="216"/>
                </a:lnTo>
                <a:lnTo>
                  <a:pt x="52" y="216"/>
                </a:lnTo>
                <a:lnTo>
                  <a:pt x="49" y="221"/>
                </a:lnTo>
                <a:lnTo>
                  <a:pt x="45" y="224"/>
                </a:lnTo>
                <a:lnTo>
                  <a:pt x="44" y="227"/>
                </a:lnTo>
                <a:lnTo>
                  <a:pt x="41" y="229"/>
                </a:lnTo>
                <a:lnTo>
                  <a:pt x="41" y="231"/>
                </a:lnTo>
                <a:lnTo>
                  <a:pt x="40" y="234"/>
                </a:lnTo>
                <a:lnTo>
                  <a:pt x="38" y="235"/>
                </a:lnTo>
                <a:lnTo>
                  <a:pt x="37" y="235"/>
                </a:lnTo>
                <a:lnTo>
                  <a:pt x="34" y="235"/>
                </a:lnTo>
                <a:lnTo>
                  <a:pt x="33" y="235"/>
                </a:lnTo>
                <a:lnTo>
                  <a:pt x="30" y="237"/>
                </a:lnTo>
                <a:lnTo>
                  <a:pt x="28" y="235"/>
                </a:lnTo>
                <a:lnTo>
                  <a:pt x="26" y="235"/>
                </a:lnTo>
                <a:lnTo>
                  <a:pt x="26" y="234"/>
                </a:lnTo>
                <a:lnTo>
                  <a:pt x="25" y="231"/>
                </a:lnTo>
                <a:lnTo>
                  <a:pt x="25" y="229"/>
                </a:lnTo>
                <a:lnTo>
                  <a:pt x="24" y="223"/>
                </a:lnTo>
                <a:lnTo>
                  <a:pt x="24" y="218"/>
                </a:lnTo>
                <a:lnTo>
                  <a:pt x="22" y="210"/>
                </a:lnTo>
                <a:lnTo>
                  <a:pt x="21" y="207"/>
                </a:lnTo>
                <a:lnTo>
                  <a:pt x="21" y="205"/>
                </a:lnTo>
                <a:lnTo>
                  <a:pt x="21" y="201"/>
                </a:lnTo>
                <a:lnTo>
                  <a:pt x="20" y="199"/>
                </a:lnTo>
                <a:lnTo>
                  <a:pt x="18" y="198"/>
                </a:lnTo>
                <a:lnTo>
                  <a:pt x="17" y="198"/>
                </a:lnTo>
                <a:lnTo>
                  <a:pt x="16" y="196"/>
                </a:lnTo>
                <a:lnTo>
                  <a:pt x="17" y="194"/>
                </a:lnTo>
                <a:lnTo>
                  <a:pt x="16" y="191"/>
                </a:lnTo>
                <a:lnTo>
                  <a:pt x="16" y="190"/>
                </a:lnTo>
                <a:lnTo>
                  <a:pt x="13" y="188"/>
                </a:lnTo>
                <a:lnTo>
                  <a:pt x="13" y="187"/>
                </a:lnTo>
                <a:lnTo>
                  <a:pt x="14" y="183"/>
                </a:lnTo>
                <a:lnTo>
                  <a:pt x="14" y="182"/>
                </a:lnTo>
                <a:lnTo>
                  <a:pt x="17" y="182"/>
                </a:lnTo>
                <a:lnTo>
                  <a:pt x="17" y="180"/>
                </a:lnTo>
                <a:lnTo>
                  <a:pt x="16" y="179"/>
                </a:lnTo>
                <a:lnTo>
                  <a:pt x="17" y="176"/>
                </a:lnTo>
                <a:lnTo>
                  <a:pt x="17" y="174"/>
                </a:lnTo>
                <a:lnTo>
                  <a:pt x="17" y="172"/>
                </a:lnTo>
                <a:lnTo>
                  <a:pt x="14" y="169"/>
                </a:lnTo>
                <a:lnTo>
                  <a:pt x="12" y="166"/>
                </a:lnTo>
                <a:lnTo>
                  <a:pt x="10" y="165"/>
                </a:lnTo>
                <a:lnTo>
                  <a:pt x="9" y="161"/>
                </a:lnTo>
                <a:lnTo>
                  <a:pt x="8" y="152"/>
                </a:lnTo>
                <a:lnTo>
                  <a:pt x="8" y="149"/>
                </a:lnTo>
                <a:lnTo>
                  <a:pt x="6" y="146"/>
                </a:lnTo>
                <a:lnTo>
                  <a:pt x="5" y="146"/>
                </a:lnTo>
                <a:lnTo>
                  <a:pt x="2" y="141"/>
                </a:lnTo>
                <a:lnTo>
                  <a:pt x="1" y="141"/>
                </a:lnTo>
                <a:lnTo>
                  <a:pt x="1" y="139"/>
                </a:lnTo>
                <a:lnTo>
                  <a:pt x="0" y="139"/>
                </a:lnTo>
                <a:lnTo>
                  <a:pt x="0" y="136"/>
                </a:lnTo>
                <a:lnTo>
                  <a:pt x="4" y="132"/>
                </a:lnTo>
                <a:lnTo>
                  <a:pt x="6" y="127"/>
                </a:lnTo>
                <a:lnTo>
                  <a:pt x="10" y="122"/>
                </a:lnTo>
                <a:lnTo>
                  <a:pt x="10" y="119"/>
                </a:lnTo>
                <a:lnTo>
                  <a:pt x="10" y="118"/>
                </a:lnTo>
                <a:lnTo>
                  <a:pt x="8" y="116"/>
                </a:lnTo>
                <a:lnTo>
                  <a:pt x="6" y="116"/>
                </a:lnTo>
                <a:lnTo>
                  <a:pt x="6" y="114"/>
                </a:lnTo>
                <a:lnTo>
                  <a:pt x="5" y="114"/>
                </a:lnTo>
                <a:lnTo>
                  <a:pt x="5" y="111"/>
                </a:lnTo>
                <a:lnTo>
                  <a:pt x="5" y="108"/>
                </a:lnTo>
                <a:lnTo>
                  <a:pt x="5" y="105"/>
                </a:lnTo>
                <a:lnTo>
                  <a:pt x="6" y="102"/>
                </a:lnTo>
                <a:lnTo>
                  <a:pt x="8" y="100"/>
                </a:lnTo>
                <a:lnTo>
                  <a:pt x="8" y="99"/>
                </a:lnTo>
                <a:lnTo>
                  <a:pt x="8" y="97"/>
                </a:lnTo>
                <a:lnTo>
                  <a:pt x="8" y="96"/>
                </a:lnTo>
                <a:lnTo>
                  <a:pt x="5" y="9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51" name="Freeform 1076"/>
          <p:cNvSpPr>
            <a:spLocks/>
          </p:cNvSpPr>
          <p:nvPr/>
        </p:nvSpPr>
        <p:spPr bwMode="auto">
          <a:xfrm>
            <a:off x="3669094" y="4728682"/>
            <a:ext cx="25335" cy="135299"/>
          </a:xfrm>
          <a:custGeom>
            <a:avLst/>
            <a:gdLst/>
            <a:ahLst/>
            <a:cxnLst>
              <a:cxn ang="0">
                <a:pos x="5" y="68"/>
              </a:cxn>
              <a:cxn ang="0">
                <a:pos x="6" y="65"/>
              </a:cxn>
              <a:cxn ang="0">
                <a:pos x="10" y="63"/>
              </a:cxn>
              <a:cxn ang="0">
                <a:pos x="10" y="57"/>
              </a:cxn>
              <a:cxn ang="0">
                <a:pos x="9" y="51"/>
              </a:cxn>
              <a:cxn ang="0">
                <a:pos x="9" y="47"/>
              </a:cxn>
              <a:cxn ang="0">
                <a:pos x="10" y="41"/>
              </a:cxn>
              <a:cxn ang="0">
                <a:pos x="10" y="33"/>
              </a:cxn>
              <a:cxn ang="0">
                <a:pos x="12" y="30"/>
              </a:cxn>
              <a:cxn ang="0">
                <a:pos x="13" y="27"/>
              </a:cxn>
              <a:cxn ang="0">
                <a:pos x="14" y="27"/>
              </a:cxn>
              <a:cxn ang="0">
                <a:pos x="10" y="19"/>
              </a:cxn>
              <a:cxn ang="0">
                <a:pos x="0" y="0"/>
              </a:cxn>
            </a:cxnLst>
            <a:rect l="0" t="0" r="r" b="b"/>
            <a:pathLst>
              <a:path w="14" h="68">
                <a:moveTo>
                  <a:pt x="5" y="68"/>
                </a:moveTo>
                <a:lnTo>
                  <a:pt x="6" y="65"/>
                </a:lnTo>
                <a:lnTo>
                  <a:pt x="10" y="63"/>
                </a:lnTo>
                <a:lnTo>
                  <a:pt x="10" y="57"/>
                </a:lnTo>
                <a:lnTo>
                  <a:pt x="9" y="51"/>
                </a:lnTo>
                <a:lnTo>
                  <a:pt x="9" y="47"/>
                </a:lnTo>
                <a:lnTo>
                  <a:pt x="10" y="41"/>
                </a:lnTo>
                <a:lnTo>
                  <a:pt x="10" y="33"/>
                </a:lnTo>
                <a:lnTo>
                  <a:pt x="12" y="30"/>
                </a:lnTo>
                <a:lnTo>
                  <a:pt x="13" y="27"/>
                </a:lnTo>
                <a:lnTo>
                  <a:pt x="14" y="27"/>
                </a:lnTo>
                <a:lnTo>
                  <a:pt x="10" y="19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52" name="Freeform 1077"/>
          <p:cNvSpPr>
            <a:spLocks/>
          </p:cNvSpPr>
          <p:nvPr/>
        </p:nvSpPr>
        <p:spPr bwMode="auto">
          <a:xfrm>
            <a:off x="3990650" y="5405178"/>
            <a:ext cx="155905" cy="171808"/>
          </a:xfrm>
          <a:custGeom>
            <a:avLst/>
            <a:gdLst/>
            <a:ahLst/>
            <a:cxnLst>
              <a:cxn ang="0">
                <a:pos x="1" y="69"/>
              </a:cxn>
              <a:cxn ang="0">
                <a:pos x="8" y="75"/>
              </a:cxn>
              <a:cxn ang="0">
                <a:pos x="16" y="79"/>
              </a:cxn>
              <a:cxn ang="0">
                <a:pos x="25" y="82"/>
              </a:cxn>
              <a:cxn ang="0">
                <a:pos x="31" y="83"/>
              </a:cxn>
              <a:cxn ang="0">
                <a:pos x="35" y="85"/>
              </a:cxn>
              <a:cxn ang="0">
                <a:pos x="45" y="83"/>
              </a:cxn>
              <a:cxn ang="0">
                <a:pos x="54" y="86"/>
              </a:cxn>
              <a:cxn ang="0">
                <a:pos x="62" y="83"/>
              </a:cxn>
              <a:cxn ang="0">
                <a:pos x="67" y="79"/>
              </a:cxn>
              <a:cxn ang="0">
                <a:pos x="70" y="75"/>
              </a:cxn>
              <a:cxn ang="0">
                <a:pos x="74" y="69"/>
              </a:cxn>
              <a:cxn ang="0">
                <a:pos x="77" y="64"/>
              </a:cxn>
              <a:cxn ang="0">
                <a:pos x="74" y="63"/>
              </a:cxn>
              <a:cxn ang="0">
                <a:pos x="75" y="55"/>
              </a:cxn>
              <a:cxn ang="0">
                <a:pos x="77" y="50"/>
              </a:cxn>
              <a:cxn ang="0">
                <a:pos x="78" y="49"/>
              </a:cxn>
              <a:cxn ang="0">
                <a:pos x="81" y="47"/>
              </a:cxn>
              <a:cxn ang="0">
                <a:pos x="73" y="41"/>
              </a:cxn>
              <a:cxn ang="0">
                <a:pos x="71" y="35"/>
              </a:cxn>
              <a:cxn ang="0">
                <a:pos x="66" y="31"/>
              </a:cxn>
              <a:cxn ang="0">
                <a:pos x="62" y="30"/>
              </a:cxn>
              <a:cxn ang="0">
                <a:pos x="59" y="25"/>
              </a:cxn>
              <a:cxn ang="0">
                <a:pos x="55" y="24"/>
              </a:cxn>
              <a:cxn ang="0">
                <a:pos x="51" y="22"/>
              </a:cxn>
              <a:cxn ang="0">
                <a:pos x="49" y="20"/>
              </a:cxn>
              <a:cxn ang="0">
                <a:pos x="46" y="16"/>
              </a:cxn>
              <a:cxn ang="0">
                <a:pos x="43" y="13"/>
              </a:cxn>
              <a:cxn ang="0">
                <a:pos x="39" y="17"/>
              </a:cxn>
              <a:cxn ang="0">
                <a:pos x="37" y="14"/>
              </a:cxn>
              <a:cxn ang="0">
                <a:pos x="33" y="8"/>
              </a:cxn>
              <a:cxn ang="0">
                <a:pos x="29" y="3"/>
              </a:cxn>
              <a:cxn ang="0">
                <a:pos x="24" y="0"/>
              </a:cxn>
              <a:cxn ang="0">
                <a:pos x="21" y="0"/>
              </a:cxn>
              <a:cxn ang="0">
                <a:pos x="17" y="3"/>
              </a:cxn>
              <a:cxn ang="0">
                <a:pos x="12" y="5"/>
              </a:cxn>
              <a:cxn ang="0">
                <a:pos x="9" y="8"/>
              </a:cxn>
              <a:cxn ang="0">
                <a:pos x="9" y="20"/>
              </a:cxn>
              <a:cxn ang="0">
                <a:pos x="8" y="27"/>
              </a:cxn>
              <a:cxn ang="0">
                <a:pos x="6" y="47"/>
              </a:cxn>
              <a:cxn ang="0">
                <a:pos x="5" y="52"/>
              </a:cxn>
              <a:cxn ang="0">
                <a:pos x="1" y="58"/>
              </a:cxn>
              <a:cxn ang="0">
                <a:pos x="0" y="69"/>
              </a:cxn>
            </a:cxnLst>
            <a:rect l="0" t="0" r="r" b="b"/>
            <a:pathLst>
              <a:path w="81" h="86">
                <a:moveTo>
                  <a:pt x="0" y="69"/>
                </a:moveTo>
                <a:lnTo>
                  <a:pt x="1" y="69"/>
                </a:lnTo>
                <a:lnTo>
                  <a:pt x="2" y="69"/>
                </a:lnTo>
                <a:lnTo>
                  <a:pt x="8" y="75"/>
                </a:lnTo>
                <a:lnTo>
                  <a:pt x="8" y="77"/>
                </a:lnTo>
                <a:lnTo>
                  <a:pt x="16" y="79"/>
                </a:lnTo>
                <a:lnTo>
                  <a:pt x="18" y="79"/>
                </a:lnTo>
                <a:lnTo>
                  <a:pt x="25" y="82"/>
                </a:lnTo>
                <a:lnTo>
                  <a:pt x="29" y="83"/>
                </a:lnTo>
                <a:lnTo>
                  <a:pt x="31" y="83"/>
                </a:lnTo>
                <a:lnTo>
                  <a:pt x="34" y="85"/>
                </a:lnTo>
                <a:lnTo>
                  <a:pt x="35" y="85"/>
                </a:lnTo>
                <a:lnTo>
                  <a:pt x="41" y="83"/>
                </a:lnTo>
                <a:lnTo>
                  <a:pt x="45" y="83"/>
                </a:lnTo>
                <a:lnTo>
                  <a:pt x="50" y="85"/>
                </a:lnTo>
                <a:lnTo>
                  <a:pt x="54" y="86"/>
                </a:lnTo>
                <a:lnTo>
                  <a:pt x="58" y="85"/>
                </a:lnTo>
                <a:lnTo>
                  <a:pt x="62" y="83"/>
                </a:lnTo>
                <a:lnTo>
                  <a:pt x="65" y="80"/>
                </a:lnTo>
                <a:lnTo>
                  <a:pt x="67" y="79"/>
                </a:lnTo>
                <a:lnTo>
                  <a:pt x="69" y="77"/>
                </a:lnTo>
                <a:lnTo>
                  <a:pt x="70" y="75"/>
                </a:lnTo>
                <a:lnTo>
                  <a:pt x="71" y="72"/>
                </a:lnTo>
                <a:lnTo>
                  <a:pt x="74" y="69"/>
                </a:lnTo>
                <a:lnTo>
                  <a:pt x="74" y="66"/>
                </a:lnTo>
                <a:lnTo>
                  <a:pt x="77" y="64"/>
                </a:lnTo>
                <a:lnTo>
                  <a:pt x="75" y="64"/>
                </a:lnTo>
                <a:lnTo>
                  <a:pt x="74" y="63"/>
                </a:lnTo>
                <a:lnTo>
                  <a:pt x="75" y="60"/>
                </a:lnTo>
                <a:lnTo>
                  <a:pt x="75" y="55"/>
                </a:lnTo>
                <a:lnTo>
                  <a:pt x="77" y="53"/>
                </a:lnTo>
                <a:lnTo>
                  <a:pt x="77" y="50"/>
                </a:lnTo>
                <a:lnTo>
                  <a:pt x="78" y="50"/>
                </a:lnTo>
                <a:lnTo>
                  <a:pt x="78" y="49"/>
                </a:lnTo>
                <a:lnTo>
                  <a:pt x="81" y="49"/>
                </a:lnTo>
                <a:lnTo>
                  <a:pt x="81" y="47"/>
                </a:lnTo>
                <a:lnTo>
                  <a:pt x="79" y="46"/>
                </a:lnTo>
                <a:lnTo>
                  <a:pt x="73" y="41"/>
                </a:lnTo>
                <a:lnTo>
                  <a:pt x="73" y="39"/>
                </a:lnTo>
                <a:lnTo>
                  <a:pt x="71" y="35"/>
                </a:lnTo>
                <a:lnTo>
                  <a:pt x="70" y="33"/>
                </a:lnTo>
                <a:lnTo>
                  <a:pt x="66" y="31"/>
                </a:lnTo>
                <a:lnTo>
                  <a:pt x="65" y="31"/>
                </a:lnTo>
                <a:lnTo>
                  <a:pt x="62" y="30"/>
                </a:lnTo>
                <a:lnTo>
                  <a:pt x="61" y="28"/>
                </a:lnTo>
                <a:lnTo>
                  <a:pt x="59" y="25"/>
                </a:lnTo>
                <a:lnTo>
                  <a:pt x="58" y="24"/>
                </a:lnTo>
                <a:lnTo>
                  <a:pt x="55" y="24"/>
                </a:lnTo>
                <a:lnTo>
                  <a:pt x="53" y="22"/>
                </a:lnTo>
                <a:lnTo>
                  <a:pt x="51" y="22"/>
                </a:lnTo>
                <a:lnTo>
                  <a:pt x="50" y="20"/>
                </a:lnTo>
                <a:lnTo>
                  <a:pt x="49" y="20"/>
                </a:lnTo>
                <a:lnTo>
                  <a:pt x="47" y="17"/>
                </a:lnTo>
                <a:lnTo>
                  <a:pt x="46" y="16"/>
                </a:lnTo>
                <a:lnTo>
                  <a:pt x="45" y="14"/>
                </a:lnTo>
                <a:lnTo>
                  <a:pt x="43" y="13"/>
                </a:lnTo>
                <a:lnTo>
                  <a:pt x="39" y="16"/>
                </a:lnTo>
                <a:lnTo>
                  <a:pt x="39" y="17"/>
                </a:lnTo>
                <a:lnTo>
                  <a:pt x="37" y="16"/>
                </a:lnTo>
                <a:lnTo>
                  <a:pt x="37" y="14"/>
                </a:lnTo>
                <a:lnTo>
                  <a:pt x="35" y="9"/>
                </a:lnTo>
                <a:lnTo>
                  <a:pt x="33" y="8"/>
                </a:lnTo>
                <a:lnTo>
                  <a:pt x="30" y="5"/>
                </a:lnTo>
                <a:lnTo>
                  <a:pt x="29" y="3"/>
                </a:lnTo>
                <a:lnTo>
                  <a:pt x="25" y="0"/>
                </a:lnTo>
                <a:lnTo>
                  <a:pt x="24" y="0"/>
                </a:lnTo>
                <a:lnTo>
                  <a:pt x="22" y="0"/>
                </a:lnTo>
                <a:lnTo>
                  <a:pt x="21" y="0"/>
                </a:lnTo>
                <a:lnTo>
                  <a:pt x="20" y="2"/>
                </a:lnTo>
                <a:lnTo>
                  <a:pt x="17" y="3"/>
                </a:lnTo>
                <a:lnTo>
                  <a:pt x="13" y="3"/>
                </a:lnTo>
                <a:lnTo>
                  <a:pt x="12" y="5"/>
                </a:lnTo>
                <a:lnTo>
                  <a:pt x="9" y="6"/>
                </a:lnTo>
                <a:lnTo>
                  <a:pt x="9" y="8"/>
                </a:lnTo>
                <a:lnTo>
                  <a:pt x="10" y="14"/>
                </a:lnTo>
                <a:lnTo>
                  <a:pt x="9" y="20"/>
                </a:lnTo>
                <a:lnTo>
                  <a:pt x="9" y="24"/>
                </a:lnTo>
                <a:lnTo>
                  <a:pt x="8" y="27"/>
                </a:lnTo>
                <a:lnTo>
                  <a:pt x="6" y="33"/>
                </a:lnTo>
                <a:lnTo>
                  <a:pt x="6" y="47"/>
                </a:lnTo>
                <a:lnTo>
                  <a:pt x="5" y="50"/>
                </a:lnTo>
                <a:lnTo>
                  <a:pt x="5" y="52"/>
                </a:lnTo>
                <a:lnTo>
                  <a:pt x="2" y="55"/>
                </a:lnTo>
                <a:lnTo>
                  <a:pt x="1" y="58"/>
                </a:lnTo>
                <a:lnTo>
                  <a:pt x="1" y="64"/>
                </a:lnTo>
                <a:lnTo>
                  <a:pt x="0" y="69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53" name="Freeform 1078"/>
          <p:cNvSpPr>
            <a:spLocks/>
          </p:cNvSpPr>
          <p:nvPr/>
        </p:nvSpPr>
        <p:spPr bwMode="auto">
          <a:xfrm>
            <a:off x="3990650" y="5405178"/>
            <a:ext cx="155905" cy="171808"/>
          </a:xfrm>
          <a:custGeom>
            <a:avLst/>
            <a:gdLst/>
            <a:ahLst/>
            <a:cxnLst>
              <a:cxn ang="0">
                <a:pos x="1" y="69"/>
              </a:cxn>
              <a:cxn ang="0">
                <a:pos x="8" y="75"/>
              </a:cxn>
              <a:cxn ang="0">
                <a:pos x="16" y="79"/>
              </a:cxn>
              <a:cxn ang="0">
                <a:pos x="25" y="82"/>
              </a:cxn>
              <a:cxn ang="0">
                <a:pos x="31" y="83"/>
              </a:cxn>
              <a:cxn ang="0">
                <a:pos x="35" y="85"/>
              </a:cxn>
              <a:cxn ang="0">
                <a:pos x="45" y="83"/>
              </a:cxn>
              <a:cxn ang="0">
                <a:pos x="54" y="86"/>
              </a:cxn>
              <a:cxn ang="0">
                <a:pos x="62" y="83"/>
              </a:cxn>
              <a:cxn ang="0">
                <a:pos x="67" y="79"/>
              </a:cxn>
              <a:cxn ang="0">
                <a:pos x="70" y="75"/>
              </a:cxn>
              <a:cxn ang="0">
                <a:pos x="74" y="69"/>
              </a:cxn>
              <a:cxn ang="0">
                <a:pos x="77" y="64"/>
              </a:cxn>
              <a:cxn ang="0">
                <a:pos x="74" y="63"/>
              </a:cxn>
              <a:cxn ang="0">
                <a:pos x="75" y="55"/>
              </a:cxn>
              <a:cxn ang="0">
                <a:pos x="77" y="50"/>
              </a:cxn>
              <a:cxn ang="0">
                <a:pos x="78" y="49"/>
              </a:cxn>
              <a:cxn ang="0">
                <a:pos x="81" y="47"/>
              </a:cxn>
              <a:cxn ang="0">
                <a:pos x="73" y="41"/>
              </a:cxn>
              <a:cxn ang="0">
                <a:pos x="71" y="35"/>
              </a:cxn>
              <a:cxn ang="0">
                <a:pos x="66" y="31"/>
              </a:cxn>
              <a:cxn ang="0">
                <a:pos x="62" y="30"/>
              </a:cxn>
              <a:cxn ang="0">
                <a:pos x="59" y="25"/>
              </a:cxn>
              <a:cxn ang="0">
                <a:pos x="55" y="24"/>
              </a:cxn>
              <a:cxn ang="0">
                <a:pos x="51" y="22"/>
              </a:cxn>
              <a:cxn ang="0">
                <a:pos x="49" y="20"/>
              </a:cxn>
              <a:cxn ang="0">
                <a:pos x="46" y="16"/>
              </a:cxn>
              <a:cxn ang="0">
                <a:pos x="43" y="13"/>
              </a:cxn>
              <a:cxn ang="0">
                <a:pos x="39" y="17"/>
              </a:cxn>
              <a:cxn ang="0">
                <a:pos x="37" y="14"/>
              </a:cxn>
              <a:cxn ang="0">
                <a:pos x="33" y="8"/>
              </a:cxn>
              <a:cxn ang="0">
                <a:pos x="29" y="3"/>
              </a:cxn>
              <a:cxn ang="0">
                <a:pos x="24" y="0"/>
              </a:cxn>
              <a:cxn ang="0">
                <a:pos x="21" y="0"/>
              </a:cxn>
              <a:cxn ang="0">
                <a:pos x="17" y="3"/>
              </a:cxn>
              <a:cxn ang="0">
                <a:pos x="12" y="5"/>
              </a:cxn>
              <a:cxn ang="0">
                <a:pos x="9" y="8"/>
              </a:cxn>
              <a:cxn ang="0">
                <a:pos x="9" y="20"/>
              </a:cxn>
              <a:cxn ang="0">
                <a:pos x="8" y="27"/>
              </a:cxn>
              <a:cxn ang="0">
                <a:pos x="6" y="47"/>
              </a:cxn>
              <a:cxn ang="0">
                <a:pos x="5" y="52"/>
              </a:cxn>
              <a:cxn ang="0">
                <a:pos x="1" y="58"/>
              </a:cxn>
              <a:cxn ang="0">
                <a:pos x="0" y="69"/>
              </a:cxn>
            </a:cxnLst>
            <a:rect l="0" t="0" r="r" b="b"/>
            <a:pathLst>
              <a:path w="81" h="86">
                <a:moveTo>
                  <a:pt x="0" y="69"/>
                </a:moveTo>
                <a:lnTo>
                  <a:pt x="1" y="69"/>
                </a:lnTo>
                <a:lnTo>
                  <a:pt x="2" y="69"/>
                </a:lnTo>
                <a:lnTo>
                  <a:pt x="8" y="75"/>
                </a:lnTo>
                <a:lnTo>
                  <a:pt x="8" y="77"/>
                </a:lnTo>
                <a:lnTo>
                  <a:pt x="16" y="79"/>
                </a:lnTo>
                <a:lnTo>
                  <a:pt x="18" y="79"/>
                </a:lnTo>
                <a:lnTo>
                  <a:pt x="25" y="82"/>
                </a:lnTo>
                <a:lnTo>
                  <a:pt x="29" y="83"/>
                </a:lnTo>
                <a:lnTo>
                  <a:pt x="31" y="83"/>
                </a:lnTo>
                <a:lnTo>
                  <a:pt x="34" y="85"/>
                </a:lnTo>
                <a:lnTo>
                  <a:pt x="35" y="85"/>
                </a:lnTo>
                <a:lnTo>
                  <a:pt x="41" y="83"/>
                </a:lnTo>
                <a:lnTo>
                  <a:pt x="45" y="83"/>
                </a:lnTo>
                <a:lnTo>
                  <a:pt x="50" y="85"/>
                </a:lnTo>
                <a:lnTo>
                  <a:pt x="54" y="86"/>
                </a:lnTo>
                <a:lnTo>
                  <a:pt x="58" y="85"/>
                </a:lnTo>
                <a:lnTo>
                  <a:pt x="62" y="83"/>
                </a:lnTo>
                <a:lnTo>
                  <a:pt x="65" y="80"/>
                </a:lnTo>
                <a:lnTo>
                  <a:pt x="67" y="79"/>
                </a:lnTo>
                <a:lnTo>
                  <a:pt x="69" y="77"/>
                </a:lnTo>
                <a:lnTo>
                  <a:pt x="70" y="75"/>
                </a:lnTo>
                <a:lnTo>
                  <a:pt x="71" y="72"/>
                </a:lnTo>
                <a:lnTo>
                  <a:pt x="74" y="69"/>
                </a:lnTo>
                <a:lnTo>
                  <a:pt x="74" y="66"/>
                </a:lnTo>
                <a:lnTo>
                  <a:pt x="77" y="64"/>
                </a:lnTo>
                <a:lnTo>
                  <a:pt x="75" y="64"/>
                </a:lnTo>
                <a:lnTo>
                  <a:pt x="74" y="63"/>
                </a:lnTo>
                <a:lnTo>
                  <a:pt x="75" y="60"/>
                </a:lnTo>
                <a:lnTo>
                  <a:pt x="75" y="55"/>
                </a:lnTo>
                <a:lnTo>
                  <a:pt x="77" y="53"/>
                </a:lnTo>
                <a:lnTo>
                  <a:pt x="77" y="50"/>
                </a:lnTo>
                <a:lnTo>
                  <a:pt x="78" y="50"/>
                </a:lnTo>
                <a:lnTo>
                  <a:pt x="78" y="49"/>
                </a:lnTo>
                <a:lnTo>
                  <a:pt x="81" y="49"/>
                </a:lnTo>
                <a:lnTo>
                  <a:pt x="81" y="47"/>
                </a:lnTo>
                <a:lnTo>
                  <a:pt x="79" y="46"/>
                </a:lnTo>
                <a:lnTo>
                  <a:pt x="73" y="41"/>
                </a:lnTo>
                <a:lnTo>
                  <a:pt x="73" y="39"/>
                </a:lnTo>
                <a:lnTo>
                  <a:pt x="71" y="35"/>
                </a:lnTo>
                <a:lnTo>
                  <a:pt x="70" y="33"/>
                </a:lnTo>
                <a:lnTo>
                  <a:pt x="66" y="31"/>
                </a:lnTo>
                <a:lnTo>
                  <a:pt x="65" y="31"/>
                </a:lnTo>
                <a:lnTo>
                  <a:pt x="62" y="30"/>
                </a:lnTo>
                <a:lnTo>
                  <a:pt x="61" y="28"/>
                </a:lnTo>
                <a:lnTo>
                  <a:pt x="59" y="25"/>
                </a:lnTo>
                <a:lnTo>
                  <a:pt x="58" y="24"/>
                </a:lnTo>
                <a:lnTo>
                  <a:pt x="55" y="24"/>
                </a:lnTo>
                <a:lnTo>
                  <a:pt x="53" y="22"/>
                </a:lnTo>
                <a:lnTo>
                  <a:pt x="51" y="22"/>
                </a:lnTo>
                <a:lnTo>
                  <a:pt x="50" y="20"/>
                </a:lnTo>
                <a:lnTo>
                  <a:pt x="49" y="20"/>
                </a:lnTo>
                <a:lnTo>
                  <a:pt x="47" y="17"/>
                </a:lnTo>
                <a:lnTo>
                  <a:pt x="46" y="16"/>
                </a:lnTo>
                <a:lnTo>
                  <a:pt x="45" y="14"/>
                </a:lnTo>
                <a:lnTo>
                  <a:pt x="43" y="13"/>
                </a:lnTo>
                <a:lnTo>
                  <a:pt x="39" y="16"/>
                </a:lnTo>
                <a:lnTo>
                  <a:pt x="39" y="17"/>
                </a:lnTo>
                <a:lnTo>
                  <a:pt x="37" y="16"/>
                </a:lnTo>
                <a:lnTo>
                  <a:pt x="37" y="14"/>
                </a:lnTo>
                <a:lnTo>
                  <a:pt x="35" y="9"/>
                </a:lnTo>
                <a:lnTo>
                  <a:pt x="33" y="8"/>
                </a:lnTo>
                <a:lnTo>
                  <a:pt x="30" y="5"/>
                </a:lnTo>
                <a:lnTo>
                  <a:pt x="29" y="3"/>
                </a:lnTo>
                <a:lnTo>
                  <a:pt x="25" y="0"/>
                </a:lnTo>
                <a:lnTo>
                  <a:pt x="24" y="0"/>
                </a:lnTo>
                <a:lnTo>
                  <a:pt x="22" y="0"/>
                </a:lnTo>
                <a:lnTo>
                  <a:pt x="21" y="0"/>
                </a:lnTo>
                <a:lnTo>
                  <a:pt x="20" y="2"/>
                </a:lnTo>
                <a:lnTo>
                  <a:pt x="17" y="3"/>
                </a:lnTo>
                <a:lnTo>
                  <a:pt x="13" y="3"/>
                </a:lnTo>
                <a:lnTo>
                  <a:pt x="12" y="5"/>
                </a:lnTo>
                <a:lnTo>
                  <a:pt x="9" y="6"/>
                </a:lnTo>
                <a:lnTo>
                  <a:pt x="9" y="8"/>
                </a:lnTo>
                <a:lnTo>
                  <a:pt x="10" y="14"/>
                </a:lnTo>
                <a:lnTo>
                  <a:pt x="9" y="20"/>
                </a:lnTo>
                <a:lnTo>
                  <a:pt x="9" y="24"/>
                </a:lnTo>
                <a:lnTo>
                  <a:pt x="8" y="27"/>
                </a:lnTo>
                <a:lnTo>
                  <a:pt x="6" y="33"/>
                </a:lnTo>
                <a:lnTo>
                  <a:pt x="6" y="47"/>
                </a:lnTo>
                <a:lnTo>
                  <a:pt x="5" y="50"/>
                </a:lnTo>
                <a:lnTo>
                  <a:pt x="5" y="52"/>
                </a:lnTo>
                <a:lnTo>
                  <a:pt x="2" y="55"/>
                </a:lnTo>
                <a:lnTo>
                  <a:pt x="1" y="58"/>
                </a:lnTo>
                <a:lnTo>
                  <a:pt x="1" y="64"/>
                </a:lnTo>
                <a:lnTo>
                  <a:pt x="0" y="69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54" name="Freeform 1079"/>
          <p:cNvSpPr>
            <a:spLocks/>
          </p:cNvSpPr>
          <p:nvPr/>
        </p:nvSpPr>
        <p:spPr bwMode="auto">
          <a:xfrm>
            <a:off x="3910747" y="4052186"/>
            <a:ext cx="140315" cy="249123"/>
          </a:xfrm>
          <a:custGeom>
            <a:avLst/>
            <a:gdLst/>
            <a:ahLst/>
            <a:cxnLst>
              <a:cxn ang="0">
                <a:pos x="24" y="0"/>
              </a:cxn>
              <a:cxn ang="0">
                <a:pos x="30" y="3"/>
              </a:cxn>
              <a:cxn ang="0">
                <a:pos x="42" y="17"/>
              </a:cxn>
              <a:cxn ang="0">
                <a:pos x="42" y="27"/>
              </a:cxn>
              <a:cxn ang="0">
                <a:pos x="44" y="27"/>
              </a:cxn>
              <a:cxn ang="0">
                <a:pos x="50" y="27"/>
              </a:cxn>
              <a:cxn ang="0">
                <a:pos x="54" y="30"/>
              </a:cxn>
              <a:cxn ang="0">
                <a:pos x="56" y="33"/>
              </a:cxn>
              <a:cxn ang="0">
                <a:pos x="62" y="38"/>
              </a:cxn>
              <a:cxn ang="0">
                <a:pos x="64" y="46"/>
              </a:cxn>
              <a:cxn ang="0">
                <a:pos x="60" y="52"/>
              </a:cxn>
              <a:cxn ang="0">
                <a:pos x="60" y="53"/>
              </a:cxn>
              <a:cxn ang="0">
                <a:pos x="59" y="58"/>
              </a:cxn>
              <a:cxn ang="0">
                <a:pos x="55" y="60"/>
              </a:cxn>
              <a:cxn ang="0">
                <a:pos x="51" y="61"/>
              </a:cxn>
              <a:cxn ang="0">
                <a:pos x="51" y="67"/>
              </a:cxn>
              <a:cxn ang="0">
                <a:pos x="48" y="74"/>
              </a:cxn>
              <a:cxn ang="0">
                <a:pos x="50" y="78"/>
              </a:cxn>
              <a:cxn ang="0">
                <a:pos x="52" y="83"/>
              </a:cxn>
              <a:cxn ang="0">
                <a:pos x="55" y="86"/>
              </a:cxn>
              <a:cxn ang="0">
                <a:pos x="60" y="88"/>
              </a:cxn>
              <a:cxn ang="0">
                <a:pos x="62" y="93"/>
              </a:cxn>
              <a:cxn ang="0">
                <a:pos x="63" y="97"/>
              </a:cxn>
              <a:cxn ang="0">
                <a:pos x="64" y="100"/>
              </a:cxn>
              <a:cxn ang="0">
                <a:pos x="70" y="110"/>
              </a:cxn>
              <a:cxn ang="0">
                <a:pos x="73" y="113"/>
              </a:cxn>
              <a:cxn ang="0">
                <a:pos x="67" y="115"/>
              </a:cxn>
              <a:cxn ang="0">
                <a:pos x="63" y="113"/>
              </a:cxn>
              <a:cxn ang="0">
                <a:pos x="59" y="115"/>
              </a:cxn>
              <a:cxn ang="0">
                <a:pos x="52" y="118"/>
              </a:cxn>
              <a:cxn ang="0">
                <a:pos x="50" y="121"/>
              </a:cxn>
              <a:cxn ang="0">
                <a:pos x="44" y="121"/>
              </a:cxn>
              <a:cxn ang="0">
                <a:pos x="40" y="126"/>
              </a:cxn>
              <a:cxn ang="0">
                <a:pos x="34" y="124"/>
              </a:cxn>
              <a:cxn ang="0">
                <a:pos x="28" y="119"/>
              </a:cxn>
              <a:cxn ang="0">
                <a:pos x="26" y="116"/>
              </a:cxn>
              <a:cxn ang="0">
                <a:pos x="26" y="110"/>
              </a:cxn>
              <a:cxn ang="0">
                <a:pos x="22" y="104"/>
              </a:cxn>
              <a:cxn ang="0">
                <a:pos x="23" y="89"/>
              </a:cxn>
              <a:cxn ang="0">
                <a:pos x="24" y="83"/>
              </a:cxn>
              <a:cxn ang="0">
                <a:pos x="27" y="75"/>
              </a:cxn>
              <a:cxn ang="0">
                <a:pos x="26" y="69"/>
              </a:cxn>
              <a:cxn ang="0">
                <a:pos x="19" y="67"/>
              </a:cxn>
              <a:cxn ang="0">
                <a:pos x="20" y="60"/>
              </a:cxn>
              <a:cxn ang="0">
                <a:pos x="19" y="55"/>
              </a:cxn>
              <a:cxn ang="0">
                <a:pos x="14" y="56"/>
              </a:cxn>
              <a:cxn ang="0">
                <a:pos x="10" y="55"/>
              </a:cxn>
              <a:cxn ang="0">
                <a:pos x="7" y="50"/>
              </a:cxn>
              <a:cxn ang="0">
                <a:pos x="0" y="41"/>
              </a:cxn>
              <a:cxn ang="0">
                <a:pos x="2" y="36"/>
              </a:cxn>
              <a:cxn ang="0">
                <a:pos x="3" y="30"/>
              </a:cxn>
              <a:cxn ang="0">
                <a:pos x="8" y="27"/>
              </a:cxn>
              <a:cxn ang="0">
                <a:pos x="12" y="22"/>
              </a:cxn>
              <a:cxn ang="0">
                <a:pos x="10" y="20"/>
              </a:cxn>
              <a:cxn ang="0">
                <a:pos x="7" y="17"/>
              </a:cxn>
              <a:cxn ang="0">
                <a:pos x="7" y="13"/>
              </a:cxn>
              <a:cxn ang="0">
                <a:pos x="11" y="11"/>
              </a:cxn>
              <a:cxn ang="0">
                <a:pos x="14" y="8"/>
              </a:cxn>
              <a:cxn ang="0">
                <a:pos x="19" y="5"/>
              </a:cxn>
              <a:cxn ang="0">
                <a:pos x="22" y="3"/>
              </a:cxn>
              <a:cxn ang="0">
                <a:pos x="23" y="0"/>
              </a:cxn>
            </a:cxnLst>
            <a:rect l="0" t="0" r="r" b="b"/>
            <a:pathLst>
              <a:path w="73" h="126">
                <a:moveTo>
                  <a:pt x="23" y="0"/>
                </a:moveTo>
                <a:lnTo>
                  <a:pt x="24" y="0"/>
                </a:lnTo>
                <a:lnTo>
                  <a:pt x="26" y="0"/>
                </a:lnTo>
                <a:lnTo>
                  <a:pt x="30" y="3"/>
                </a:lnTo>
                <a:lnTo>
                  <a:pt x="39" y="13"/>
                </a:lnTo>
                <a:lnTo>
                  <a:pt x="42" y="17"/>
                </a:lnTo>
                <a:lnTo>
                  <a:pt x="42" y="19"/>
                </a:lnTo>
                <a:lnTo>
                  <a:pt x="42" y="27"/>
                </a:lnTo>
                <a:lnTo>
                  <a:pt x="43" y="27"/>
                </a:lnTo>
                <a:lnTo>
                  <a:pt x="44" y="27"/>
                </a:lnTo>
                <a:lnTo>
                  <a:pt x="48" y="27"/>
                </a:lnTo>
                <a:lnTo>
                  <a:pt x="50" y="27"/>
                </a:lnTo>
                <a:lnTo>
                  <a:pt x="51" y="28"/>
                </a:lnTo>
                <a:lnTo>
                  <a:pt x="54" y="30"/>
                </a:lnTo>
                <a:lnTo>
                  <a:pt x="55" y="31"/>
                </a:lnTo>
                <a:lnTo>
                  <a:pt x="56" y="33"/>
                </a:lnTo>
                <a:lnTo>
                  <a:pt x="58" y="36"/>
                </a:lnTo>
                <a:lnTo>
                  <a:pt x="62" y="38"/>
                </a:lnTo>
                <a:lnTo>
                  <a:pt x="63" y="44"/>
                </a:lnTo>
                <a:lnTo>
                  <a:pt x="64" y="46"/>
                </a:lnTo>
                <a:lnTo>
                  <a:pt x="62" y="47"/>
                </a:lnTo>
                <a:lnTo>
                  <a:pt x="60" y="52"/>
                </a:lnTo>
                <a:lnTo>
                  <a:pt x="59" y="52"/>
                </a:lnTo>
                <a:lnTo>
                  <a:pt x="60" y="53"/>
                </a:lnTo>
                <a:lnTo>
                  <a:pt x="60" y="55"/>
                </a:lnTo>
                <a:lnTo>
                  <a:pt x="59" y="58"/>
                </a:lnTo>
                <a:lnTo>
                  <a:pt x="56" y="60"/>
                </a:lnTo>
                <a:lnTo>
                  <a:pt x="55" y="60"/>
                </a:lnTo>
                <a:lnTo>
                  <a:pt x="52" y="60"/>
                </a:lnTo>
                <a:lnTo>
                  <a:pt x="51" y="61"/>
                </a:lnTo>
                <a:lnTo>
                  <a:pt x="51" y="63"/>
                </a:lnTo>
                <a:lnTo>
                  <a:pt x="51" y="67"/>
                </a:lnTo>
                <a:lnTo>
                  <a:pt x="50" y="71"/>
                </a:lnTo>
                <a:lnTo>
                  <a:pt x="48" y="74"/>
                </a:lnTo>
                <a:lnTo>
                  <a:pt x="48" y="75"/>
                </a:lnTo>
                <a:lnTo>
                  <a:pt x="50" y="78"/>
                </a:lnTo>
                <a:lnTo>
                  <a:pt x="52" y="82"/>
                </a:lnTo>
                <a:lnTo>
                  <a:pt x="52" y="83"/>
                </a:lnTo>
                <a:lnTo>
                  <a:pt x="55" y="85"/>
                </a:lnTo>
                <a:lnTo>
                  <a:pt x="55" y="86"/>
                </a:lnTo>
                <a:lnTo>
                  <a:pt x="56" y="88"/>
                </a:lnTo>
                <a:lnTo>
                  <a:pt x="60" y="88"/>
                </a:lnTo>
                <a:lnTo>
                  <a:pt x="60" y="89"/>
                </a:lnTo>
                <a:lnTo>
                  <a:pt x="62" y="93"/>
                </a:lnTo>
                <a:lnTo>
                  <a:pt x="63" y="94"/>
                </a:lnTo>
                <a:lnTo>
                  <a:pt x="63" y="97"/>
                </a:lnTo>
                <a:lnTo>
                  <a:pt x="64" y="99"/>
                </a:lnTo>
                <a:lnTo>
                  <a:pt x="64" y="100"/>
                </a:lnTo>
                <a:lnTo>
                  <a:pt x="66" y="104"/>
                </a:lnTo>
                <a:lnTo>
                  <a:pt x="70" y="110"/>
                </a:lnTo>
                <a:lnTo>
                  <a:pt x="72" y="113"/>
                </a:lnTo>
                <a:lnTo>
                  <a:pt x="73" y="113"/>
                </a:lnTo>
                <a:lnTo>
                  <a:pt x="70" y="113"/>
                </a:lnTo>
                <a:lnTo>
                  <a:pt x="67" y="115"/>
                </a:lnTo>
                <a:lnTo>
                  <a:pt x="64" y="113"/>
                </a:lnTo>
                <a:lnTo>
                  <a:pt x="63" y="113"/>
                </a:lnTo>
                <a:lnTo>
                  <a:pt x="62" y="113"/>
                </a:lnTo>
                <a:lnTo>
                  <a:pt x="59" y="115"/>
                </a:lnTo>
                <a:lnTo>
                  <a:pt x="56" y="118"/>
                </a:lnTo>
                <a:lnTo>
                  <a:pt x="52" y="118"/>
                </a:lnTo>
                <a:lnTo>
                  <a:pt x="51" y="119"/>
                </a:lnTo>
                <a:lnTo>
                  <a:pt x="50" y="121"/>
                </a:lnTo>
                <a:lnTo>
                  <a:pt x="46" y="121"/>
                </a:lnTo>
                <a:lnTo>
                  <a:pt x="44" y="121"/>
                </a:lnTo>
                <a:lnTo>
                  <a:pt x="42" y="124"/>
                </a:lnTo>
                <a:lnTo>
                  <a:pt x="40" y="126"/>
                </a:lnTo>
                <a:lnTo>
                  <a:pt x="36" y="126"/>
                </a:lnTo>
                <a:lnTo>
                  <a:pt x="34" y="124"/>
                </a:lnTo>
                <a:lnTo>
                  <a:pt x="30" y="121"/>
                </a:lnTo>
                <a:lnTo>
                  <a:pt x="28" y="119"/>
                </a:lnTo>
                <a:lnTo>
                  <a:pt x="27" y="118"/>
                </a:lnTo>
                <a:lnTo>
                  <a:pt x="26" y="116"/>
                </a:lnTo>
                <a:lnTo>
                  <a:pt x="24" y="115"/>
                </a:lnTo>
                <a:lnTo>
                  <a:pt x="26" y="110"/>
                </a:lnTo>
                <a:lnTo>
                  <a:pt x="24" y="108"/>
                </a:lnTo>
                <a:lnTo>
                  <a:pt x="22" y="104"/>
                </a:lnTo>
                <a:lnTo>
                  <a:pt x="22" y="93"/>
                </a:lnTo>
                <a:lnTo>
                  <a:pt x="23" y="89"/>
                </a:lnTo>
                <a:lnTo>
                  <a:pt x="24" y="86"/>
                </a:lnTo>
                <a:lnTo>
                  <a:pt x="24" y="83"/>
                </a:lnTo>
                <a:lnTo>
                  <a:pt x="27" y="78"/>
                </a:lnTo>
                <a:lnTo>
                  <a:pt x="27" y="75"/>
                </a:lnTo>
                <a:lnTo>
                  <a:pt x="26" y="74"/>
                </a:lnTo>
                <a:lnTo>
                  <a:pt x="26" y="69"/>
                </a:lnTo>
                <a:lnTo>
                  <a:pt x="22" y="67"/>
                </a:lnTo>
                <a:lnTo>
                  <a:pt x="19" y="67"/>
                </a:lnTo>
                <a:lnTo>
                  <a:pt x="20" y="63"/>
                </a:lnTo>
                <a:lnTo>
                  <a:pt x="20" y="60"/>
                </a:lnTo>
                <a:lnTo>
                  <a:pt x="20" y="58"/>
                </a:lnTo>
                <a:lnTo>
                  <a:pt x="19" y="55"/>
                </a:lnTo>
                <a:lnTo>
                  <a:pt x="16" y="55"/>
                </a:lnTo>
                <a:lnTo>
                  <a:pt x="14" y="56"/>
                </a:lnTo>
                <a:lnTo>
                  <a:pt x="10" y="56"/>
                </a:lnTo>
                <a:lnTo>
                  <a:pt x="10" y="55"/>
                </a:lnTo>
                <a:lnTo>
                  <a:pt x="8" y="52"/>
                </a:lnTo>
                <a:lnTo>
                  <a:pt x="7" y="50"/>
                </a:lnTo>
                <a:lnTo>
                  <a:pt x="4" y="46"/>
                </a:lnTo>
                <a:lnTo>
                  <a:pt x="0" y="41"/>
                </a:lnTo>
                <a:lnTo>
                  <a:pt x="0" y="39"/>
                </a:lnTo>
                <a:lnTo>
                  <a:pt x="2" y="36"/>
                </a:lnTo>
                <a:lnTo>
                  <a:pt x="3" y="35"/>
                </a:lnTo>
                <a:lnTo>
                  <a:pt x="3" y="30"/>
                </a:lnTo>
                <a:lnTo>
                  <a:pt x="3" y="28"/>
                </a:lnTo>
                <a:lnTo>
                  <a:pt x="8" y="27"/>
                </a:lnTo>
                <a:lnTo>
                  <a:pt x="11" y="24"/>
                </a:lnTo>
                <a:lnTo>
                  <a:pt x="12" y="22"/>
                </a:lnTo>
                <a:lnTo>
                  <a:pt x="11" y="20"/>
                </a:lnTo>
                <a:lnTo>
                  <a:pt x="10" y="20"/>
                </a:lnTo>
                <a:lnTo>
                  <a:pt x="7" y="20"/>
                </a:lnTo>
                <a:lnTo>
                  <a:pt x="7" y="17"/>
                </a:lnTo>
                <a:lnTo>
                  <a:pt x="7" y="14"/>
                </a:lnTo>
                <a:lnTo>
                  <a:pt x="7" y="13"/>
                </a:lnTo>
                <a:lnTo>
                  <a:pt x="8" y="11"/>
                </a:lnTo>
                <a:lnTo>
                  <a:pt x="11" y="11"/>
                </a:lnTo>
                <a:lnTo>
                  <a:pt x="12" y="9"/>
                </a:lnTo>
                <a:lnTo>
                  <a:pt x="14" y="8"/>
                </a:lnTo>
                <a:lnTo>
                  <a:pt x="18" y="6"/>
                </a:lnTo>
                <a:lnTo>
                  <a:pt x="19" y="5"/>
                </a:lnTo>
                <a:lnTo>
                  <a:pt x="20" y="3"/>
                </a:lnTo>
                <a:lnTo>
                  <a:pt x="22" y="3"/>
                </a:lnTo>
                <a:lnTo>
                  <a:pt x="23" y="3"/>
                </a:lnTo>
                <a:lnTo>
                  <a:pt x="23" y="0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55" name="Freeform 1080"/>
          <p:cNvSpPr>
            <a:spLocks/>
          </p:cNvSpPr>
          <p:nvPr/>
        </p:nvSpPr>
        <p:spPr bwMode="auto">
          <a:xfrm>
            <a:off x="3910747" y="4052186"/>
            <a:ext cx="140315" cy="249123"/>
          </a:xfrm>
          <a:custGeom>
            <a:avLst/>
            <a:gdLst/>
            <a:ahLst/>
            <a:cxnLst>
              <a:cxn ang="0">
                <a:pos x="24" y="0"/>
              </a:cxn>
              <a:cxn ang="0">
                <a:pos x="30" y="3"/>
              </a:cxn>
              <a:cxn ang="0">
                <a:pos x="42" y="17"/>
              </a:cxn>
              <a:cxn ang="0">
                <a:pos x="42" y="27"/>
              </a:cxn>
              <a:cxn ang="0">
                <a:pos x="44" y="27"/>
              </a:cxn>
              <a:cxn ang="0">
                <a:pos x="50" y="27"/>
              </a:cxn>
              <a:cxn ang="0">
                <a:pos x="54" y="30"/>
              </a:cxn>
              <a:cxn ang="0">
                <a:pos x="56" y="33"/>
              </a:cxn>
              <a:cxn ang="0">
                <a:pos x="62" y="38"/>
              </a:cxn>
              <a:cxn ang="0">
                <a:pos x="64" y="46"/>
              </a:cxn>
              <a:cxn ang="0">
                <a:pos x="60" y="52"/>
              </a:cxn>
              <a:cxn ang="0">
                <a:pos x="60" y="53"/>
              </a:cxn>
              <a:cxn ang="0">
                <a:pos x="59" y="58"/>
              </a:cxn>
              <a:cxn ang="0">
                <a:pos x="55" y="60"/>
              </a:cxn>
              <a:cxn ang="0">
                <a:pos x="51" y="61"/>
              </a:cxn>
              <a:cxn ang="0">
                <a:pos x="51" y="67"/>
              </a:cxn>
              <a:cxn ang="0">
                <a:pos x="48" y="74"/>
              </a:cxn>
              <a:cxn ang="0">
                <a:pos x="50" y="78"/>
              </a:cxn>
              <a:cxn ang="0">
                <a:pos x="52" y="83"/>
              </a:cxn>
              <a:cxn ang="0">
                <a:pos x="55" y="86"/>
              </a:cxn>
              <a:cxn ang="0">
                <a:pos x="60" y="88"/>
              </a:cxn>
              <a:cxn ang="0">
                <a:pos x="62" y="93"/>
              </a:cxn>
              <a:cxn ang="0">
                <a:pos x="63" y="97"/>
              </a:cxn>
              <a:cxn ang="0">
                <a:pos x="64" y="100"/>
              </a:cxn>
              <a:cxn ang="0">
                <a:pos x="70" y="110"/>
              </a:cxn>
              <a:cxn ang="0">
                <a:pos x="73" y="113"/>
              </a:cxn>
              <a:cxn ang="0">
                <a:pos x="67" y="115"/>
              </a:cxn>
              <a:cxn ang="0">
                <a:pos x="63" y="113"/>
              </a:cxn>
              <a:cxn ang="0">
                <a:pos x="59" y="115"/>
              </a:cxn>
              <a:cxn ang="0">
                <a:pos x="52" y="118"/>
              </a:cxn>
              <a:cxn ang="0">
                <a:pos x="50" y="121"/>
              </a:cxn>
              <a:cxn ang="0">
                <a:pos x="44" y="121"/>
              </a:cxn>
              <a:cxn ang="0">
                <a:pos x="40" y="126"/>
              </a:cxn>
              <a:cxn ang="0">
                <a:pos x="34" y="124"/>
              </a:cxn>
              <a:cxn ang="0">
                <a:pos x="28" y="119"/>
              </a:cxn>
              <a:cxn ang="0">
                <a:pos x="26" y="116"/>
              </a:cxn>
              <a:cxn ang="0">
                <a:pos x="26" y="110"/>
              </a:cxn>
              <a:cxn ang="0">
                <a:pos x="22" y="104"/>
              </a:cxn>
              <a:cxn ang="0">
                <a:pos x="23" y="89"/>
              </a:cxn>
              <a:cxn ang="0">
                <a:pos x="24" y="83"/>
              </a:cxn>
              <a:cxn ang="0">
                <a:pos x="27" y="75"/>
              </a:cxn>
              <a:cxn ang="0">
                <a:pos x="26" y="69"/>
              </a:cxn>
              <a:cxn ang="0">
                <a:pos x="19" y="67"/>
              </a:cxn>
              <a:cxn ang="0">
                <a:pos x="20" y="60"/>
              </a:cxn>
              <a:cxn ang="0">
                <a:pos x="19" y="55"/>
              </a:cxn>
              <a:cxn ang="0">
                <a:pos x="14" y="56"/>
              </a:cxn>
              <a:cxn ang="0">
                <a:pos x="10" y="55"/>
              </a:cxn>
              <a:cxn ang="0">
                <a:pos x="7" y="50"/>
              </a:cxn>
              <a:cxn ang="0">
                <a:pos x="0" y="41"/>
              </a:cxn>
              <a:cxn ang="0">
                <a:pos x="2" y="36"/>
              </a:cxn>
              <a:cxn ang="0">
                <a:pos x="3" y="30"/>
              </a:cxn>
              <a:cxn ang="0">
                <a:pos x="8" y="27"/>
              </a:cxn>
              <a:cxn ang="0">
                <a:pos x="12" y="22"/>
              </a:cxn>
              <a:cxn ang="0">
                <a:pos x="10" y="20"/>
              </a:cxn>
              <a:cxn ang="0">
                <a:pos x="7" y="17"/>
              </a:cxn>
              <a:cxn ang="0">
                <a:pos x="7" y="13"/>
              </a:cxn>
              <a:cxn ang="0">
                <a:pos x="11" y="11"/>
              </a:cxn>
              <a:cxn ang="0">
                <a:pos x="14" y="8"/>
              </a:cxn>
              <a:cxn ang="0">
                <a:pos x="19" y="5"/>
              </a:cxn>
              <a:cxn ang="0">
                <a:pos x="22" y="3"/>
              </a:cxn>
              <a:cxn ang="0">
                <a:pos x="23" y="0"/>
              </a:cxn>
            </a:cxnLst>
            <a:rect l="0" t="0" r="r" b="b"/>
            <a:pathLst>
              <a:path w="73" h="126">
                <a:moveTo>
                  <a:pt x="23" y="0"/>
                </a:moveTo>
                <a:lnTo>
                  <a:pt x="24" y="0"/>
                </a:lnTo>
                <a:lnTo>
                  <a:pt x="26" y="0"/>
                </a:lnTo>
                <a:lnTo>
                  <a:pt x="30" y="3"/>
                </a:lnTo>
                <a:lnTo>
                  <a:pt x="39" y="13"/>
                </a:lnTo>
                <a:lnTo>
                  <a:pt x="42" y="17"/>
                </a:lnTo>
                <a:lnTo>
                  <a:pt x="42" y="19"/>
                </a:lnTo>
                <a:lnTo>
                  <a:pt x="42" y="27"/>
                </a:lnTo>
                <a:lnTo>
                  <a:pt x="43" y="27"/>
                </a:lnTo>
                <a:lnTo>
                  <a:pt x="44" y="27"/>
                </a:lnTo>
                <a:lnTo>
                  <a:pt x="48" y="27"/>
                </a:lnTo>
                <a:lnTo>
                  <a:pt x="50" y="27"/>
                </a:lnTo>
                <a:lnTo>
                  <a:pt x="51" y="28"/>
                </a:lnTo>
                <a:lnTo>
                  <a:pt x="54" y="30"/>
                </a:lnTo>
                <a:lnTo>
                  <a:pt x="55" y="31"/>
                </a:lnTo>
                <a:lnTo>
                  <a:pt x="56" y="33"/>
                </a:lnTo>
                <a:lnTo>
                  <a:pt x="58" y="36"/>
                </a:lnTo>
                <a:lnTo>
                  <a:pt x="62" y="38"/>
                </a:lnTo>
                <a:lnTo>
                  <a:pt x="63" y="44"/>
                </a:lnTo>
                <a:lnTo>
                  <a:pt x="64" y="46"/>
                </a:lnTo>
                <a:lnTo>
                  <a:pt x="62" y="47"/>
                </a:lnTo>
                <a:lnTo>
                  <a:pt x="60" y="52"/>
                </a:lnTo>
                <a:lnTo>
                  <a:pt x="59" y="52"/>
                </a:lnTo>
                <a:lnTo>
                  <a:pt x="60" y="53"/>
                </a:lnTo>
                <a:lnTo>
                  <a:pt x="60" y="55"/>
                </a:lnTo>
                <a:lnTo>
                  <a:pt x="59" y="58"/>
                </a:lnTo>
                <a:lnTo>
                  <a:pt x="56" y="60"/>
                </a:lnTo>
                <a:lnTo>
                  <a:pt x="55" y="60"/>
                </a:lnTo>
                <a:lnTo>
                  <a:pt x="52" y="60"/>
                </a:lnTo>
                <a:lnTo>
                  <a:pt x="51" y="61"/>
                </a:lnTo>
                <a:lnTo>
                  <a:pt x="51" y="63"/>
                </a:lnTo>
                <a:lnTo>
                  <a:pt x="51" y="67"/>
                </a:lnTo>
                <a:lnTo>
                  <a:pt x="50" y="71"/>
                </a:lnTo>
                <a:lnTo>
                  <a:pt x="48" y="74"/>
                </a:lnTo>
                <a:lnTo>
                  <a:pt x="48" y="75"/>
                </a:lnTo>
                <a:lnTo>
                  <a:pt x="50" y="78"/>
                </a:lnTo>
                <a:lnTo>
                  <a:pt x="52" y="82"/>
                </a:lnTo>
                <a:lnTo>
                  <a:pt x="52" y="83"/>
                </a:lnTo>
                <a:lnTo>
                  <a:pt x="55" y="85"/>
                </a:lnTo>
                <a:lnTo>
                  <a:pt x="55" y="86"/>
                </a:lnTo>
                <a:lnTo>
                  <a:pt x="56" y="88"/>
                </a:lnTo>
                <a:lnTo>
                  <a:pt x="60" y="88"/>
                </a:lnTo>
                <a:lnTo>
                  <a:pt x="60" y="89"/>
                </a:lnTo>
                <a:lnTo>
                  <a:pt x="62" y="93"/>
                </a:lnTo>
                <a:lnTo>
                  <a:pt x="63" y="94"/>
                </a:lnTo>
                <a:lnTo>
                  <a:pt x="63" y="97"/>
                </a:lnTo>
                <a:lnTo>
                  <a:pt x="64" y="99"/>
                </a:lnTo>
                <a:lnTo>
                  <a:pt x="64" y="100"/>
                </a:lnTo>
                <a:lnTo>
                  <a:pt x="66" y="104"/>
                </a:lnTo>
                <a:lnTo>
                  <a:pt x="70" y="110"/>
                </a:lnTo>
                <a:lnTo>
                  <a:pt x="72" y="113"/>
                </a:lnTo>
                <a:lnTo>
                  <a:pt x="73" y="113"/>
                </a:lnTo>
                <a:lnTo>
                  <a:pt x="70" y="113"/>
                </a:lnTo>
                <a:lnTo>
                  <a:pt x="67" y="115"/>
                </a:lnTo>
                <a:lnTo>
                  <a:pt x="64" y="113"/>
                </a:lnTo>
                <a:lnTo>
                  <a:pt x="63" y="113"/>
                </a:lnTo>
                <a:lnTo>
                  <a:pt x="62" y="113"/>
                </a:lnTo>
                <a:lnTo>
                  <a:pt x="59" y="115"/>
                </a:lnTo>
                <a:lnTo>
                  <a:pt x="56" y="118"/>
                </a:lnTo>
                <a:lnTo>
                  <a:pt x="52" y="118"/>
                </a:lnTo>
                <a:lnTo>
                  <a:pt x="51" y="119"/>
                </a:lnTo>
                <a:lnTo>
                  <a:pt x="50" y="121"/>
                </a:lnTo>
                <a:lnTo>
                  <a:pt x="46" y="121"/>
                </a:lnTo>
                <a:lnTo>
                  <a:pt x="44" y="121"/>
                </a:lnTo>
                <a:lnTo>
                  <a:pt x="42" y="124"/>
                </a:lnTo>
                <a:lnTo>
                  <a:pt x="40" y="126"/>
                </a:lnTo>
                <a:lnTo>
                  <a:pt x="36" y="126"/>
                </a:lnTo>
                <a:lnTo>
                  <a:pt x="34" y="124"/>
                </a:lnTo>
                <a:lnTo>
                  <a:pt x="30" y="121"/>
                </a:lnTo>
                <a:lnTo>
                  <a:pt x="28" y="119"/>
                </a:lnTo>
                <a:lnTo>
                  <a:pt x="27" y="118"/>
                </a:lnTo>
                <a:lnTo>
                  <a:pt x="26" y="116"/>
                </a:lnTo>
                <a:lnTo>
                  <a:pt x="24" y="115"/>
                </a:lnTo>
                <a:lnTo>
                  <a:pt x="26" y="110"/>
                </a:lnTo>
                <a:lnTo>
                  <a:pt x="24" y="108"/>
                </a:lnTo>
                <a:lnTo>
                  <a:pt x="22" y="104"/>
                </a:lnTo>
                <a:lnTo>
                  <a:pt x="22" y="93"/>
                </a:lnTo>
                <a:lnTo>
                  <a:pt x="23" y="89"/>
                </a:lnTo>
                <a:lnTo>
                  <a:pt x="24" y="86"/>
                </a:lnTo>
                <a:lnTo>
                  <a:pt x="24" y="83"/>
                </a:lnTo>
                <a:lnTo>
                  <a:pt x="27" y="78"/>
                </a:lnTo>
                <a:lnTo>
                  <a:pt x="27" y="75"/>
                </a:lnTo>
                <a:lnTo>
                  <a:pt x="26" y="74"/>
                </a:lnTo>
                <a:lnTo>
                  <a:pt x="26" y="69"/>
                </a:lnTo>
                <a:lnTo>
                  <a:pt x="22" y="67"/>
                </a:lnTo>
                <a:lnTo>
                  <a:pt x="19" y="67"/>
                </a:lnTo>
                <a:lnTo>
                  <a:pt x="20" y="63"/>
                </a:lnTo>
                <a:lnTo>
                  <a:pt x="20" y="60"/>
                </a:lnTo>
                <a:lnTo>
                  <a:pt x="20" y="58"/>
                </a:lnTo>
                <a:lnTo>
                  <a:pt x="19" y="55"/>
                </a:lnTo>
                <a:lnTo>
                  <a:pt x="16" y="55"/>
                </a:lnTo>
                <a:lnTo>
                  <a:pt x="14" y="56"/>
                </a:lnTo>
                <a:lnTo>
                  <a:pt x="10" y="56"/>
                </a:lnTo>
                <a:lnTo>
                  <a:pt x="10" y="55"/>
                </a:lnTo>
                <a:lnTo>
                  <a:pt x="8" y="52"/>
                </a:lnTo>
                <a:lnTo>
                  <a:pt x="7" y="50"/>
                </a:lnTo>
                <a:lnTo>
                  <a:pt x="4" y="46"/>
                </a:lnTo>
                <a:lnTo>
                  <a:pt x="0" y="41"/>
                </a:lnTo>
                <a:lnTo>
                  <a:pt x="0" y="39"/>
                </a:lnTo>
                <a:lnTo>
                  <a:pt x="2" y="36"/>
                </a:lnTo>
                <a:lnTo>
                  <a:pt x="3" y="35"/>
                </a:lnTo>
                <a:lnTo>
                  <a:pt x="3" y="30"/>
                </a:lnTo>
                <a:lnTo>
                  <a:pt x="3" y="28"/>
                </a:lnTo>
                <a:lnTo>
                  <a:pt x="8" y="27"/>
                </a:lnTo>
                <a:lnTo>
                  <a:pt x="11" y="24"/>
                </a:lnTo>
                <a:lnTo>
                  <a:pt x="12" y="22"/>
                </a:lnTo>
                <a:lnTo>
                  <a:pt x="11" y="20"/>
                </a:lnTo>
                <a:lnTo>
                  <a:pt x="10" y="20"/>
                </a:lnTo>
                <a:lnTo>
                  <a:pt x="7" y="20"/>
                </a:lnTo>
                <a:lnTo>
                  <a:pt x="7" y="17"/>
                </a:lnTo>
                <a:lnTo>
                  <a:pt x="7" y="14"/>
                </a:lnTo>
                <a:lnTo>
                  <a:pt x="7" y="13"/>
                </a:lnTo>
                <a:lnTo>
                  <a:pt x="8" y="11"/>
                </a:lnTo>
                <a:lnTo>
                  <a:pt x="11" y="11"/>
                </a:lnTo>
                <a:lnTo>
                  <a:pt x="12" y="9"/>
                </a:lnTo>
                <a:lnTo>
                  <a:pt x="14" y="8"/>
                </a:lnTo>
                <a:lnTo>
                  <a:pt x="18" y="6"/>
                </a:lnTo>
                <a:lnTo>
                  <a:pt x="19" y="5"/>
                </a:lnTo>
                <a:lnTo>
                  <a:pt x="20" y="3"/>
                </a:lnTo>
                <a:lnTo>
                  <a:pt x="22" y="3"/>
                </a:lnTo>
                <a:lnTo>
                  <a:pt x="23" y="3"/>
                </a:lnTo>
                <a:lnTo>
                  <a:pt x="23" y="0"/>
                </a:lnTo>
              </a:path>
            </a:pathLst>
          </a:custGeom>
          <a:solidFill>
            <a:srgbClr val="283E36">
              <a:lumMod val="40000"/>
              <a:lumOff val="60000"/>
            </a:srgb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56" name="Freeform 1081"/>
          <p:cNvSpPr>
            <a:spLocks/>
          </p:cNvSpPr>
          <p:nvPr/>
        </p:nvSpPr>
        <p:spPr bwMode="auto">
          <a:xfrm>
            <a:off x="4109527" y="4144532"/>
            <a:ext cx="81851" cy="131005"/>
          </a:xfrm>
          <a:custGeom>
            <a:avLst/>
            <a:gdLst/>
            <a:ahLst/>
            <a:cxnLst>
              <a:cxn ang="0">
                <a:pos x="0" y="60"/>
              </a:cxn>
              <a:cxn ang="0">
                <a:pos x="4" y="55"/>
              </a:cxn>
              <a:cxn ang="0">
                <a:pos x="4" y="49"/>
              </a:cxn>
              <a:cxn ang="0">
                <a:pos x="5" y="41"/>
              </a:cxn>
              <a:cxn ang="0">
                <a:pos x="7" y="36"/>
              </a:cxn>
              <a:cxn ang="0">
                <a:pos x="5" y="33"/>
              </a:cxn>
              <a:cxn ang="0">
                <a:pos x="4" y="33"/>
              </a:cxn>
              <a:cxn ang="0">
                <a:pos x="3" y="28"/>
              </a:cxn>
              <a:cxn ang="0">
                <a:pos x="1" y="25"/>
              </a:cxn>
              <a:cxn ang="0">
                <a:pos x="0" y="19"/>
              </a:cxn>
              <a:cxn ang="0">
                <a:pos x="0" y="11"/>
              </a:cxn>
              <a:cxn ang="0">
                <a:pos x="1" y="8"/>
              </a:cxn>
              <a:cxn ang="0">
                <a:pos x="4" y="6"/>
              </a:cxn>
              <a:cxn ang="0">
                <a:pos x="5" y="5"/>
              </a:cxn>
              <a:cxn ang="0">
                <a:pos x="5" y="3"/>
              </a:cxn>
              <a:cxn ang="0">
                <a:pos x="8" y="2"/>
              </a:cxn>
              <a:cxn ang="0">
                <a:pos x="9" y="0"/>
              </a:cxn>
              <a:cxn ang="0">
                <a:pos x="13" y="3"/>
              </a:cxn>
              <a:cxn ang="0">
                <a:pos x="16" y="5"/>
              </a:cxn>
              <a:cxn ang="0">
                <a:pos x="20" y="6"/>
              </a:cxn>
              <a:cxn ang="0">
                <a:pos x="23" y="8"/>
              </a:cxn>
              <a:cxn ang="0">
                <a:pos x="27" y="9"/>
              </a:cxn>
              <a:cxn ang="0">
                <a:pos x="31" y="13"/>
              </a:cxn>
              <a:cxn ang="0">
                <a:pos x="32" y="14"/>
              </a:cxn>
              <a:cxn ang="0">
                <a:pos x="36" y="17"/>
              </a:cxn>
              <a:cxn ang="0">
                <a:pos x="37" y="20"/>
              </a:cxn>
              <a:cxn ang="0">
                <a:pos x="40" y="22"/>
              </a:cxn>
              <a:cxn ang="0">
                <a:pos x="43" y="25"/>
              </a:cxn>
              <a:cxn ang="0">
                <a:pos x="43" y="28"/>
              </a:cxn>
              <a:cxn ang="0">
                <a:pos x="39" y="33"/>
              </a:cxn>
              <a:cxn ang="0">
                <a:pos x="39" y="35"/>
              </a:cxn>
              <a:cxn ang="0">
                <a:pos x="35" y="41"/>
              </a:cxn>
              <a:cxn ang="0">
                <a:pos x="32" y="46"/>
              </a:cxn>
              <a:cxn ang="0">
                <a:pos x="31" y="47"/>
              </a:cxn>
              <a:cxn ang="0">
                <a:pos x="29" y="55"/>
              </a:cxn>
              <a:cxn ang="0">
                <a:pos x="21" y="63"/>
              </a:cxn>
              <a:cxn ang="0">
                <a:pos x="19" y="64"/>
              </a:cxn>
              <a:cxn ang="0">
                <a:pos x="16" y="64"/>
              </a:cxn>
              <a:cxn ang="0">
                <a:pos x="15" y="63"/>
              </a:cxn>
              <a:cxn ang="0">
                <a:pos x="13" y="63"/>
              </a:cxn>
              <a:cxn ang="0">
                <a:pos x="12" y="63"/>
              </a:cxn>
              <a:cxn ang="0">
                <a:pos x="8" y="66"/>
              </a:cxn>
              <a:cxn ang="0">
                <a:pos x="5" y="66"/>
              </a:cxn>
              <a:cxn ang="0">
                <a:pos x="3" y="63"/>
              </a:cxn>
              <a:cxn ang="0">
                <a:pos x="0" y="60"/>
              </a:cxn>
            </a:cxnLst>
            <a:rect l="0" t="0" r="r" b="b"/>
            <a:pathLst>
              <a:path w="43" h="66">
                <a:moveTo>
                  <a:pt x="0" y="60"/>
                </a:moveTo>
                <a:lnTo>
                  <a:pt x="4" y="55"/>
                </a:lnTo>
                <a:lnTo>
                  <a:pt x="4" y="49"/>
                </a:lnTo>
                <a:lnTo>
                  <a:pt x="5" y="41"/>
                </a:lnTo>
                <a:lnTo>
                  <a:pt x="7" y="36"/>
                </a:lnTo>
                <a:lnTo>
                  <a:pt x="5" y="33"/>
                </a:lnTo>
                <a:lnTo>
                  <a:pt x="4" y="33"/>
                </a:lnTo>
                <a:lnTo>
                  <a:pt x="3" y="28"/>
                </a:lnTo>
                <a:lnTo>
                  <a:pt x="1" y="25"/>
                </a:lnTo>
                <a:lnTo>
                  <a:pt x="0" y="19"/>
                </a:lnTo>
                <a:lnTo>
                  <a:pt x="0" y="11"/>
                </a:lnTo>
                <a:lnTo>
                  <a:pt x="1" y="8"/>
                </a:lnTo>
                <a:lnTo>
                  <a:pt x="4" y="6"/>
                </a:lnTo>
                <a:lnTo>
                  <a:pt x="5" y="5"/>
                </a:lnTo>
                <a:lnTo>
                  <a:pt x="5" y="3"/>
                </a:lnTo>
                <a:lnTo>
                  <a:pt x="8" y="2"/>
                </a:lnTo>
                <a:lnTo>
                  <a:pt x="9" y="0"/>
                </a:lnTo>
                <a:lnTo>
                  <a:pt x="13" y="3"/>
                </a:lnTo>
                <a:lnTo>
                  <a:pt x="16" y="5"/>
                </a:lnTo>
                <a:lnTo>
                  <a:pt x="20" y="6"/>
                </a:lnTo>
                <a:lnTo>
                  <a:pt x="23" y="8"/>
                </a:lnTo>
                <a:lnTo>
                  <a:pt x="27" y="9"/>
                </a:lnTo>
                <a:lnTo>
                  <a:pt x="31" y="13"/>
                </a:lnTo>
                <a:lnTo>
                  <a:pt x="32" y="14"/>
                </a:lnTo>
                <a:lnTo>
                  <a:pt x="36" y="17"/>
                </a:lnTo>
                <a:lnTo>
                  <a:pt x="37" y="20"/>
                </a:lnTo>
                <a:lnTo>
                  <a:pt x="40" y="22"/>
                </a:lnTo>
                <a:lnTo>
                  <a:pt x="43" y="25"/>
                </a:lnTo>
                <a:lnTo>
                  <a:pt x="43" y="28"/>
                </a:lnTo>
                <a:lnTo>
                  <a:pt x="39" y="33"/>
                </a:lnTo>
                <a:lnTo>
                  <a:pt x="39" y="35"/>
                </a:lnTo>
                <a:lnTo>
                  <a:pt x="35" y="41"/>
                </a:lnTo>
                <a:lnTo>
                  <a:pt x="32" y="46"/>
                </a:lnTo>
                <a:lnTo>
                  <a:pt x="31" y="47"/>
                </a:lnTo>
                <a:lnTo>
                  <a:pt x="29" y="55"/>
                </a:lnTo>
                <a:lnTo>
                  <a:pt x="21" y="63"/>
                </a:lnTo>
                <a:lnTo>
                  <a:pt x="19" y="64"/>
                </a:lnTo>
                <a:lnTo>
                  <a:pt x="16" y="64"/>
                </a:lnTo>
                <a:lnTo>
                  <a:pt x="15" y="63"/>
                </a:lnTo>
                <a:lnTo>
                  <a:pt x="13" y="63"/>
                </a:lnTo>
                <a:lnTo>
                  <a:pt x="12" y="63"/>
                </a:lnTo>
                <a:lnTo>
                  <a:pt x="8" y="66"/>
                </a:lnTo>
                <a:lnTo>
                  <a:pt x="5" y="66"/>
                </a:lnTo>
                <a:lnTo>
                  <a:pt x="3" y="63"/>
                </a:lnTo>
                <a:lnTo>
                  <a:pt x="0" y="6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57" name="Freeform 1082"/>
          <p:cNvSpPr>
            <a:spLocks/>
          </p:cNvSpPr>
          <p:nvPr/>
        </p:nvSpPr>
        <p:spPr bwMode="auto">
          <a:xfrm>
            <a:off x="4109527" y="4144532"/>
            <a:ext cx="81851" cy="131005"/>
          </a:xfrm>
          <a:custGeom>
            <a:avLst/>
            <a:gdLst/>
            <a:ahLst/>
            <a:cxnLst>
              <a:cxn ang="0">
                <a:pos x="0" y="60"/>
              </a:cxn>
              <a:cxn ang="0">
                <a:pos x="4" y="55"/>
              </a:cxn>
              <a:cxn ang="0">
                <a:pos x="4" y="49"/>
              </a:cxn>
              <a:cxn ang="0">
                <a:pos x="5" y="41"/>
              </a:cxn>
              <a:cxn ang="0">
                <a:pos x="7" y="36"/>
              </a:cxn>
              <a:cxn ang="0">
                <a:pos x="5" y="33"/>
              </a:cxn>
              <a:cxn ang="0">
                <a:pos x="4" y="33"/>
              </a:cxn>
              <a:cxn ang="0">
                <a:pos x="3" y="28"/>
              </a:cxn>
              <a:cxn ang="0">
                <a:pos x="1" y="25"/>
              </a:cxn>
              <a:cxn ang="0">
                <a:pos x="0" y="19"/>
              </a:cxn>
              <a:cxn ang="0">
                <a:pos x="0" y="11"/>
              </a:cxn>
              <a:cxn ang="0">
                <a:pos x="1" y="8"/>
              </a:cxn>
              <a:cxn ang="0">
                <a:pos x="4" y="6"/>
              </a:cxn>
              <a:cxn ang="0">
                <a:pos x="5" y="5"/>
              </a:cxn>
              <a:cxn ang="0">
                <a:pos x="5" y="3"/>
              </a:cxn>
              <a:cxn ang="0">
                <a:pos x="8" y="2"/>
              </a:cxn>
              <a:cxn ang="0">
                <a:pos x="9" y="0"/>
              </a:cxn>
              <a:cxn ang="0">
                <a:pos x="13" y="3"/>
              </a:cxn>
              <a:cxn ang="0">
                <a:pos x="16" y="5"/>
              </a:cxn>
              <a:cxn ang="0">
                <a:pos x="20" y="6"/>
              </a:cxn>
              <a:cxn ang="0">
                <a:pos x="23" y="8"/>
              </a:cxn>
              <a:cxn ang="0">
                <a:pos x="27" y="9"/>
              </a:cxn>
              <a:cxn ang="0">
                <a:pos x="31" y="13"/>
              </a:cxn>
              <a:cxn ang="0">
                <a:pos x="32" y="14"/>
              </a:cxn>
              <a:cxn ang="0">
                <a:pos x="36" y="17"/>
              </a:cxn>
              <a:cxn ang="0">
                <a:pos x="37" y="20"/>
              </a:cxn>
              <a:cxn ang="0">
                <a:pos x="40" y="22"/>
              </a:cxn>
              <a:cxn ang="0">
                <a:pos x="43" y="25"/>
              </a:cxn>
              <a:cxn ang="0">
                <a:pos x="43" y="28"/>
              </a:cxn>
              <a:cxn ang="0">
                <a:pos x="39" y="33"/>
              </a:cxn>
              <a:cxn ang="0">
                <a:pos x="39" y="35"/>
              </a:cxn>
              <a:cxn ang="0">
                <a:pos x="35" y="41"/>
              </a:cxn>
              <a:cxn ang="0">
                <a:pos x="32" y="46"/>
              </a:cxn>
              <a:cxn ang="0">
                <a:pos x="31" y="47"/>
              </a:cxn>
              <a:cxn ang="0">
                <a:pos x="29" y="55"/>
              </a:cxn>
              <a:cxn ang="0">
                <a:pos x="21" y="63"/>
              </a:cxn>
              <a:cxn ang="0">
                <a:pos x="19" y="64"/>
              </a:cxn>
              <a:cxn ang="0">
                <a:pos x="16" y="64"/>
              </a:cxn>
              <a:cxn ang="0">
                <a:pos x="15" y="63"/>
              </a:cxn>
              <a:cxn ang="0">
                <a:pos x="13" y="63"/>
              </a:cxn>
              <a:cxn ang="0">
                <a:pos x="12" y="63"/>
              </a:cxn>
              <a:cxn ang="0">
                <a:pos x="8" y="66"/>
              </a:cxn>
              <a:cxn ang="0">
                <a:pos x="5" y="66"/>
              </a:cxn>
              <a:cxn ang="0">
                <a:pos x="3" y="63"/>
              </a:cxn>
              <a:cxn ang="0">
                <a:pos x="0" y="60"/>
              </a:cxn>
            </a:cxnLst>
            <a:rect l="0" t="0" r="r" b="b"/>
            <a:pathLst>
              <a:path w="43" h="66">
                <a:moveTo>
                  <a:pt x="0" y="60"/>
                </a:moveTo>
                <a:lnTo>
                  <a:pt x="4" y="55"/>
                </a:lnTo>
                <a:lnTo>
                  <a:pt x="4" y="49"/>
                </a:lnTo>
                <a:lnTo>
                  <a:pt x="5" y="41"/>
                </a:lnTo>
                <a:lnTo>
                  <a:pt x="7" y="36"/>
                </a:lnTo>
                <a:lnTo>
                  <a:pt x="5" y="33"/>
                </a:lnTo>
                <a:lnTo>
                  <a:pt x="4" y="33"/>
                </a:lnTo>
                <a:lnTo>
                  <a:pt x="3" y="28"/>
                </a:lnTo>
                <a:lnTo>
                  <a:pt x="1" y="25"/>
                </a:lnTo>
                <a:lnTo>
                  <a:pt x="0" y="19"/>
                </a:lnTo>
                <a:lnTo>
                  <a:pt x="0" y="11"/>
                </a:lnTo>
                <a:lnTo>
                  <a:pt x="1" y="8"/>
                </a:lnTo>
                <a:lnTo>
                  <a:pt x="4" y="6"/>
                </a:lnTo>
                <a:lnTo>
                  <a:pt x="5" y="5"/>
                </a:lnTo>
                <a:lnTo>
                  <a:pt x="5" y="3"/>
                </a:lnTo>
                <a:lnTo>
                  <a:pt x="8" y="2"/>
                </a:lnTo>
                <a:lnTo>
                  <a:pt x="9" y="0"/>
                </a:lnTo>
                <a:lnTo>
                  <a:pt x="13" y="3"/>
                </a:lnTo>
                <a:lnTo>
                  <a:pt x="16" y="5"/>
                </a:lnTo>
                <a:lnTo>
                  <a:pt x="20" y="6"/>
                </a:lnTo>
                <a:lnTo>
                  <a:pt x="23" y="8"/>
                </a:lnTo>
                <a:lnTo>
                  <a:pt x="27" y="9"/>
                </a:lnTo>
                <a:lnTo>
                  <a:pt x="31" y="13"/>
                </a:lnTo>
                <a:lnTo>
                  <a:pt x="32" y="14"/>
                </a:lnTo>
                <a:lnTo>
                  <a:pt x="36" y="17"/>
                </a:lnTo>
                <a:lnTo>
                  <a:pt x="37" y="20"/>
                </a:lnTo>
                <a:lnTo>
                  <a:pt x="40" y="22"/>
                </a:lnTo>
                <a:lnTo>
                  <a:pt x="43" y="25"/>
                </a:lnTo>
                <a:lnTo>
                  <a:pt x="43" y="28"/>
                </a:lnTo>
                <a:lnTo>
                  <a:pt x="39" y="33"/>
                </a:lnTo>
                <a:lnTo>
                  <a:pt x="39" y="35"/>
                </a:lnTo>
                <a:lnTo>
                  <a:pt x="35" y="41"/>
                </a:lnTo>
                <a:lnTo>
                  <a:pt x="32" y="46"/>
                </a:lnTo>
                <a:lnTo>
                  <a:pt x="31" y="47"/>
                </a:lnTo>
                <a:lnTo>
                  <a:pt x="29" y="55"/>
                </a:lnTo>
                <a:lnTo>
                  <a:pt x="21" y="63"/>
                </a:lnTo>
                <a:lnTo>
                  <a:pt x="19" y="64"/>
                </a:lnTo>
                <a:lnTo>
                  <a:pt x="16" y="64"/>
                </a:lnTo>
                <a:lnTo>
                  <a:pt x="15" y="63"/>
                </a:lnTo>
                <a:lnTo>
                  <a:pt x="13" y="63"/>
                </a:lnTo>
                <a:lnTo>
                  <a:pt x="12" y="63"/>
                </a:lnTo>
                <a:lnTo>
                  <a:pt x="8" y="66"/>
                </a:lnTo>
                <a:lnTo>
                  <a:pt x="5" y="66"/>
                </a:lnTo>
                <a:lnTo>
                  <a:pt x="3" y="63"/>
                </a:lnTo>
                <a:lnTo>
                  <a:pt x="0" y="6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58" name="Freeform 1083"/>
          <p:cNvSpPr>
            <a:spLocks/>
          </p:cNvSpPr>
          <p:nvPr/>
        </p:nvSpPr>
        <p:spPr bwMode="auto">
          <a:xfrm>
            <a:off x="6424719" y="2862411"/>
            <a:ext cx="85747" cy="68724"/>
          </a:xfrm>
          <a:custGeom>
            <a:avLst/>
            <a:gdLst/>
            <a:ahLst/>
            <a:cxnLst>
              <a:cxn ang="0">
                <a:pos x="29" y="2"/>
              </a:cxn>
              <a:cxn ang="0">
                <a:pos x="27" y="2"/>
              </a:cxn>
              <a:cxn ang="0">
                <a:pos x="21" y="2"/>
              </a:cxn>
              <a:cxn ang="0">
                <a:pos x="16" y="0"/>
              </a:cxn>
              <a:cxn ang="0">
                <a:pos x="11" y="2"/>
              </a:cxn>
              <a:cxn ang="0">
                <a:pos x="7" y="2"/>
              </a:cxn>
              <a:cxn ang="0">
                <a:pos x="4" y="5"/>
              </a:cxn>
              <a:cxn ang="0">
                <a:pos x="5" y="5"/>
              </a:cxn>
              <a:cxn ang="0">
                <a:pos x="7" y="8"/>
              </a:cxn>
              <a:cxn ang="0">
                <a:pos x="7" y="10"/>
              </a:cxn>
              <a:cxn ang="0">
                <a:pos x="4" y="13"/>
              </a:cxn>
              <a:cxn ang="0">
                <a:pos x="4" y="16"/>
              </a:cxn>
              <a:cxn ang="0">
                <a:pos x="3" y="19"/>
              </a:cxn>
              <a:cxn ang="0">
                <a:pos x="0" y="24"/>
              </a:cxn>
              <a:cxn ang="0">
                <a:pos x="3" y="25"/>
              </a:cxn>
              <a:cxn ang="0">
                <a:pos x="11" y="24"/>
              </a:cxn>
              <a:cxn ang="0">
                <a:pos x="9" y="27"/>
              </a:cxn>
              <a:cxn ang="0">
                <a:pos x="5" y="27"/>
              </a:cxn>
              <a:cxn ang="0">
                <a:pos x="3" y="28"/>
              </a:cxn>
              <a:cxn ang="0">
                <a:pos x="1" y="32"/>
              </a:cxn>
              <a:cxn ang="0">
                <a:pos x="1" y="35"/>
              </a:cxn>
              <a:cxn ang="0">
                <a:pos x="4" y="33"/>
              </a:cxn>
              <a:cxn ang="0">
                <a:pos x="5" y="32"/>
              </a:cxn>
              <a:cxn ang="0">
                <a:pos x="8" y="28"/>
              </a:cxn>
              <a:cxn ang="0">
                <a:pos x="16" y="25"/>
              </a:cxn>
              <a:cxn ang="0">
                <a:pos x="20" y="21"/>
              </a:cxn>
              <a:cxn ang="0">
                <a:pos x="23" y="19"/>
              </a:cxn>
              <a:cxn ang="0">
                <a:pos x="27" y="19"/>
              </a:cxn>
              <a:cxn ang="0">
                <a:pos x="29" y="17"/>
              </a:cxn>
              <a:cxn ang="0">
                <a:pos x="33" y="17"/>
              </a:cxn>
              <a:cxn ang="0">
                <a:pos x="37" y="17"/>
              </a:cxn>
              <a:cxn ang="0">
                <a:pos x="40" y="19"/>
              </a:cxn>
              <a:cxn ang="0">
                <a:pos x="44" y="17"/>
              </a:cxn>
              <a:cxn ang="0">
                <a:pos x="45" y="16"/>
              </a:cxn>
              <a:cxn ang="0">
                <a:pos x="45" y="13"/>
              </a:cxn>
              <a:cxn ang="0">
                <a:pos x="43" y="13"/>
              </a:cxn>
              <a:cxn ang="0">
                <a:pos x="37" y="11"/>
              </a:cxn>
              <a:cxn ang="0">
                <a:pos x="33" y="10"/>
              </a:cxn>
              <a:cxn ang="0">
                <a:pos x="32" y="8"/>
              </a:cxn>
              <a:cxn ang="0">
                <a:pos x="29" y="6"/>
              </a:cxn>
              <a:cxn ang="0">
                <a:pos x="29" y="3"/>
              </a:cxn>
              <a:cxn ang="0">
                <a:pos x="29" y="2"/>
              </a:cxn>
            </a:cxnLst>
            <a:rect l="0" t="0" r="r" b="b"/>
            <a:pathLst>
              <a:path w="45" h="35">
                <a:moveTo>
                  <a:pt x="29" y="2"/>
                </a:moveTo>
                <a:lnTo>
                  <a:pt x="27" y="2"/>
                </a:lnTo>
                <a:lnTo>
                  <a:pt x="21" y="2"/>
                </a:lnTo>
                <a:lnTo>
                  <a:pt x="16" y="0"/>
                </a:lnTo>
                <a:lnTo>
                  <a:pt x="11" y="2"/>
                </a:lnTo>
                <a:lnTo>
                  <a:pt x="7" y="2"/>
                </a:lnTo>
                <a:lnTo>
                  <a:pt x="4" y="5"/>
                </a:lnTo>
                <a:lnTo>
                  <a:pt x="5" y="5"/>
                </a:lnTo>
                <a:lnTo>
                  <a:pt x="7" y="8"/>
                </a:lnTo>
                <a:lnTo>
                  <a:pt x="7" y="10"/>
                </a:lnTo>
                <a:lnTo>
                  <a:pt x="4" y="13"/>
                </a:lnTo>
                <a:lnTo>
                  <a:pt x="4" y="16"/>
                </a:lnTo>
                <a:lnTo>
                  <a:pt x="3" y="19"/>
                </a:lnTo>
                <a:lnTo>
                  <a:pt x="0" y="24"/>
                </a:lnTo>
                <a:lnTo>
                  <a:pt x="3" y="25"/>
                </a:lnTo>
                <a:lnTo>
                  <a:pt x="11" y="24"/>
                </a:lnTo>
                <a:lnTo>
                  <a:pt x="9" y="27"/>
                </a:lnTo>
                <a:lnTo>
                  <a:pt x="5" y="27"/>
                </a:lnTo>
                <a:lnTo>
                  <a:pt x="3" y="28"/>
                </a:lnTo>
                <a:lnTo>
                  <a:pt x="1" y="32"/>
                </a:lnTo>
                <a:lnTo>
                  <a:pt x="1" y="35"/>
                </a:lnTo>
                <a:lnTo>
                  <a:pt x="4" y="33"/>
                </a:lnTo>
                <a:lnTo>
                  <a:pt x="5" y="32"/>
                </a:lnTo>
                <a:lnTo>
                  <a:pt x="8" y="28"/>
                </a:lnTo>
                <a:lnTo>
                  <a:pt x="16" y="25"/>
                </a:lnTo>
                <a:lnTo>
                  <a:pt x="20" y="21"/>
                </a:lnTo>
                <a:lnTo>
                  <a:pt x="23" y="19"/>
                </a:lnTo>
                <a:lnTo>
                  <a:pt x="27" y="19"/>
                </a:lnTo>
                <a:lnTo>
                  <a:pt x="29" y="17"/>
                </a:lnTo>
                <a:lnTo>
                  <a:pt x="33" y="17"/>
                </a:lnTo>
                <a:lnTo>
                  <a:pt x="37" y="17"/>
                </a:lnTo>
                <a:lnTo>
                  <a:pt x="40" y="19"/>
                </a:lnTo>
                <a:lnTo>
                  <a:pt x="44" y="17"/>
                </a:lnTo>
                <a:lnTo>
                  <a:pt x="45" y="16"/>
                </a:lnTo>
                <a:lnTo>
                  <a:pt x="45" y="13"/>
                </a:lnTo>
                <a:lnTo>
                  <a:pt x="43" y="13"/>
                </a:lnTo>
                <a:lnTo>
                  <a:pt x="37" y="11"/>
                </a:lnTo>
                <a:lnTo>
                  <a:pt x="33" y="10"/>
                </a:lnTo>
                <a:lnTo>
                  <a:pt x="32" y="8"/>
                </a:lnTo>
                <a:lnTo>
                  <a:pt x="29" y="6"/>
                </a:lnTo>
                <a:lnTo>
                  <a:pt x="29" y="3"/>
                </a:lnTo>
                <a:lnTo>
                  <a:pt x="29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59" name="Freeform 1084"/>
          <p:cNvSpPr>
            <a:spLocks/>
          </p:cNvSpPr>
          <p:nvPr/>
        </p:nvSpPr>
        <p:spPr bwMode="auto">
          <a:xfrm>
            <a:off x="6424719" y="2862411"/>
            <a:ext cx="85747" cy="68724"/>
          </a:xfrm>
          <a:custGeom>
            <a:avLst/>
            <a:gdLst/>
            <a:ahLst/>
            <a:cxnLst>
              <a:cxn ang="0">
                <a:pos x="29" y="2"/>
              </a:cxn>
              <a:cxn ang="0">
                <a:pos x="27" y="2"/>
              </a:cxn>
              <a:cxn ang="0">
                <a:pos x="21" y="2"/>
              </a:cxn>
              <a:cxn ang="0">
                <a:pos x="16" y="0"/>
              </a:cxn>
              <a:cxn ang="0">
                <a:pos x="11" y="2"/>
              </a:cxn>
              <a:cxn ang="0">
                <a:pos x="7" y="2"/>
              </a:cxn>
              <a:cxn ang="0">
                <a:pos x="4" y="5"/>
              </a:cxn>
              <a:cxn ang="0">
                <a:pos x="5" y="5"/>
              </a:cxn>
              <a:cxn ang="0">
                <a:pos x="7" y="8"/>
              </a:cxn>
              <a:cxn ang="0">
                <a:pos x="7" y="10"/>
              </a:cxn>
              <a:cxn ang="0">
                <a:pos x="4" y="13"/>
              </a:cxn>
              <a:cxn ang="0">
                <a:pos x="4" y="16"/>
              </a:cxn>
              <a:cxn ang="0">
                <a:pos x="3" y="19"/>
              </a:cxn>
              <a:cxn ang="0">
                <a:pos x="0" y="24"/>
              </a:cxn>
              <a:cxn ang="0">
                <a:pos x="3" y="25"/>
              </a:cxn>
              <a:cxn ang="0">
                <a:pos x="11" y="24"/>
              </a:cxn>
              <a:cxn ang="0">
                <a:pos x="9" y="27"/>
              </a:cxn>
              <a:cxn ang="0">
                <a:pos x="5" y="27"/>
              </a:cxn>
              <a:cxn ang="0">
                <a:pos x="3" y="28"/>
              </a:cxn>
              <a:cxn ang="0">
                <a:pos x="1" y="32"/>
              </a:cxn>
              <a:cxn ang="0">
                <a:pos x="1" y="35"/>
              </a:cxn>
              <a:cxn ang="0">
                <a:pos x="4" y="33"/>
              </a:cxn>
              <a:cxn ang="0">
                <a:pos x="5" y="32"/>
              </a:cxn>
              <a:cxn ang="0">
                <a:pos x="8" y="28"/>
              </a:cxn>
              <a:cxn ang="0">
                <a:pos x="16" y="25"/>
              </a:cxn>
              <a:cxn ang="0">
                <a:pos x="20" y="21"/>
              </a:cxn>
              <a:cxn ang="0">
                <a:pos x="23" y="19"/>
              </a:cxn>
              <a:cxn ang="0">
                <a:pos x="27" y="19"/>
              </a:cxn>
              <a:cxn ang="0">
                <a:pos x="29" y="17"/>
              </a:cxn>
              <a:cxn ang="0">
                <a:pos x="33" y="17"/>
              </a:cxn>
              <a:cxn ang="0">
                <a:pos x="37" y="17"/>
              </a:cxn>
              <a:cxn ang="0">
                <a:pos x="40" y="19"/>
              </a:cxn>
              <a:cxn ang="0">
                <a:pos x="44" y="17"/>
              </a:cxn>
              <a:cxn ang="0">
                <a:pos x="45" y="16"/>
              </a:cxn>
              <a:cxn ang="0">
                <a:pos x="45" y="13"/>
              </a:cxn>
              <a:cxn ang="0">
                <a:pos x="43" y="13"/>
              </a:cxn>
              <a:cxn ang="0">
                <a:pos x="37" y="11"/>
              </a:cxn>
              <a:cxn ang="0">
                <a:pos x="33" y="10"/>
              </a:cxn>
              <a:cxn ang="0">
                <a:pos x="32" y="8"/>
              </a:cxn>
              <a:cxn ang="0">
                <a:pos x="29" y="6"/>
              </a:cxn>
              <a:cxn ang="0">
                <a:pos x="29" y="3"/>
              </a:cxn>
              <a:cxn ang="0">
                <a:pos x="29" y="2"/>
              </a:cxn>
            </a:cxnLst>
            <a:rect l="0" t="0" r="r" b="b"/>
            <a:pathLst>
              <a:path w="45" h="35">
                <a:moveTo>
                  <a:pt x="29" y="2"/>
                </a:moveTo>
                <a:lnTo>
                  <a:pt x="27" y="2"/>
                </a:lnTo>
                <a:lnTo>
                  <a:pt x="21" y="2"/>
                </a:lnTo>
                <a:lnTo>
                  <a:pt x="16" y="0"/>
                </a:lnTo>
                <a:lnTo>
                  <a:pt x="11" y="2"/>
                </a:lnTo>
                <a:lnTo>
                  <a:pt x="7" y="2"/>
                </a:lnTo>
                <a:lnTo>
                  <a:pt x="4" y="5"/>
                </a:lnTo>
                <a:lnTo>
                  <a:pt x="5" y="5"/>
                </a:lnTo>
                <a:lnTo>
                  <a:pt x="7" y="8"/>
                </a:lnTo>
                <a:lnTo>
                  <a:pt x="7" y="10"/>
                </a:lnTo>
                <a:lnTo>
                  <a:pt x="4" y="13"/>
                </a:lnTo>
                <a:lnTo>
                  <a:pt x="4" y="16"/>
                </a:lnTo>
                <a:lnTo>
                  <a:pt x="3" y="19"/>
                </a:lnTo>
                <a:lnTo>
                  <a:pt x="0" y="24"/>
                </a:lnTo>
                <a:lnTo>
                  <a:pt x="3" y="25"/>
                </a:lnTo>
                <a:lnTo>
                  <a:pt x="11" y="24"/>
                </a:lnTo>
                <a:lnTo>
                  <a:pt x="9" y="27"/>
                </a:lnTo>
                <a:lnTo>
                  <a:pt x="5" y="27"/>
                </a:lnTo>
                <a:lnTo>
                  <a:pt x="3" y="28"/>
                </a:lnTo>
                <a:lnTo>
                  <a:pt x="1" y="32"/>
                </a:lnTo>
                <a:lnTo>
                  <a:pt x="1" y="35"/>
                </a:lnTo>
                <a:lnTo>
                  <a:pt x="4" y="33"/>
                </a:lnTo>
                <a:lnTo>
                  <a:pt x="5" y="32"/>
                </a:lnTo>
                <a:lnTo>
                  <a:pt x="8" y="28"/>
                </a:lnTo>
                <a:lnTo>
                  <a:pt x="16" y="25"/>
                </a:lnTo>
                <a:lnTo>
                  <a:pt x="20" y="21"/>
                </a:lnTo>
                <a:lnTo>
                  <a:pt x="23" y="19"/>
                </a:lnTo>
                <a:lnTo>
                  <a:pt x="27" y="19"/>
                </a:lnTo>
                <a:lnTo>
                  <a:pt x="29" y="17"/>
                </a:lnTo>
                <a:lnTo>
                  <a:pt x="33" y="17"/>
                </a:lnTo>
                <a:lnTo>
                  <a:pt x="37" y="17"/>
                </a:lnTo>
                <a:lnTo>
                  <a:pt x="40" y="19"/>
                </a:lnTo>
                <a:lnTo>
                  <a:pt x="44" y="17"/>
                </a:lnTo>
                <a:lnTo>
                  <a:pt x="45" y="16"/>
                </a:lnTo>
                <a:lnTo>
                  <a:pt x="45" y="13"/>
                </a:lnTo>
                <a:lnTo>
                  <a:pt x="43" y="13"/>
                </a:lnTo>
                <a:lnTo>
                  <a:pt x="37" y="11"/>
                </a:lnTo>
                <a:lnTo>
                  <a:pt x="33" y="10"/>
                </a:lnTo>
                <a:lnTo>
                  <a:pt x="32" y="8"/>
                </a:lnTo>
                <a:lnTo>
                  <a:pt x="29" y="6"/>
                </a:lnTo>
                <a:lnTo>
                  <a:pt x="29" y="3"/>
                </a:lnTo>
                <a:lnTo>
                  <a:pt x="29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60" name="Freeform 1085"/>
          <p:cNvSpPr>
            <a:spLocks/>
          </p:cNvSpPr>
          <p:nvPr/>
        </p:nvSpPr>
        <p:spPr bwMode="auto">
          <a:xfrm>
            <a:off x="8326762" y="3347771"/>
            <a:ext cx="257243" cy="637839"/>
          </a:xfrm>
          <a:custGeom>
            <a:avLst/>
            <a:gdLst/>
            <a:ahLst/>
            <a:cxnLst>
              <a:cxn ang="0">
                <a:pos x="34" y="196"/>
              </a:cxn>
              <a:cxn ang="0">
                <a:pos x="32" y="176"/>
              </a:cxn>
              <a:cxn ang="0">
                <a:pos x="24" y="167"/>
              </a:cxn>
              <a:cxn ang="0">
                <a:pos x="24" y="159"/>
              </a:cxn>
              <a:cxn ang="0">
                <a:pos x="21" y="152"/>
              </a:cxn>
              <a:cxn ang="0">
                <a:pos x="7" y="140"/>
              </a:cxn>
              <a:cxn ang="0">
                <a:pos x="0" y="132"/>
              </a:cxn>
              <a:cxn ang="0">
                <a:pos x="5" y="123"/>
              </a:cxn>
              <a:cxn ang="0">
                <a:pos x="8" y="110"/>
              </a:cxn>
              <a:cxn ang="0">
                <a:pos x="13" y="107"/>
              </a:cxn>
              <a:cxn ang="0">
                <a:pos x="12" y="96"/>
              </a:cxn>
              <a:cxn ang="0">
                <a:pos x="16" y="80"/>
              </a:cxn>
              <a:cxn ang="0">
                <a:pos x="28" y="79"/>
              </a:cxn>
              <a:cxn ang="0">
                <a:pos x="37" y="57"/>
              </a:cxn>
              <a:cxn ang="0">
                <a:pos x="44" y="44"/>
              </a:cxn>
              <a:cxn ang="0">
                <a:pos x="53" y="27"/>
              </a:cxn>
              <a:cxn ang="0">
                <a:pos x="66" y="17"/>
              </a:cxn>
              <a:cxn ang="0">
                <a:pos x="73" y="9"/>
              </a:cxn>
              <a:cxn ang="0">
                <a:pos x="80" y="2"/>
              </a:cxn>
              <a:cxn ang="0">
                <a:pos x="89" y="5"/>
              </a:cxn>
              <a:cxn ang="0">
                <a:pos x="97" y="22"/>
              </a:cxn>
              <a:cxn ang="0">
                <a:pos x="94" y="47"/>
              </a:cxn>
              <a:cxn ang="0">
                <a:pos x="85" y="58"/>
              </a:cxn>
              <a:cxn ang="0">
                <a:pos x="84" y="74"/>
              </a:cxn>
              <a:cxn ang="0">
                <a:pos x="89" y="75"/>
              </a:cxn>
              <a:cxn ang="0">
                <a:pos x="101" y="82"/>
              </a:cxn>
              <a:cxn ang="0">
                <a:pos x="108" y="102"/>
              </a:cxn>
              <a:cxn ang="0">
                <a:pos x="116" y="113"/>
              </a:cxn>
              <a:cxn ang="0">
                <a:pos x="134" y="115"/>
              </a:cxn>
              <a:cxn ang="0">
                <a:pos x="125" y="127"/>
              </a:cxn>
              <a:cxn ang="0">
                <a:pos x="121" y="132"/>
              </a:cxn>
              <a:cxn ang="0">
                <a:pos x="116" y="141"/>
              </a:cxn>
              <a:cxn ang="0">
                <a:pos x="102" y="149"/>
              </a:cxn>
              <a:cxn ang="0">
                <a:pos x="88" y="154"/>
              </a:cxn>
              <a:cxn ang="0">
                <a:pos x="81" y="176"/>
              </a:cxn>
              <a:cxn ang="0">
                <a:pos x="92" y="195"/>
              </a:cxn>
              <a:cxn ang="0">
                <a:pos x="96" y="212"/>
              </a:cxn>
              <a:cxn ang="0">
                <a:pos x="96" y="221"/>
              </a:cxn>
              <a:cxn ang="0">
                <a:pos x="92" y="232"/>
              </a:cxn>
              <a:cxn ang="0">
                <a:pos x="97" y="248"/>
              </a:cxn>
              <a:cxn ang="0">
                <a:pos x="104" y="270"/>
              </a:cxn>
              <a:cxn ang="0">
                <a:pos x="112" y="291"/>
              </a:cxn>
              <a:cxn ang="0">
                <a:pos x="101" y="309"/>
              </a:cxn>
              <a:cxn ang="0">
                <a:pos x="97" y="322"/>
              </a:cxn>
              <a:cxn ang="0">
                <a:pos x="98" y="303"/>
              </a:cxn>
              <a:cxn ang="0">
                <a:pos x="94" y="291"/>
              </a:cxn>
              <a:cxn ang="0">
                <a:pos x="97" y="281"/>
              </a:cxn>
              <a:cxn ang="0">
                <a:pos x="90" y="259"/>
              </a:cxn>
              <a:cxn ang="0">
                <a:pos x="85" y="243"/>
              </a:cxn>
              <a:cxn ang="0">
                <a:pos x="82" y="209"/>
              </a:cxn>
              <a:cxn ang="0">
                <a:pos x="74" y="204"/>
              </a:cxn>
              <a:cxn ang="0">
                <a:pos x="68" y="193"/>
              </a:cxn>
              <a:cxn ang="0">
                <a:pos x="58" y="210"/>
              </a:cxn>
              <a:cxn ang="0">
                <a:pos x="46" y="223"/>
              </a:cxn>
              <a:cxn ang="0">
                <a:pos x="40" y="223"/>
              </a:cxn>
              <a:cxn ang="0">
                <a:pos x="34" y="215"/>
              </a:cxn>
            </a:cxnLst>
            <a:rect l="0" t="0" r="r" b="b"/>
            <a:pathLst>
              <a:path w="134" h="322">
                <a:moveTo>
                  <a:pt x="30" y="212"/>
                </a:moveTo>
                <a:lnTo>
                  <a:pt x="32" y="207"/>
                </a:lnTo>
                <a:lnTo>
                  <a:pt x="33" y="203"/>
                </a:lnTo>
                <a:lnTo>
                  <a:pt x="34" y="196"/>
                </a:lnTo>
                <a:lnTo>
                  <a:pt x="34" y="190"/>
                </a:lnTo>
                <a:lnTo>
                  <a:pt x="33" y="181"/>
                </a:lnTo>
                <a:lnTo>
                  <a:pt x="32" y="179"/>
                </a:lnTo>
                <a:lnTo>
                  <a:pt x="32" y="176"/>
                </a:lnTo>
                <a:lnTo>
                  <a:pt x="30" y="173"/>
                </a:lnTo>
                <a:lnTo>
                  <a:pt x="26" y="167"/>
                </a:lnTo>
                <a:lnTo>
                  <a:pt x="25" y="162"/>
                </a:lnTo>
                <a:lnTo>
                  <a:pt x="24" y="167"/>
                </a:lnTo>
                <a:lnTo>
                  <a:pt x="21" y="165"/>
                </a:lnTo>
                <a:lnTo>
                  <a:pt x="20" y="160"/>
                </a:lnTo>
                <a:lnTo>
                  <a:pt x="20" y="157"/>
                </a:lnTo>
                <a:lnTo>
                  <a:pt x="24" y="159"/>
                </a:lnTo>
                <a:lnTo>
                  <a:pt x="22" y="157"/>
                </a:lnTo>
                <a:lnTo>
                  <a:pt x="21" y="156"/>
                </a:lnTo>
                <a:lnTo>
                  <a:pt x="21" y="154"/>
                </a:lnTo>
                <a:lnTo>
                  <a:pt x="21" y="152"/>
                </a:lnTo>
                <a:lnTo>
                  <a:pt x="11" y="146"/>
                </a:lnTo>
                <a:lnTo>
                  <a:pt x="11" y="143"/>
                </a:lnTo>
                <a:lnTo>
                  <a:pt x="8" y="141"/>
                </a:lnTo>
                <a:lnTo>
                  <a:pt x="7" y="140"/>
                </a:lnTo>
                <a:lnTo>
                  <a:pt x="5" y="140"/>
                </a:lnTo>
                <a:lnTo>
                  <a:pt x="4" y="138"/>
                </a:lnTo>
                <a:lnTo>
                  <a:pt x="3" y="135"/>
                </a:lnTo>
                <a:lnTo>
                  <a:pt x="0" y="132"/>
                </a:lnTo>
                <a:lnTo>
                  <a:pt x="0" y="126"/>
                </a:lnTo>
                <a:lnTo>
                  <a:pt x="1" y="123"/>
                </a:lnTo>
                <a:lnTo>
                  <a:pt x="3" y="123"/>
                </a:lnTo>
                <a:lnTo>
                  <a:pt x="5" y="123"/>
                </a:lnTo>
                <a:lnTo>
                  <a:pt x="5" y="115"/>
                </a:lnTo>
                <a:lnTo>
                  <a:pt x="5" y="113"/>
                </a:lnTo>
                <a:lnTo>
                  <a:pt x="7" y="112"/>
                </a:lnTo>
                <a:lnTo>
                  <a:pt x="8" y="110"/>
                </a:lnTo>
                <a:lnTo>
                  <a:pt x="11" y="112"/>
                </a:lnTo>
                <a:lnTo>
                  <a:pt x="12" y="112"/>
                </a:lnTo>
                <a:lnTo>
                  <a:pt x="13" y="108"/>
                </a:lnTo>
                <a:lnTo>
                  <a:pt x="13" y="107"/>
                </a:lnTo>
                <a:lnTo>
                  <a:pt x="12" y="107"/>
                </a:lnTo>
                <a:lnTo>
                  <a:pt x="12" y="104"/>
                </a:lnTo>
                <a:lnTo>
                  <a:pt x="11" y="99"/>
                </a:lnTo>
                <a:lnTo>
                  <a:pt x="12" y="96"/>
                </a:lnTo>
                <a:lnTo>
                  <a:pt x="15" y="96"/>
                </a:lnTo>
                <a:lnTo>
                  <a:pt x="16" y="94"/>
                </a:lnTo>
                <a:lnTo>
                  <a:pt x="17" y="88"/>
                </a:lnTo>
                <a:lnTo>
                  <a:pt x="16" y="80"/>
                </a:lnTo>
                <a:lnTo>
                  <a:pt x="19" y="79"/>
                </a:lnTo>
                <a:lnTo>
                  <a:pt x="22" y="77"/>
                </a:lnTo>
                <a:lnTo>
                  <a:pt x="25" y="79"/>
                </a:lnTo>
                <a:lnTo>
                  <a:pt x="28" y="79"/>
                </a:lnTo>
                <a:lnTo>
                  <a:pt x="29" y="77"/>
                </a:lnTo>
                <a:lnTo>
                  <a:pt x="30" y="71"/>
                </a:lnTo>
                <a:lnTo>
                  <a:pt x="36" y="60"/>
                </a:lnTo>
                <a:lnTo>
                  <a:pt x="37" y="57"/>
                </a:lnTo>
                <a:lnTo>
                  <a:pt x="36" y="53"/>
                </a:lnTo>
                <a:lnTo>
                  <a:pt x="38" y="52"/>
                </a:lnTo>
                <a:lnTo>
                  <a:pt x="42" y="49"/>
                </a:lnTo>
                <a:lnTo>
                  <a:pt x="44" y="44"/>
                </a:lnTo>
                <a:lnTo>
                  <a:pt x="44" y="36"/>
                </a:lnTo>
                <a:lnTo>
                  <a:pt x="45" y="31"/>
                </a:lnTo>
                <a:lnTo>
                  <a:pt x="49" y="28"/>
                </a:lnTo>
                <a:lnTo>
                  <a:pt x="53" y="27"/>
                </a:lnTo>
                <a:lnTo>
                  <a:pt x="56" y="24"/>
                </a:lnTo>
                <a:lnTo>
                  <a:pt x="58" y="20"/>
                </a:lnTo>
                <a:lnTo>
                  <a:pt x="64" y="19"/>
                </a:lnTo>
                <a:lnTo>
                  <a:pt x="66" y="17"/>
                </a:lnTo>
                <a:lnTo>
                  <a:pt x="72" y="19"/>
                </a:lnTo>
                <a:lnTo>
                  <a:pt x="72" y="17"/>
                </a:lnTo>
                <a:lnTo>
                  <a:pt x="72" y="13"/>
                </a:lnTo>
                <a:lnTo>
                  <a:pt x="73" y="9"/>
                </a:lnTo>
                <a:lnTo>
                  <a:pt x="76" y="8"/>
                </a:lnTo>
                <a:lnTo>
                  <a:pt x="77" y="6"/>
                </a:lnTo>
                <a:lnTo>
                  <a:pt x="77" y="2"/>
                </a:lnTo>
                <a:lnTo>
                  <a:pt x="80" y="2"/>
                </a:lnTo>
                <a:lnTo>
                  <a:pt x="81" y="0"/>
                </a:lnTo>
                <a:lnTo>
                  <a:pt x="82" y="0"/>
                </a:lnTo>
                <a:lnTo>
                  <a:pt x="85" y="2"/>
                </a:lnTo>
                <a:lnTo>
                  <a:pt x="89" y="5"/>
                </a:lnTo>
                <a:lnTo>
                  <a:pt x="89" y="11"/>
                </a:lnTo>
                <a:lnTo>
                  <a:pt x="90" y="13"/>
                </a:lnTo>
                <a:lnTo>
                  <a:pt x="96" y="13"/>
                </a:lnTo>
                <a:lnTo>
                  <a:pt x="97" y="22"/>
                </a:lnTo>
                <a:lnTo>
                  <a:pt x="97" y="28"/>
                </a:lnTo>
                <a:lnTo>
                  <a:pt x="97" y="36"/>
                </a:lnTo>
                <a:lnTo>
                  <a:pt x="97" y="39"/>
                </a:lnTo>
                <a:lnTo>
                  <a:pt x="94" y="47"/>
                </a:lnTo>
                <a:lnTo>
                  <a:pt x="92" y="50"/>
                </a:lnTo>
                <a:lnTo>
                  <a:pt x="89" y="52"/>
                </a:lnTo>
                <a:lnTo>
                  <a:pt x="89" y="53"/>
                </a:lnTo>
                <a:lnTo>
                  <a:pt x="85" y="58"/>
                </a:lnTo>
                <a:lnTo>
                  <a:pt x="85" y="63"/>
                </a:lnTo>
                <a:lnTo>
                  <a:pt x="82" y="68"/>
                </a:lnTo>
                <a:lnTo>
                  <a:pt x="84" y="72"/>
                </a:lnTo>
                <a:lnTo>
                  <a:pt x="84" y="74"/>
                </a:lnTo>
                <a:lnTo>
                  <a:pt x="81" y="80"/>
                </a:lnTo>
                <a:lnTo>
                  <a:pt x="82" y="82"/>
                </a:lnTo>
                <a:lnTo>
                  <a:pt x="86" y="77"/>
                </a:lnTo>
                <a:lnTo>
                  <a:pt x="89" y="75"/>
                </a:lnTo>
                <a:lnTo>
                  <a:pt x="94" y="75"/>
                </a:lnTo>
                <a:lnTo>
                  <a:pt x="100" y="74"/>
                </a:lnTo>
                <a:lnTo>
                  <a:pt x="100" y="79"/>
                </a:lnTo>
                <a:lnTo>
                  <a:pt x="101" y="82"/>
                </a:lnTo>
                <a:lnTo>
                  <a:pt x="101" y="88"/>
                </a:lnTo>
                <a:lnTo>
                  <a:pt x="105" y="91"/>
                </a:lnTo>
                <a:lnTo>
                  <a:pt x="109" y="94"/>
                </a:lnTo>
                <a:lnTo>
                  <a:pt x="108" y="102"/>
                </a:lnTo>
                <a:lnTo>
                  <a:pt x="106" y="107"/>
                </a:lnTo>
                <a:lnTo>
                  <a:pt x="110" y="108"/>
                </a:lnTo>
                <a:lnTo>
                  <a:pt x="116" y="110"/>
                </a:lnTo>
                <a:lnTo>
                  <a:pt x="116" y="113"/>
                </a:lnTo>
                <a:lnTo>
                  <a:pt x="121" y="119"/>
                </a:lnTo>
                <a:lnTo>
                  <a:pt x="126" y="118"/>
                </a:lnTo>
                <a:lnTo>
                  <a:pt x="130" y="115"/>
                </a:lnTo>
                <a:lnTo>
                  <a:pt x="134" y="115"/>
                </a:lnTo>
                <a:lnTo>
                  <a:pt x="134" y="118"/>
                </a:lnTo>
                <a:lnTo>
                  <a:pt x="133" y="121"/>
                </a:lnTo>
                <a:lnTo>
                  <a:pt x="125" y="126"/>
                </a:lnTo>
                <a:lnTo>
                  <a:pt x="125" y="127"/>
                </a:lnTo>
                <a:lnTo>
                  <a:pt x="126" y="130"/>
                </a:lnTo>
                <a:lnTo>
                  <a:pt x="125" y="130"/>
                </a:lnTo>
                <a:lnTo>
                  <a:pt x="122" y="130"/>
                </a:lnTo>
                <a:lnTo>
                  <a:pt x="121" y="132"/>
                </a:lnTo>
                <a:lnTo>
                  <a:pt x="121" y="134"/>
                </a:lnTo>
                <a:lnTo>
                  <a:pt x="118" y="135"/>
                </a:lnTo>
                <a:lnTo>
                  <a:pt x="117" y="137"/>
                </a:lnTo>
                <a:lnTo>
                  <a:pt x="116" y="141"/>
                </a:lnTo>
                <a:lnTo>
                  <a:pt x="112" y="143"/>
                </a:lnTo>
                <a:lnTo>
                  <a:pt x="109" y="145"/>
                </a:lnTo>
                <a:lnTo>
                  <a:pt x="105" y="148"/>
                </a:lnTo>
                <a:lnTo>
                  <a:pt x="102" y="149"/>
                </a:lnTo>
                <a:lnTo>
                  <a:pt x="100" y="152"/>
                </a:lnTo>
                <a:lnTo>
                  <a:pt x="96" y="154"/>
                </a:lnTo>
                <a:lnTo>
                  <a:pt x="92" y="154"/>
                </a:lnTo>
                <a:lnTo>
                  <a:pt x="88" y="154"/>
                </a:lnTo>
                <a:lnTo>
                  <a:pt x="84" y="167"/>
                </a:lnTo>
                <a:lnTo>
                  <a:pt x="84" y="170"/>
                </a:lnTo>
                <a:lnTo>
                  <a:pt x="84" y="173"/>
                </a:lnTo>
                <a:lnTo>
                  <a:pt x="81" y="176"/>
                </a:lnTo>
                <a:lnTo>
                  <a:pt x="81" y="178"/>
                </a:lnTo>
                <a:lnTo>
                  <a:pt x="82" y="182"/>
                </a:lnTo>
                <a:lnTo>
                  <a:pt x="86" y="190"/>
                </a:lnTo>
                <a:lnTo>
                  <a:pt x="92" y="195"/>
                </a:lnTo>
                <a:lnTo>
                  <a:pt x="94" y="198"/>
                </a:lnTo>
                <a:lnTo>
                  <a:pt x="96" y="204"/>
                </a:lnTo>
                <a:lnTo>
                  <a:pt x="94" y="209"/>
                </a:lnTo>
                <a:lnTo>
                  <a:pt x="96" y="212"/>
                </a:lnTo>
                <a:lnTo>
                  <a:pt x="98" y="212"/>
                </a:lnTo>
                <a:lnTo>
                  <a:pt x="100" y="215"/>
                </a:lnTo>
                <a:lnTo>
                  <a:pt x="97" y="217"/>
                </a:lnTo>
                <a:lnTo>
                  <a:pt x="96" y="221"/>
                </a:lnTo>
                <a:lnTo>
                  <a:pt x="96" y="225"/>
                </a:lnTo>
                <a:lnTo>
                  <a:pt x="94" y="228"/>
                </a:lnTo>
                <a:lnTo>
                  <a:pt x="94" y="229"/>
                </a:lnTo>
                <a:lnTo>
                  <a:pt x="92" y="232"/>
                </a:lnTo>
                <a:lnTo>
                  <a:pt x="90" y="234"/>
                </a:lnTo>
                <a:lnTo>
                  <a:pt x="90" y="239"/>
                </a:lnTo>
                <a:lnTo>
                  <a:pt x="92" y="243"/>
                </a:lnTo>
                <a:lnTo>
                  <a:pt x="97" y="248"/>
                </a:lnTo>
                <a:lnTo>
                  <a:pt x="102" y="254"/>
                </a:lnTo>
                <a:lnTo>
                  <a:pt x="102" y="256"/>
                </a:lnTo>
                <a:lnTo>
                  <a:pt x="104" y="259"/>
                </a:lnTo>
                <a:lnTo>
                  <a:pt x="104" y="270"/>
                </a:lnTo>
                <a:lnTo>
                  <a:pt x="105" y="275"/>
                </a:lnTo>
                <a:lnTo>
                  <a:pt x="106" y="275"/>
                </a:lnTo>
                <a:lnTo>
                  <a:pt x="108" y="281"/>
                </a:lnTo>
                <a:lnTo>
                  <a:pt x="112" y="291"/>
                </a:lnTo>
                <a:lnTo>
                  <a:pt x="112" y="294"/>
                </a:lnTo>
                <a:lnTo>
                  <a:pt x="106" y="303"/>
                </a:lnTo>
                <a:lnTo>
                  <a:pt x="104" y="306"/>
                </a:lnTo>
                <a:lnTo>
                  <a:pt x="101" y="309"/>
                </a:lnTo>
                <a:lnTo>
                  <a:pt x="101" y="314"/>
                </a:lnTo>
                <a:lnTo>
                  <a:pt x="100" y="319"/>
                </a:lnTo>
                <a:lnTo>
                  <a:pt x="98" y="320"/>
                </a:lnTo>
                <a:lnTo>
                  <a:pt x="97" y="322"/>
                </a:lnTo>
                <a:lnTo>
                  <a:pt x="94" y="319"/>
                </a:lnTo>
                <a:lnTo>
                  <a:pt x="94" y="316"/>
                </a:lnTo>
                <a:lnTo>
                  <a:pt x="96" y="311"/>
                </a:lnTo>
                <a:lnTo>
                  <a:pt x="98" y="303"/>
                </a:lnTo>
                <a:lnTo>
                  <a:pt x="98" y="300"/>
                </a:lnTo>
                <a:lnTo>
                  <a:pt x="100" y="294"/>
                </a:lnTo>
                <a:lnTo>
                  <a:pt x="97" y="292"/>
                </a:lnTo>
                <a:lnTo>
                  <a:pt x="94" y="291"/>
                </a:lnTo>
                <a:lnTo>
                  <a:pt x="94" y="287"/>
                </a:lnTo>
                <a:lnTo>
                  <a:pt x="97" y="289"/>
                </a:lnTo>
                <a:lnTo>
                  <a:pt x="97" y="286"/>
                </a:lnTo>
                <a:lnTo>
                  <a:pt x="97" y="281"/>
                </a:lnTo>
                <a:lnTo>
                  <a:pt x="96" y="272"/>
                </a:lnTo>
                <a:lnTo>
                  <a:pt x="93" y="264"/>
                </a:lnTo>
                <a:lnTo>
                  <a:pt x="92" y="258"/>
                </a:lnTo>
                <a:lnTo>
                  <a:pt x="90" y="259"/>
                </a:lnTo>
                <a:lnTo>
                  <a:pt x="90" y="261"/>
                </a:lnTo>
                <a:lnTo>
                  <a:pt x="89" y="256"/>
                </a:lnTo>
                <a:lnTo>
                  <a:pt x="88" y="248"/>
                </a:lnTo>
                <a:lnTo>
                  <a:pt x="85" y="243"/>
                </a:lnTo>
                <a:lnTo>
                  <a:pt x="84" y="237"/>
                </a:lnTo>
                <a:lnTo>
                  <a:pt x="82" y="229"/>
                </a:lnTo>
                <a:lnTo>
                  <a:pt x="82" y="217"/>
                </a:lnTo>
                <a:lnTo>
                  <a:pt x="82" y="209"/>
                </a:lnTo>
                <a:lnTo>
                  <a:pt x="81" y="209"/>
                </a:lnTo>
                <a:lnTo>
                  <a:pt x="80" y="209"/>
                </a:lnTo>
                <a:lnTo>
                  <a:pt x="77" y="206"/>
                </a:lnTo>
                <a:lnTo>
                  <a:pt x="74" y="204"/>
                </a:lnTo>
                <a:lnTo>
                  <a:pt x="72" y="201"/>
                </a:lnTo>
                <a:lnTo>
                  <a:pt x="70" y="203"/>
                </a:lnTo>
                <a:lnTo>
                  <a:pt x="69" y="196"/>
                </a:lnTo>
                <a:lnTo>
                  <a:pt x="68" y="193"/>
                </a:lnTo>
                <a:lnTo>
                  <a:pt x="68" y="198"/>
                </a:lnTo>
                <a:lnTo>
                  <a:pt x="66" y="206"/>
                </a:lnTo>
                <a:lnTo>
                  <a:pt x="62" y="209"/>
                </a:lnTo>
                <a:lnTo>
                  <a:pt x="58" y="210"/>
                </a:lnTo>
                <a:lnTo>
                  <a:pt x="56" y="214"/>
                </a:lnTo>
                <a:lnTo>
                  <a:pt x="52" y="215"/>
                </a:lnTo>
                <a:lnTo>
                  <a:pt x="49" y="218"/>
                </a:lnTo>
                <a:lnTo>
                  <a:pt x="46" y="223"/>
                </a:lnTo>
                <a:lnTo>
                  <a:pt x="45" y="221"/>
                </a:lnTo>
                <a:lnTo>
                  <a:pt x="44" y="221"/>
                </a:lnTo>
                <a:lnTo>
                  <a:pt x="42" y="220"/>
                </a:lnTo>
                <a:lnTo>
                  <a:pt x="40" y="223"/>
                </a:lnTo>
                <a:lnTo>
                  <a:pt x="37" y="221"/>
                </a:lnTo>
                <a:lnTo>
                  <a:pt x="34" y="220"/>
                </a:lnTo>
                <a:lnTo>
                  <a:pt x="33" y="218"/>
                </a:lnTo>
                <a:lnTo>
                  <a:pt x="34" y="215"/>
                </a:lnTo>
                <a:lnTo>
                  <a:pt x="32" y="218"/>
                </a:lnTo>
                <a:lnTo>
                  <a:pt x="30" y="217"/>
                </a:lnTo>
                <a:lnTo>
                  <a:pt x="30" y="21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61" name="Freeform 1088"/>
          <p:cNvSpPr>
            <a:spLocks/>
          </p:cNvSpPr>
          <p:nvPr/>
        </p:nvSpPr>
        <p:spPr bwMode="auto">
          <a:xfrm>
            <a:off x="8615187" y="3822391"/>
            <a:ext cx="153957" cy="152481"/>
          </a:xfrm>
          <a:custGeom>
            <a:avLst/>
            <a:gdLst/>
            <a:ahLst/>
            <a:cxnLst>
              <a:cxn ang="0">
                <a:pos x="31" y="76"/>
              </a:cxn>
              <a:cxn ang="0">
                <a:pos x="24" y="74"/>
              </a:cxn>
              <a:cxn ang="0">
                <a:pos x="20" y="74"/>
              </a:cxn>
              <a:cxn ang="0">
                <a:pos x="22" y="69"/>
              </a:cxn>
              <a:cxn ang="0">
                <a:pos x="19" y="65"/>
              </a:cxn>
              <a:cxn ang="0">
                <a:pos x="16" y="68"/>
              </a:cxn>
              <a:cxn ang="0">
                <a:pos x="11" y="62"/>
              </a:cxn>
              <a:cxn ang="0">
                <a:pos x="12" y="62"/>
              </a:cxn>
              <a:cxn ang="0">
                <a:pos x="10" y="57"/>
              </a:cxn>
              <a:cxn ang="0">
                <a:pos x="11" y="54"/>
              </a:cxn>
              <a:cxn ang="0">
                <a:pos x="8" y="46"/>
              </a:cxn>
              <a:cxn ang="0">
                <a:pos x="3" y="38"/>
              </a:cxn>
              <a:cxn ang="0">
                <a:pos x="0" y="29"/>
              </a:cxn>
              <a:cxn ang="0">
                <a:pos x="3" y="21"/>
              </a:cxn>
              <a:cxn ang="0">
                <a:pos x="6" y="16"/>
              </a:cxn>
              <a:cxn ang="0">
                <a:pos x="12" y="8"/>
              </a:cxn>
              <a:cxn ang="0">
                <a:pos x="22" y="7"/>
              </a:cxn>
              <a:cxn ang="0">
                <a:pos x="31" y="8"/>
              </a:cxn>
              <a:cxn ang="0">
                <a:pos x="42" y="10"/>
              </a:cxn>
              <a:cxn ang="0">
                <a:pos x="47" y="11"/>
              </a:cxn>
              <a:cxn ang="0">
                <a:pos x="55" y="14"/>
              </a:cxn>
              <a:cxn ang="0">
                <a:pos x="58" y="8"/>
              </a:cxn>
              <a:cxn ang="0">
                <a:pos x="64" y="5"/>
              </a:cxn>
              <a:cxn ang="0">
                <a:pos x="70" y="7"/>
              </a:cxn>
              <a:cxn ang="0">
                <a:pos x="74" y="5"/>
              </a:cxn>
              <a:cxn ang="0">
                <a:pos x="78" y="0"/>
              </a:cxn>
              <a:cxn ang="0">
                <a:pos x="78" y="18"/>
              </a:cxn>
              <a:cxn ang="0">
                <a:pos x="80" y="38"/>
              </a:cxn>
              <a:cxn ang="0">
                <a:pos x="78" y="44"/>
              </a:cxn>
              <a:cxn ang="0">
                <a:pos x="72" y="47"/>
              </a:cxn>
              <a:cxn ang="0">
                <a:pos x="68" y="47"/>
              </a:cxn>
              <a:cxn ang="0">
                <a:pos x="63" y="54"/>
              </a:cxn>
              <a:cxn ang="0">
                <a:pos x="55" y="55"/>
              </a:cxn>
              <a:cxn ang="0">
                <a:pos x="55" y="62"/>
              </a:cxn>
              <a:cxn ang="0">
                <a:pos x="54" y="66"/>
              </a:cxn>
              <a:cxn ang="0">
                <a:pos x="48" y="69"/>
              </a:cxn>
              <a:cxn ang="0">
                <a:pos x="43" y="69"/>
              </a:cxn>
              <a:cxn ang="0">
                <a:pos x="40" y="73"/>
              </a:cxn>
              <a:cxn ang="0">
                <a:pos x="38" y="76"/>
              </a:cxn>
              <a:cxn ang="0">
                <a:pos x="34" y="77"/>
              </a:cxn>
            </a:cxnLst>
            <a:rect l="0" t="0" r="r" b="b"/>
            <a:pathLst>
              <a:path w="80" h="77">
                <a:moveTo>
                  <a:pt x="34" y="77"/>
                </a:moveTo>
                <a:lnTo>
                  <a:pt x="31" y="76"/>
                </a:lnTo>
                <a:lnTo>
                  <a:pt x="30" y="74"/>
                </a:lnTo>
                <a:lnTo>
                  <a:pt x="24" y="74"/>
                </a:lnTo>
                <a:lnTo>
                  <a:pt x="23" y="76"/>
                </a:lnTo>
                <a:lnTo>
                  <a:pt x="20" y="74"/>
                </a:lnTo>
                <a:lnTo>
                  <a:pt x="20" y="71"/>
                </a:lnTo>
                <a:lnTo>
                  <a:pt x="22" y="69"/>
                </a:lnTo>
                <a:lnTo>
                  <a:pt x="20" y="66"/>
                </a:lnTo>
                <a:lnTo>
                  <a:pt x="19" y="65"/>
                </a:lnTo>
                <a:lnTo>
                  <a:pt x="18" y="66"/>
                </a:lnTo>
                <a:lnTo>
                  <a:pt x="16" y="68"/>
                </a:lnTo>
                <a:lnTo>
                  <a:pt x="14" y="69"/>
                </a:lnTo>
                <a:lnTo>
                  <a:pt x="11" y="62"/>
                </a:lnTo>
                <a:lnTo>
                  <a:pt x="11" y="60"/>
                </a:lnTo>
                <a:lnTo>
                  <a:pt x="12" y="62"/>
                </a:lnTo>
                <a:lnTo>
                  <a:pt x="12" y="60"/>
                </a:lnTo>
                <a:lnTo>
                  <a:pt x="10" y="57"/>
                </a:lnTo>
                <a:lnTo>
                  <a:pt x="10" y="55"/>
                </a:lnTo>
                <a:lnTo>
                  <a:pt x="11" y="54"/>
                </a:lnTo>
                <a:lnTo>
                  <a:pt x="10" y="51"/>
                </a:lnTo>
                <a:lnTo>
                  <a:pt x="8" y="46"/>
                </a:lnTo>
                <a:lnTo>
                  <a:pt x="7" y="43"/>
                </a:lnTo>
                <a:lnTo>
                  <a:pt x="3" y="38"/>
                </a:lnTo>
                <a:lnTo>
                  <a:pt x="0" y="32"/>
                </a:lnTo>
                <a:lnTo>
                  <a:pt x="0" y="29"/>
                </a:lnTo>
                <a:lnTo>
                  <a:pt x="0" y="22"/>
                </a:lnTo>
                <a:lnTo>
                  <a:pt x="3" y="21"/>
                </a:lnTo>
                <a:lnTo>
                  <a:pt x="4" y="18"/>
                </a:lnTo>
                <a:lnTo>
                  <a:pt x="6" y="16"/>
                </a:lnTo>
                <a:lnTo>
                  <a:pt x="10" y="10"/>
                </a:lnTo>
                <a:lnTo>
                  <a:pt x="12" y="8"/>
                </a:lnTo>
                <a:lnTo>
                  <a:pt x="14" y="7"/>
                </a:lnTo>
                <a:lnTo>
                  <a:pt x="22" y="7"/>
                </a:lnTo>
                <a:lnTo>
                  <a:pt x="26" y="8"/>
                </a:lnTo>
                <a:lnTo>
                  <a:pt x="31" y="8"/>
                </a:lnTo>
                <a:lnTo>
                  <a:pt x="39" y="7"/>
                </a:lnTo>
                <a:lnTo>
                  <a:pt x="42" y="10"/>
                </a:lnTo>
                <a:lnTo>
                  <a:pt x="44" y="8"/>
                </a:lnTo>
                <a:lnTo>
                  <a:pt x="47" y="11"/>
                </a:lnTo>
                <a:lnTo>
                  <a:pt x="51" y="13"/>
                </a:lnTo>
                <a:lnTo>
                  <a:pt x="55" y="14"/>
                </a:lnTo>
                <a:lnTo>
                  <a:pt x="56" y="13"/>
                </a:lnTo>
                <a:lnTo>
                  <a:pt x="58" y="8"/>
                </a:lnTo>
                <a:lnTo>
                  <a:pt x="62" y="5"/>
                </a:lnTo>
                <a:lnTo>
                  <a:pt x="64" y="5"/>
                </a:lnTo>
                <a:lnTo>
                  <a:pt x="67" y="5"/>
                </a:lnTo>
                <a:lnTo>
                  <a:pt x="70" y="7"/>
                </a:lnTo>
                <a:lnTo>
                  <a:pt x="71" y="7"/>
                </a:lnTo>
                <a:lnTo>
                  <a:pt x="74" y="5"/>
                </a:lnTo>
                <a:lnTo>
                  <a:pt x="78" y="3"/>
                </a:lnTo>
                <a:lnTo>
                  <a:pt x="78" y="0"/>
                </a:lnTo>
                <a:lnTo>
                  <a:pt x="78" y="13"/>
                </a:lnTo>
                <a:lnTo>
                  <a:pt x="78" y="18"/>
                </a:lnTo>
                <a:lnTo>
                  <a:pt x="80" y="22"/>
                </a:lnTo>
                <a:lnTo>
                  <a:pt x="80" y="38"/>
                </a:lnTo>
                <a:lnTo>
                  <a:pt x="79" y="41"/>
                </a:lnTo>
                <a:lnTo>
                  <a:pt x="78" y="44"/>
                </a:lnTo>
                <a:lnTo>
                  <a:pt x="75" y="44"/>
                </a:lnTo>
                <a:lnTo>
                  <a:pt x="72" y="47"/>
                </a:lnTo>
                <a:lnTo>
                  <a:pt x="70" y="47"/>
                </a:lnTo>
                <a:lnTo>
                  <a:pt x="68" y="47"/>
                </a:lnTo>
                <a:lnTo>
                  <a:pt x="63" y="51"/>
                </a:lnTo>
                <a:lnTo>
                  <a:pt x="63" y="54"/>
                </a:lnTo>
                <a:lnTo>
                  <a:pt x="58" y="54"/>
                </a:lnTo>
                <a:lnTo>
                  <a:pt x="55" y="55"/>
                </a:lnTo>
                <a:lnTo>
                  <a:pt x="54" y="60"/>
                </a:lnTo>
                <a:lnTo>
                  <a:pt x="55" y="62"/>
                </a:lnTo>
                <a:lnTo>
                  <a:pt x="55" y="65"/>
                </a:lnTo>
                <a:lnTo>
                  <a:pt x="54" y="66"/>
                </a:lnTo>
                <a:lnTo>
                  <a:pt x="51" y="66"/>
                </a:lnTo>
                <a:lnTo>
                  <a:pt x="48" y="69"/>
                </a:lnTo>
                <a:lnTo>
                  <a:pt x="44" y="71"/>
                </a:lnTo>
                <a:lnTo>
                  <a:pt x="43" y="69"/>
                </a:lnTo>
                <a:lnTo>
                  <a:pt x="42" y="69"/>
                </a:lnTo>
                <a:lnTo>
                  <a:pt x="40" y="73"/>
                </a:lnTo>
                <a:lnTo>
                  <a:pt x="39" y="74"/>
                </a:lnTo>
                <a:lnTo>
                  <a:pt x="38" y="76"/>
                </a:lnTo>
                <a:lnTo>
                  <a:pt x="34" y="76"/>
                </a:lnTo>
                <a:lnTo>
                  <a:pt x="34" y="77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62" name="Freeform 1089"/>
          <p:cNvSpPr>
            <a:spLocks/>
          </p:cNvSpPr>
          <p:nvPr/>
        </p:nvSpPr>
        <p:spPr bwMode="auto">
          <a:xfrm>
            <a:off x="8615187" y="3822391"/>
            <a:ext cx="153957" cy="152481"/>
          </a:xfrm>
          <a:custGeom>
            <a:avLst/>
            <a:gdLst/>
            <a:ahLst/>
            <a:cxnLst>
              <a:cxn ang="0">
                <a:pos x="31" y="76"/>
              </a:cxn>
              <a:cxn ang="0">
                <a:pos x="24" y="74"/>
              </a:cxn>
              <a:cxn ang="0">
                <a:pos x="20" y="74"/>
              </a:cxn>
              <a:cxn ang="0">
                <a:pos x="22" y="69"/>
              </a:cxn>
              <a:cxn ang="0">
                <a:pos x="19" y="65"/>
              </a:cxn>
              <a:cxn ang="0">
                <a:pos x="16" y="68"/>
              </a:cxn>
              <a:cxn ang="0">
                <a:pos x="11" y="62"/>
              </a:cxn>
              <a:cxn ang="0">
                <a:pos x="12" y="62"/>
              </a:cxn>
              <a:cxn ang="0">
                <a:pos x="10" y="57"/>
              </a:cxn>
              <a:cxn ang="0">
                <a:pos x="11" y="54"/>
              </a:cxn>
              <a:cxn ang="0">
                <a:pos x="8" y="46"/>
              </a:cxn>
              <a:cxn ang="0">
                <a:pos x="3" y="38"/>
              </a:cxn>
              <a:cxn ang="0">
                <a:pos x="0" y="29"/>
              </a:cxn>
              <a:cxn ang="0">
                <a:pos x="3" y="21"/>
              </a:cxn>
              <a:cxn ang="0">
                <a:pos x="6" y="16"/>
              </a:cxn>
              <a:cxn ang="0">
                <a:pos x="12" y="8"/>
              </a:cxn>
              <a:cxn ang="0">
                <a:pos x="22" y="7"/>
              </a:cxn>
              <a:cxn ang="0">
                <a:pos x="31" y="8"/>
              </a:cxn>
              <a:cxn ang="0">
                <a:pos x="42" y="10"/>
              </a:cxn>
              <a:cxn ang="0">
                <a:pos x="47" y="11"/>
              </a:cxn>
              <a:cxn ang="0">
                <a:pos x="55" y="14"/>
              </a:cxn>
              <a:cxn ang="0">
                <a:pos x="58" y="8"/>
              </a:cxn>
              <a:cxn ang="0">
                <a:pos x="64" y="5"/>
              </a:cxn>
              <a:cxn ang="0">
                <a:pos x="70" y="7"/>
              </a:cxn>
              <a:cxn ang="0">
                <a:pos x="74" y="5"/>
              </a:cxn>
              <a:cxn ang="0">
                <a:pos x="78" y="0"/>
              </a:cxn>
              <a:cxn ang="0">
                <a:pos x="78" y="18"/>
              </a:cxn>
              <a:cxn ang="0">
                <a:pos x="80" y="38"/>
              </a:cxn>
              <a:cxn ang="0">
                <a:pos x="78" y="44"/>
              </a:cxn>
              <a:cxn ang="0">
                <a:pos x="72" y="47"/>
              </a:cxn>
              <a:cxn ang="0">
                <a:pos x="68" y="47"/>
              </a:cxn>
              <a:cxn ang="0">
                <a:pos x="63" y="54"/>
              </a:cxn>
              <a:cxn ang="0">
                <a:pos x="55" y="55"/>
              </a:cxn>
              <a:cxn ang="0">
                <a:pos x="55" y="62"/>
              </a:cxn>
              <a:cxn ang="0">
                <a:pos x="54" y="66"/>
              </a:cxn>
              <a:cxn ang="0">
                <a:pos x="48" y="69"/>
              </a:cxn>
              <a:cxn ang="0">
                <a:pos x="43" y="69"/>
              </a:cxn>
              <a:cxn ang="0">
                <a:pos x="40" y="73"/>
              </a:cxn>
              <a:cxn ang="0">
                <a:pos x="38" y="76"/>
              </a:cxn>
              <a:cxn ang="0">
                <a:pos x="34" y="77"/>
              </a:cxn>
            </a:cxnLst>
            <a:rect l="0" t="0" r="r" b="b"/>
            <a:pathLst>
              <a:path w="80" h="77">
                <a:moveTo>
                  <a:pt x="34" y="77"/>
                </a:moveTo>
                <a:lnTo>
                  <a:pt x="31" y="76"/>
                </a:lnTo>
                <a:lnTo>
                  <a:pt x="30" y="74"/>
                </a:lnTo>
                <a:lnTo>
                  <a:pt x="24" y="74"/>
                </a:lnTo>
                <a:lnTo>
                  <a:pt x="23" y="76"/>
                </a:lnTo>
                <a:lnTo>
                  <a:pt x="20" y="74"/>
                </a:lnTo>
                <a:lnTo>
                  <a:pt x="20" y="71"/>
                </a:lnTo>
                <a:lnTo>
                  <a:pt x="22" y="69"/>
                </a:lnTo>
                <a:lnTo>
                  <a:pt x="20" y="66"/>
                </a:lnTo>
                <a:lnTo>
                  <a:pt x="19" y="65"/>
                </a:lnTo>
                <a:lnTo>
                  <a:pt x="18" y="66"/>
                </a:lnTo>
                <a:lnTo>
                  <a:pt x="16" y="68"/>
                </a:lnTo>
                <a:lnTo>
                  <a:pt x="14" y="69"/>
                </a:lnTo>
                <a:lnTo>
                  <a:pt x="11" y="62"/>
                </a:lnTo>
                <a:lnTo>
                  <a:pt x="11" y="60"/>
                </a:lnTo>
                <a:lnTo>
                  <a:pt x="12" y="62"/>
                </a:lnTo>
                <a:lnTo>
                  <a:pt x="12" y="60"/>
                </a:lnTo>
                <a:lnTo>
                  <a:pt x="10" y="57"/>
                </a:lnTo>
                <a:lnTo>
                  <a:pt x="10" y="55"/>
                </a:lnTo>
                <a:lnTo>
                  <a:pt x="11" y="54"/>
                </a:lnTo>
                <a:lnTo>
                  <a:pt x="10" y="51"/>
                </a:lnTo>
                <a:lnTo>
                  <a:pt x="8" y="46"/>
                </a:lnTo>
                <a:lnTo>
                  <a:pt x="7" y="43"/>
                </a:lnTo>
                <a:lnTo>
                  <a:pt x="3" y="38"/>
                </a:lnTo>
                <a:lnTo>
                  <a:pt x="0" y="32"/>
                </a:lnTo>
                <a:lnTo>
                  <a:pt x="0" y="29"/>
                </a:lnTo>
                <a:lnTo>
                  <a:pt x="0" y="22"/>
                </a:lnTo>
                <a:lnTo>
                  <a:pt x="3" y="21"/>
                </a:lnTo>
                <a:lnTo>
                  <a:pt x="4" y="18"/>
                </a:lnTo>
                <a:lnTo>
                  <a:pt x="6" y="16"/>
                </a:lnTo>
                <a:lnTo>
                  <a:pt x="10" y="10"/>
                </a:lnTo>
                <a:lnTo>
                  <a:pt x="12" y="8"/>
                </a:lnTo>
                <a:lnTo>
                  <a:pt x="14" y="7"/>
                </a:lnTo>
                <a:lnTo>
                  <a:pt x="22" y="7"/>
                </a:lnTo>
                <a:lnTo>
                  <a:pt x="26" y="8"/>
                </a:lnTo>
                <a:lnTo>
                  <a:pt x="31" y="8"/>
                </a:lnTo>
                <a:lnTo>
                  <a:pt x="39" y="7"/>
                </a:lnTo>
                <a:lnTo>
                  <a:pt x="42" y="10"/>
                </a:lnTo>
                <a:lnTo>
                  <a:pt x="44" y="8"/>
                </a:lnTo>
                <a:lnTo>
                  <a:pt x="47" y="11"/>
                </a:lnTo>
                <a:lnTo>
                  <a:pt x="51" y="13"/>
                </a:lnTo>
                <a:lnTo>
                  <a:pt x="55" y="14"/>
                </a:lnTo>
                <a:lnTo>
                  <a:pt x="56" y="13"/>
                </a:lnTo>
                <a:lnTo>
                  <a:pt x="58" y="8"/>
                </a:lnTo>
                <a:lnTo>
                  <a:pt x="62" y="5"/>
                </a:lnTo>
                <a:lnTo>
                  <a:pt x="64" y="5"/>
                </a:lnTo>
                <a:lnTo>
                  <a:pt x="67" y="5"/>
                </a:lnTo>
                <a:lnTo>
                  <a:pt x="70" y="7"/>
                </a:lnTo>
                <a:lnTo>
                  <a:pt x="71" y="7"/>
                </a:lnTo>
                <a:lnTo>
                  <a:pt x="74" y="5"/>
                </a:lnTo>
                <a:lnTo>
                  <a:pt x="78" y="3"/>
                </a:lnTo>
                <a:lnTo>
                  <a:pt x="78" y="0"/>
                </a:lnTo>
                <a:lnTo>
                  <a:pt x="78" y="13"/>
                </a:lnTo>
                <a:lnTo>
                  <a:pt x="78" y="18"/>
                </a:lnTo>
                <a:lnTo>
                  <a:pt x="80" y="22"/>
                </a:lnTo>
                <a:lnTo>
                  <a:pt x="80" y="38"/>
                </a:lnTo>
                <a:lnTo>
                  <a:pt x="79" y="41"/>
                </a:lnTo>
                <a:lnTo>
                  <a:pt x="78" y="44"/>
                </a:lnTo>
                <a:lnTo>
                  <a:pt x="75" y="44"/>
                </a:lnTo>
                <a:lnTo>
                  <a:pt x="72" y="47"/>
                </a:lnTo>
                <a:lnTo>
                  <a:pt x="70" y="47"/>
                </a:lnTo>
                <a:lnTo>
                  <a:pt x="68" y="47"/>
                </a:lnTo>
                <a:lnTo>
                  <a:pt x="63" y="51"/>
                </a:lnTo>
                <a:lnTo>
                  <a:pt x="63" y="54"/>
                </a:lnTo>
                <a:lnTo>
                  <a:pt x="58" y="54"/>
                </a:lnTo>
                <a:lnTo>
                  <a:pt x="55" y="55"/>
                </a:lnTo>
                <a:lnTo>
                  <a:pt x="54" y="60"/>
                </a:lnTo>
                <a:lnTo>
                  <a:pt x="55" y="62"/>
                </a:lnTo>
                <a:lnTo>
                  <a:pt x="55" y="65"/>
                </a:lnTo>
                <a:lnTo>
                  <a:pt x="54" y="66"/>
                </a:lnTo>
                <a:lnTo>
                  <a:pt x="51" y="66"/>
                </a:lnTo>
                <a:lnTo>
                  <a:pt x="48" y="69"/>
                </a:lnTo>
                <a:lnTo>
                  <a:pt x="44" y="71"/>
                </a:lnTo>
                <a:lnTo>
                  <a:pt x="43" y="69"/>
                </a:lnTo>
                <a:lnTo>
                  <a:pt x="42" y="69"/>
                </a:lnTo>
                <a:lnTo>
                  <a:pt x="40" y="73"/>
                </a:lnTo>
                <a:lnTo>
                  <a:pt x="39" y="74"/>
                </a:lnTo>
                <a:lnTo>
                  <a:pt x="38" y="76"/>
                </a:lnTo>
                <a:lnTo>
                  <a:pt x="34" y="76"/>
                </a:lnTo>
                <a:lnTo>
                  <a:pt x="34" y="77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63" name="Freeform 1090"/>
          <p:cNvSpPr>
            <a:spLocks/>
          </p:cNvSpPr>
          <p:nvPr/>
        </p:nvSpPr>
        <p:spPr bwMode="auto">
          <a:xfrm>
            <a:off x="8950382" y="4168156"/>
            <a:ext cx="40926" cy="32213"/>
          </a:xfrm>
          <a:custGeom>
            <a:avLst/>
            <a:gdLst/>
            <a:ahLst/>
            <a:cxnLst>
              <a:cxn ang="0">
                <a:pos x="19" y="2"/>
              </a:cxn>
              <a:cxn ang="0">
                <a:pos x="20" y="3"/>
              </a:cxn>
              <a:cxn ang="0">
                <a:pos x="21" y="6"/>
              </a:cxn>
              <a:cxn ang="0">
                <a:pos x="21" y="8"/>
              </a:cxn>
              <a:cxn ang="0">
                <a:pos x="21" y="9"/>
              </a:cxn>
              <a:cxn ang="0">
                <a:pos x="21" y="11"/>
              </a:cxn>
              <a:cxn ang="0">
                <a:pos x="20" y="11"/>
              </a:cxn>
              <a:cxn ang="0">
                <a:pos x="19" y="11"/>
              </a:cxn>
              <a:cxn ang="0">
                <a:pos x="17" y="8"/>
              </a:cxn>
              <a:cxn ang="0">
                <a:pos x="16" y="6"/>
              </a:cxn>
              <a:cxn ang="0">
                <a:pos x="16" y="5"/>
              </a:cxn>
              <a:cxn ang="0">
                <a:pos x="15" y="5"/>
              </a:cxn>
              <a:cxn ang="0">
                <a:pos x="13" y="5"/>
              </a:cxn>
              <a:cxn ang="0">
                <a:pos x="12" y="6"/>
              </a:cxn>
              <a:cxn ang="0">
                <a:pos x="12" y="14"/>
              </a:cxn>
              <a:cxn ang="0">
                <a:pos x="11" y="17"/>
              </a:cxn>
              <a:cxn ang="0">
                <a:pos x="9" y="17"/>
              </a:cxn>
              <a:cxn ang="0">
                <a:pos x="8" y="17"/>
              </a:cxn>
              <a:cxn ang="0">
                <a:pos x="8" y="16"/>
              </a:cxn>
              <a:cxn ang="0">
                <a:pos x="7" y="14"/>
              </a:cxn>
              <a:cxn ang="0">
                <a:pos x="5" y="13"/>
              </a:cxn>
              <a:cxn ang="0">
                <a:pos x="3" y="9"/>
              </a:cxn>
              <a:cxn ang="0">
                <a:pos x="1" y="8"/>
              </a:cxn>
              <a:cxn ang="0">
                <a:pos x="0" y="8"/>
              </a:cxn>
              <a:cxn ang="0">
                <a:pos x="1" y="8"/>
              </a:cxn>
              <a:cxn ang="0">
                <a:pos x="4" y="6"/>
              </a:cxn>
              <a:cxn ang="0">
                <a:pos x="8" y="6"/>
              </a:cxn>
              <a:cxn ang="0">
                <a:pos x="9" y="5"/>
              </a:cxn>
              <a:cxn ang="0">
                <a:pos x="15" y="0"/>
              </a:cxn>
              <a:cxn ang="0">
                <a:pos x="16" y="2"/>
              </a:cxn>
              <a:cxn ang="0">
                <a:pos x="19" y="2"/>
              </a:cxn>
            </a:cxnLst>
            <a:rect l="0" t="0" r="r" b="b"/>
            <a:pathLst>
              <a:path w="21" h="17">
                <a:moveTo>
                  <a:pt x="19" y="2"/>
                </a:moveTo>
                <a:lnTo>
                  <a:pt x="20" y="3"/>
                </a:lnTo>
                <a:lnTo>
                  <a:pt x="21" y="6"/>
                </a:lnTo>
                <a:lnTo>
                  <a:pt x="21" y="8"/>
                </a:lnTo>
                <a:lnTo>
                  <a:pt x="21" y="9"/>
                </a:lnTo>
                <a:lnTo>
                  <a:pt x="21" y="11"/>
                </a:lnTo>
                <a:lnTo>
                  <a:pt x="20" y="11"/>
                </a:lnTo>
                <a:lnTo>
                  <a:pt x="19" y="11"/>
                </a:lnTo>
                <a:lnTo>
                  <a:pt x="17" y="8"/>
                </a:lnTo>
                <a:lnTo>
                  <a:pt x="16" y="6"/>
                </a:lnTo>
                <a:lnTo>
                  <a:pt x="16" y="5"/>
                </a:lnTo>
                <a:lnTo>
                  <a:pt x="15" y="5"/>
                </a:lnTo>
                <a:lnTo>
                  <a:pt x="13" y="5"/>
                </a:lnTo>
                <a:lnTo>
                  <a:pt x="12" y="6"/>
                </a:lnTo>
                <a:lnTo>
                  <a:pt x="12" y="14"/>
                </a:lnTo>
                <a:lnTo>
                  <a:pt x="11" y="17"/>
                </a:lnTo>
                <a:lnTo>
                  <a:pt x="9" y="17"/>
                </a:lnTo>
                <a:lnTo>
                  <a:pt x="8" y="17"/>
                </a:lnTo>
                <a:lnTo>
                  <a:pt x="8" y="16"/>
                </a:lnTo>
                <a:lnTo>
                  <a:pt x="7" y="14"/>
                </a:lnTo>
                <a:lnTo>
                  <a:pt x="5" y="13"/>
                </a:lnTo>
                <a:lnTo>
                  <a:pt x="3" y="9"/>
                </a:lnTo>
                <a:lnTo>
                  <a:pt x="1" y="8"/>
                </a:lnTo>
                <a:lnTo>
                  <a:pt x="0" y="8"/>
                </a:lnTo>
                <a:lnTo>
                  <a:pt x="1" y="8"/>
                </a:lnTo>
                <a:lnTo>
                  <a:pt x="4" y="6"/>
                </a:lnTo>
                <a:lnTo>
                  <a:pt x="8" y="6"/>
                </a:lnTo>
                <a:lnTo>
                  <a:pt x="9" y="5"/>
                </a:lnTo>
                <a:lnTo>
                  <a:pt x="15" y="0"/>
                </a:lnTo>
                <a:lnTo>
                  <a:pt x="16" y="2"/>
                </a:lnTo>
                <a:lnTo>
                  <a:pt x="19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64" name="Freeform 1091"/>
          <p:cNvSpPr>
            <a:spLocks/>
          </p:cNvSpPr>
          <p:nvPr/>
        </p:nvSpPr>
        <p:spPr bwMode="auto">
          <a:xfrm>
            <a:off x="8950382" y="4168156"/>
            <a:ext cx="40926" cy="32213"/>
          </a:xfrm>
          <a:custGeom>
            <a:avLst/>
            <a:gdLst/>
            <a:ahLst/>
            <a:cxnLst>
              <a:cxn ang="0">
                <a:pos x="19" y="2"/>
              </a:cxn>
              <a:cxn ang="0">
                <a:pos x="20" y="3"/>
              </a:cxn>
              <a:cxn ang="0">
                <a:pos x="21" y="6"/>
              </a:cxn>
              <a:cxn ang="0">
                <a:pos x="21" y="8"/>
              </a:cxn>
              <a:cxn ang="0">
                <a:pos x="21" y="9"/>
              </a:cxn>
              <a:cxn ang="0">
                <a:pos x="21" y="11"/>
              </a:cxn>
              <a:cxn ang="0">
                <a:pos x="20" y="11"/>
              </a:cxn>
              <a:cxn ang="0">
                <a:pos x="19" y="11"/>
              </a:cxn>
              <a:cxn ang="0">
                <a:pos x="17" y="8"/>
              </a:cxn>
              <a:cxn ang="0">
                <a:pos x="16" y="6"/>
              </a:cxn>
              <a:cxn ang="0">
                <a:pos x="16" y="5"/>
              </a:cxn>
              <a:cxn ang="0">
                <a:pos x="15" y="5"/>
              </a:cxn>
              <a:cxn ang="0">
                <a:pos x="13" y="5"/>
              </a:cxn>
              <a:cxn ang="0">
                <a:pos x="12" y="6"/>
              </a:cxn>
              <a:cxn ang="0">
                <a:pos x="12" y="14"/>
              </a:cxn>
              <a:cxn ang="0">
                <a:pos x="11" y="17"/>
              </a:cxn>
              <a:cxn ang="0">
                <a:pos x="9" y="17"/>
              </a:cxn>
              <a:cxn ang="0">
                <a:pos x="8" y="17"/>
              </a:cxn>
              <a:cxn ang="0">
                <a:pos x="8" y="16"/>
              </a:cxn>
              <a:cxn ang="0">
                <a:pos x="7" y="14"/>
              </a:cxn>
              <a:cxn ang="0">
                <a:pos x="5" y="13"/>
              </a:cxn>
              <a:cxn ang="0">
                <a:pos x="3" y="9"/>
              </a:cxn>
              <a:cxn ang="0">
                <a:pos x="1" y="8"/>
              </a:cxn>
              <a:cxn ang="0">
                <a:pos x="0" y="8"/>
              </a:cxn>
              <a:cxn ang="0">
                <a:pos x="1" y="8"/>
              </a:cxn>
              <a:cxn ang="0">
                <a:pos x="4" y="6"/>
              </a:cxn>
              <a:cxn ang="0">
                <a:pos x="8" y="6"/>
              </a:cxn>
              <a:cxn ang="0">
                <a:pos x="9" y="5"/>
              </a:cxn>
              <a:cxn ang="0">
                <a:pos x="15" y="0"/>
              </a:cxn>
              <a:cxn ang="0">
                <a:pos x="16" y="2"/>
              </a:cxn>
              <a:cxn ang="0">
                <a:pos x="19" y="2"/>
              </a:cxn>
            </a:cxnLst>
            <a:rect l="0" t="0" r="r" b="b"/>
            <a:pathLst>
              <a:path w="21" h="17">
                <a:moveTo>
                  <a:pt x="19" y="2"/>
                </a:moveTo>
                <a:lnTo>
                  <a:pt x="20" y="3"/>
                </a:lnTo>
                <a:lnTo>
                  <a:pt x="21" y="6"/>
                </a:lnTo>
                <a:lnTo>
                  <a:pt x="21" y="8"/>
                </a:lnTo>
                <a:lnTo>
                  <a:pt x="21" y="9"/>
                </a:lnTo>
                <a:lnTo>
                  <a:pt x="21" y="11"/>
                </a:lnTo>
                <a:lnTo>
                  <a:pt x="20" y="11"/>
                </a:lnTo>
                <a:lnTo>
                  <a:pt x="19" y="11"/>
                </a:lnTo>
                <a:lnTo>
                  <a:pt x="17" y="8"/>
                </a:lnTo>
                <a:lnTo>
                  <a:pt x="16" y="6"/>
                </a:lnTo>
                <a:lnTo>
                  <a:pt x="16" y="5"/>
                </a:lnTo>
                <a:lnTo>
                  <a:pt x="15" y="5"/>
                </a:lnTo>
                <a:lnTo>
                  <a:pt x="13" y="5"/>
                </a:lnTo>
                <a:lnTo>
                  <a:pt x="12" y="6"/>
                </a:lnTo>
                <a:lnTo>
                  <a:pt x="12" y="14"/>
                </a:lnTo>
                <a:lnTo>
                  <a:pt x="11" y="17"/>
                </a:lnTo>
                <a:lnTo>
                  <a:pt x="9" y="17"/>
                </a:lnTo>
                <a:lnTo>
                  <a:pt x="8" y="17"/>
                </a:lnTo>
                <a:lnTo>
                  <a:pt x="8" y="16"/>
                </a:lnTo>
                <a:lnTo>
                  <a:pt x="7" y="14"/>
                </a:lnTo>
                <a:lnTo>
                  <a:pt x="5" y="13"/>
                </a:lnTo>
                <a:lnTo>
                  <a:pt x="3" y="9"/>
                </a:lnTo>
                <a:lnTo>
                  <a:pt x="1" y="8"/>
                </a:lnTo>
                <a:lnTo>
                  <a:pt x="0" y="8"/>
                </a:lnTo>
                <a:lnTo>
                  <a:pt x="1" y="8"/>
                </a:lnTo>
                <a:lnTo>
                  <a:pt x="4" y="6"/>
                </a:lnTo>
                <a:lnTo>
                  <a:pt x="8" y="6"/>
                </a:lnTo>
                <a:lnTo>
                  <a:pt x="9" y="5"/>
                </a:lnTo>
                <a:lnTo>
                  <a:pt x="15" y="0"/>
                </a:lnTo>
                <a:lnTo>
                  <a:pt x="16" y="2"/>
                </a:lnTo>
                <a:lnTo>
                  <a:pt x="19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65" name="Freeform 1092"/>
          <p:cNvSpPr>
            <a:spLocks/>
          </p:cNvSpPr>
          <p:nvPr/>
        </p:nvSpPr>
        <p:spPr bwMode="auto">
          <a:xfrm>
            <a:off x="6528006" y="4378623"/>
            <a:ext cx="311811" cy="380126"/>
          </a:xfrm>
          <a:custGeom>
            <a:avLst/>
            <a:gdLst/>
            <a:ahLst/>
            <a:cxnLst>
              <a:cxn ang="0">
                <a:pos x="122" y="41"/>
              </a:cxn>
              <a:cxn ang="0">
                <a:pos x="145" y="64"/>
              </a:cxn>
              <a:cxn ang="0">
                <a:pos x="142" y="78"/>
              </a:cxn>
              <a:cxn ang="0">
                <a:pos x="138" y="94"/>
              </a:cxn>
              <a:cxn ang="0">
                <a:pos x="145" y="102"/>
              </a:cxn>
              <a:cxn ang="0">
                <a:pos x="149" y="110"/>
              </a:cxn>
              <a:cxn ang="0">
                <a:pos x="146" y="118"/>
              </a:cxn>
              <a:cxn ang="0">
                <a:pos x="146" y="122"/>
              </a:cxn>
              <a:cxn ang="0">
                <a:pos x="145" y="129"/>
              </a:cxn>
              <a:cxn ang="0">
                <a:pos x="146" y="138"/>
              </a:cxn>
              <a:cxn ang="0">
                <a:pos x="150" y="147"/>
              </a:cxn>
              <a:cxn ang="0">
                <a:pos x="151" y="152"/>
              </a:cxn>
              <a:cxn ang="0">
                <a:pos x="154" y="158"/>
              </a:cxn>
              <a:cxn ang="0">
                <a:pos x="158" y="166"/>
              </a:cxn>
              <a:cxn ang="0">
                <a:pos x="163" y="168"/>
              </a:cxn>
              <a:cxn ang="0">
                <a:pos x="158" y="174"/>
              </a:cxn>
              <a:cxn ang="0">
                <a:pos x="147" y="180"/>
              </a:cxn>
              <a:cxn ang="0">
                <a:pos x="134" y="184"/>
              </a:cxn>
              <a:cxn ang="0">
                <a:pos x="123" y="184"/>
              </a:cxn>
              <a:cxn ang="0">
                <a:pos x="109" y="188"/>
              </a:cxn>
              <a:cxn ang="0">
                <a:pos x="101" y="191"/>
              </a:cxn>
              <a:cxn ang="0">
                <a:pos x="97" y="187"/>
              </a:cxn>
              <a:cxn ang="0">
                <a:pos x="91" y="188"/>
              </a:cxn>
              <a:cxn ang="0">
                <a:pos x="79" y="187"/>
              </a:cxn>
              <a:cxn ang="0">
                <a:pos x="74" y="180"/>
              </a:cxn>
              <a:cxn ang="0">
                <a:pos x="73" y="166"/>
              </a:cxn>
              <a:cxn ang="0">
                <a:pos x="67" y="154"/>
              </a:cxn>
              <a:cxn ang="0">
                <a:pos x="62" y="154"/>
              </a:cxn>
              <a:cxn ang="0">
                <a:pos x="57" y="154"/>
              </a:cxn>
              <a:cxn ang="0">
                <a:pos x="49" y="149"/>
              </a:cxn>
              <a:cxn ang="0">
                <a:pos x="45" y="147"/>
              </a:cxn>
              <a:cxn ang="0">
                <a:pos x="32" y="141"/>
              </a:cxn>
              <a:cxn ang="0">
                <a:pos x="25" y="135"/>
              </a:cxn>
              <a:cxn ang="0">
                <a:pos x="18" y="129"/>
              </a:cxn>
              <a:cxn ang="0">
                <a:pos x="13" y="114"/>
              </a:cxn>
              <a:cxn ang="0">
                <a:pos x="8" y="100"/>
              </a:cxn>
              <a:cxn ang="0">
                <a:pos x="2" y="89"/>
              </a:cxn>
              <a:cxn ang="0">
                <a:pos x="1" y="80"/>
              </a:cxn>
              <a:cxn ang="0">
                <a:pos x="0" y="72"/>
              </a:cxn>
              <a:cxn ang="0">
                <a:pos x="0" y="60"/>
              </a:cxn>
              <a:cxn ang="0">
                <a:pos x="10" y="52"/>
              </a:cxn>
              <a:cxn ang="0">
                <a:pos x="16" y="41"/>
              </a:cxn>
              <a:cxn ang="0">
                <a:pos x="16" y="34"/>
              </a:cxn>
              <a:cxn ang="0">
                <a:pos x="13" y="31"/>
              </a:cxn>
              <a:cxn ang="0">
                <a:pos x="13" y="27"/>
              </a:cxn>
              <a:cxn ang="0">
                <a:pos x="18" y="17"/>
              </a:cxn>
              <a:cxn ang="0">
                <a:pos x="13" y="3"/>
              </a:cxn>
              <a:cxn ang="0">
                <a:pos x="20" y="0"/>
              </a:cxn>
              <a:cxn ang="0">
                <a:pos x="32" y="8"/>
              </a:cxn>
              <a:cxn ang="0">
                <a:pos x="32" y="27"/>
              </a:cxn>
              <a:cxn ang="0">
                <a:pos x="34" y="30"/>
              </a:cxn>
              <a:cxn ang="0">
                <a:pos x="37" y="25"/>
              </a:cxn>
              <a:cxn ang="0">
                <a:pos x="42" y="28"/>
              </a:cxn>
              <a:cxn ang="0">
                <a:pos x="48" y="28"/>
              </a:cxn>
              <a:cxn ang="0">
                <a:pos x="49" y="30"/>
              </a:cxn>
              <a:cxn ang="0">
                <a:pos x="54" y="27"/>
              </a:cxn>
              <a:cxn ang="0">
                <a:pos x="61" y="23"/>
              </a:cxn>
              <a:cxn ang="0">
                <a:pos x="57" y="20"/>
              </a:cxn>
              <a:cxn ang="0">
                <a:pos x="57" y="17"/>
              </a:cxn>
              <a:cxn ang="0">
                <a:pos x="59" y="14"/>
              </a:cxn>
              <a:cxn ang="0">
                <a:pos x="61" y="9"/>
              </a:cxn>
              <a:cxn ang="0">
                <a:pos x="65" y="6"/>
              </a:cxn>
              <a:cxn ang="0">
                <a:pos x="65" y="1"/>
              </a:cxn>
            </a:cxnLst>
            <a:rect l="0" t="0" r="r" b="b"/>
            <a:pathLst>
              <a:path w="163" h="191">
                <a:moveTo>
                  <a:pt x="121" y="36"/>
                </a:moveTo>
                <a:lnTo>
                  <a:pt x="121" y="38"/>
                </a:lnTo>
                <a:lnTo>
                  <a:pt x="122" y="41"/>
                </a:lnTo>
                <a:lnTo>
                  <a:pt x="122" y="47"/>
                </a:lnTo>
                <a:lnTo>
                  <a:pt x="123" y="50"/>
                </a:lnTo>
                <a:lnTo>
                  <a:pt x="145" y="64"/>
                </a:lnTo>
                <a:lnTo>
                  <a:pt x="145" y="67"/>
                </a:lnTo>
                <a:lnTo>
                  <a:pt x="142" y="77"/>
                </a:lnTo>
                <a:lnTo>
                  <a:pt x="142" y="78"/>
                </a:lnTo>
                <a:lnTo>
                  <a:pt x="141" y="83"/>
                </a:lnTo>
                <a:lnTo>
                  <a:pt x="138" y="91"/>
                </a:lnTo>
                <a:lnTo>
                  <a:pt x="138" y="94"/>
                </a:lnTo>
                <a:lnTo>
                  <a:pt x="138" y="96"/>
                </a:lnTo>
                <a:lnTo>
                  <a:pt x="143" y="100"/>
                </a:lnTo>
                <a:lnTo>
                  <a:pt x="145" y="102"/>
                </a:lnTo>
                <a:lnTo>
                  <a:pt x="147" y="105"/>
                </a:lnTo>
                <a:lnTo>
                  <a:pt x="149" y="108"/>
                </a:lnTo>
                <a:lnTo>
                  <a:pt x="149" y="110"/>
                </a:lnTo>
                <a:lnTo>
                  <a:pt x="147" y="111"/>
                </a:lnTo>
                <a:lnTo>
                  <a:pt x="146" y="113"/>
                </a:lnTo>
                <a:lnTo>
                  <a:pt x="146" y="118"/>
                </a:lnTo>
                <a:lnTo>
                  <a:pt x="146" y="119"/>
                </a:lnTo>
                <a:lnTo>
                  <a:pt x="146" y="121"/>
                </a:lnTo>
                <a:lnTo>
                  <a:pt x="146" y="122"/>
                </a:lnTo>
                <a:lnTo>
                  <a:pt x="147" y="124"/>
                </a:lnTo>
                <a:lnTo>
                  <a:pt x="146" y="127"/>
                </a:lnTo>
                <a:lnTo>
                  <a:pt x="145" y="129"/>
                </a:lnTo>
                <a:lnTo>
                  <a:pt x="145" y="130"/>
                </a:lnTo>
                <a:lnTo>
                  <a:pt x="145" y="133"/>
                </a:lnTo>
                <a:lnTo>
                  <a:pt x="146" y="138"/>
                </a:lnTo>
                <a:lnTo>
                  <a:pt x="147" y="140"/>
                </a:lnTo>
                <a:lnTo>
                  <a:pt x="147" y="141"/>
                </a:lnTo>
                <a:lnTo>
                  <a:pt x="150" y="147"/>
                </a:lnTo>
                <a:lnTo>
                  <a:pt x="151" y="149"/>
                </a:lnTo>
                <a:lnTo>
                  <a:pt x="150" y="151"/>
                </a:lnTo>
                <a:lnTo>
                  <a:pt x="151" y="152"/>
                </a:lnTo>
                <a:lnTo>
                  <a:pt x="153" y="155"/>
                </a:lnTo>
                <a:lnTo>
                  <a:pt x="153" y="157"/>
                </a:lnTo>
                <a:lnTo>
                  <a:pt x="154" y="158"/>
                </a:lnTo>
                <a:lnTo>
                  <a:pt x="154" y="160"/>
                </a:lnTo>
                <a:lnTo>
                  <a:pt x="157" y="163"/>
                </a:lnTo>
                <a:lnTo>
                  <a:pt x="158" y="166"/>
                </a:lnTo>
                <a:lnTo>
                  <a:pt x="161" y="166"/>
                </a:lnTo>
                <a:lnTo>
                  <a:pt x="162" y="168"/>
                </a:lnTo>
                <a:lnTo>
                  <a:pt x="163" y="168"/>
                </a:lnTo>
                <a:lnTo>
                  <a:pt x="163" y="169"/>
                </a:lnTo>
                <a:lnTo>
                  <a:pt x="162" y="171"/>
                </a:lnTo>
                <a:lnTo>
                  <a:pt x="158" y="174"/>
                </a:lnTo>
                <a:lnTo>
                  <a:pt x="154" y="177"/>
                </a:lnTo>
                <a:lnTo>
                  <a:pt x="153" y="179"/>
                </a:lnTo>
                <a:lnTo>
                  <a:pt x="147" y="180"/>
                </a:lnTo>
                <a:lnTo>
                  <a:pt x="139" y="184"/>
                </a:lnTo>
                <a:lnTo>
                  <a:pt x="137" y="185"/>
                </a:lnTo>
                <a:lnTo>
                  <a:pt x="134" y="184"/>
                </a:lnTo>
                <a:lnTo>
                  <a:pt x="130" y="182"/>
                </a:lnTo>
                <a:lnTo>
                  <a:pt x="127" y="184"/>
                </a:lnTo>
                <a:lnTo>
                  <a:pt x="123" y="184"/>
                </a:lnTo>
                <a:lnTo>
                  <a:pt x="119" y="188"/>
                </a:lnTo>
                <a:lnTo>
                  <a:pt x="117" y="188"/>
                </a:lnTo>
                <a:lnTo>
                  <a:pt x="109" y="188"/>
                </a:lnTo>
                <a:lnTo>
                  <a:pt x="106" y="190"/>
                </a:lnTo>
                <a:lnTo>
                  <a:pt x="103" y="190"/>
                </a:lnTo>
                <a:lnTo>
                  <a:pt x="101" y="191"/>
                </a:lnTo>
                <a:lnTo>
                  <a:pt x="99" y="190"/>
                </a:lnTo>
                <a:lnTo>
                  <a:pt x="98" y="190"/>
                </a:lnTo>
                <a:lnTo>
                  <a:pt x="97" y="187"/>
                </a:lnTo>
                <a:lnTo>
                  <a:pt x="95" y="187"/>
                </a:lnTo>
                <a:lnTo>
                  <a:pt x="93" y="187"/>
                </a:lnTo>
                <a:lnTo>
                  <a:pt x="91" y="188"/>
                </a:lnTo>
                <a:lnTo>
                  <a:pt x="90" y="188"/>
                </a:lnTo>
                <a:lnTo>
                  <a:pt x="79" y="188"/>
                </a:lnTo>
                <a:lnTo>
                  <a:pt x="79" y="187"/>
                </a:lnTo>
                <a:lnTo>
                  <a:pt x="78" y="184"/>
                </a:lnTo>
                <a:lnTo>
                  <a:pt x="77" y="184"/>
                </a:lnTo>
                <a:lnTo>
                  <a:pt x="74" y="180"/>
                </a:lnTo>
                <a:lnTo>
                  <a:pt x="74" y="174"/>
                </a:lnTo>
                <a:lnTo>
                  <a:pt x="74" y="171"/>
                </a:lnTo>
                <a:lnTo>
                  <a:pt x="73" y="166"/>
                </a:lnTo>
                <a:lnTo>
                  <a:pt x="71" y="160"/>
                </a:lnTo>
                <a:lnTo>
                  <a:pt x="70" y="157"/>
                </a:lnTo>
                <a:lnTo>
                  <a:pt x="67" y="154"/>
                </a:lnTo>
                <a:lnTo>
                  <a:pt x="65" y="152"/>
                </a:lnTo>
                <a:lnTo>
                  <a:pt x="63" y="155"/>
                </a:lnTo>
                <a:lnTo>
                  <a:pt x="62" y="154"/>
                </a:lnTo>
                <a:lnTo>
                  <a:pt x="61" y="152"/>
                </a:lnTo>
                <a:lnTo>
                  <a:pt x="59" y="152"/>
                </a:lnTo>
                <a:lnTo>
                  <a:pt x="57" y="154"/>
                </a:lnTo>
                <a:lnTo>
                  <a:pt x="56" y="152"/>
                </a:lnTo>
                <a:lnTo>
                  <a:pt x="53" y="152"/>
                </a:lnTo>
                <a:lnTo>
                  <a:pt x="49" y="149"/>
                </a:lnTo>
                <a:lnTo>
                  <a:pt x="49" y="147"/>
                </a:lnTo>
                <a:lnTo>
                  <a:pt x="48" y="147"/>
                </a:lnTo>
                <a:lnTo>
                  <a:pt x="45" y="147"/>
                </a:lnTo>
                <a:lnTo>
                  <a:pt x="41" y="146"/>
                </a:lnTo>
                <a:lnTo>
                  <a:pt x="34" y="143"/>
                </a:lnTo>
                <a:lnTo>
                  <a:pt x="32" y="141"/>
                </a:lnTo>
                <a:lnTo>
                  <a:pt x="29" y="140"/>
                </a:lnTo>
                <a:lnTo>
                  <a:pt x="28" y="138"/>
                </a:lnTo>
                <a:lnTo>
                  <a:pt x="25" y="135"/>
                </a:lnTo>
                <a:lnTo>
                  <a:pt x="24" y="135"/>
                </a:lnTo>
                <a:lnTo>
                  <a:pt x="21" y="135"/>
                </a:lnTo>
                <a:lnTo>
                  <a:pt x="18" y="129"/>
                </a:lnTo>
                <a:lnTo>
                  <a:pt x="17" y="125"/>
                </a:lnTo>
                <a:lnTo>
                  <a:pt x="16" y="121"/>
                </a:lnTo>
                <a:lnTo>
                  <a:pt x="13" y="114"/>
                </a:lnTo>
                <a:lnTo>
                  <a:pt x="13" y="110"/>
                </a:lnTo>
                <a:lnTo>
                  <a:pt x="13" y="107"/>
                </a:lnTo>
                <a:lnTo>
                  <a:pt x="8" y="100"/>
                </a:lnTo>
                <a:lnTo>
                  <a:pt x="2" y="96"/>
                </a:lnTo>
                <a:lnTo>
                  <a:pt x="1" y="92"/>
                </a:lnTo>
                <a:lnTo>
                  <a:pt x="2" y="89"/>
                </a:lnTo>
                <a:lnTo>
                  <a:pt x="4" y="88"/>
                </a:lnTo>
                <a:lnTo>
                  <a:pt x="2" y="83"/>
                </a:lnTo>
                <a:lnTo>
                  <a:pt x="1" y="80"/>
                </a:lnTo>
                <a:lnTo>
                  <a:pt x="2" y="75"/>
                </a:lnTo>
                <a:lnTo>
                  <a:pt x="1" y="74"/>
                </a:lnTo>
                <a:lnTo>
                  <a:pt x="0" y="72"/>
                </a:lnTo>
                <a:lnTo>
                  <a:pt x="0" y="66"/>
                </a:lnTo>
                <a:lnTo>
                  <a:pt x="0" y="61"/>
                </a:lnTo>
                <a:lnTo>
                  <a:pt x="0" y="60"/>
                </a:lnTo>
                <a:lnTo>
                  <a:pt x="4" y="60"/>
                </a:lnTo>
                <a:lnTo>
                  <a:pt x="6" y="58"/>
                </a:lnTo>
                <a:lnTo>
                  <a:pt x="10" y="52"/>
                </a:lnTo>
                <a:lnTo>
                  <a:pt x="12" y="49"/>
                </a:lnTo>
                <a:lnTo>
                  <a:pt x="13" y="45"/>
                </a:lnTo>
                <a:lnTo>
                  <a:pt x="16" y="41"/>
                </a:lnTo>
                <a:lnTo>
                  <a:pt x="17" y="39"/>
                </a:lnTo>
                <a:lnTo>
                  <a:pt x="17" y="36"/>
                </a:lnTo>
                <a:lnTo>
                  <a:pt x="16" y="34"/>
                </a:lnTo>
                <a:lnTo>
                  <a:pt x="16" y="33"/>
                </a:lnTo>
                <a:lnTo>
                  <a:pt x="13" y="33"/>
                </a:lnTo>
                <a:lnTo>
                  <a:pt x="13" y="31"/>
                </a:lnTo>
                <a:lnTo>
                  <a:pt x="13" y="30"/>
                </a:lnTo>
                <a:lnTo>
                  <a:pt x="13" y="28"/>
                </a:lnTo>
                <a:lnTo>
                  <a:pt x="13" y="27"/>
                </a:lnTo>
                <a:lnTo>
                  <a:pt x="14" y="25"/>
                </a:lnTo>
                <a:lnTo>
                  <a:pt x="17" y="20"/>
                </a:lnTo>
                <a:lnTo>
                  <a:pt x="18" y="17"/>
                </a:lnTo>
                <a:lnTo>
                  <a:pt x="17" y="14"/>
                </a:lnTo>
                <a:lnTo>
                  <a:pt x="16" y="9"/>
                </a:lnTo>
                <a:lnTo>
                  <a:pt x="13" y="3"/>
                </a:lnTo>
                <a:lnTo>
                  <a:pt x="12" y="0"/>
                </a:lnTo>
                <a:lnTo>
                  <a:pt x="17" y="1"/>
                </a:lnTo>
                <a:lnTo>
                  <a:pt x="20" y="0"/>
                </a:lnTo>
                <a:lnTo>
                  <a:pt x="32" y="0"/>
                </a:lnTo>
                <a:lnTo>
                  <a:pt x="32" y="1"/>
                </a:lnTo>
                <a:lnTo>
                  <a:pt x="32" y="8"/>
                </a:lnTo>
                <a:lnTo>
                  <a:pt x="30" y="12"/>
                </a:lnTo>
                <a:lnTo>
                  <a:pt x="30" y="19"/>
                </a:lnTo>
                <a:lnTo>
                  <a:pt x="32" y="27"/>
                </a:lnTo>
                <a:lnTo>
                  <a:pt x="32" y="28"/>
                </a:lnTo>
                <a:lnTo>
                  <a:pt x="33" y="31"/>
                </a:lnTo>
                <a:lnTo>
                  <a:pt x="34" y="30"/>
                </a:lnTo>
                <a:lnTo>
                  <a:pt x="36" y="28"/>
                </a:lnTo>
                <a:lnTo>
                  <a:pt x="37" y="28"/>
                </a:lnTo>
                <a:lnTo>
                  <a:pt x="37" y="25"/>
                </a:lnTo>
                <a:lnTo>
                  <a:pt x="38" y="23"/>
                </a:lnTo>
                <a:lnTo>
                  <a:pt x="40" y="23"/>
                </a:lnTo>
                <a:lnTo>
                  <a:pt x="42" y="28"/>
                </a:lnTo>
                <a:lnTo>
                  <a:pt x="44" y="28"/>
                </a:lnTo>
                <a:lnTo>
                  <a:pt x="46" y="28"/>
                </a:lnTo>
                <a:lnTo>
                  <a:pt x="48" y="28"/>
                </a:lnTo>
                <a:lnTo>
                  <a:pt x="48" y="34"/>
                </a:lnTo>
                <a:lnTo>
                  <a:pt x="49" y="33"/>
                </a:lnTo>
                <a:lnTo>
                  <a:pt x="49" y="30"/>
                </a:lnTo>
                <a:lnTo>
                  <a:pt x="50" y="27"/>
                </a:lnTo>
                <a:lnTo>
                  <a:pt x="52" y="27"/>
                </a:lnTo>
                <a:lnTo>
                  <a:pt x="54" y="27"/>
                </a:lnTo>
                <a:lnTo>
                  <a:pt x="56" y="27"/>
                </a:lnTo>
                <a:lnTo>
                  <a:pt x="58" y="25"/>
                </a:lnTo>
                <a:lnTo>
                  <a:pt x="61" y="23"/>
                </a:lnTo>
                <a:lnTo>
                  <a:pt x="61" y="22"/>
                </a:lnTo>
                <a:lnTo>
                  <a:pt x="61" y="20"/>
                </a:lnTo>
                <a:lnTo>
                  <a:pt x="57" y="20"/>
                </a:lnTo>
                <a:lnTo>
                  <a:pt x="54" y="20"/>
                </a:lnTo>
                <a:lnTo>
                  <a:pt x="54" y="19"/>
                </a:lnTo>
                <a:lnTo>
                  <a:pt x="57" y="17"/>
                </a:lnTo>
                <a:lnTo>
                  <a:pt x="57" y="16"/>
                </a:lnTo>
                <a:lnTo>
                  <a:pt x="57" y="14"/>
                </a:lnTo>
                <a:lnTo>
                  <a:pt x="59" y="14"/>
                </a:lnTo>
                <a:lnTo>
                  <a:pt x="59" y="12"/>
                </a:lnTo>
                <a:lnTo>
                  <a:pt x="61" y="11"/>
                </a:lnTo>
                <a:lnTo>
                  <a:pt x="61" y="9"/>
                </a:lnTo>
                <a:lnTo>
                  <a:pt x="62" y="9"/>
                </a:lnTo>
                <a:lnTo>
                  <a:pt x="63" y="6"/>
                </a:lnTo>
                <a:lnTo>
                  <a:pt x="65" y="6"/>
                </a:lnTo>
                <a:lnTo>
                  <a:pt x="65" y="5"/>
                </a:lnTo>
                <a:lnTo>
                  <a:pt x="65" y="3"/>
                </a:lnTo>
                <a:lnTo>
                  <a:pt x="65" y="1"/>
                </a:lnTo>
                <a:lnTo>
                  <a:pt x="67" y="0"/>
                </a:lnTo>
                <a:lnTo>
                  <a:pt x="121" y="36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66" name="Freeform 1093"/>
          <p:cNvSpPr>
            <a:spLocks/>
          </p:cNvSpPr>
          <p:nvPr/>
        </p:nvSpPr>
        <p:spPr bwMode="auto">
          <a:xfrm>
            <a:off x="5302200" y="3075024"/>
            <a:ext cx="342992" cy="287780"/>
          </a:xfrm>
          <a:custGeom>
            <a:avLst/>
            <a:gdLst/>
            <a:ahLst/>
            <a:cxnLst>
              <a:cxn ang="0">
                <a:pos x="55" y="146"/>
              </a:cxn>
              <a:cxn ang="0">
                <a:pos x="21" y="146"/>
              </a:cxn>
              <a:cxn ang="0">
                <a:pos x="0" y="146"/>
              </a:cxn>
              <a:cxn ang="0">
                <a:pos x="8" y="142"/>
              </a:cxn>
              <a:cxn ang="0">
                <a:pos x="23" y="136"/>
              </a:cxn>
              <a:cxn ang="0">
                <a:pos x="30" y="128"/>
              </a:cxn>
              <a:cxn ang="0">
                <a:pos x="39" y="121"/>
              </a:cxn>
              <a:cxn ang="0">
                <a:pos x="45" y="114"/>
              </a:cxn>
              <a:cxn ang="0">
                <a:pos x="49" y="99"/>
              </a:cxn>
              <a:cxn ang="0">
                <a:pos x="47" y="84"/>
              </a:cxn>
              <a:cxn ang="0">
                <a:pos x="57" y="70"/>
              </a:cxn>
              <a:cxn ang="0">
                <a:pos x="58" y="62"/>
              </a:cxn>
              <a:cxn ang="0">
                <a:pos x="69" y="48"/>
              </a:cxn>
              <a:cxn ang="0">
                <a:pos x="86" y="40"/>
              </a:cxn>
              <a:cxn ang="0">
                <a:pos x="97" y="29"/>
              </a:cxn>
              <a:cxn ang="0">
                <a:pos x="107" y="4"/>
              </a:cxn>
              <a:cxn ang="0">
                <a:pos x="117" y="5"/>
              </a:cxn>
              <a:cxn ang="0">
                <a:pos x="130" y="15"/>
              </a:cxn>
              <a:cxn ang="0">
                <a:pos x="143" y="13"/>
              </a:cxn>
              <a:cxn ang="0">
                <a:pos x="152" y="13"/>
              </a:cxn>
              <a:cxn ang="0">
                <a:pos x="159" y="15"/>
              </a:cxn>
              <a:cxn ang="0">
                <a:pos x="164" y="16"/>
              </a:cxn>
              <a:cxn ang="0">
                <a:pos x="168" y="21"/>
              </a:cxn>
              <a:cxn ang="0">
                <a:pos x="170" y="24"/>
              </a:cxn>
              <a:cxn ang="0">
                <a:pos x="171" y="30"/>
              </a:cxn>
              <a:cxn ang="0">
                <a:pos x="171" y="38"/>
              </a:cxn>
              <a:cxn ang="0">
                <a:pos x="172" y="43"/>
              </a:cxn>
              <a:cxn ang="0">
                <a:pos x="172" y="48"/>
              </a:cxn>
              <a:cxn ang="0">
                <a:pos x="174" y="52"/>
              </a:cxn>
              <a:cxn ang="0">
                <a:pos x="180" y="60"/>
              </a:cxn>
              <a:cxn ang="0">
                <a:pos x="178" y="63"/>
              </a:cxn>
              <a:cxn ang="0">
                <a:pos x="176" y="66"/>
              </a:cxn>
              <a:cxn ang="0">
                <a:pos x="168" y="66"/>
              </a:cxn>
              <a:cxn ang="0">
                <a:pos x="156" y="66"/>
              </a:cxn>
              <a:cxn ang="0">
                <a:pos x="152" y="68"/>
              </a:cxn>
              <a:cxn ang="0">
                <a:pos x="151" y="71"/>
              </a:cxn>
              <a:cxn ang="0">
                <a:pos x="146" y="74"/>
              </a:cxn>
              <a:cxn ang="0">
                <a:pos x="140" y="74"/>
              </a:cxn>
              <a:cxn ang="0">
                <a:pos x="136" y="77"/>
              </a:cxn>
              <a:cxn ang="0">
                <a:pos x="139" y="79"/>
              </a:cxn>
              <a:cxn ang="0">
                <a:pos x="138" y="85"/>
              </a:cxn>
              <a:cxn ang="0">
                <a:pos x="140" y="87"/>
              </a:cxn>
              <a:cxn ang="0">
                <a:pos x="127" y="93"/>
              </a:cxn>
              <a:cxn ang="0">
                <a:pos x="119" y="98"/>
              </a:cxn>
              <a:cxn ang="0">
                <a:pos x="118" y="103"/>
              </a:cxn>
              <a:cxn ang="0">
                <a:pos x="110" y="107"/>
              </a:cxn>
              <a:cxn ang="0">
                <a:pos x="102" y="109"/>
              </a:cxn>
              <a:cxn ang="0">
                <a:pos x="95" y="112"/>
              </a:cxn>
              <a:cxn ang="0">
                <a:pos x="90" y="112"/>
              </a:cxn>
              <a:cxn ang="0">
                <a:pos x="86" y="114"/>
              </a:cxn>
              <a:cxn ang="0">
                <a:pos x="78" y="117"/>
              </a:cxn>
            </a:cxnLst>
            <a:rect l="0" t="0" r="r" b="b"/>
            <a:pathLst>
              <a:path w="180" h="146">
                <a:moveTo>
                  <a:pt x="66" y="126"/>
                </a:moveTo>
                <a:lnTo>
                  <a:pt x="66" y="146"/>
                </a:lnTo>
                <a:lnTo>
                  <a:pt x="55" y="146"/>
                </a:lnTo>
                <a:lnTo>
                  <a:pt x="43" y="146"/>
                </a:lnTo>
                <a:lnTo>
                  <a:pt x="33" y="146"/>
                </a:lnTo>
                <a:lnTo>
                  <a:pt x="21" y="146"/>
                </a:lnTo>
                <a:lnTo>
                  <a:pt x="12" y="146"/>
                </a:lnTo>
                <a:lnTo>
                  <a:pt x="2" y="146"/>
                </a:lnTo>
                <a:lnTo>
                  <a:pt x="0" y="146"/>
                </a:lnTo>
                <a:lnTo>
                  <a:pt x="1" y="143"/>
                </a:lnTo>
                <a:lnTo>
                  <a:pt x="4" y="142"/>
                </a:lnTo>
                <a:lnTo>
                  <a:pt x="8" y="142"/>
                </a:lnTo>
                <a:lnTo>
                  <a:pt x="13" y="140"/>
                </a:lnTo>
                <a:lnTo>
                  <a:pt x="21" y="137"/>
                </a:lnTo>
                <a:lnTo>
                  <a:pt x="23" y="136"/>
                </a:lnTo>
                <a:lnTo>
                  <a:pt x="26" y="131"/>
                </a:lnTo>
                <a:lnTo>
                  <a:pt x="27" y="131"/>
                </a:lnTo>
                <a:lnTo>
                  <a:pt x="30" y="128"/>
                </a:lnTo>
                <a:lnTo>
                  <a:pt x="35" y="126"/>
                </a:lnTo>
                <a:lnTo>
                  <a:pt x="38" y="123"/>
                </a:lnTo>
                <a:lnTo>
                  <a:pt x="39" y="121"/>
                </a:lnTo>
                <a:lnTo>
                  <a:pt x="41" y="121"/>
                </a:lnTo>
                <a:lnTo>
                  <a:pt x="42" y="120"/>
                </a:lnTo>
                <a:lnTo>
                  <a:pt x="45" y="114"/>
                </a:lnTo>
                <a:lnTo>
                  <a:pt x="50" y="106"/>
                </a:lnTo>
                <a:lnTo>
                  <a:pt x="50" y="104"/>
                </a:lnTo>
                <a:lnTo>
                  <a:pt x="49" y="99"/>
                </a:lnTo>
                <a:lnTo>
                  <a:pt x="46" y="95"/>
                </a:lnTo>
                <a:lnTo>
                  <a:pt x="47" y="92"/>
                </a:lnTo>
                <a:lnTo>
                  <a:pt x="47" y="84"/>
                </a:lnTo>
                <a:lnTo>
                  <a:pt x="47" y="82"/>
                </a:lnTo>
                <a:lnTo>
                  <a:pt x="53" y="73"/>
                </a:lnTo>
                <a:lnTo>
                  <a:pt x="57" y="70"/>
                </a:lnTo>
                <a:lnTo>
                  <a:pt x="55" y="71"/>
                </a:lnTo>
                <a:lnTo>
                  <a:pt x="58" y="65"/>
                </a:lnTo>
                <a:lnTo>
                  <a:pt x="58" y="62"/>
                </a:lnTo>
                <a:lnTo>
                  <a:pt x="63" y="54"/>
                </a:lnTo>
                <a:lnTo>
                  <a:pt x="66" y="51"/>
                </a:lnTo>
                <a:lnTo>
                  <a:pt x="69" y="48"/>
                </a:lnTo>
                <a:lnTo>
                  <a:pt x="74" y="46"/>
                </a:lnTo>
                <a:lnTo>
                  <a:pt x="82" y="43"/>
                </a:lnTo>
                <a:lnTo>
                  <a:pt x="86" y="40"/>
                </a:lnTo>
                <a:lnTo>
                  <a:pt x="91" y="37"/>
                </a:lnTo>
                <a:lnTo>
                  <a:pt x="95" y="33"/>
                </a:lnTo>
                <a:lnTo>
                  <a:pt x="97" y="29"/>
                </a:lnTo>
                <a:lnTo>
                  <a:pt x="99" y="24"/>
                </a:lnTo>
                <a:lnTo>
                  <a:pt x="103" y="16"/>
                </a:lnTo>
                <a:lnTo>
                  <a:pt x="107" y="4"/>
                </a:lnTo>
                <a:lnTo>
                  <a:pt x="109" y="2"/>
                </a:lnTo>
                <a:lnTo>
                  <a:pt x="115" y="0"/>
                </a:lnTo>
                <a:lnTo>
                  <a:pt x="117" y="5"/>
                </a:lnTo>
                <a:lnTo>
                  <a:pt x="121" y="10"/>
                </a:lnTo>
                <a:lnTo>
                  <a:pt x="127" y="13"/>
                </a:lnTo>
                <a:lnTo>
                  <a:pt x="130" y="15"/>
                </a:lnTo>
                <a:lnTo>
                  <a:pt x="136" y="11"/>
                </a:lnTo>
                <a:lnTo>
                  <a:pt x="138" y="13"/>
                </a:lnTo>
                <a:lnTo>
                  <a:pt x="143" y="13"/>
                </a:lnTo>
                <a:lnTo>
                  <a:pt x="148" y="13"/>
                </a:lnTo>
                <a:lnTo>
                  <a:pt x="150" y="11"/>
                </a:lnTo>
                <a:lnTo>
                  <a:pt x="152" y="13"/>
                </a:lnTo>
                <a:lnTo>
                  <a:pt x="154" y="15"/>
                </a:lnTo>
                <a:lnTo>
                  <a:pt x="156" y="15"/>
                </a:lnTo>
                <a:lnTo>
                  <a:pt x="159" y="15"/>
                </a:lnTo>
                <a:lnTo>
                  <a:pt x="160" y="15"/>
                </a:lnTo>
                <a:lnTo>
                  <a:pt x="166" y="16"/>
                </a:lnTo>
                <a:lnTo>
                  <a:pt x="164" y="16"/>
                </a:lnTo>
                <a:lnTo>
                  <a:pt x="166" y="18"/>
                </a:lnTo>
                <a:lnTo>
                  <a:pt x="167" y="19"/>
                </a:lnTo>
                <a:lnTo>
                  <a:pt x="168" y="21"/>
                </a:lnTo>
                <a:lnTo>
                  <a:pt x="170" y="22"/>
                </a:lnTo>
                <a:lnTo>
                  <a:pt x="171" y="22"/>
                </a:lnTo>
                <a:lnTo>
                  <a:pt x="170" y="24"/>
                </a:lnTo>
                <a:lnTo>
                  <a:pt x="171" y="27"/>
                </a:lnTo>
                <a:lnTo>
                  <a:pt x="170" y="29"/>
                </a:lnTo>
                <a:lnTo>
                  <a:pt x="171" y="30"/>
                </a:lnTo>
                <a:lnTo>
                  <a:pt x="171" y="33"/>
                </a:lnTo>
                <a:lnTo>
                  <a:pt x="171" y="37"/>
                </a:lnTo>
                <a:lnTo>
                  <a:pt x="171" y="38"/>
                </a:lnTo>
                <a:lnTo>
                  <a:pt x="171" y="40"/>
                </a:lnTo>
                <a:lnTo>
                  <a:pt x="172" y="41"/>
                </a:lnTo>
                <a:lnTo>
                  <a:pt x="172" y="43"/>
                </a:lnTo>
                <a:lnTo>
                  <a:pt x="172" y="44"/>
                </a:lnTo>
                <a:lnTo>
                  <a:pt x="172" y="46"/>
                </a:lnTo>
                <a:lnTo>
                  <a:pt x="172" y="48"/>
                </a:lnTo>
                <a:lnTo>
                  <a:pt x="172" y="49"/>
                </a:lnTo>
                <a:lnTo>
                  <a:pt x="174" y="51"/>
                </a:lnTo>
                <a:lnTo>
                  <a:pt x="174" y="52"/>
                </a:lnTo>
                <a:lnTo>
                  <a:pt x="175" y="57"/>
                </a:lnTo>
                <a:lnTo>
                  <a:pt x="178" y="59"/>
                </a:lnTo>
                <a:lnTo>
                  <a:pt x="180" y="60"/>
                </a:lnTo>
                <a:lnTo>
                  <a:pt x="179" y="60"/>
                </a:lnTo>
                <a:lnTo>
                  <a:pt x="179" y="62"/>
                </a:lnTo>
                <a:lnTo>
                  <a:pt x="178" y="63"/>
                </a:lnTo>
                <a:lnTo>
                  <a:pt x="176" y="65"/>
                </a:lnTo>
                <a:lnTo>
                  <a:pt x="178" y="66"/>
                </a:lnTo>
                <a:lnTo>
                  <a:pt x="176" y="66"/>
                </a:lnTo>
                <a:lnTo>
                  <a:pt x="175" y="66"/>
                </a:lnTo>
                <a:lnTo>
                  <a:pt x="171" y="66"/>
                </a:lnTo>
                <a:lnTo>
                  <a:pt x="168" y="66"/>
                </a:lnTo>
                <a:lnTo>
                  <a:pt x="167" y="66"/>
                </a:lnTo>
                <a:lnTo>
                  <a:pt x="159" y="66"/>
                </a:lnTo>
                <a:lnTo>
                  <a:pt x="156" y="66"/>
                </a:lnTo>
                <a:lnTo>
                  <a:pt x="155" y="68"/>
                </a:lnTo>
                <a:lnTo>
                  <a:pt x="154" y="68"/>
                </a:lnTo>
                <a:lnTo>
                  <a:pt x="152" y="68"/>
                </a:lnTo>
                <a:lnTo>
                  <a:pt x="151" y="68"/>
                </a:lnTo>
                <a:lnTo>
                  <a:pt x="151" y="70"/>
                </a:lnTo>
                <a:lnTo>
                  <a:pt x="151" y="71"/>
                </a:lnTo>
                <a:lnTo>
                  <a:pt x="151" y="73"/>
                </a:lnTo>
                <a:lnTo>
                  <a:pt x="150" y="73"/>
                </a:lnTo>
                <a:lnTo>
                  <a:pt x="146" y="74"/>
                </a:lnTo>
                <a:lnTo>
                  <a:pt x="144" y="74"/>
                </a:lnTo>
                <a:lnTo>
                  <a:pt x="142" y="74"/>
                </a:lnTo>
                <a:lnTo>
                  <a:pt x="140" y="74"/>
                </a:lnTo>
                <a:lnTo>
                  <a:pt x="139" y="74"/>
                </a:lnTo>
                <a:lnTo>
                  <a:pt x="138" y="76"/>
                </a:lnTo>
                <a:lnTo>
                  <a:pt x="136" y="77"/>
                </a:lnTo>
                <a:lnTo>
                  <a:pt x="136" y="79"/>
                </a:lnTo>
                <a:lnTo>
                  <a:pt x="138" y="79"/>
                </a:lnTo>
                <a:lnTo>
                  <a:pt x="139" y="79"/>
                </a:lnTo>
                <a:lnTo>
                  <a:pt x="139" y="81"/>
                </a:lnTo>
                <a:lnTo>
                  <a:pt x="138" y="82"/>
                </a:lnTo>
                <a:lnTo>
                  <a:pt x="138" y="85"/>
                </a:lnTo>
                <a:lnTo>
                  <a:pt x="139" y="84"/>
                </a:lnTo>
                <a:lnTo>
                  <a:pt x="139" y="85"/>
                </a:lnTo>
                <a:lnTo>
                  <a:pt x="140" y="87"/>
                </a:lnTo>
                <a:lnTo>
                  <a:pt x="140" y="88"/>
                </a:lnTo>
                <a:lnTo>
                  <a:pt x="135" y="88"/>
                </a:lnTo>
                <a:lnTo>
                  <a:pt x="127" y="93"/>
                </a:lnTo>
                <a:lnTo>
                  <a:pt x="126" y="95"/>
                </a:lnTo>
                <a:lnTo>
                  <a:pt x="122" y="95"/>
                </a:lnTo>
                <a:lnTo>
                  <a:pt x="119" y="98"/>
                </a:lnTo>
                <a:lnTo>
                  <a:pt x="118" y="99"/>
                </a:lnTo>
                <a:lnTo>
                  <a:pt x="118" y="101"/>
                </a:lnTo>
                <a:lnTo>
                  <a:pt x="118" y="103"/>
                </a:lnTo>
                <a:lnTo>
                  <a:pt x="117" y="104"/>
                </a:lnTo>
                <a:lnTo>
                  <a:pt x="114" y="106"/>
                </a:lnTo>
                <a:lnTo>
                  <a:pt x="110" y="107"/>
                </a:lnTo>
                <a:lnTo>
                  <a:pt x="105" y="107"/>
                </a:lnTo>
                <a:lnTo>
                  <a:pt x="103" y="107"/>
                </a:lnTo>
                <a:lnTo>
                  <a:pt x="102" y="109"/>
                </a:lnTo>
                <a:lnTo>
                  <a:pt x="97" y="109"/>
                </a:lnTo>
                <a:lnTo>
                  <a:pt x="97" y="112"/>
                </a:lnTo>
                <a:lnTo>
                  <a:pt x="95" y="112"/>
                </a:lnTo>
                <a:lnTo>
                  <a:pt x="94" y="112"/>
                </a:lnTo>
                <a:lnTo>
                  <a:pt x="91" y="112"/>
                </a:lnTo>
                <a:lnTo>
                  <a:pt x="90" y="112"/>
                </a:lnTo>
                <a:lnTo>
                  <a:pt x="89" y="112"/>
                </a:lnTo>
                <a:lnTo>
                  <a:pt x="87" y="112"/>
                </a:lnTo>
                <a:lnTo>
                  <a:pt x="86" y="114"/>
                </a:lnTo>
                <a:lnTo>
                  <a:pt x="83" y="115"/>
                </a:lnTo>
                <a:lnTo>
                  <a:pt x="82" y="117"/>
                </a:lnTo>
                <a:lnTo>
                  <a:pt x="78" y="117"/>
                </a:lnTo>
                <a:lnTo>
                  <a:pt x="73" y="120"/>
                </a:lnTo>
                <a:lnTo>
                  <a:pt x="66" y="126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67" name="Freeform 1094"/>
          <p:cNvSpPr>
            <a:spLocks/>
          </p:cNvSpPr>
          <p:nvPr/>
        </p:nvSpPr>
        <p:spPr bwMode="auto">
          <a:xfrm>
            <a:off x="5302200" y="3075024"/>
            <a:ext cx="342992" cy="287780"/>
          </a:xfrm>
          <a:custGeom>
            <a:avLst/>
            <a:gdLst/>
            <a:ahLst/>
            <a:cxnLst>
              <a:cxn ang="0">
                <a:pos x="55" y="146"/>
              </a:cxn>
              <a:cxn ang="0">
                <a:pos x="21" y="146"/>
              </a:cxn>
              <a:cxn ang="0">
                <a:pos x="0" y="146"/>
              </a:cxn>
              <a:cxn ang="0">
                <a:pos x="8" y="142"/>
              </a:cxn>
              <a:cxn ang="0">
                <a:pos x="23" y="136"/>
              </a:cxn>
              <a:cxn ang="0">
                <a:pos x="30" y="128"/>
              </a:cxn>
              <a:cxn ang="0">
                <a:pos x="39" y="121"/>
              </a:cxn>
              <a:cxn ang="0">
                <a:pos x="45" y="114"/>
              </a:cxn>
              <a:cxn ang="0">
                <a:pos x="49" y="99"/>
              </a:cxn>
              <a:cxn ang="0">
                <a:pos x="47" y="84"/>
              </a:cxn>
              <a:cxn ang="0">
                <a:pos x="57" y="70"/>
              </a:cxn>
              <a:cxn ang="0">
                <a:pos x="58" y="62"/>
              </a:cxn>
              <a:cxn ang="0">
                <a:pos x="69" y="48"/>
              </a:cxn>
              <a:cxn ang="0">
                <a:pos x="86" y="40"/>
              </a:cxn>
              <a:cxn ang="0">
                <a:pos x="97" y="29"/>
              </a:cxn>
              <a:cxn ang="0">
                <a:pos x="107" y="4"/>
              </a:cxn>
              <a:cxn ang="0">
                <a:pos x="117" y="5"/>
              </a:cxn>
              <a:cxn ang="0">
                <a:pos x="130" y="15"/>
              </a:cxn>
              <a:cxn ang="0">
                <a:pos x="143" y="13"/>
              </a:cxn>
              <a:cxn ang="0">
                <a:pos x="152" y="13"/>
              </a:cxn>
              <a:cxn ang="0">
                <a:pos x="159" y="15"/>
              </a:cxn>
              <a:cxn ang="0">
                <a:pos x="164" y="16"/>
              </a:cxn>
              <a:cxn ang="0">
                <a:pos x="168" y="21"/>
              </a:cxn>
              <a:cxn ang="0">
                <a:pos x="170" y="24"/>
              </a:cxn>
              <a:cxn ang="0">
                <a:pos x="171" y="30"/>
              </a:cxn>
              <a:cxn ang="0">
                <a:pos x="171" y="38"/>
              </a:cxn>
              <a:cxn ang="0">
                <a:pos x="172" y="43"/>
              </a:cxn>
              <a:cxn ang="0">
                <a:pos x="172" y="48"/>
              </a:cxn>
              <a:cxn ang="0">
                <a:pos x="174" y="52"/>
              </a:cxn>
              <a:cxn ang="0">
                <a:pos x="180" y="60"/>
              </a:cxn>
              <a:cxn ang="0">
                <a:pos x="178" y="63"/>
              </a:cxn>
              <a:cxn ang="0">
                <a:pos x="176" y="66"/>
              </a:cxn>
              <a:cxn ang="0">
                <a:pos x="168" y="66"/>
              </a:cxn>
              <a:cxn ang="0">
                <a:pos x="156" y="66"/>
              </a:cxn>
              <a:cxn ang="0">
                <a:pos x="152" y="68"/>
              </a:cxn>
              <a:cxn ang="0">
                <a:pos x="151" y="71"/>
              </a:cxn>
              <a:cxn ang="0">
                <a:pos x="146" y="74"/>
              </a:cxn>
              <a:cxn ang="0">
                <a:pos x="140" y="74"/>
              </a:cxn>
              <a:cxn ang="0">
                <a:pos x="136" y="77"/>
              </a:cxn>
              <a:cxn ang="0">
                <a:pos x="139" y="79"/>
              </a:cxn>
              <a:cxn ang="0">
                <a:pos x="138" y="85"/>
              </a:cxn>
              <a:cxn ang="0">
                <a:pos x="140" y="87"/>
              </a:cxn>
              <a:cxn ang="0">
                <a:pos x="127" y="93"/>
              </a:cxn>
              <a:cxn ang="0">
                <a:pos x="119" y="98"/>
              </a:cxn>
              <a:cxn ang="0">
                <a:pos x="118" y="103"/>
              </a:cxn>
              <a:cxn ang="0">
                <a:pos x="110" y="107"/>
              </a:cxn>
              <a:cxn ang="0">
                <a:pos x="102" y="109"/>
              </a:cxn>
              <a:cxn ang="0">
                <a:pos x="95" y="112"/>
              </a:cxn>
              <a:cxn ang="0">
                <a:pos x="90" y="112"/>
              </a:cxn>
              <a:cxn ang="0">
                <a:pos x="86" y="114"/>
              </a:cxn>
              <a:cxn ang="0">
                <a:pos x="78" y="117"/>
              </a:cxn>
            </a:cxnLst>
            <a:rect l="0" t="0" r="r" b="b"/>
            <a:pathLst>
              <a:path w="180" h="146">
                <a:moveTo>
                  <a:pt x="66" y="126"/>
                </a:moveTo>
                <a:lnTo>
                  <a:pt x="66" y="146"/>
                </a:lnTo>
                <a:lnTo>
                  <a:pt x="55" y="146"/>
                </a:lnTo>
                <a:lnTo>
                  <a:pt x="43" y="146"/>
                </a:lnTo>
                <a:lnTo>
                  <a:pt x="33" y="146"/>
                </a:lnTo>
                <a:lnTo>
                  <a:pt x="21" y="146"/>
                </a:lnTo>
                <a:lnTo>
                  <a:pt x="12" y="146"/>
                </a:lnTo>
                <a:lnTo>
                  <a:pt x="2" y="146"/>
                </a:lnTo>
                <a:lnTo>
                  <a:pt x="0" y="146"/>
                </a:lnTo>
                <a:lnTo>
                  <a:pt x="1" y="143"/>
                </a:lnTo>
                <a:lnTo>
                  <a:pt x="4" y="142"/>
                </a:lnTo>
                <a:lnTo>
                  <a:pt x="8" y="142"/>
                </a:lnTo>
                <a:lnTo>
                  <a:pt x="13" y="140"/>
                </a:lnTo>
                <a:lnTo>
                  <a:pt x="21" y="137"/>
                </a:lnTo>
                <a:lnTo>
                  <a:pt x="23" y="136"/>
                </a:lnTo>
                <a:lnTo>
                  <a:pt x="26" y="131"/>
                </a:lnTo>
                <a:lnTo>
                  <a:pt x="27" y="131"/>
                </a:lnTo>
                <a:lnTo>
                  <a:pt x="30" y="128"/>
                </a:lnTo>
                <a:lnTo>
                  <a:pt x="35" y="126"/>
                </a:lnTo>
                <a:lnTo>
                  <a:pt x="38" y="123"/>
                </a:lnTo>
                <a:lnTo>
                  <a:pt x="39" y="121"/>
                </a:lnTo>
                <a:lnTo>
                  <a:pt x="41" y="121"/>
                </a:lnTo>
                <a:lnTo>
                  <a:pt x="42" y="120"/>
                </a:lnTo>
                <a:lnTo>
                  <a:pt x="45" y="114"/>
                </a:lnTo>
                <a:lnTo>
                  <a:pt x="50" y="106"/>
                </a:lnTo>
                <a:lnTo>
                  <a:pt x="50" y="104"/>
                </a:lnTo>
                <a:lnTo>
                  <a:pt x="49" y="99"/>
                </a:lnTo>
                <a:lnTo>
                  <a:pt x="46" y="95"/>
                </a:lnTo>
                <a:lnTo>
                  <a:pt x="47" y="92"/>
                </a:lnTo>
                <a:lnTo>
                  <a:pt x="47" y="84"/>
                </a:lnTo>
                <a:lnTo>
                  <a:pt x="47" y="82"/>
                </a:lnTo>
                <a:lnTo>
                  <a:pt x="53" y="73"/>
                </a:lnTo>
                <a:lnTo>
                  <a:pt x="57" y="70"/>
                </a:lnTo>
                <a:lnTo>
                  <a:pt x="55" y="71"/>
                </a:lnTo>
                <a:lnTo>
                  <a:pt x="58" y="65"/>
                </a:lnTo>
                <a:lnTo>
                  <a:pt x="58" y="62"/>
                </a:lnTo>
                <a:lnTo>
                  <a:pt x="63" y="54"/>
                </a:lnTo>
                <a:lnTo>
                  <a:pt x="66" y="51"/>
                </a:lnTo>
                <a:lnTo>
                  <a:pt x="69" y="48"/>
                </a:lnTo>
                <a:lnTo>
                  <a:pt x="74" y="46"/>
                </a:lnTo>
                <a:lnTo>
                  <a:pt x="82" y="43"/>
                </a:lnTo>
                <a:lnTo>
                  <a:pt x="86" y="40"/>
                </a:lnTo>
                <a:lnTo>
                  <a:pt x="91" y="37"/>
                </a:lnTo>
                <a:lnTo>
                  <a:pt x="95" y="33"/>
                </a:lnTo>
                <a:lnTo>
                  <a:pt x="97" y="29"/>
                </a:lnTo>
                <a:lnTo>
                  <a:pt x="99" y="24"/>
                </a:lnTo>
                <a:lnTo>
                  <a:pt x="103" y="16"/>
                </a:lnTo>
                <a:lnTo>
                  <a:pt x="107" y="4"/>
                </a:lnTo>
                <a:lnTo>
                  <a:pt x="109" y="2"/>
                </a:lnTo>
                <a:lnTo>
                  <a:pt x="115" y="0"/>
                </a:lnTo>
                <a:lnTo>
                  <a:pt x="117" y="5"/>
                </a:lnTo>
                <a:lnTo>
                  <a:pt x="121" y="10"/>
                </a:lnTo>
                <a:lnTo>
                  <a:pt x="127" y="13"/>
                </a:lnTo>
                <a:lnTo>
                  <a:pt x="130" y="15"/>
                </a:lnTo>
                <a:lnTo>
                  <a:pt x="136" y="11"/>
                </a:lnTo>
                <a:lnTo>
                  <a:pt x="138" y="13"/>
                </a:lnTo>
                <a:lnTo>
                  <a:pt x="143" y="13"/>
                </a:lnTo>
                <a:lnTo>
                  <a:pt x="148" y="13"/>
                </a:lnTo>
                <a:lnTo>
                  <a:pt x="150" y="11"/>
                </a:lnTo>
                <a:lnTo>
                  <a:pt x="152" y="13"/>
                </a:lnTo>
                <a:lnTo>
                  <a:pt x="154" y="15"/>
                </a:lnTo>
                <a:lnTo>
                  <a:pt x="156" y="15"/>
                </a:lnTo>
                <a:lnTo>
                  <a:pt x="159" y="15"/>
                </a:lnTo>
                <a:lnTo>
                  <a:pt x="160" y="15"/>
                </a:lnTo>
                <a:lnTo>
                  <a:pt x="166" y="16"/>
                </a:lnTo>
                <a:lnTo>
                  <a:pt x="164" y="16"/>
                </a:lnTo>
                <a:lnTo>
                  <a:pt x="166" y="18"/>
                </a:lnTo>
                <a:lnTo>
                  <a:pt x="167" y="19"/>
                </a:lnTo>
                <a:lnTo>
                  <a:pt x="168" y="21"/>
                </a:lnTo>
                <a:lnTo>
                  <a:pt x="170" y="22"/>
                </a:lnTo>
                <a:lnTo>
                  <a:pt x="171" y="22"/>
                </a:lnTo>
                <a:lnTo>
                  <a:pt x="170" y="24"/>
                </a:lnTo>
                <a:lnTo>
                  <a:pt x="171" y="27"/>
                </a:lnTo>
                <a:lnTo>
                  <a:pt x="170" y="29"/>
                </a:lnTo>
                <a:lnTo>
                  <a:pt x="171" y="30"/>
                </a:lnTo>
                <a:lnTo>
                  <a:pt x="171" y="33"/>
                </a:lnTo>
                <a:lnTo>
                  <a:pt x="171" y="37"/>
                </a:lnTo>
                <a:lnTo>
                  <a:pt x="171" y="38"/>
                </a:lnTo>
                <a:lnTo>
                  <a:pt x="171" y="40"/>
                </a:lnTo>
                <a:lnTo>
                  <a:pt x="172" y="41"/>
                </a:lnTo>
                <a:lnTo>
                  <a:pt x="172" y="43"/>
                </a:lnTo>
                <a:lnTo>
                  <a:pt x="172" y="44"/>
                </a:lnTo>
                <a:lnTo>
                  <a:pt x="172" y="46"/>
                </a:lnTo>
                <a:lnTo>
                  <a:pt x="172" y="48"/>
                </a:lnTo>
                <a:lnTo>
                  <a:pt x="172" y="49"/>
                </a:lnTo>
                <a:lnTo>
                  <a:pt x="174" y="51"/>
                </a:lnTo>
                <a:lnTo>
                  <a:pt x="174" y="52"/>
                </a:lnTo>
                <a:lnTo>
                  <a:pt x="175" y="57"/>
                </a:lnTo>
                <a:lnTo>
                  <a:pt x="178" y="59"/>
                </a:lnTo>
                <a:lnTo>
                  <a:pt x="180" y="60"/>
                </a:lnTo>
                <a:lnTo>
                  <a:pt x="179" y="60"/>
                </a:lnTo>
                <a:lnTo>
                  <a:pt x="179" y="62"/>
                </a:lnTo>
                <a:lnTo>
                  <a:pt x="178" y="63"/>
                </a:lnTo>
                <a:lnTo>
                  <a:pt x="176" y="65"/>
                </a:lnTo>
                <a:lnTo>
                  <a:pt x="178" y="66"/>
                </a:lnTo>
                <a:lnTo>
                  <a:pt x="176" y="66"/>
                </a:lnTo>
                <a:lnTo>
                  <a:pt x="175" y="66"/>
                </a:lnTo>
                <a:lnTo>
                  <a:pt x="171" y="66"/>
                </a:lnTo>
                <a:lnTo>
                  <a:pt x="168" y="66"/>
                </a:lnTo>
                <a:lnTo>
                  <a:pt x="167" y="66"/>
                </a:lnTo>
                <a:lnTo>
                  <a:pt x="159" y="66"/>
                </a:lnTo>
                <a:lnTo>
                  <a:pt x="156" y="66"/>
                </a:lnTo>
                <a:lnTo>
                  <a:pt x="155" y="68"/>
                </a:lnTo>
                <a:lnTo>
                  <a:pt x="154" y="68"/>
                </a:lnTo>
                <a:lnTo>
                  <a:pt x="152" y="68"/>
                </a:lnTo>
                <a:lnTo>
                  <a:pt x="151" y="68"/>
                </a:lnTo>
                <a:lnTo>
                  <a:pt x="151" y="70"/>
                </a:lnTo>
                <a:lnTo>
                  <a:pt x="151" y="71"/>
                </a:lnTo>
                <a:lnTo>
                  <a:pt x="151" y="73"/>
                </a:lnTo>
                <a:lnTo>
                  <a:pt x="150" y="73"/>
                </a:lnTo>
                <a:lnTo>
                  <a:pt x="146" y="74"/>
                </a:lnTo>
                <a:lnTo>
                  <a:pt x="144" y="74"/>
                </a:lnTo>
                <a:lnTo>
                  <a:pt x="142" y="74"/>
                </a:lnTo>
                <a:lnTo>
                  <a:pt x="140" y="74"/>
                </a:lnTo>
                <a:lnTo>
                  <a:pt x="139" y="74"/>
                </a:lnTo>
                <a:lnTo>
                  <a:pt x="138" y="76"/>
                </a:lnTo>
                <a:lnTo>
                  <a:pt x="136" y="77"/>
                </a:lnTo>
                <a:lnTo>
                  <a:pt x="136" y="79"/>
                </a:lnTo>
                <a:lnTo>
                  <a:pt x="138" y="79"/>
                </a:lnTo>
                <a:lnTo>
                  <a:pt x="139" y="79"/>
                </a:lnTo>
                <a:lnTo>
                  <a:pt x="139" y="81"/>
                </a:lnTo>
                <a:lnTo>
                  <a:pt x="138" y="82"/>
                </a:lnTo>
                <a:lnTo>
                  <a:pt x="138" y="85"/>
                </a:lnTo>
                <a:lnTo>
                  <a:pt x="139" y="84"/>
                </a:lnTo>
                <a:lnTo>
                  <a:pt x="139" y="85"/>
                </a:lnTo>
                <a:lnTo>
                  <a:pt x="140" y="87"/>
                </a:lnTo>
                <a:lnTo>
                  <a:pt x="140" y="88"/>
                </a:lnTo>
                <a:lnTo>
                  <a:pt x="135" y="88"/>
                </a:lnTo>
                <a:lnTo>
                  <a:pt x="127" y="93"/>
                </a:lnTo>
                <a:lnTo>
                  <a:pt x="126" y="95"/>
                </a:lnTo>
                <a:lnTo>
                  <a:pt x="122" y="95"/>
                </a:lnTo>
                <a:lnTo>
                  <a:pt x="119" y="98"/>
                </a:lnTo>
                <a:lnTo>
                  <a:pt x="118" y="99"/>
                </a:lnTo>
                <a:lnTo>
                  <a:pt x="118" y="101"/>
                </a:lnTo>
                <a:lnTo>
                  <a:pt x="118" y="103"/>
                </a:lnTo>
                <a:lnTo>
                  <a:pt x="117" y="104"/>
                </a:lnTo>
                <a:lnTo>
                  <a:pt x="114" y="106"/>
                </a:lnTo>
                <a:lnTo>
                  <a:pt x="110" y="107"/>
                </a:lnTo>
                <a:lnTo>
                  <a:pt x="105" y="107"/>
                </a:lnTo>
                <a:lnTo>
                  <a:pt x="103" y="107"/>
                </a:lnTo>
                <a:lnTo>
                  <a:pt x="102" y="109"/>
                </a:lnTo>
                <a:lnTo>
                  <a:pt x="97" y="109"/>
                </a:lnTo>
                <a:lnTo>
                  <a:pt x="97" y="112"/>
                </a:lnTo>
                <a:lnTo>
                  <a:pt x="95" y="112"/>
                </a:lnTo>
                <a:lnTo>
                  <a:pt x="94" y="112"/>
                </a:lnTo>
                <a:lnTo>
                  <a:pt x="91" y="112"/>
                </a:lnTo>
                <a:lnTo>
                  <a:pt x="90" y="112"/>
                </a:lnTo>
                <a:lnTo>
                  <a:pt x="89" y="112"/>
                </a:lnTo>
                <a:lnTo>
                  <a:pt x="87" y="112"/>
                </a:lnTo>
                <a:lnTo>
                  <a:pt x="86" y="114"/>
                </a:lnTo>
                <a:lnTo>
                  <a:pt x="83" y="115"/>
                </a:lnTo>
                <a:lnTo>
                  <a:pt x="82" y="117"/>
                </a:lnTo>
                <a:lnTo>
                  <a:pt x="78" y="117"/>
                </a:lnTo>
                <a:lnTo>
                  <a:pt x="73" y="120"/>
                </a:lnTo>
                <a:lnTo>
                  <a:pt x="66" y="126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68" name="Freeform 1095"/>
          <p:cNvSpPr>
            <a:spLocks/>
          </p:cNvSpPr>
          <p:nvPr/>
        </p:nvSpPr>
        <p:spPr bwMode="auto">
          <a:xfrm>
            <a:off x="5290509" y="3992053"/>
            <a:ext cx="85747" cy="107381"/>
          </a:xfrm>
          <a:custGeom>
            <a:avLst/>
            <a:gdLst/>
            <a:ahLst/>
            <a:cxnLst>
              <a:cxn ang="0">
                <a:pos x="3" y="17"/>
              </a:cxn>
              <a:cxn ang="0">
                <a:pos x="6" y="17"/>
              </a:cxn>
              <a:cxn ang="0">
                <a:pos x="8" y="12"/>
              </a:cxn>
              <a:cxn ang="0">
                <a:pos x="11" y="11"/>
              </a:cxn>
              <a:cxn ang="0">
                <a:pos x="14" y="6"/>
              </a:cxn>
              <a:cxn ang="0">
                <a:pos x="14" y="3"/>
              </a:cxn>
              <a:cxn ang="0">
                <a:pos x="18" y="3"/>
              </a:cxn>
              <a:cxn ang="0">
                <a:pos x="22" y="3"/>
              </a:cxn>
              <a:cxn ang="0">
                <a:pos x="28" y="0"/>
              </a:cxn>
              <a:cxn ang="0">
                <a:pos x="33" y="3"/>
              </a:cxn>
              <a:cxn ang="0">
                <a:pos x="36" y="6"/>
              </a:cxn>
              <a:cxn ang="0">
                <a:pos x="37" y="7"/>
              </a:cxn>
              <a:cxn ang="0">
                <a:pos x="37" y="11"/>
              </a:cxn>
              <a:cxn ang="0">
                <a:pos x="40" y="12"/>
              </a:cxn>
              <a:cxn ang="0">
                <a:pos x="40" y="15"/>
              </a:cxn>
              <a:cxn ang="0">
                <a:pos x="41" y="18"/>
              </a:cxn>
              <a:cxn ang="0">
                <a:pos x="43" y="23"/>
              </a:cxn>
              <a:cxn ang="0">
                <a:pos x="40" y="28"/>
              </a:cxn>
              <a:cxn ang="0">
                <a:pos x="43" y="28"/>
              </a:cxn>
              <a:cxn ang="0">
                <a:pos x="45" y="26"/>
              </a:cxn>
              <a:cxn ang="0">
                <a:pos x="45" y="29"/>
              </a:cxn>
              <a:cxn ang="0">
                <a:pos x="45" y="33"/>
              </a:cxn>
              <a:cxn ang="0">
                <a:pos x="43" y="34"/>
              </a:cxn>
              <a:cxn ang="0">
                <a:pos x="41" y="40"/>
              </a:cxn>
              <a:cxn ang="0">
                <a:pos x="40" y="42"/>
              </a:cxn>
              <a:cxn ang="0">
                <a:pos x="37" y="44"/>
              </a:cxn>
              <a:cxn ang="0">
                <a:pos x="33" y="48"/>
              </a:cxn>
              <a:cxn ang="0">
                <a:pos x="31" y="48"/>
              </a:cxn>
              <a:cxn ang="0">
                <a:pos x="31" y="51"/>
              </a:cxn>
              <a:cxn ang="0">
                <a:pos x="28" y="55"/>
              </a:cxn>
              <a:cxn ang="0">
                <a:pos x="18" y="48"/>
              </a:cxn>
              <a:cxn ang="0">
                <a:pos x="15" y="45"/>
              </a:cxn>
              <a:cxn ang="0">
                <a:pos x="10" y="40"/>
              </a:cxn>
              <a:cxn ang="0">
                <a:pos x="7" y="37"/>
              </a:cxn>
              <a:cxn ang="0">
                <a:pos x="6" y="34"/>
              </a:cxn>
              <a:cxn ang="0">
                <a:pos x="3" y="33"/>
              </a:cxn>
              <a:cxn ang="0">
                <a:pos x="2" y="28"/>
              </a:cxn>
              <a:cxn ang="0">
                <a:pos x="4" y="28"/>
              </a:cxn>
              <a:cxn ang="0">
                <a:pos x="2" y="26"/>
              </a:cxn>
              <a:cxn ang="0">
                <a:pos x="2" y="22"/>
              </a:cxn>
              <a:cxn ang="0">
                <a:pos x="0" y="20"/>
              </a:cxn>
              <a:cxn ang="0">
                <a:pos x="2" y="17"/>
              </a:cxn>
            </a:cxnLst>
            <a:rect l="0" t="0" r="r" b="b"/>
            <a:pathLst>
              <a:path w="45" h="55">
                <a:moveTo>
                  <a:pt x="2" y="17"/>
                </a:moveTo>
                <a:lnTo>
                  <a:pt x="3" y="17"/>
                </a:lnTo>
                <a:lnTo>
                  <a:pt x="4" y="17"/>
                </a:lnTo>
                <a:lnTo>
                  <a:pt x="6" y="17"/>
                </a:lnTo>
                <a:lnTo>
                  <a:pt x="7" y="14"/>
                </a:lnTo>
                <a:lnTo>
                  <a:pt x="8" y="12"/>
                </a:lnTo>
                <a:lnTo>
                  <a:pt x="10" y="11"/>
                </a:lnTo>
                <a:lnTo>
                  <a:pt x="11" y="11"/>
                </a:lnTo>
                <a:lnTo>
                  <a:pt x="12" y="7"/>
                </a:lnTo>
                <a:lnTo>
                  <a:pt x="14" y="6"/>
                </a:lnTo>
                <a:lnTo>
                  <a:pt x="12" y="3"/>
                </a:lnTo>
                <a:lnTo>
                  <a:pt x="14" y="3"/>
                </a:lnTo>
                <a:lnTo>
                  <a:pt x="16" y="3"/>
                </a:lnTo>
                <a:lnTo>
                  <a:pt x="18" y="3"/>
                </a:lnTo>
                <a:lnTo>
                  <a:pt x="19" y="3"/>
                </a:lnTo>
                <a:lnTo>
                  <a:pt x="22" y="3"/>
                </a:lnTo>
                <a:lnTo>
                  <a:pt x="22" y="1"/>
                </a:lnTo>
                <a:lnTo>
                  <a:pt x="28" y="0"/>
                </a:lnTo>
                <a:lnTo>
                  <a:pt x="32" y="1"/>
                </a:lnTo>
                <a:lnTo>
                  <a:pt x="33" y="3"/>
                </a:lnTo>
                <a:lnTo>
                  <a:pt x="35" y="4"/>
                </a:lnTo>
                <a:lnTo>
                  <a:pt x="36" y="6"/>
                </a:lnTo>
                <a:lnTo>
                  <a:pt x="36" y="7"/>
                </a:lnTo>
                <a:lnTo>
                  <a:pt x="37" y="7"/>
                </a:lnTo>
                <a:lnTo>
                  <a:pt x="37" y="9"/>
                </a:lnTo>
                <a:lnTo>
                  <a:pt x="37" y="11"/>
                </a:lnTo>
                <a:lnTo>
                  <a:pt x="39" y="11"/>
                </a:lnTo>
                <a:lnTo>
                  <a:pt x="40" y="12"/>
                </a:lnTo>
                <a:lnTo>
                  <a:pt x="40" y="14"/>
                </a:lnTo>
                <a:lnTo>
                  <a:pt x="40" y="15"/>
                </a:lnTo>
                <a:lnTo>
                  <a:pt x="40" y="17"/>
                </a:lnTo>
                <a:lnTo>
                  <a:pt x="41" y="18"/>
                </a:lnTo>
                <a:lnTo>
                  <a:pt x="43" y="20"/>
                </a:lnTo>
                <a:lnTo>
                  <a:pt x="43" y="23"/>
                </a:lnTo>
                <a:lnTo>
                  <a:pt x="41" y="25"/>
                </a:lnTo>
                <a:lnTo>
                  <a:pt x="40" y="28"/>
                </a:lnTo>
                <a:lnTo>
                  <a:pt x="40" y="29"/>
                </a:lnTo>
                <a:lnTo>
                  <a:pt x="43" y="28"/>
                </a:lnTo>
                <a:lnTo>
                  <a:pt x="44" y="26"/>
                </a:lnTo>
                <a:lnTo>
                  <a:pt x="45" y="26"/>
                </a:lnTo>
                <a:lnTo>
                  <a:pt x="45" y="28"/>
                </a:lnTo>
                <a:lnTo>
                  <a:pt x="45" y="29"/>
                </a:lnTo>
                <a:lnTo>
                  <a:pt x="45" y="31"/>
                </a:lnTo>
                <a:lnTo>
                  <a:pt x="45" y="33"/>
                </a:lnTo>
                <a:lnTo>
                  <a:pt x="43" y="33"/>
                </a:lnTo>
                <a:lnTo>
                  <a:pt x="43" y="34"/>
                </a:lnTo>
                <a:lnTo>
                  <a:pt x="41" y="36"/>
                </a:lnTo>
                <a:lnTo>
                  <a:pt x="41" y="40"/>
                </a:lnTo>
                <a:lnTo>
                  <a:pt x="40" y="40"/>
                </a:lnTo>
                <a:lnTo>
                  <a:pt x="40" y="42"/>
                </a:lnTo>
                <a:lnTo>
                  <a:pt x="39" y="42"/>
                </a:lnTo>
                <a:lnTo>
                  <a:pt x="37" y="44"/>
                </a:lnTo>
                <a:lnTo>
                  <a:pt x="36" y="45"/>
                </a:lnTo>
                <a:lnTo>
                  <a:pt x="33" y="48"/>
                </a:lnTo>
                <a:lnTo>
                  <a:pt x="32" y="48"/>
                </a:lnTo>
                <a:lnTo>
                  <a:pt x="31" y="48"/>
                </a:lnTo>
                <a:lnTo>
                  <a:pt x="31" y="50"/>
                </a:lnTo>
                <a:lnTo>
                  <a:pt x="31" y="51"/>
                </a:lnTo>
                <a:lnTo>
                  <a:pt x="29" y="53"/>
                </a:lnTo>
                <a:lnTo>
                  <a:pt x="28" y="55"/>
                </a:lnTo>
                <a:lnTo>
                  <a:pt x="26" y="53"/>
                </a:lnTo>
                <a:lnTo>
                  <a:pt x="18" y="48"/>
                </a:lnTo>
                <a:lnTo>
                  <a:pt x="15" y="47"/>
                </a:lnTo>
                <a:lnTo>
                  <a:pt x="15" y="45"/>
                </a:lnTo>
                <a:lnTo>
                  <a:pt x="14" y="44"/>
                </a:lnTo>
                <a:lnTo>
                  <a:pt x="10" y="40"/>
                </a:lnTo>
                <a:lnTo>
                  <a:pt x="7" y="39"/>
                </a:lnTo>
                <a:lnTo>
                  <a:pt x="7" y="37"/>
                </a:lnTo>
                <a:lnTo>
                  <a:pt x="6" y="36"/>
                </a:lnTo>
                <a:lnTo>
                  <a:pt x="6" y="34"/>
                </a:lnTo>
                <a:lnTo>
                  <a:pt x="4" y="33"/>
                </a:lnTo>
                <a:lnTo>
                  <a:pt x="3" y="33"/>
                </a:lnTo>
                <a:lnTo>
                  <a:pt x="2" y="31"/>
                </a:lnTo>
                <a:lnTo>
                  <a:pt x="2" y="28"/>
                </a:lnTo>
                <a:lnTo>
                  <a:pt x="3" y="28"/>
                </a:lnTo>
                <a:lnTo>
                  <a:pt x="4" y="28"/>
                </a:lnTo>
                <a:lnTo>
                  <a:pt x="3" y="26"/>
                </a:lnTo>
                <a:lnTo>
                  <a:pt x="2" y="26"/>
                </a:lnTo>
                <a:lnTo>
                  <a:pt x="2" y="23"/>
                </a:lnTo>
                <a:lnTo>
                  <a:pt x="2" y="22"/>
                </a:lnTo>
                <a:lnTo>
                  <a:pt x="2" y="20"/>
                </a:lnTo>
                <a:lnTo>
                  <a:pt x="0" y="20"/>
                </a:lnTo>
                <a:lnTo>
                  <a:pt x="0" y="18"/>
                </a:lnTo>
                <a:lnTo>
                  <a:pt x="2" y="17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69" name="Freeform 1096"/>
          <p:cNvSpPr>
            <a:spLocks/>
          </p:cNvSpPr>
          <p:nvPr/>
        </p:nvSpPr>
        <p:spPr bwMode="auto">
          <a:xfrm>
            <a:off x="5290509" y="3992053"/>
            <a:ext cx="85747" cy="107381"/>
          </a:xfrm>
          <a:custGeom>
            <a:avLst/>
            <a:gdLst/>
            <a:ahLst/>
            <a:cxnLst>
              <a:cxn ang="0">
                <a:pos x="3" y="17"/>
              </a:cxn>
              <a:cxn ang="0">
                <a:pos x="6" y="17"/>
              </a:cxn>
              <a:cxn ang="0">
                <a:pos x="8" y="12"/>
              </a:cxn>
              <a:cxn ang="0">
                <a:pos x="11" y="11"/>
              </a:cxn>
              <a:cxn ang="0">
                <a:pos x="14" y="6"/>
              </a:cxn>
              <a:cxn ang="0">
                <a:pos x="14" y="3"/>
              </a:cxn>
              <a:cxn ang="0">
                <a:pos x="18" y="3"/>
              </a:cxn>
              <a:cxn ang="0">
                <a:pos x="22" y="3"/>
              </a:cxn>
              <a:cxn ang="0">
                <a:pos x="28" y="0"/>
              </a:cxn>
              <a:cxn ang="0">
                <a:pos x="33" y="3"/>
              </a:cxn>
              <a:cxn ang="0">
                <a:pos x="36" y="6"/>
              </a:cxn>
              <a:cxn ang="0">
                <a:pos x="37" y="7"/>
              </a:cxn>
              <a:cxn ang="0">
                <a:pos x="37" y="11"/>
              </a:cxn>
              <a:cxn ang="0">
                <a:pos x="40" y="12"/>
              </a:cxn>
              <a:cxn ang="0">
                <a:pos x="40" y="15"/>
              </a:cxn>
              <a:cxn ang="0">
                <a:pos x="41" y="18"/>
              </a:cxn>
              <a:cxn ang="0">
                <a:pos x="43" y="23"/>
              </a:cxn>
              <a:cxn ang="0">
                <a:pos x="40" y="28"/>
              </a:cxn>
              <a:cxn ang="0">
                <a:pos x="43" y="28"/>
              </a:cxn>
              <a:cxn ang="0">
                <a:pos x="45" y="26"/>
              </a:cxn>
              <a:cxn ang="0">
                <a:pos x="45" y="29"/>
              </a:cxn>
              <a:cxn ang="0">
                <a:pos x="45" y="33"/>
              </a:cxn>
              <a:cxn ang="0">
                <a:pos x="43" y="34"/>
              </a:cxn>
              <a:cxn ang="0">
                <a:pos x="41" y="40"/>
              </a:cxn>
              <a:cxn ang="0">
                <a:pos x="40" y="42"/>
              </a:cxn>
              <a:cxn ang="0">
                <a:pos x="37" y="44"/>
              </a:cxn>
              <a:cxn ang="0">
                <a:pos x="33" y="48"/>
              </a:cxn>
              <a:cxn ang="0">
                <a:pos x="31" y="48"/>
              </a:cxn>
              <a:cxn ang="0">
                <a:pos x="31" y="51"/>
              </a:cxn>
              <a:cxn ang="0">
                <a:pos x="28" y="55"/>
              </a:cxn>
              <a:cxn ang="0">
                <a:pos x="18" y="48"/>
              </a:cxn>
              <a:cxn ang="0">
                <a:pos x="15" y="45"/>
              </a:cxn>
              <a:cxn ang="0">
                <a:pos x="10" y="40"/>
              </a:cxn>
              <a:cxn ang="0">
                <a:pos x="7" y="37"/>
              </a:cxn>
              <a:cxn ang="0">
                <a:pos x="6" y="34"/>
              </a:cxn>
              <a:cxn ang="0">
                <a:pos x="3" y="33"/>
              </a:cxn>
              <a:cxn ang="0">
                <a:pos x="2" y="28"/>
              </a:cxn>
              <a:cxn ang="0">
                <a:pos x="4" y="28"/>
              </a:cxn>
              <a:cxn ang="0">
                <a:pos x="2" y="26"/>
              </a:cxn>
              <a:cxn ang="0">
                <a:pos x="2" y="22"/>
              </a:cxn>
              <a:cxn ang="0">
                <a:pos x="0" y="20"/>
              </a:cxn>
              <a:cxn ang="0">
                <a:pos x="2" y="17"/>
              </a:cxn>
            </a:cxnLst>
            <a:rect l="0" t="0" r="r" b="b"/>
            <a:pathLst>
              <a:path w="45" h="55">
                <a:moveTo>
                  <a:pt x="2" y="17"/>
                </a:moveTo>
                <a:lnTo>
                  <a:pt x="3" y="17"/>
                </a:lnTo>
                <a:lnTo>
                  <a:pt x="4" y="17"/>
                </a:lnTo>
                <a:lnTo>
                  <a:pt x="6" y="17"/>
                </a:lnTo>
                <a:lnTo>
                  <a:pt x="7" y="14"/>
                </a:lnTo>
                <a:lnTo>
                  <a:pt x="8" y="12"/>
                </a:lnTo>
                <a:lnTo>
                  <a:pt x="10" y="11"/>
                </a:lnTo>
                <a:lnTo>
                  <a:pt x="11" y="11"/>
                </a:lnTo>
                <a:lnTo>
                  <a:pt x="12" y="7"/>
                </a:lnTo>
                <a:lnTo>
                  <a:pt x="14" y="6"/>
                </a:lnTo>
                <a:lnTo>
                  <a:pt x="12" y="3"/>
                </a:lnTo>
                <a:lnTo>
                  <a:pt x="14" y="3"/>
                </a:lnTo>
                <a:lnTo>
                  <a:pt x="16" y="3"/>
                </a:lnTo>
                <a:lnTo>
                  <a:pt x="18" y="3"/>
                </a:lnTo>
                <a:lnTo>
                  <a:pt x="19" y="3"/>
                </a:lnTo>
                <a:lnTo>
                  <a:pt x="22" y="3"/>
                </a:lnTo>
                <a:lnTo>
                  <a:pt x="22" y="1"/>
                </a:lnTo>
                <a:lnTo>
                  <a:pt x="28" y="0"/>
                </a:lnTo>
                <a:lnTo>
                  <a:pt x="32" y="1"/>
                </a:lnTo>
                <a:lnTo>
                  <a:pt x="33" y="3"/>
                </a:lnTo>
                <a:lnTo>
                  <a:pt x="35" y="4"/>
                </a:lnTo>
                <a:lnTo>
                  <a:pt x="36" y="6"/>
                </a:lnTo>
                <a:lnTo>
                  <a:pt x="36" y="7"/>
                </a:lnTo>
                <a:lnTo>
                  <a:pt x="37" y="7"/>
                </a:lnTo>
                <a:lnTo>
                  <a:pt x="37" y="9"/>
                </a:lnTo>
                <a:lnTo>
                  <a:pt x="37" y="11"/>
                </a:lnTo>
                <a:lnTo>
                  <a:pt x="39" y="11"/>
                </a:lnTo>
                <a:lnTo>
                  <a:pt x="40" y="12"/>
                </a:lnTo>
                <a:lnTo>
                  <a:pt x="40" y="14"/>
                </a:lnTo>
                <a:lnTo>
                  <a:pt x="40" y="15"/>
                </a:lnTo>
                <a:lnTo>
                  <a:pt x="40" y="17"/>
                </a:lnTo>
                <a:lnTo>
                  <a:pt x="41" y="18"/>
                </a:lnTo>
                <a:lnTo>
                  <a:pt x="43" y="20"/>
                </a:lnTo>
                <a:lnTo>
                  <a:pt x="43" y="23"/>
                </a:lnTo>
                <a:lnTo>
                  <a:pt x="41" y="25"/>
                </a:lnTo>
                <a:lnTo>
                  <a:pt x="40" y="28"/>
                </a:lnTo>
                <a:lnTo>
                  <a:pt x="40" y="29"/>
                </a:lnTo>
                <a:lnTo>
                  <a:pt x="43" y="28"/>
                </a:lnTo>
                <a:lnTo>
                  <a:pt x="44" y="26"/>
                </a:lnTo>
                <a:lnTo>
                  <a:pt x="45" y="26"/>
                </a:lnTo>
                <a:lnTo>
                  <a:pt x="45" y="28"/>
                </a:lnTo>
                <a:lnTo>
                  <a:pt x="45" y="29"/>
                </a:lnTo>
                <a:lnTo>
                  <a:pt x="45" y="31"/>
                </a:lnTo>
                <a:lnTo>
                  <a:pt x="45" y="33"/>
                </a:lnTo>
                <a:lnTo>
                  <a:pt x="43" y="33"/>
                </a:lnTo>
                <a:lnTo>
                  <a:pt x="43" y="34"/>
                </a:lnTo>
                <a:lnTo>
                  <a:pt x="41" y="36"/>
                </a:lnTo>
                <a:lnTo>
                  <a:pt x="41" y="40"/>
                </a:lnTo>
                <a:lnTo>
                  <a:pt x="40" y="40"/>
                </a:lnTo>
                <a:lnTo>
                  <a:pt x="40" y="42"/>
                </a:lnTo>
                <a:lnTo>
                  <a:pt x="39" y="42"/>
                </a:lnTo>
                <a:lnTo>
                  <a:pt x="37" y="44"/>
                </a:lnTo>
                <a:lnTo>
                  <a:pt x="36" y="45"/>
                </a:lnTo>
                <a:lnTo>
                  <a:pt x="33" y="48"/>
                </a:lnTo>
                <a:lnTo>
                  <a:pt x="32" y="48"/>
                </a:lnTo>
                <a:lnTo>
                  <a:pt x="31" y="48"/>
                </a:lnTo>
                <a:lnTo>
                  <a:pt x="31" y="50"/>
                </a:lnTo>
                <a:lnTo>
                  <a:pt x="31" y="51"/>
                </a:lnTo>
                <a:lnTo>
                  <a:pt x="29" y="53"/>
                </a:lnTo>
                <a:lnTo>
                  <a:pt x="28" y="55"/>
                </a:lnTo>
                <a:lnTo>
                  <a:pt x="26" y="53"/>
                </a:lnTo>
                <a:lnTo>
                  <a:pt x="18" y="48"/>
                </a:lnTo>
                <a:lnTo>
                  <a:pt x="15" y="47"/>
                </a:lnTo>
                <a:lnTo>
                  <a:pt x="15" y="45"/>
                </a:lnTo>
                <a:lnTo>
                  <a:pt x="14" y="44"/>
                </a:lnTo>
                <a:lnTo>
                  <a:pt x="10" y="40"/>
                </a:lnTo>
                <a:lnTo>
                  <a:pt x="7" y="39"/>
                </a:lnTo>
                <a:lnTo>
                  <a:pt x="7" y="37"/>
                </a:lnTo>
                <a:lnTo>
                  <a:pt x="6" y="36"/>
                </a:lnTo>
                <a:lnTo>
                  <a:pt x="6" y="34"/>
                </a:lnTo>
                <a:lnTo>
                  <a:pt x="4" y="33"/>
                </a:lnTo>
                <a:lnTo>
                  <a:pt x="3" y="33"/>
                </a:lnTo>
                <a:lnTo>
                  <a:pt x="2" y="31"/>
                </a:lnTo>
                <a:lnTo>
                  <a:pt x="2" y="28"/>
                </a:lnTo>
                <a:lnTo>
                  <a:pt x="3" y="28"/>
                </a:lnTo>
                <a:lnTo>
                  <a:pt x="4" y="28"/>
                </a:lnTo>
                <a:lnTo>
                  <a:pt x="3" y="26"/>
                </a:lnTo>
                <a:lnTo>
                  <a:pt x="2" y="26"/>
                </a:lnTo>
                <a:lnTo>
                  <a:pt x="2" y="23"/>
                </a:lnTo>
                <a:lnTo>
                  <a:pt x="2" y="22"/>
                </a:lnTo>
                <a:lnTo>
                  <a:pt x="2" y="20"/>
                </a:lnTo>
                <a:lnTo>
                  <a:pt x="0" y="20"/>
                </a:lnTo>
                <a:lnTo>
                  <a:pt x="0" y="18"/>
                </a:lnTo>
                <a:lnTo>
                  <a:pt x="2" y="17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70" name="Freeform 1097"/>
          <p:cNvSpPr>
            <a:spLocks/>
          </p:cNvSpPr>
          <p:nvPr/>
        </p:nvSpPr>
        <p:spPr bwMode="auto">
          <a:xfrm>
            <a:off x="5428875" y="3964133"/>
            <a:ext cx="175394" cy="227647"/>
          </a:xfrm>
          <a:custGeom>
            <a:avLst/>
            <a:gdLst/>
            <a:ahLst/>
            <a:cxnLst>
              <a:cxn ang="0">
                <a:pos x="20" y="115"/>
              </a:cxn>
              <a:cxn ang="0">
                <a:pos x="37" y="105"/>
              </a:cxn>
              <a:cxn ang="0">
                <a:pos x="57" y="100"/>
              </a:cxn>
              <a:cxn ang="0">
                <a:pos x="70" y="99"/>
              </a:cxn>
              <a:cxn ang="0">
                <a:pos x="82" y="102"/>
              </a:cxn>
              <a:cxn ang="0">
                <a:pos x="86" y="100"/>
              </a:cxn>
              <a:cxn ang="0">
                <a:pos x="88" y="91"/>
              </a:cxn>
              <a:cxn ang="0">
                <a:pos x="84" y="88"/>
              </a:cxn>
              <a:cxn ang="0">
                <a:pos x="81" y="74"/>
              </a:cxn>
              <a:cxn ang="0">
                <a:pos x="84" y="64"/>
              </a:cxn>
              <a:cxn ang="0">
                <a:pos x="85" y="57"/>
              </a:cxn>
              <a:cxn ang="0">
                <a:pos x="89" y="49"/>
              </a:cxn>
              <a:cxn ang="0">
                <a:pos x="90" y="44"/>
              </a:cxn>
              <a:cxn ang="0">
                <a:pos x="89" y="30"/>
              </a:cxn>
              <a:cxn ang="0">
                <a:pos x="88" y="25"/>
              </a:cxn>
              <a:cxn ang="0">
                <a:pos x="88" y="22"/>
              </a:cxn>
              <a:cxn ang="0">
                <a:pos x="84" y="19"/>
              </a:cxn>
              <a:cxn ang="0">
                <a:pos x="81" y="14"/>
              </a:cxn>
              <a:cxn ang="0">
                <a:pos x="74" y="14"/>
              </a:cxn>
              <a:cxn ang="0">
                <a:pos x="67" y="17"/>
              </a:cxn>
              <a:cxn ang="0">
                <a:pos x="63" y="20"/>
              </a:cxn>
              <a:cxn ang="0">
                <a:pos x="60" y="19"/>
              </a:cxn>
              <a:cxn ang="0">
                <a:pos x="56" y="16"/>
              </a:cxn>
              <a:cxn ang="0">
                <a:pos x="53" y="13"/>
              </a:cxn>
              <a:cxn ang="0">
                <a:pos x="51" y="8"/>
              </a:cxn>
              <a:cxn ang="0">
                <a:pos x="45" y="5"/>
              </a:cxn>
              <a:cxn ang="0">
                <a:pos x="39" y="8"/>
              </a:cxn>
              <a:cxn ang="0">
                <a:pos x="36" y="8"/>
              </a:cxn>
              <a:cxn ang="0">
                <a:pos x="35" y="2"/>
              </a:cxn>
              <a:cxn ang="0">
                <a:pos x="32" y="0"/>
              </a:cxn>
              <a:cxn ang="0">
                <a:pos x="29" y="2"/>
              </a:cxn>
              <a:cxn ang="0">
                <a:pos x="28" y="6"/>
              </a:cxn>
              <a:cxn ang="0">
                <a:pos x="23" y="9"/>
              </a:cxn>
              <a:cxn ang="0">
                <a:pos x="20" y="8"/>
              </a:cxn>
              <a:cxn ang="0">
                <a:pos x="17" y="6"/>
              </a:cxn>
              <a:cxn ang="0">
                <a:pos x="15" y="6"/>
              </a:cxn>
              <a:cxn ang="0">
                <a:pos x="11" y="8"/>
              </a:cxn>
              <a:cxn ang="0">
                <a:pos x="8" y="11"/>
              </a:cxn>
              <a:cxn ang="0">
                <a:pos x="7" y="17"/>
              </a:cxn>
              <a:cxn ang="0">
                <a:pos x="8" y="25"/>
              </a:cxn>
              <a:cxn ang="0">
                <a:pos x="11" y="28"/>
              </a:cxn>
              <a:cxn ang="0">
                <a:pos x="11" y="33"/>
              </a:cxn>
              <a:cxn ang="0">
                <a:pos x="12" y="36"/>
              </a:cxn>
              <a:cxn ang="0">
                <a:pos x="12" y="41"/>
              </a:cxn>
              <a:cxn ang="0">
                <a:pos x="12" y="41"/>
              </a:cxn>
              <a:cxn ang="0">
                <a:pos x="7" y="39"/>
              </a:cxn>
              <a:cxn ang="0">
                <a:pos x="5" y="42"/>
              </a:cxn>
              <a:cxn ang="0">
                <a:pos x="7" y="46"/>
              </a:cxn>
              <a:cxn ang="0">
                <a:pos x="8" y="49"/>
              </a:cxn>
              <a:cxn ang="0">
                <a:pos x="5" y="55"/>
              </a:cxn>
              <a:cxn ang="0">
                <a:pos x="1" y="58"/>
              </a:cxn>
              <a:cxn ang="0">
                <a:pos x="3" y="64"/>
              </a:cxn>
              <a:cxn ang="0">
                <a:pos x="0" y="74"/>
              </a:cxn>
              <a:cxn ang="0">
                <a:pos x="1" y="75"/>
              </a:cxn>
              <a:cxn ang="0">
                <a:pos x="4" y="77"/>
              </a:cxn>
              <a:cxn ang="0">
                <a:pos x="9" y="79"/>
              </a:cxn>
              <a:cxn ang="0">
                <a:pos x="12" y="85"/>
              </a:cxn>
              <a:cxn ang="0">
                <a:pos x="15" y="88"/>
              </a:cxn>
              <a:cxn ang="0">
                <a:pos x="17" y="91"/>
              </a:cxn>
              <a:cxn ang="0">
                <a:pos x="17" y="96"/>
              </a:cxn>
              <a:cxn ang="0">
                <a:pos x="16" y="100"/>
              </a:cxn>
              <a:cxn ang="0">
                <a:pos x="15" y="105"/>
              </a:cxn>
            </a:cxnLst>
            <a:rect l="0" t="0" r="r" b="b"/>
            <a:pathLst>
              <a:path w="92" h="115">
                <a:moveTo>
                  <a:pt x="15" y="113"/>
                </a:moveTo>
                <a:lnTo>
                  <a:pt x="16" y="115"/>
                </a:lnTo>
                <a:lnTo>
                  <a:pt x="20" y="115"/>
                </a:lnTo>
                <a:lnTo>
                  <a:pt x="27" y="110"/>
                </a:lnTo>
                <a:lnTo>
                  <a:pt x="33" y="107"/>
                </a:lnTo>
                <a:lnTo>
                  <a:pt x="37" y="105"/>
                </a:lnTo>
                <a:lnTo>
                  <a:pt x="44" y="104"/>
                </a:lnTo>
                <a:lnTo>
                  <a:pt x="47" y="102"/>
                </a:lnTo>
                <a:lnTo>
                  <a:pt x="57" y="100"/>
                </a:lnTo>
                <a:lnTo>
                  <a:pt x="60" y="100"/>
                </a:lnTo>
                <a:lnTo>
                  <a:pt x="65" y="99"/>
                </a:lnTo>
                <a:lnTo>
                  <a:pt x="70" y="99"/>
                </a:lnTo>
                <a:lnTo>
                  <a:pt x="74" y="100"/>
                </a:lnTo>
                <a:lnTo>
                  <a:pt x="81" y="102"/>
                </a:lnTo>
                <a:lnTo>
                  <a:pt x="82" y="102"/>
                </a:lnTo>
                <a:lnTo>
                  <a:pt x="84" y="99"/>
                </a:lnTo>
                <a:lnTo>
                  <a:pt x="85" y="99"/>
                </a:lnTo>
                <a:lnTo>
                  <a:pt x="86" y="100"/>
                </a:lnTo>
                <a:lnTo>
                  <a:pt x="88" y="99"/>
                </a:lnTo>
                <a:lnTo>
                  <a:pt x="88" y="94"/>
                </a:lnTo>
                <a:lnTo>
                  <a:pt x="88" y="91"/>
                </a:lnTo>
                <a:lnTo>
                  <a:pt x="86" y="90"/>
                </a:lnTo>
                <a:lnTo>
                  <a:pt x="85" y="90"/>
                </a:lnTo>
                <a:lnTo>
                  <a:pt x="84" y="88"/>
                </a:lnTo>
                <a:lnTo>
                  <a:pt x="82" y="83"/>
                </a:lnTo>
                <a:lnTo>
                  <a:pt x="81" y="77"/>
                </a:lnTo>
                <a:lnTo>
                  <a:pt x="81" y="74"/>
                </a:lnTo>
                <a:lnTo>
                  <a:pt x="81" y="69"/>
                </a:lnTo>
                <a:lnTo>
                  <a:pt x="82" y="66"/>
                </a:lnTo>
                <a:lnTo>
                  <a:pt x="84" y="64"/>
                </a:lnTo>
                <a:lnTo>
                  <a:pt x="85" y="63"/>
                </a:lnTo>
                <a:lnTo>
                  <a:pt x="85" y="58"/>
                </a:lnTo>
                <a:lnTo>
                  <a:pt x="85" y="57"/>
                </a:lnTo>
                <a:lnTo>
                  <a:pt x="86" y="52"/>
                </a:lnTo>
                <a:lnTo>
                  <a:pt x="88" y="49"/>
                </a:lnTo>
                <a:lnTo>
                  <a:pt x="89" y="49"/>
                </a:lnTo>
                <a:lnTo>
                  <a:pt x="89" y="47"/>
                </a:lnTo>
                <a:lnTo>
                  <a:pt x="90" y="46"/>
                </a:lnTo>
                <a:lnTo>
                  <a:pt x="90" y="44"/>
                </a:lnTo>
                <a:lnTo>
                  <a:pt x="92" y="44"/>
                </a:lnTo>
                <a:lnTo>
                  <a:pt x="92" y="39"/>
                </a:lnTo>
                <a:lnTo>
                  <a:pt x="89" y="30"/>
                </a:lnTo>
                <a:lnTo>
                  <a:pt x="88" y="28"/>
                </a:lnTo>
                <a:lnTo>
                  <a:pt x="89" y="27"/>
                </a:lnTo>
                <a:lnTo>
                  <a:pt x="88" y="25"/>
                </a:lnTo>
                <a:lnTo>
                  <a:pt x="89" y="24"/>
                </a:lnTo>
                <a:lnTo>
                  <a:pt x="89" y="22"/>
                </a:lnTo>
                <a:lnTo>
                  <a:pt x="88" y="22"/>
                </a:lnTo>
                <a:lnTo>
                  <a:pt x="86" y="22"/>
                </a:lnTo>
                <a:lnTo>
                  <a:pt x="85" y="22"/>
                </a:lnTo>
                <a:lnTo>
                  <a:pt x="84" y="19"/>
                </a:lnTo>
                <a:lnTo>
                  <a:pt x="84" y="17"/>
                </a:lnTo>
                <a:lnTo>
                  <a:pt x="82" y="17"/>
                </a:lnTo>
                <a:lnTo>
                  <a:pt x="81" y="14"/>
                </a:lnTo>
                <a:lnTo>
                  <a:pt x="80" y="16"/>
                </a:lnTo>
                <a:lnTo>
                  <a:pt x="76" y="14"/>
                </a:lnTo>
                <a:lnTo>
                  <a:pt x="74" y="14"/>
                </a:lnTo>
                <a:lnTo>
                  <a:pt x="72" y="14"/>
                </a:lnTo>
                <a:lnTo>
                  <a:pt x="68" y="16"/>
                </a:lnTo>
                <a:lnTo>
                  <a:pt x="67" y="17"/>
                </a:lnTo>
                <a:lnTo>
                  <a:pt x="64" y="17"/>
                </a:lnTo>
                <a:lnTo>
                  <a:pt x="64" y="19"/>
                </a:lnTo>
                <a:lnTo>
                  <a:pt x="63" y="20"/>
                </a:lnTo>
                <a:lnTo>
                  <a:pt x="61" y="19"/>
                </a:lnTo>
                <a:lnTo>
                  <a:pt x="60" y="17"/>
                </a:lnTo>
                <a:lnTo>
                  <a:pt x="60" y="19"/>
                </a:lnTo>
                <a:lnTo>
                  <a:pt x="59" y="19"/>
                </a:lnTo>
                <a:lnTo>
                  <a:pt x="56" y="17"/>
                </a:lnTo>
                <a:lnTo>
                  <a:pt x="56" y="16"/>
                </a:lnTo>
                <a:lnTo>
                  <a:pt x="55" y="16"/>
                </a:lnTo>
                <a:lnTo>
                  <a:pt x="55" y="13"/>
                </a:lnTo>
                <a:lnTo>
                  <a:pt x="53" y="13"/>
                </a:lnTo>
                <a:lnTo>
                  <a:pt x="52" y="9"/>
                </a:lnTo>
                <a:lnTo>
                  <a:pt x="51" y="9"/>
                </a:lnTo>
                <a:lnTo>
                  <a:pt x="51" y="8"/>
                </a:lnTo>
                <a:lnTo>
                  <a:pt x="47" y="8"/>
                </a:lnTo>
                <a:lnTo>
                  <a:pt x="45" y="6"/>
                </a:lnTo>
                <a:lnTo>
                  <a:pt x="45" y="5"/>
                </a:lnTo>
                <a:lnTo>
                  <a:pt x="41" y="5"/>
                </a:lnTo>
                <a:lnTo>
                  <a:pt x="40" y="8"/>
                </a:lnTo>
                <a:lnTo>
                  <a:pt x="39" y="8"/>
                </a:lnTo>
                <a:lnTo>
                  <a:pt x="39" y="9"/>
                </a:lnTo>
                <a:lnTo>
                  <a:pt x="36" y="9"/>
                </a:lnTo>
                <a:lnTo>
                  <a:pt x="36" y="8"/>
                </a:lnTo>
                <a:lnTo>
                  <a:pt x="36" y="5"/>
                </a:lnTo>
                <a:lnTo>
                  <a:pt x="35" y="3"/>
                </a:lnTo>
                <a:lnTo>
                  <a:pt x="35" y="2"/>
                </a:lnTo>
                <a:lnTo>
                  <a:pt x="35" y="0"/>
                </a:lnTo>
                <a:lnTo>
                  <a:pt x="33" y="0"/>
                </a:lnTo>
                <a:lnTo>
                  <a:pt x="32" y="0"/>
                </a:lnTo>
                <a:lnTo>
                  <a:pt x="32" y="3"/>
                </a:lnTo>
                <a:lnTo>
                  <a:pt x="31" y="3"/>
                </a:lnTo>
                <a:lnTo>
                  <a:pt x="29" y="2"/>
                </a:lnTo>
                <a:lnTo>
                  <a:pt x="28" y="3"/>
                </a:lnTo>
                <a:lnTo>
                  <a:pt x="28" y="5"/>
                </a:lnTo>
                <a:lnTo>
                  <a:pt x="28" y="6"/>
                </a:lnTo>
                <a:lnTo>
                  <a:pt x="25" y="6"/>
                </a:lnTo>
                <a:lnTo>
                  <a:pt x="23" y="8"/>
                </a:lnTo>
                <a:lnTo>
                  <a:pt x="23" y="9"/>
                </a:lnTo>
                <a:lnTo>
                  <a:pt x="21" y="9"/>
                </a:lnTo>
                <a:lnTo>
                  <a:pt x="20" y="9"/>
                </a:lnTo>
                <a:lnTo>
                  <a:pt x="20" y="8"/>
                </a:lnTo>
                <a:lnTo>
                  <a:pt x="19" y="8"/>
                </a:lnTo>
                <a:lnTo>
                  <a:pt x="17" y="9"/>
                </a:lnTo>
                <a:lnTo>
                  <a:pt x="17" y="6"/>
                </a:lnTo>
                <a:lnTo>
                  <a:pt x="16" y="5"/>
                </a:lnTo>
                <a:lnTo>
                  <a:pt x="15" y="5"/>
                </a:lnTo>
                <a:lnTo>
                  <a:pt x="15" y="6"/>
                </a:lnTo>
                <a:lnTo>
                  <a:pt x="13" y="6"/>
                </a:lnTo>
                <a:lnTo>
                  <a:pt x="12" y="6"/>
                </a:lnTo>
                <a:lnTo>
                  <a:pt x="11" y="8"/>
                </a:lnTo>
                <a:lnTo>
                  <a:pt x="11" y="9"/>
                </a:lnTo>
                <a:lnTo>
                  <a:pt x="8" y="9"/>
                </a:lnTo>
                <a:lnTo>
                  <a:pt x="8" y="11"/>
                </a:lnTo>
                <a:lnTo>
                  <a:pt x="7" y="13"/>
                </a:lnTo>
                <a:lnTo>
                  <a:pt x="5" y="14"/>
                </a:lnTo>
                <a:lnTo>
                  <a:pt x="7" y="17"/>
                </a:lnTo>
                <a:lnTo>
                  <a:pt x="5" y="22"/>
                </a:lnTo>
                <a:lnTo>
                  <a:pt x="7" y="24"/>
                </a:lnTo>
                <a:lnTo>
                  <a:pt x="8" y="25"/>
                </a:lnTo>
                <a:lnTo>
                  <a:pt x="11" y="24"/>
                </a:lnTo>
                <a:lnTo>
                  <a:pt x="9" y="28"/>
                </a:lnTo>
                <a:lnTo>
                  <a:pt x="11" y="28"/>
                </a:lnTo>
                <a:lnTo>
                  <a:pt x="12" y="30"/>
                </a:lnTo>
                <a:lnTo>
                  <a:pt x="11" y="31"/>
                </a:lnTo>
                <a:lnTo>
                  <a:pt x="11" y="33"/>
                </a:lnTo>
                <a:lnTo>
                  <a:pt x="9" y="35"/>
                </a:lnTo>
                <a:lnTo>
                  <a:pt x="11" y="36"/>
                </a:lnTo>
                <a:lnTo>
                  <a:pt x="12" y="36"/>
                </a:lnTo>
                <a:lnTo>
                  <a:pt x="12" y="38"/>
                </a:lnTo>
                <a:lnTo>
                  <a:pt x="12" y="39"/>
                </a:lnTo>
                <a:lnTo>
                  <a:pt x="12" y="41"/>
                </a:lnTo>
                <a:lnTo>
                  <a:pt x="13" y="42"/>
                </a:lnTo>
                <a:lnTo>
                  <a:pt x="12" y="42"/>
                </a:lnTo>
                <a:lnTo>
                  <a:pt x="12" y="41"/>
                </a:lnTo>
                <a:lnTo>
                  <a:pt x="11" y="41"/>
                </a:lnTo>
                <a:lnTo>
                  <a:pt x="9" y="41"/>
                </a:lnTo>
                <a:lnTo>
                  <a:pt x="7" y="39"/>
                </a:lnTo>
                <a:lnTo>
                  <a:pt x="4" y="41"/>
                </a:lnTo>
                <a:lnTo>
                  <a:pt x="5" y="41"/>
                </a:lnTo>
                <a:lnTo>
                  <a:pt x="5" y="42"/>
                </a:lnTo>
                <a:lnTo>
                  <a:pt x="4" y="46"/>
                </a:lnTo>
                <a:lnTo>
                  <a:pt x="5" y="46"/>
                </a:lnTo>
                <a:lnTo>
                  <a:pt x="7" y="46"/>
                </a:lnTo>
                <a:lnTo>
                  <a:pt x="8" y="46"/>
                </a:lnTo>
                <a:lnTo>
                  <a:pt x="8" y="47"/>
                </a:lnTo>
                <a:lnTo>
                  <a:pt x="8" y="49"/>
                </a:lnTo>
                <a:lnTo>
                  <a:pt x="7" y="50"/>
                </a:lnTo>
                <a:lnTo>
                  <a:pt x="7" y="53"/>
                </a:lnTo>
                <a:lnTo>
                  <a:pt x="5" y="55"/>
                </a:lnTo>
                <a:lnTo>
                  <a:pt x="5" y="57"/>
                </a:lnTo>
                <a:lnTo>
                  <a:pt x="1" y="57"/>
                </a:lnTo>
                <a:lnTo>
                  <a:pt x="1" y="58"/>
                </a:lnTo>
                <a:lnTo>
                  <a:pt x="1" y="61"/>
                </a:lnTo>
                <a:lnTo>
                  <a:pt x="3" y="63"/>
                </a:lnTo>
                <a:lnTo>
                  <a:pt x="3" y="64"/>
                </a:lnTo>
                <a:lnTo>
                  <a:pt x="4" y="64"/>
                </a:lnTo>
                <a:lnTo>
                  <a:pt x="3" y="71"/>
                </a:lnTo>
                <a:lnTo>
                  <a:pt x="0" y="74"/>
                </a:lnTo>
                <a:lnTo>
                  <a:pt x="0" y="75"/>
                </a:lnTo>
                <a:lnTo>
                  <a:pt x="0" y="77"/>
                </a:lnTo>
                <a:lnTo>
                  <a:pt x="1" y="75"/>
                </a:lnTo>
                <a:lnTo>
                  <a:pt x="1" y="77"/>
                </a:lnTo>
                <a:lnTo>
                  <a:pt x="3" y="77"/>
                </a:lnTo>
                <a:lnTo>
                  <a:pt x="4" y="77"/>
                </a:lnTo>
                <a:lnTo>
                  <a:pt x="5" y="79"/>
                </a:lnTo>
                <a:lnTo>
                  <a:pt x="8" y="79"/>
                </a:lnTo>
                <a:lnTo>
                  <a:pt x="9" y="79"/>
                </a:lnTo>
                <a:lnTo>
                  <a:pt x="11" y="82"/>
                </a:lnTo>
                <a:lnTo>
                  <a:pt x="11" y="83"/>
                </a:lnTo>
                <a:lnTo>
                  <a:pt x="12" y="85"/>
                </a:lnTo>
                <a:lnTo>
                  <a:pt x="12" y="86"/>
                </a:lnTo>
                <a:lnTo>
                  <a:pt x="13" y="86"/>
                </a:lnTo>
                <a:lnTo>
                  <a:pt x="15" y="88"/>
                </a:lnTo>
                <a:lnTo>
                  <a:pt x="17" y="88"/>
                </a:lnTo>
                <a:lnTo>
                  <a:pt x="17" y="90"/>
                </a:lnTo>
                <a:lnTo>
                  <a:pt x="17" y="91"/>
                </a:lnTo>
                <a:lnTo>
                  <a:pt x="17" y="93"/>
                </a:lnTo>
                <a:lnTo>
                  <a:pt x="17" y="94"/>
                </a:lnTo>
                <a:lnTo>
                  <a:pt x="17" y="96"/>
                </a:lnTo>
                <a:lnTo>
                  <a:pt x="17" y="97"/>
                </a:lnTo>
                <a:lnTo>
                  <a:pt x="16" y="97"/>
                </a:lnTo>
                <a:lnTo>
                  <a:pt x="16" y="100"/>
                </a:lnTo>
                <a:lnTo>
                  <a:pt x="15" y="100"/>
                </a:lnTo>
                <a:lnTo>
                  <a:pt x="15" y="104"/>
                </a:lnTo>
                <a:lnTo>
                  <a:pt x="15" y="105"/>
                </a:lnTo>
                <a:lnTo>
                  <a:pt x="15" y="11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71" name="Freeform 1098"/>
          <p:cNvSpPr>
            <a:spLocks/>
          </p:cNvSpPr>
          <p:nvPr/>
        </p:nvSpPr>
        <p:spPr bwMode="auto">
          <a:xfrm>
            <a:off x="5428875" y="3964133"/>
            <a:ext cx="175394" cy="227647"/>
          </a:xfrm>
          <a:custGeom>
            <a:avLst/>
            <a:gdLst/>
            <a:ahLst/>
            <a:cxnLst>
              <a:cxn ang="0">
                <a:pos x="20" y="115"/>
              </a:cxn>
              <a:cxn ang="0">
                <a:pos x="37" y="105"/>
              </a:cxn>
              <a:cxn ang="0">
                <a:pos x="57" y="100"/>
              </a:cxn>
              <a:cxn ang="0">
                <a:pos x="70" y="99"/>
              </a:cxn>
              <a:cxn ang="0">
                <a:pos x="82" y="102"/>
              </a:cxn>
              <a:cxn ang="0">
                <a:pos x="86" y="100"/>
              </a:cxn>
              <a:cxn ang="0">
                <a:pos x="88" y="91"/>
              </a:cxn>
              <a:cxn ang="0">
                <a:pos x="84" y="88"/>
              </a:cxn>
              <a:cxn ang="0">
                <a:pos x="81" y="74"/>
              </a:cxn>
              <a:cxn ang="0">
                <a:pos x="84" y="64"/>
              </a:cxn>
              <a:cxn ang="0">
                <a:pos x="85" y="57"/>
              </a:cxn>
              <a:cxn ang="0">
                <a:pos x="89" y="49"/>
              </a:cxn>
              <a:cxn ang="0">
                <a:pos x="90" y="44"/>
              </a:cxn>
              <a:cxn ang="0">
                <a:pos x="89" y="30"/>
              </a:cxn>
              <a:cxn ang="0">
                <a:pos x="88" y="25"/>
              </a:cxn>
              <a:cxn ang="0">
                <a:pos x="88" y="22"/>
              </a:cxn>
              <a:cxn ang="0">
                <a:pos x="84" y="19"/>
              </a:cxn>
              <a:cxn ang="0">
                <a:pos x="81" y="14"/>
              </a:cxn>
              <a:cxn ang="0">
                <a:pos x="74" y="14"/>
              </a:cxn>
              <a:cxn ang="0">
                <a:pos x="67" y="17"/>
              </a:cxn>
              <a:cxn ang="0">
                <a:pos x="63" y="20"/>
              </a:cxn>
              <a:cxn ang="0">
                <a:pos x="60" y="19"/>
              </a:cxn>
              <a:cxn ang="0">
                <a:pos x="56" y="16"/>
              </a:cxn>
              <a:cxn ang="0">
                <a:pos x="53" y="13"/>
              </a:cxn>
              <a:cxn ang="0">
                <a:pos x="51" y="8"/>
              </a:cxn>
              <a:cxn ang="0">
                <a:pos x="45" y="5"/>
              </a:cxn>
              <a:cxn ang="0">
                <a:pos x="39" y="8"/>
              </a:cxn>
              <a:cxn ang="0">
                <a:pos x="36" y="8"/>
              </a:cxn>
              <a:cxn ang="0">
                <a:pos x="35" y="2"/>
              </a:cxn>
              <a:cxn ang="0">
                <a:pos x="32" y="0"/>
              </a:cxn>
              <a:cxn ang="0">
                <a:pos x="29" y="2"/>
              </a:cxn>
              <a:cxn ang="0">
                <a:pos x="28" y="6"/>
              </a:cxn>
              <a:cxn ang="0">
                <a:pos x="23" y="9"/>
              </a:cxn>
              <a:cxn ang="0">
                <a:pos x="20" y="8"/>
              </a:cxn>
              <a:cxn ang="0">
                <a:pos x="17" y="6"/>
              </a:cxn>
              <a:cxn ang="0">
                <a:pos x="15" y="6"/>
              </a:cxn>
              <a:cxn ang="0">
                <a:pos x="11" y="8"/>
              </a:cxn>
              <a:cxn ang="0">
                <a:pos x="8" y="11"/>
              </a:cxn>
              <a:cxn ang="0">
                <a:pos x="7" y="17"/>
              </a:cxn>
              <a:cxn ang="0">
                <a:pos x="8" y="25"/>
              </a:cxn>
              <a:cxn ang="0">
                <a:pos x="11" y="28"/>
              </a:cxn>
              <a:cxn ang="0">
                <a:pos x="11" y="33"/>
              </a:cxn>
              <a:cxn ang="0">
                <a:pos x="12" y="36"/>
              </a:cxn>
              <a:cxn ang="0">
                <a:pos x="12" y="41"/>
              </a:cxn>
              <a:cxn ang="0">
                <a:pos x="12" y="41"/>
              </a:cxn>
              <a:cxn ang="0">
                <a:pos x="7" y="39"/>
              </a:cxn>
              <a:cxn ang="0">
                <a:pos x="5" y="42"/>
              </a:cxn>
              <a:cxn ang="0">
                <a:pos x="7" y="46"/>
              </a:cxn>
              <a:cxn ang="0">
                <a:pos x="8" y="49"/>
              </a:cxn>
              <a:cxn ang="0">
                <a:pos x="5" y="55"/>
              </a:cxn>
              <a:cxn ang="0">
                <a:pos x="1" y="58"/>
              </a:cxn>
              <a:cxn ang="0">
                <a:pos x="3" y="64"/>
              </a:cxn>
              <a:cxn ang="0">
                <a:pos x="0" y="74"/>
              </a:cxn>
              <a:cxn ang="0">
                <a:pos x="1" y="75"/>
              </a:cxn>
              <a:cxn ang="0">
                <a:pos x="4" y="77"/>
              </a:cxn>
              <a:cxn ang="0">
                <a:pos x="9" y="79"/>
              </a:cxn>
              <a:cxn ang="0">
                <a:pos x="12" y="85"/>
              </a:cxn>
              <a:cxn ang="0">
                <a:pos x="15" y="88"/>
              </a:cxn>
              <a:cxn ang="0">
                <a:pos x="17" y="91"/>
              </a:cxn>
              <a:cxn ang="0">
                <a:pos x="17" y="96"/>
              </a:cxn>
              <a:cxn ang="0">
                <a:pos x="16" y="100"/>
              </a:cxn>
              <a:cxn ang="0">
                <a:pos x="15" y="105"/>
              </a:cxn>
            </a:cxnLst>
            <a:rect l="0" t="0" r="r" b="b"/>
            <a:pathLst>
              <a:path w="92" h="115">
                <a:moveTo>
                  <a:pt x="15" y="113"/>
                </a:moveTo>
                <a:lnTo>
                  <a:pt x="16" y="115"/>
                </a:lnTo>
                <a:lnTo>
                  <a:pt x="20" y="115"/>
                </a:lnTo>
                <a:lnTo>
                  <a:pt x="27" y="110"/>
                </a:lnTo>
                <a:lnTo>
                  <a:pt x="33" y="107"/>
                </a:lnTo>
                <a:lnTo>
                  <a:pt x="37" y="105"/>
                </a:lnTo>
                <a:lnTo>
                  <a:pt x="44" y="104"/>
                </a:lnTo>
                <a:lnTo>
                  <a:pt x="47" y="102"/>
                </a:lnTo>
                <a:lnTo>
                  <a:pt x="57" y="100"/>
                </a:lnTo>
                <a:lnTo>
                  <a:pt x="60" y="100"/>
                </a:lnTo>
                <a:lnTo>
                  <a:pt x="65" y="99"/>
                </a:lnTo>
                <a:lnTo>
                  <a:pt x="70" y="99"/>
                </a:lnTo>
                <a:lnTo>
                  <a:pt x="74" y="100"/>
                </a:lnTo>
                <a:lnTo>
                  <a:pt x="81" y="102"/>
                </a:lnTo>
                <a:lnTo>
                  <a:pt x="82" y="102"/>
                </a:lnTo>
                <a:lnTo>
                  <a:pt x="84" y="99"/>
                </a:lnTo>
                <a:lnTo>
                  <a:pt x="85" y="99"/>
                </a:lnTo>
                <a:lnTo>
                  <a:pt x="86" y="100"/>
                </a:lnTo>
                <a:lnTo>
                  <a:pt x="88" y="99"/>
                </a:lnTo>
                <a:lnTo>
                  <a:pt x="88" y="94"/>
                </a:lnTo>
                <a:lnTo>
                  <a:pt x="88" y="91"/>
                </a:lnTo>
                <a:lnTo>
                  <a:pt x="86" y="90"/>
                </a:lnTo>
                <a:lnTo>
                  <a:pt x="85" y="90"/>
                </a:lnTo>
                <a:lnTo>
                  <a:pt x="84" y="88"/>
                </a:lnTo>
                <a:lnTo>
                  <a:pt x="82" y="83"/>
                </a:lnTo>
                <a:lnTo>
                  <a:pt x="81" y="77"/>
                </a:lnTo>
                <a:lnTo>
                  <a:pt x="81" y="74"/>
                </a:lnTo>
                <a:lnTo>
                  <a:pt x="81" y="69"/>
                </a:lnTo>
                <a:lnTo>
                  <a:pt x="82" y="66"/>
                </a:lnTo>
                <a:lnTo>
                  <a:pt x="84" y="64"/>
                </a:lnTo>
                <a:lnTo>
                  <a:pt x="85" y="63"/>
                </a:lnTo>
                <a:lnTo>
                  <a:pt x="85" y="58"/>
                </a:lnTo>
                <a:lnTo>
                  <a:pt x="85" y="57"/>
                </a:lnTo>
                <a:lnTo>
                  <a:pt x="86" y="52"/>
                </a:lnTo>
                <a:lnTo>
                  <a:pt x="88" y="49"/>
                </a:lnTo>
                <a:lnTo>
                  <a:pt x="89" y="49"/>
                </a:lnTo>
                <a:lnTo>
                  <a:pt x="89" y="47"/>
                </a:lnTo>
                <a:lnTo>
                  <a:pt x="90" y="46"/>
                </a:lnTo>
                <a:lnTo>
                  <a:pt x="90" y="44"/>
                </a:lnTo>
                <a:lnTo>
                  <a:pt x="92" y="44"/>
                </a:lnTo>
                <a:lnTo>
                  <a:pt x="92" y="39"/>
                </a:lnTo>
                <a:lnTo>
                  <a:pt x="89" y="30"/>
                </a:lnTo>
                <a:lnTo>
                  <a:pt x="88" y="28"/>
                </a:lnTo>
                <a:lnTo>
                  <a:pt x="89" y="27"/>
                </a:lnTo>
                <a:lnTo>
                  <a:pt x="88" y="25"/>
                </a:lnTo>
                <a:lnTo>
                  <a:pt x="89" y="24"/>
                </a:lnTo>
                <a:lnTo>
                  <a:pt x="89" y="22"/>
                </a:lnTo>
                <a:lnTo>
                  <a:pt x="88" y="22"/>
                </a:lnTo>
                <a:lnTo>
                  <a:pt x="86" y="22"/>
                </a:lnTo>
                <a:lnTo>
                  <a:pt x="85" y="22"/>
                </a:lnTo>
                <a:lnTo>
                  <a:pt x="84" y="19"/>
                </a:lnTo>
                <a:lnTo>
                  <a:pt x="84" y="17"/>
                </a:lnTo>
                <a:lnTo>
                  <a:pt x="82" y="17"/>
                </a:lnTo>
                <a:lnTo>
                  <a:pt x="81" y="14"/>
                </a:lnTo>
                <a:lnTo>
                  <a:pt x="80" y="16"/>
                </a:lnTo>
                <a:lnTo>
                  <a:pt x="76" y="14"/>
                </a:lnTo>
                <a:lnTo>
                  <a:pt x="74" y="14"/>
                </a:lnTo>
                <a:lnTo>
                  <a:pt x="72" y="14"/>
                </a:lnTo>
                <a:lnTo>
                  <a:pt x="68" y="16"/>
                </a:lnTo>
                <a:lnTo>
                  <a:pt x="67" y="17"/>
                </a:lnTo>
                <a:lnTo>
                  <a:pt x="64" y="17"/>
                </a:lnTo>
                <a:lnTo>
                  <a:pt x="64" y="19"/>
                </a:lnTo>
                <a:lnTo>
                  <a:pt x="63" y="20"/>
                </a:lnTo>
                <a:lnTo>
                  <a:pt x="61" y="19"/>
                </a:lnTo>
                <a:lnTo>
                  <a:pt x="60" y="17"/>
                </a:lnTo>
                <a:lnTo>
                  <a:pt x="60" y="19"/>
                </a:lnTo>
                <a:lnTo>
                  <a:pt x="59" y="19"/>
                </a:lnTo>
                <a:lnTo>
                  <a:pt x="56" y="17"/>
                </a:lnTo>
                <a:lnTo>
                  <a:pt x="56" y="16"/>
                </a:lnTo>
                <a:lnTo>
                  <a:pt x="55" y="16"/>
                </a:lnTo>
                <a:lnTo>
                  <a:pt x="55" y="13"/>
                </a:lnTo>
                <a:lnTo>
                  <a:pt x="53" y="13"/>
                </a:lnTo>
                <a:lnTo>
                  <a:pt x="52" y="9"/>
                </a:lnTo>
                <a:lnTo>
                  <a:pt x="51" y="9"/>
                </a:lnTo>
                <a:lnTo>
                  <a:pt x="51" y="8"/>
                </a:lnTo>
                <a:lnTo>
                  <a:pt x="47" y="8"/>
                </a:lnTo>
                <a:lnTo>
                  <a:pt x="45" y="6"/>
                </a:lnTo>
                <a:lnTo>
                  <a:pt x="45" y="5"/>
                </a:lnTo>
                <a:lnTo>
                  <a:pt x="41" y="5"/>
                </a:lnTo>
                <a:lnTo>
                  <a:pt x="40" y="8"/>
                </a:lnTo>
                <a:lnTo>
                  <a:pt x="39" y="8"/>
                </a:lnTo>
                <a:lnTo>
                  <a:pt x="39" y="9"/>
                </a:lnTo>
                <a:lnTo>
                  <a:pt x="36" y="9"/>
                </a:lnTo>
                <a:lnTo>
                  <a:pt x="36" y="8"/>
                </a:lnTo>
                <a:lnTo>
                  <a:pt x="36" y="5"/>
                </a:lnTo>
                <a:lnTo>
                  <a:pt x="35" y="3"/>
                </a:lnTo>
                <a:lnTo>
                  <a:pt x="35" y="2"/>
                </a:lnTo>
                <a:lnTo>
                  <a:pt x="35" y="0"/>
                </a:lnTo>
                <a:lnTo>
                  <a:pt x="33" y="0"/>
                </a:lnTo>
                <a:lnTo>
                  <a:pt x="32" y="0"/>
                </a:lnTo>
                <a:lnTo>
                  <a:pt x="32" y="3"/>
                </a:lnTo>
                <a:lnTo>
                  <a:pt x="31" y="3"/>
                </a:lnTo>
                <a:lnTo>
                  <a:pt x="29" y="2"/>
                </a:lnTo>
                <a:lnTo>
                  <a:pt x="28" y="3"/>
                </a:lnTo>
                <a:lnTo>
                  <a:pt x="28" y="5"/>
                </a:lnTo>
                <a:lnTo>
                  <a:pt x="28" y="6"/>
                </a:lnTo>
                <a:lnTo>
                  <a:pt x="25" y="6"/>
                </a:lnTo>
                <a:lnTo>
                  <a:pt x="23" y="8"/>
                </a:lnTo>
                <a:lnTo>
                  <a:pt x="23" y="9"/>
                </a:lnTo>
                <a:lnTo>
                  <a:pt x="21" y="9"/>
                </a:lnTo>
                <a:lnTo>
                  <a:pt x="20" y="9"/>
                </a:lnTo>
                <a:lnTo>
                  <a:pt x="20" y="8"/>
                </a:lnTo>
                <a:lnTo>
                  <a:pt x="19" y="8"/>
                </a:lnTo>
                <a:lnTo>
                  <a:pt x="17" y="9"/>
                </a:lnTo>
                <a:lnTo>
                  <a:pt x="17" y="6"/>
                </a:lnTo>
                <a:lnTo>
                  <a:pt x="16" y="5"/>
                </a:lnTo>
                <a:lnTo>
                  <a:pt x="15" y="5"/>
                </a:lnTo>
                <a:lnTo>
                  <a:pt x="15" y="6"/>
                </a:lnTo>
                <a:lnTo>
                  <a:pt x="13" y="6"/>
                </a:lnTo>
                <a:lnTo>
                  <a:pt x="12" y="6"/>
                </a:lnTo>
                <a:lnTo>
                  <a:pt x="11" y="8"/>
                </a:lnTo>
                <a:lnTo>
                  <a:pt x="11" y="9"/>
                </a:lnTo>
                <a:lnTo>
                  <a:pt x="8" y="9"/>
                </a:lnTo>
                <a:lnTo>
                  <a:pt x="8" y="11"/>
                </a:lnTo>
                <a:lnTo>
                  <a:pt x="7" y="13"/>
                </a:lnTo>
                <a:lnTo>
                  <a:pt x="5" y="14"/>
                </a:lnTo>
                <a:lnTo>
                  <a:pt x="7" y="17"/>
                </a:lnTo>
                <a:lnTo>
                  <a:pt x="5" y="22"/>
                </a:lnTo>
                <a:lnTo>
                  <a:pt x="7" y="24"/>
                </a:lnTo>
                <a:lnTo>
                  <a:pt x="8" y="25"/>
                </a:lnTo>
                <a:lnTo>
                  <a:pt x="11" y="24"/>
                </a:lnTo>
                <a:lnTo>
                  <a:pt x="9" y="28"/>
                </a:lnTo>
                <a:lnTo>
                  <a:pt x="11" y="28"/>
                </a:lnTo>
                <a:lnTo>
                  <a:pt x="12" y="30"/>
                </a:lnTo>
                <a:lnTo>
                  <a:pt x="11" y="31"/>
                </a:lnTo>
                <a:lnTo>
                  <a:pt x="11" y="33"/>
                </a:lnTo>
                <a:lnTo>
                  <a:pt x="9" y="35"/>
                </a:lnTo>
                <a:lnTo>
                  <a:pt x="11" y="36"/>
                </a:lnTo>
                <a:lnTo>
                  <a:pt x="12" y="36"/>
                </a:lnTo>
                <a:lnTo>
                  <a:pt x="12" y="38"/>
                </a:lnTo>
                <a:lnTo>
                  <a:pt x="12" y="39"/>
                </a:lnTo>
                <a:lnTo>
                  <a:pt x="12" y="41"/>
                </a:lnTo>
                <a:lnTo>
                  <a:pt x="13" y="42"/>
                </a:lnTo>
                <a:lnTo>
                  <a:pt x="12" y="42"/>
                </a:lnTo>
                <a:lnTo>
                  <a:pt x="12" y="41"/>
                </a:lnTo>
                <a:lnTo>
                  <a:pt x="11" y="41"/>
                </a:lnTo>
                <a:lnTo>
                  <a:pt x="9" y="41"/>
                </a:lnTo>
                <a:lnTo>
                  <a:pt x="7" y="39"/>
                </a:lnTo>
                <a:lnTo>
                  <a:pt x="4" y="41"/>
                </a:lnTo>
                <a:lnTo>
                  <a:pt x="5" y="41"/>
                </a:lnTo>
                <a:lnTo>
                  <a:pt x="5" y="42"/>
                </a:lnTo>
                <a:lnTo>
                  <a:pt x="4" y="46"/>
                </a:lnTo>
                <a:lnTo>
                  <a:pt x="5" y="46"/>
                </a:lnTo>
                <a:lnTo>
                  <a:pt x="7" y="46"/>
                </a:lnTo>
                <a:lnTo>
                  <a:pt x="8" y="46"/>
                </a:lnTo>
                <a:lnTo>
                  <a:pt x="8" y="47"/>
                </a:lnTo>
                <a:lnTo>
                  <a:pt x="8" y="49"/>
                </a:lnTo>
                <a:lnTo>
                  <a:pt x="7" y="50"/>
                </a:lnTo>
                <a:lnTo>
                  <a:pt x="7" y="53"/>
                </a:lnTo>
                <a:lnTo>
                  <a:pt x="5" y="55"/>
                </a:lnTo>
                <a:lnTo>
                  <a:pt x="5" y="57"/>
                </a:lnTo>
                <a:lnTo>
                  <a:pt x="1" y="57"/>
                </a:lnTo>
                <a:lnTo>
                  <a:pt x="1" y="58"/>
                </a:lnTo>
                <a:lnTo>
                  <a:pt x="1" y="61"/>
                </a:lnTo>
                <a:lnTo>
                  <a:pt x="3" y="63"/>
                </a:lnTo>
                <a:lnTo>
                  <a:pt x="3" y="64"/>
                </a:lnTo>
                <a:lnTo>
                  <a:pt x="4" y="64"/>
                </a:lnTo>
                <a:lnTo>
                  <a:pt x="3" y="71"/>
                </a:lnTo>
                <a:lnTo>
                  <a:pt x="0" y="74"/>
                </a:lnTo>
                <a:lnTo>
                  <a:pt x="0" y="75"/>
                </a:lnTo>
                <a:lnTo>
                  <a:pt x="0" y="77"/>
                </a:lnTo>
                <a:lnTo>
                  <a:pt x="1" y="75"/>
                </a:lnTo>
                <a:lnTo>
                  <a:pt x="1" y="77"/>
                </a:lnTo>
                <a:lnTo>
                  <a:pt x="3" y="77"/>
                </a:lnTo>
                <a:lnTo>
                  <a:pt x="4" y="77"/>
                </a:lnTo>
                <a:lnTo>
                  <a:pt x="5" y="79"/>
                </a:lnTo>
                <a:lnTo>
                  <a:pt x="8" y="79"/>
                </a:lnTo>
                <a:lnTo>
                  <a:pt x="9" y="79"/>
                </a:lnTo>
                <a:lnTo>
                  <a:pt x="11" y="82"/>
                </a:lnTo>
                <a:lnTo>
                  <a:pt x="11" y="83"/>
                </a:lnTo>
                <a:lnTo>
                  <a:pt x="12" y="85"/>
                </a:lnTo>
                <a:lnTo>
                  <a:pt x="12" y="86"/>
                </a:lnTo>
                <a:lnTo>
                  <a:pt x="13" y="86"/>
                </a:lnTo>
                <a:lnTo>
                  <a:pt x="15" y="88"/>
                </a:lnTo>
                <a:lnTo>
                  <a:pt x="17" y="88"/>
                </a:lnTo>
                <a:lnTo>
                  <a:pt x="17" y="90"/>
                </a:lnTo>
                <a:lnTo>
                  <a:pt x="17" y="91"/>
                </a:lnTo>
                <a:lnTo>
                  <a:pt x="17" y="93"/>
                </a:lnTo>
                <a:lnTo>
                  <a:pt x="17" y="94"/>
                </a:lnTo>
                <a:lnTo>
                  <a:pt x="17" y="96"/>
                </a:lnTo>
                <a:lnTo>
                  <a:pt x="17" y="97"/>
                </a:lnTo>
                <a:lnTo>
                  <a:pt x="16" y="97"/>
                </a:lnTo>
                <a:lnTo>
                  <a:pt x="16" y="100"/>
                </a:lnTo>
                <a:lnTo>
                  <a:pt x="15" y="100"/>
                </a:lnTo>
                <a:lnTo>
                  <a:pt x="15" y="104"/>
                </a:lnTo>
                <a:lnTo>
                  <a:pt x="15" y="105"/>
                </a:lnTo>
                <a:lnTo>
                  <a:pt x="15" y="113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72" name="Freeform 1099"/>
          <p:cNvSpPr>
            <a:spLocks/>
          </p:cNvSpPr>
          <p:nvPr/>
        </p:nvSpPr>
        <p:spPr bwMode="auto">
          <a:xfrm>
            <a:off x="5666630" y="3951248"/>
            <a:ext cx="64310" cy="176104"/>
          </a:xfrm>
          <a:custGeom>
            <a:avLst/>
            <a:gdLst/>
            <a:ahLst/>
            <a:cxnLst>
              <a:cxn ang="0">
                <a:pos x="23" y="89"/>
              </a:cxn>
              <a:cxn ang="0">
                <a:pos x="21" y="89"/>
              </a:cxn>
              <a:cxn ang="0">
                <a:pos x="17" y="85"/>
              </a:cxn>
              <a:cxn ang="0">
                <a:pos x="15" y="80"/>
              </a:cxn>
              <a:cxn ang="0">
                <a:pos x="13" y="77"/>
              </a:cxn>
              <a:cxn ang="0">
                <a:pos x="13" y="74"/>
              </a:cxn>
              <a:cxn ang="0">
                <a:pos x="13" y="67"/>
              </a:cxn>
              <a:cxn ang="0">
                <a:pos x="13" y="59"/>
              </a:cxn>
              <a:cxn ang="0">
                <a:pos x="12" y="47"/>
              </a:cxn>
              <a:cxn ang="0">
                <a:pos x="12" y="36"/>
              </a:cxn>
              <a:cxn ang="0">
                <a:pos x="12" y="31"/>
              </a:cxn>
              <a:cxn ang="0">
                <a:pos x="11" y="30"/>
              </a:cxn>
              <a:cxn ang="0">
                <a:pos x="9" y="28"/>
              </a:cxn>
              <a:cxn ang="0">
                <a:pos x="9" y="20"/>
              </a:cxn>
              <a:cxn ang="0">
                <a:pos x="8" y="17"/>
              </a:cxn>
              <a:cxn ang="0">
                <a:pos x="7" y="14"/>
              </a:cxn>
              <a:cxn ang="0">
                <a:pos x="5" y="12"/>
              </a:cxn>
              <a:cxn ang="0">
                <a:pos x="4" y="9"/>
              </a:cxn>
              <a:cxn ang="0">
                <a:pos x="1" y="8"/>
              </a:cxn>
              <a:cxn ang="0">
                <a:pos x="1" y="6"/>
              </a:cxn>
              <a:cxn ang="0">
                <a:pos x="3" y="4"/>
              </a:cxn>
              <a:cxn ang="0">
                <a:pos x="3" y="3"/>
              </a:cxn>
              <a:cxn ang="0">
                <a:pos x="4" y="1"/>
              </a:cxn>
              <a:cxn ang="0">
                <a:pos x="3" y="1"/>
              </a:cxn>
              <a:cxn ang="0">
                <a:pos x="1" y="0"/>
              </a:cxn>
              <a:cxn ang="0">
                <a:pos x="0" y="0"/>
              </a:cxn>
              <a:cxn ang="0">
                <a:pos x="9" y="1"/>
              </a:cxn>
              <a:cxn ang="0">
                <a:pos x="11" y="3"/>
              </a:cxn>
              <a:cxn ang="0">
                <a:pos x="12" y="3"/>
              </a:cxn>
              <a:cxn ang="0">
                <a:pos x="12" y="1"/>
              </a:cxn>
              <a:cxn ang="0">
                <a:pos x="16" y="1"/>
              </a:cxn>
              <a:cxn ang="0">
                <a:pos x="17" y="1"/>
              </a:cxn>
              <a:cxn ang="0">
                <a:pos x="16" y="3"/>
              </a:cxn>
              <a:cxn ang="0">
                <a:pos x="16" y="4"/>
              </a:cxn>
              <a:cxn ang="0">
                <a:pos x="15" y="8"/>
              </a:cxn>
              <a:cxn ang="0">
                <a:pos x="15" y="11"/>
              </a:cxn>
              <a:cxn ang="0">
                <a:pos x="15" y="14"/>
              </a:cxn>
              <a:cxn ang="0">
                <a:pos x="16" y="14"/>
              </a:cxn>
              <a:cxn ang="0">
                <a:pos x="17" y="15"/>
              </a:cxn>
              <a:cxn ang="0">
                <a:pos x="19" y="15"/>
              </a:cxn>
              <a:cxn ang="0">
                <a:pos x="20" y="17"/>
              </a:cxn>
              <a:cxn ang="0">
                <a:pos x="24" y="22"/>
              </a:cxn>
              <a:cxn ang="0">
                <a:pos x="25" y="28"/>
              </a:cxn>
              <a:cxn ang="0">
                <a:pos x="28" y="34"/>
              </a:cxn>
              <a:cxn ang="0">
                <a:pos x="28" y="37"/>
              </a:cxn>
              <a:cxn ang="0">
                <a:pos x="29" y="39"/>
              </a:cxn>
              <a:cxn ang="0">
                <a:pos x="29" y="42"/>
              </a:cxn>
              <a:cxn ang="0">
                <a:pos x="31" y="45"/>
              </a:cxn>
              <a:cxn ang="0">
                <a:pos x="31" y="52"/>
              </a:cxn>
              <a:cxn ang="0">
                <a:pos x="31" y="69"/>
              </a:cxn>
              <a:cxn ang="0">
                <a:pos x="29" y="77"/>
              </a:cxn>
              <a:cxn ang="0">
                <a:pos x="29" y="80"/>
              </a:cxn>
              <a:cxn ang="0">
                <a:pos x="31" y="83"/>
              </a:cxn>
              <a:cxn ang="0">
                <a:pos x="32" y="86"/>
              </a:cxn>
              <a:cxn ang="0">
                <a:pos x="33" y="86"/>
              </a:cxn>
              <a:cxn ang="0">
                <a:pos x="28" y="88"/>
              </a:cxn>
              <a:cxn ang="0">
                <a:pos x="23" y="89"/>
              </a:cxn>
            </a:cxnLst>
            <a:rect l="0" t="0" r="r" b="b"/>
            <a:pathLst>
              <a:path w="33" h="89">
                <a:moveTo>
                  <a:pt x="23" y="89"/>
                </a:moveTo>
                <a:lnTo>
                  <a:pt x="21" y="89"/>
                </a:lnTo>
                <a:lnTo>
                  <a:pt x="17" y="85"/>
                </a:lnTo>
                <a:lnTo>
                  <a:pt x="15" y="80"/>
                </a:lnTo>
                <a:lnTo>
                  <a:pt x="13" y="77"/>
                </a:lnTo>
                <a:lnTo>
                  <a:pt x="13" y="74"/>
                </a:lnTo>
                <a:lnTo>
                  <a:pt x="13" y="67"/>
                </a:lnTo>
                <a:lnTo>
                  <a:pt x="13" y="59"/>
                </a:lnTo>
                <a:lnTo>
                  <a:pt x="12" y="47"/>
                </a:lnTo>
                <a:lnTo>
                  <a:pt x="12" y="36"/>
                </a:lnTo>
                <a:lnTo>
                  <a:pt x="12" y="31"/>
                </a:lnTo>
                <a:lnTo>
                  <a:pt x="11" y="30"/>
                </a:lnTo>
                <a:lnTo>
                  <a:pt x="9" y="28"/>
                </a:lnTo>
                <a:lnTo>
                  <a:pt x="9" y="20"/>
                </a:lnTo>
                <a:lnTo>
                  <a:pt x="8" y="17"/>
                </a:lnTo>
                <a:lnTo>
                  <a:pt x="7" y="14"/>
                </a:lnTo>
                <a:lnTo>
                  <a:pt x="5" y="12"/>
                </a:lnTo>
                <a:lnTo>
                  <a:pt x="4" y="9"/>
                </a:lnTo>
                <a:lnTo>
                  <a:pt x="1" y="8"/>
                </a:lnTo>
                <a:lnTo>
                  <a:pt x="1" y="6"/>
                </a:lnTo>
                <a:lnTo>
                  <a:pt x="3" y="4"/>
                </a:lnTo>
                <a:lnTo>
                  <a:pt x="3" y="3"/>
                </a:lnTo>
                <a:lnTo>
                  <a:pt x="4" y="1"/>
                </a:lnTo>
                <a:lnTo>
                  <a:pt x="3" y="1"/>
                </a:lnTo>
                <a:lnTo>
                  <a:pt x="1" y="0"/>
                </a:lnTo>
                <a:lnTo>
                  <a:pt x="0" y="0"/>
                </a:lnTo>
                <a:lnTo>
                  <a:pt x="9" y="1"/>
                </a:lnTo>
                <a:lnTo>
                  <a:pt x="11" y="3"/>
                </a:lnTo>
                <a:lnTo>
                  <a:pt x="12" y="3"/>
                </a:lnTo>
                <a:lnTo>
                  <a:pt x="12" y="1"/>
                </a:lnTo>
                <a:lnTo>
                  <a:pt x="16" y="1"/>
                </a:lnTo>
                <a:lnTo>
                  <a:pt x="17" y="1"/>
                </a:lnTo>
                <a:lnTo>
                  <a:pt x="16" y="3"/>
                </a:lnTo>
                <a:lnTo>
                  <a:pt x="16" y="4"/>
                </a:lnTo>
                <a:lnTo>
                  <a:pt x="15" y="8"/>
                </a:lnTo>
                <a:lnTo>
                  <a:pt x="15" y="11"/>
                </a:lnTo>
                <a:lnTo>
                  <a:pt x="15" y="14"/>
                </a:lnTo>
                <a:lnTo>
                  <a:pt x="16" y="14"/>
                </a:lnTo>
                <a:lnTo>
                  <a:pt x="17" y="15"/>
                </a:lnTo>
                <a:lnTo>
                  <a:pt x="19" y="15"/>
                </a:lnTo>
                <a:lnTo>
                  <a:pt x="20" y="17"/>
                </a:lnTo>
                <a:lnTo>
                  <a:pt x="24" y="22"/>
                </a:lnTo>
                <a:lnTo>
                  <a:pt x="25" y="28"/>
                </a:lnTo>
                <a:lnTo>
                  <a:pt x="28" y="34"/>
                </a:lnTo>
                <a:lnTo>
                  <a:pt x="28" y="37"/>
                </a:lnTo>
                <a:lnTo>
                  <a:pt x="29" y="39"/>
                </a:lnTo>
                <a:lnTo>
                  <a:pt x="29" y="42"/>
                </a:lnTo>
                <a:lnTo>
                  <a:pt x="31" y="45"/>
                </a:lnTo>
                <a:lnTo>
                  <a:pt x="31" y="52"/>
                </a:lnTo>
                <a:lnTo>
                  <a:pt x="31" y="69"/>
                </a:lnTo>
                <a:lnTo>
                  <a:pt x="29" y="77"/>
                </a:lnTo>
                <a:lnTo>
                  <a:pt x="29" y="80"/>
                </a:lnTo>
                <a:lnTo>
                  <a:pt x="31" y="83"/>
                </a:lnTo>
                <a:lnTo>
                  <a:pt x="32" y="86"/>
                </a:lnTo>
                <a:lnTo>
                  <a:pt x="33" y="86"/>
                </a:lnTo>
                <a:lnTo>
                  <a:pt x="28" y="88"/>
                </a:lnTo>
                <a:lnTo>
                  <a:pt x="23" y="89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73" name="Freeform 1100"/>
          <p:cNvSpPr>
            <a:spLocks/>
          </p:cNvSpPr>
          <p:nvPr/>
        </p:nvSpPr>
        <p:spPr bwMode="auto">
          <a:xfrm>
            <a:off x="5666630" y="3951248"/>
            <a:ext cx="64310" cy="176104"/>
          </a:xfrm>
          <a:custGeom>
            <a:avLst/>
            <a:gdLst/>
            <a:ahLst/>
            <a:cxnLst>
              <a:cxn ang="0">
                <a:pos x="23" y="89"/>
              </a:cxn>
              <a:cxn ang="0">
                <a:pos x="21" y="89"/>
              </a:cxn>
              <a:cxn ang="0">
                <a:pos x="17" y="85"/>
              </a:cxn>
              <a:cxn ang="0">
                <a:pos x="15" y="80"/>
              </a:cxn>
              <a:cxn ang="0">
                <a:pos x="13" y="77"/>
              </a:cxn>
              <a:cxn ang="0">
                <a:pos x="13" y="74"/>
              </a:cxn>
              <a:cxn ang="0">
                <a:pos x="13" y="67"/>
              </a:cxn>
              <a:cxn ang="0">
                <a:pos x="13" y="59"/>
              </a:cxn>
              <a:cxn ang="0">
                <a:pos x="12" y="47"/>
              </a:cxn>
              <a:cxn ang="0">
                <a:pos x="12" y="36"/>
              </a:cxn>
              <a:cxn ang="0">
                <a:pos x="12" y="31"/>
              </a:cxn>
              <a:cxn ang="0">
                <a:pos x="11" y="30"/>
              </a:cxn>
              <a:cxn ang="0">
                <a:pos x="9" y="28"/>
              </a:cxn>
              <a:cxn ang="0">
                <a:pos x="9" y="20"/>
              </a:cxn>
              <a:cxn ang="0">
                <a:pos x="8" y="17"/>
              </a:cxn>
              <a:cxn ang="0">
                <a:pos x="7" y="14"/>
              </a:cxn>
              <a:cxn ang="0">
                <a:pos x="5" y="12"/>
              </a:cxn>
              <a:cxn ang="0">
                <a:pos x="4" y="9"/>
              </a:cxn>
              <a:cxn ang="0">
                <a:pos x="1" y="8"/>
              </a:cxn>
              <a:cxn ang="0">
                <a:pos x="1" y="6"/>
              </a:cxn>
              <a:cxn ang="0">
                <a:pos x="3" y="4"/>
              </a:cxn>
              <a:cxn ang="0">
                <a:pos x="3" y="3"/>
              </a:cxn>
              <a:cxn ang="0">
                <a:pos x="4" y="1"/>
              </a:cxn>
              <a:cxn ang="0">
                <a:pos x="3" y="1"/>
              </a:cxn>
              <a:cxn ang="0">
                <a:pos x="1" y="0"/>
              </a:cxn>
              <a:cxn ang="0">
                <a:pos x="0" y="0"/>
              </a:cxn>
              <a:cxn ang="0">
                <a:pos x="9" y="1"/>
              </a:cxn>
              <a:cxn ang="0">
                <a:pos x="11" y="3"/>
              </a:cxn>
              <a:cxn ang="0">
                <a:pos x="12" y="3"/>
              </a:cxn>
              <a:cxn ang="0">
                <a:pos x="12" y="1"/>
              </a:cxn>
              <a:cxn ang="0">
                <a:pos x="16" y="1"/>
              </a:cxn>
              <a:cxn ang="0">
                <a:pos x="17" y="1"/>
              </a:cxn>
              <a:cxn ang="0">
                <a:pos x="16" y="3"/>
              </a:cxn>
              <a:cxn ang="0">
                <a:pos x="16" y="4"/>
              </a:cxn>
              <a:cxn ang="0">
                <a:pos x="15" y="8"/>
              </a:cxn>
              <a:cxn ang="0">
                <a:pos x="15" y="11"/>
              </a:cxn>
              <a:cxn ang="0">
                <a:pos x="15" y="14"/>
              </a:cxn>
              <a:cxn ang="0">
                <a:pos x="16" y="14"/>
              </a:cxn>
              <a:cxn ang="0">
                <a:pos x="17" y="15"/>
              </a:cxn>
              <a:cxn ang="0">
                <a:pos x="19" y="15"/>
              </a:cxn>
              <a:cxn ang="0">
                <a:pos x="20" y="17"/>
              </a:cxn>
              <a:cxn ang="0">
                <a:pos x="24" y="22"/>
              </a:cxn>
              <a:cxn ang="0">
                <a:pos x="25" y="28"/>
              </a:cxn>
              <a:cxn ang="0">
                <a:pos x="28" y="34"/>
              </a:cxn>
              <a:cxn ang="0">
                <a:pos x="28" y="37"/>
              </a:cxn>
              <a:cxn ang="0">
                <a:pos x="29" y="39"/>
              </a:cxn>
              <a:cxn ang="0">
                <a:pos x="29" y="42"/>
              </a:cxn>
              <a:cxn ang="0">
                <a:pos x="31" y="45"/>
              </a:cxn>
              <a:cxn ang="0">
                <a:pos x="31" y="52"/>
              </a:cxn>
              <a:cxn ang="0">
                <a:pos x="31" y="69"/>
              </a:cxn>
              <a:cxn ang="0">
                <a:pos x="29" y="77"/>
              </a:cxn>
              <a:cxn ang="0">
                <a:pos x="29" y="80"/>
              </a:cxn>
              <a:cxn ang="0">
                <a:pos x="31" y="83"/>
              </a:cxn>
              <a:cxn ang="0">
                <a:pos x="32" y="86"/>
              </a:cxn>
              <a:cxn ang="0">
                <a:pos x="33" y="86"/>
              </a:cxn>
              <a:cxn ang="0">
                <a:pos x="28" y="88"/>
              </a:cxn>
              <a:cxn ang="0">
                <a:pos x="23" y="89"/>
              </a:cxn>
            </a:cxnLst>
            <a:rect l="0" t="0" r="r" b="b"/>
            <a:pathLst>
              <a:path w="33" h="89">
                <a:moveTo>
                  <a:pt x="23" y="89"/>
                </a:moveTo>
                <a:lnTo>
                  <a:pt x="21" y="89"/>
                </a:lnTo>
                <a:lnTo>
                  <a:pt x="17" y="85"/>
                </a:lnTo>
                <a:lnTo>
                  <a:pt x="15" y="80"/>
                </a:lnTo>
                <a:lnTo>
                  <a:pt x="13" y="77"/>
                </a:lnTo>
                <a:lnTo>
                  <a:pt x="13" y="74"/>
                </a:lnTo>
                <a:lnTo>
                  <a:pt x="13" y="67"/>
                </a:lnTo>
                <a:lnTo>
                  <a:pt x="13" y="59"/>
                </a:lnTo>
                <a:lnTo>
                  <a:pt x="12" y="47"/>
                </a:lnTo>
                <a:lnTo>
                  <a:pt x="12" y="36"/>
                </a:lnTo>
                <a:lnTo>
                  <a:pt x="12" y="31"/>
                </a:lnTo>
                <a:lnTo>
                  <a:pt x="11" y="30"/>
                </a:lnTo>
                <a:lnTo>
                  <a:pt x="9" y="28"/>
                </a:lnTo>
                <a:lnTo>
                  <a:pt x="9" y="20"/>
                </a:lnTo>
                <a:lnTo>
                  <a:pt x="8" y="17"/>
                </a:lnTo>
                <a:lnTo>
                  <a:pt x="7" y="14"/>
                </a:lnTo>
                <a:lnTo>
                  <a:pt x="5" y="12"/>
                </a:lnTo>
                <a:lnTo>
                  <a:pt x="4" y="9"/>
                </a:lnTo>
                <a:lnTo>
                  <a:pt x="1" y="8"/>
                </a:lnTo>
                <a:lnTo>
                  <a:pt x="1" y="6"/>
                </a:lnTo>
                <a:lnTo>
                  <a:pt x="3" y="4"/>
                </a:lnTo>
                <a:lnTo>
                  <a:pt x="3" y="3"/>
                </a:lnTo>
                <a:lnTo>
                  <a:pt x="4" y="1"/>
                </a:lnTo>
                <a:lnTo>
                  <a:pt x="3" y="1"/>
                </a:lnTo>
                <a:lnTo>
                  <a:pt x="1" y="0"/>
                </a:lnTo>
                <a:lnTo>
                  <a:pt x="0" y="0"/>
                </a:lnTo>
                <a:lnTo>
                  <a:pt x="9" y="1"/>
                </a:lnTo>
                <a:lnTo>
                  <a:pt x="11" y="3"/>
                </a:lnTo>
                <a:lnTo>
                  <a:pt x="12" y="3"/>
                </a:lnTo>
                <a:lnTo>
                  <a:pt x="12" y="1"/>
                </a:lnTo>
                <a:lnTo>
                  <a:pt x="16" y="1"/>
                </a:lnTo>
                <a:lnTo>
                  <a:pt x="17" y="1"/>
                </a:lnTo>
                <a:lnTo>
                  <a:pt x="16" y="3"/>
                </a:lnTo>
                <a:lnTo>
                  <a:pt x="16" y="4"/>
                </a:lnTo>
                <a:lnTo>
                  <a:pt x="15" y="8"/>
                </a:lnTo>
                <a:lnTo>
                  <a:pt x="15" y="11"/>
                </a:lnTo>
                <a:lnTo>
                  <a:pt x="15" y="14"/>
                </a:lnTo>
                <a:lnTo>
                  <a:pt x="16" y="14"/>
                </a:lnTo>
                <a:lnTo>
                  <a:pt x="17" y="15"/>
                </a:lnTo>
                <a:lnTo>
                  <a:pt x="19" y="15"/>
                </a:lnTo>
                <a:lnTo>
                  <a:pt x="20" y="17"/>
                </a:lnTo>
                <a:lnTo>
                  <a:pt x="24" y="22"/>
                </a:lnTo>
                <a:lnTo>
                  <a:pt x="25" y="28"/>
                </a:lnTo>
                <a:lnTo>
                  <a:pt x="28" y="34"/>
                </a:lnTo>
                <a:lnTo>
                  <a:pt x="28" y="37"/>
                </a:lnTo>
                <a:lnTo>
                  <a:pt x="29" y="39"/>
                </a:lnTo>
                <a:lnTo>
                  <a:pt x="29" y="42"/>
                </a:lnTo>
                <a:lnTo>
                  <a:pt x="31" y="45"/>
                </a:lnTo>
                <a:lnTo>
                  <a:pt x="31" y="52"/>
                </a:lnTo>
                <a:lnTo>
                  <a:pt x="31" y="69"/>
                </a:lnTo>
                <a:lnTo>
                  <a:pt x="29" y="77"/>
                </a:lnTo>
                <a:lnTo>
                  <a:pt x="29" y="80"/>
                </a:lnTo>
                <a:lnTo>
                  <a:pt x="31" y="83"/>
                </a:lnTo>
                <a:lnTo>
                  <a:pt x="32" y="86"/>
                </a:lnTo>
                <a:lnTo>
                  <a:pt x="33" y="86"/>
                </a:lnTo>
                <a:lnTo>
                  <a:pt x="28" y="88"/>
                </a:lnTo>
                <a:lnTo>
                  <a:pt x="23" y="89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74" name="Freeform 1101"/>
          <p:cNvSpPr>
            <a:spLocks/>
          </p:cNvSpPr>
          <p:nvPr/>
        </p:nvSpPr>
        <p:spPr bwMode="auto">
          <a:xfrm>
            <a:off x="6853458" y="3925476"/>
            <a:ext cx="294271" cy="476770"/>
          </a:xfrm>
          <a:custGeom>
            <a:avLst/>
            <a:gdLst/>
            <a:ahLst/>
            <a:cxnLst>
              <a:cxn ang="0">
                <a:pos x="1" y="230"/>
              </a:cxn>
              <a:cxn ang="0">
                <a:pos x="0" y="196"/>
              </a:cxn>
              <a:cxn ang="0">
                <a:pos x="1" y="161"/>
              </a:cxn>
              <a:cxn ang="0">
                <a:pos x="14" y="141"/>
              </a:cxn>
              <a:cxn ang="0">
                <a:pos x="32" y="130"/>
              </a:cxn>
              <a:cxn ang="0">
                <a:pos x="42" y="124"/>
              </a:cxn>
              <a:cxn ang="0">
                <a:pos x="102" y="73"/>
              </a:cxn>
              <a:cxn ang="0">
                <a:pos x="92" y="69"/>
              </a:cxn>
              <a:cxn ang="0">
                <a:pos x="44" y="48"/>
              </a:cxn>
              <a:cxn ang="0">
                <a:pos x="34" y="37"/>
              </a:cxn>
              <a:cxn ang="0">
                <a:pos x="30" y="33"/>
              </a:cxn>
              <a:cxn ang="0">
                <a:pos x="26" y="22"/>
              </a:cxn>
              <a:cxn ang="0">
                <a:pos x="29" y="15"/>
              </a:cxn>
              <a:cxn ang="0">
                <a:pos x="33" y="7"/>
              </a:cxn>
              <a:cxn ang="0">
                <a:pos x="37" y="12"/>
              </a:cxn>
              <a:cxn ang="0">
                <a:pos x="45" y="25"/>
              </a:cxn>
              <a:cxn ang="0">
                <a:pos x="53" y="26"/>
              </a:cxn>
              <a:cxn ang="0">
                <a:pos x="64" y="23"/>
              </a:cxn>
              <a:cxn ang="0">
                <a:pos x="69" y="20"/>
              </a:cxn>
              <a:cxn ang="0">
                <a:pos x="72" y="18"/>
              </a:cxn>
              <a:cxn ang="0">
                <a:pos x="78" y="20"/>
              </a:cxn>
              <a:cxn ang="0">
                <a:pos x="85" y="22"/>
              </a:cxn>
              <a:cxn ang="0">
                <a:pos x="90" y="17"/>
              </a:cxn>
              <a:cxn ang="0">
                <a:pos x="97" y="14"/>
              </a:cxn>
              <a:cxn ang="0">
                <a:pos x="105" y="14"/>
              </a:cxn>
              <a:cxn ang="0">
                <a:pos x="113" y="11"/>
              </a:cxn>
              <a:cxn ang="0">
                <a:pos x="122" y="11"/>
              </a:cxn>
              <a:cxn ang="0">
                <a:pos x="130" y="9"/>
              </a:cxn>
              <a:cxn ang="0">
                <a:pos x="138" y="6"/>
              </a:cxn>
              <a:cxn ang="0">
                <a:pos x="145" y="0"/>
              </a:cxn>
              <a:cxn ang="0">
                <a:pos x="153" y="3"/>
              </a:cxn>
              <a:cxn ang="0">
                <a:pos x="151" y="9"/>
              </a:cxn>
              <a:cxn ang="0">
                <a:pos x="151" y="15"/>
              </a:cxn>
              <a:cxn ang="0">
                <a:pos x="151" y="22"/>
              </a:cxn>
              <a:cxn ang="0">
                <a:pos x="150" y="28"/>
              </a:cxn>
              <a:cxn ang="0">
                <a:pos x="153" y="28"/>
              </a:cxn>
              <a:cxn ang="0">
                <a:pos x="153" y="29"/>
              </a:cxn>
              <a:cxn ang="0">
                <a:pos x="149" y="29"/>
              </a:cxn>
              <a:cxn ang="0">
                <a:pos x="146" y="40"/>
              </a:cxn>
              <a:cxn ang="0">
                <a:pos x="145" y="50"/>
              </a:cxn>
              <a:cxn ang="0">
                <a:pos x="141" y="59"/>
              </a:cxn>
              <a:cxn ang="0">
                <a:pos x="135" y="67"/>
              </a:cxn>
              <a:cxn ang="0">
                <a:pos x="131" y="73"/>
              </a:cxn>
              <a:cxn ang="0">
                <a:pos x="122" y="95"/>
              </a:cxn>
              <a:cxn ang="0">
                <a:pos x="118" y="111"/>
              </a:cxn>
              <a:cxn ang="0">
                <a:pos x="113" y="116"/>
              </a:cxn>
              <a:cxn ang="0">
                <a:pos x="106" y="125"/>
              </a:cxn>
              <a:cxn ang="0">
                <a:pos x="105" y="131"/>
              </a:cxn>
              <a:cxn ang="0">
                <a:pos x="97" y="144"/>
              </a:cxn>
              <a:cxn ang="0">
                <a:pos x="89" y="153"/>
              </a:cxn>
              <a:cxn ang="0">
                <a:pos x="81" y="161"/>
              </a:cxn>
              <a:cxn ang="0">
                <a:pos x="73" y="172"/>
              </a:cxn>
              <a:cxn ang="0">
                <a:pos x="64" y="179"/>
              </a:cxn>
              <a:cxn ang="0">
                <a:pos x="53" y="185"/>
              </a:cxn>
              <a:cxn ang="0">
                <a:pos x="32" y="210"/>
              </a:cxn>
              <a:cxn ang="0">
                <a:pos x="24" y="215"/>
              </a:cxn>
              <a:cxn ang="0">
                <a:pos x="22" y="219"/>
              </a:cxn>
              <a:cxn ang="0">
                <a:pos x="17" y="229"/>
              </a:cxn>
              <a:cxn ang="0">
                <a:pos x="9" y="240"/>
              </a:cxn>
            </a:cxnLst>
            <a:rect l="0" t="0" r="r" b="b"/>
            <a:pathLst>
              <a:path w="154" h="241">
                <a:moveTo>
                  <a:pt x="8" y="241"/>
                </a:moveTo>
                <a:lnTo>
                  <a:pt x="8" y="240"/>
                </a:lnTo>
                <a:lnTo>
                  <a:pt x="1" y="230"/>
                </a:lnTo>
                <a:lnTo>
                  <a:pt x="0" y="227"/>
                </a:lnTo>
                <a:lnTo>
                  <a:pt x="0" y="213"/>
                </a:lnTo>
                <a:lnTo>
                  <a:pt x="0" y="196"/>
                </a:lnTo>
                <a:lnTo>
                  <a:pt x="0" y="179"/>
                </a:lnTo>
                <a:lnTo>
                  <a:pt x="0" y="161"/>
                </a:lnTo>
                <a:lnTo>
                  <a:pt x="1" y="161"/>
                </a:lnTo>
                <a:lnTo>
                  <a:pt x="6" y="153"/>
                </a:lnTo>
                <a:lnTo>
                  <a:pt x="13" y="142"/>
                </a:lnTo>
                <a:lnTo>
                  <a:pt x="14" y="141"/>
                </a:lnTo>
                <a:lnTo>
                  <a:pt x="18" y="138"/>
                </a:lnTo>
                <a:lnTo>
                  <a:pt x="28" y="135"/>
                </a:lnTo>
                <a:lnTo>
                  <a:pt x="32" y="130"/>
                </a:lnTo>
                <a:lnTo>
                  <a:pt x="34" y="127"/>
                </a:lnTo>
                <a:lnTo>
                  <a:pt x="41" y="125"/>
                </a:lnTo>
                <a:lnTo>
                  <a:pt x="42" y="124"/>
                </a:lnTo>
                <a:lnTo>
                  <a:pt x="61" y="122"/>
                </a:lnTo>
                <a:lnTo>
                  <a:pt x="82" y="95"/>
                </a:lnTo>
                <a:lnTo>
                  <a:pt x="102" y="73"/>
                </a:lnTo>
                <a:lnTo>
                  <a:pt x="105" y="69"/>
                </a:lnTo>
                <a:lnTo>
                  <a:pt x="106" y="69"/>
                </a:lnTo>
                <a:lnTo>
                  <a:pt x="92" y="69"/>
                </a:lnTo>
                <a:lnTo>
                  <a:pt x="68" y="59"/>
                </a:lnTo>
                <a:lnTo>
                  <a:pt x="45" y="50"/>
                </a:lnTo>
                <a:lnTo>
                  <a:pt x="44" y="48"/>
                </a:lnTo>
                <a:lnTo>
                  <a:pt x="38" y="42"/>
                </a:lnTo>
                <a:lnTo>
                  <a:pt x="36" y="39"/>
                </a:lnTo>
                <a:lnTo>
                  <a:pt x="34" y="37"/>
                </a:lnTo>
                <a:lnTo>
                  <a:pt x="34" y="36"/>
                </a:lnTo>
                <a:lnTo>
                  <a:pt x="33" y="34"/>
                </a:lnTo>
                <a:lnTo>
                  <a:pt x="30" y="33"/>
                </a:lnTo>
                <a:lnTo>
                  <a:pt x="30" y="31"/>
                </a:lnTo>
                <a:lnTo>
                  <a:pt x="28" y="28"/>
                </a:lnTo>
                <a:lnTo>
                  <a:pt x="26" y="22"/>
                </a:lnTo>
                <a:lnTo>
                  <a:pt x="28" y="20"/>
                </a:lnTo>
                <a:lnTo>
                  <a:pt x="28" y="18"/>
                </a:lnTo>
                <a:lnTo>
                  <a:pt x="29" y="15"/>
                </a:lnTo>
                <a:lnTo>
                  <a:pt x="32" y="12"/>
                </a:lnTo>
                <a:lnTo>
                  <a:pt x="33" y="9"/>
                </a:lnTo>
                <a:lnTo>
                  <a:pt x="33" y="7"/>
                </a:lnTo>
                <a:lnTo>
                  <a:pt x="34" y="9"/>
                </a:lnTo>
                <a:lnTo>
                  <a:pt x="36" y="11"/>
                </a:lnTo>
                <a:lnTo>
                  <a:pt x="37" y="12"/>
                </a:lnTo>
                <a:lnTo>
                  <a:pt x="38" y="14"/>
                </a:lnTo>
                <a:lnTo>
                  <a:pt x="41" y="18"/>
                </a:lnTo>
                <a:lnTo>
                  <a:pt x="45" y="25"/>
                </a:lnTo>
                <a:lnTo>
                  <a:pt x="49" y="26"/>
                </a:lnTo>
                <a:lnTo>
                  <a:pt x="52" y="28"/>
                </a:lnTo>
                <a:lnTo>
                  <a:pt x="53" y="26"/>
                </a:lnTo>
                <a:lnTo>
                  <a:pt x="60" y="26"/>
                </a:lnTo>
                <a:lnTo>
                  <a:pt x="61" y="25"/>
                </a:lnTo>
                <a:lnTo>
                  <a:pt x="64" y="23"/>
                </a:lnTo>
                <a:lnTo>
                  <a:pt x="65" y="23"/>
                </a:lnTo>
                <a:lnTo>
                  <a:pt x="68" y="22"/>
                </a:lnTo>
                <a:lnTo>
                  <a:pt x="69" y="20"/>
                </a:lnTo>
                <a:lnTo>
                  <a:pt x="70" y="20"/>
                </a:lnTo>
                <a:lnTo>
                  <a:pt x="70" y="18"/>
                </a:lnTo>
                <a:lnTo>
                  <a:pt x="72" y="18"/>
                </a:lnTo>
                <a:lnTo>
                  <a:pt x="73" y="20"/>
                </a:lnTo>
                <a:lnTo>
                  <a:pt x="74" y="20"/>
                </a:lnTo>
                <a:lnTo>
                  <a:pt x="78" y="20"/>
                </a:lnTo>
                <a:lnTo>
                  <a:pt x="80" y="22"/>
                </a:lnTo>
                <a:lnTo>
                  <a:pt x="82" y="22"/>
                </a:lnTo>
                <a:lnTo>
                  <a:pt x="85" y="22"/>
                </a:lnTo>
                <a:lnTo>
                  <a:pt x="86" y="20"/>
                </a:lnTo>
                <a:lnTo>
                  <a:pt x="88" y="18"/>
                </a:lnTo>
                <a:lnTo>
                  <a:pt x="90" y="17"/>
                </a:lnTo>
                <a:lnTo>
                  <a:pt x="93" y="15"/>
                </a:lnTo>
                <a:lnTo>
                  <a:pt x="94" y="15"/>
                </a:lnTo>
                <a:lnTo>
                  <a:pt x="97" y="14"/>
                </a:lnTo>
                <a:lnTo>
                  <a:pt x="100" y="15"/>
                </a:lnTo>
                <a:lnTo>
                  <a:pt x="102" y="15"/>
                </a:lnTo>
                <a:lnTo>
                  <a:pt x="105" y="14"/>
                </a:lnTo>
                <a:lnTo>
                  <a:pt x="108" y="14"/>
                </a:lnTo>
                <a:lnTo>
                  <a:pt x="109" y="14"/>
                </a:lnTo>
                <a:lnTo>
                  <a:pt x="113" y="11"/>
                </a:lnTo>
                <a:lnTo>
                  <a:pt x="114" y="11"/>
                </a:lnTo>
                <a:lnTo>
                  <a:pt x="118" y="12"/>
                </a:lnTo>
                <a:lnTo>
                  <a:pt x="122" y="11"/>
                </a:lnTo>
                <a:lnTo>
                  <a:pt x="123" y="9"/>
                </a:lnTo>
                <a:lnTo>
                  <a:pt x="126" y="9"/>
                </a:lnTo>
                <a:lnTo>
                  <a:pt x="130" y="9"/>
                </a:lnTo>
                <a:lnTo>
                  <a:pt x="131" y="7"/>
                </a:lnTo>
                <a:lnTo>
                  <a:pt x="135" y="7"/>
                </a:lnTo>
                <a:lnTo>
                  <a:pt x="138" y="6"/>
                </a:lnTo>
                <a:lnTo>
                  <a:pt x="141" y="4"/>
                </a:lnTo>
                <a:lnTo>
                  <a:pt x="142" y="1"/>
                </a:lnTo>
                <a:lnTo>
                  <a:pt x="145" y="0"/>
                </a:lnTo>
                <a:lnTo>
                  <a:pt x="147" y="0"/>
                </a:lnTo>
                <a:lnTo>
                  <a:pt x="150" y="3"/>
                </a:lnTo>
                <a:lnTo>
                  <a:pt x="153" y="3"/>
                </a:lnTo>
                <a:lnTo>
                  <a:pt x="153" y="4"/>
                </a:lnTo>
                <a:lnTo>
                  <a:pt x="153" y="7"/>
                </a:lnTo>
                <a:lnTo>
                  <a:pt x="151" y="9"/>
                </a:lnTo>
                <a:lnTo>
                  <a:pt x="150" y="11"/>
                </a:lnTo>
                <a:lnTo>
                  <a:pt x="150" y="14"/>
                </a:lnTo>
                <a:lnTo>
                  <a:pt x="151" y="15"/>
                </a:lnTo>
                <a:lnTo>
                  <a:pt x="151" y="17"/>
                </a:lnTo>
                <a:lnTo>
                  <a:pt x="151" y="18"/>
                </a:lnTo>
                <a:lnTo>
                  <a:pt x="151" y="22"/>
                </a:lnTo>
                <a:lnTo>
                  <a:pt x="151" y="25"/>
                </a:lnTo>
                <a:lnTo>
                  <a:pt x="151" y="26"/>
                </a:lnTo>
                <a:lnTo>
                  <a:pt x="150" y="28"/>
                </a:lnTo>
                <a:lnTo>
                  <a:pt x="151" y="28"/>
                </a:lnTo>
                <a:lnTo>
                  <a:pt x="151" y="26"/>
                </a:lnTo>
                <a:lnTo>
                  <a:pt x="153" y="28"/>
                </a:lnTo>
                <a:lnTo>
                  <a:pt x="154" y="28"/>
                </a:lnTo>
                <a:lnTo>
                  <a:pt x="154" y="29"/>
                </a:lnTo>
                <a:lnTo>
                  <a:pt x="153" y="29"/>
                </a:lnTo>
                <a:lnTo>
                  <a:pt x="151" y="28"/>
                </a:lnTo>
                <a:lnTo>
                  <a:pt x="150" y="29"/>
                </a:lnTo>
                <a:lnTo>
                  <a:pt x="149" y="29"/>
                </a:lnTo>
                <a:lnTo>
                  <a:pt x="147" y="29"/>
                </a:lnTo>
                <a:lnTo>
                  <a:pt x="147" y="33"/>
                </a:lnTo>
                <a:lnTo>
                  <a:pt x="146" y="40"/>
                </a:lnTo>
                <a:lnTo>
                  <a:pt x="146" y="45"/>
                </a:lnTo>
                <a:lnTo>
                  <a:pt x="146" y="47"/>
                </a:lnTo>
                <a:lnTo>
                  <a:pt x="145" y="50"/>
                </a:lnTo>
                <a:lnTo>
                  <a:pt x="143" y="51"/>
                </a:lnTo>
                <a:lnTo>
                  <a:pt x="142" y="53"/>
                </a:lnTo>
                <a:lnTo>
                  <a:pt x="141" y="59"/>
                </a:lnTo>
                <a:lnTo>
                  <a:pt x="138" y="61"/>
                </a:lnTo>
                <a:lnTo>
                  <a:pt x="137" y="66"/>
                </a:lnTo>
                <a:lnTo>
                  <a:pt x="135" y="67"/>
                </a:lnTo>
                <a:lnTo>
                  <a:pt x="133" y="69"/>
                </a:lnTo>
                <a:lnTo>
                  <a:pt x="133" y="70"/>
                </a:lnTo>
                <a:lnTo>
                  <a:pt x="131" y="73"/>
                </a:lnTo>
                <a:lnTo>
                  <a:pt x="131" y="77"/>
                </a:lnTo>
                <a:lnTo>
                  <a:pt x="126" y="88"/>
                </a:lnTo>
                <a:lnTo>
                  <a:pt x="122" y="95"/>
                </a:lnTo>
                <a:lnTo>
                  <a:pt x="122" y="99"/>
                </a:lnTo>
                <a:lnTo>
                  <a:pt x="121" y="105"/>
                </a:lnTo>
                <a:lnTo>
                  <a:pt x="118" y="111"/>
                </a:lnTo>
                <a:lnTo>
                  <a:pt x="115" y="114"/>
                </a:lnTo>
                <a:lnTo>
                  <a:pt x="114" y="116"/>
                </a:lnTo>
                <a:lnTo>
                  <a:pt x="113" y="116"/>
                </a:lnTo>
                <a:lnTo>
                  <a:pt x="112" y="117"/>
                </a:lnTo>
                <a:lnTo>
                  <a:pt x="109" y="122"/>
                </a:lnTo>
                <a:lnTo>
                  <a:pt x="106" y="125"/>
                </a:lnTo>
                <a:lnTo>
                  <a:pt x="106" y="127"/>
                </a:lnTo>
                <a:lnTo>
                  <a:pt x="106" y="128"/>
                </a:lnTo>
                <a:lnTo>
                  <a:pt x="105" y="131"/>
                </a:lnTo>
                <a:lnTo>
                  <a:pt x="102" y="136"/>
                </a:lnTo>
                <a:lnTo>
                  <a:pt x="100" y="139"/>
                </a:lnTo>
                <a:lnTo>
                  <a:pt x="97" y="144"/>
                </a:lnTo>
                <a:lnTo>
                  <a:pt x="93" y="147"/>
                </a:lnTo>
                <a:lnTo>
                  <a:pt x="92" y="150"/>
                </a:lnTo>
                <a:lnTo>
                  <a:pt x="89" y="153"/>
                </a:lnTo>
                <a:lnTo>
                  <a:pt x="84" y="158"/>
                </a:lnTo>
                <a:lnTo>
                  <a:pt x="81" y="160"/>
                </a:lnTo>
                <a:lnTo>
                  <a:pt x="81" y="161"/>
                </a:lnTo>
                <a:lnTo>
                  <a:pt x="80" y="164"/>
                </a:lnTo>
                <a:lnTo>
                  <a:pt x="76" y="169"/>
                </a:lnTo>
                <a:lnTo>
                  <a:pt x="73" y="172"/>
                </a:lnTo>
                <a:lnTo>
                  <a:pt x="69" y="175"/>
                </a:lnTo>
                <a:lnTo>
                  <a:pt x="66" y="177"/>
                </a:lnTo>
                <a:lnTo>
                  <a:pt x="64" y="179"/>
                </a:lnTo>
                <a:lnTo>
                  <a:pt x="61" y="179"/>
                </a:lnTo>
                <a:lnTo>
                  <a:pt x="60" y="180"/>
                </a:lnTo>
                <a:lnTo>
                  <a:pt x="53" y="185"/>
                </a:lnTo>
                <a:lnTo>
                  <a:pt x="38" y="202"/>
                </a:lnTo>
                <a:lnTo>
                  <a:pt x="33" y="207"/>
                </a:lnTo>
                <a:lnTo>
                  <a:pt x="32" y="210"/>
                </a:lnTo>
                <a:lnTo>
                  <a:pt x="28" y="215"/>
                </a:lnTo>
                <a:lnTo>
                  <a:pt x="25" y="215"/>
                </a:lnTo>
                <a:lnTo>
                  <a:pt x="24" y="215"/>
                </a:lnTo>
                <a:lnTo>
                  <a:pt x="24" y="216"/>
                </a:lnTo>
                <a:lnTo>
                  <a:pt x="24" y="218"/>
                </a:lnTo>
                <a:lnTo>
                  <a:pt x="22" y="219"/>
                </a:lnTo>
                <a:lnTo>
                  <a:pt x="22" y="221"/>
                </a:lnTo>
                <a:lnTo>
                  <a:pt x="20" y="224"/>
                </a:lnTo>
                <a:lnTo>
                  <a:pt x="17" y="229"/>
                </a:lnTo>
                <a:lnTo>
                  <a:pt x="13" y="234"/>
                </a:lnTo>
                <a:lnTo>
                  <a:pt x="10" y="238"/>
                </a:lnTo>
                <a:lnTo>
                  <a:pt x="9" y="240"/>
                </a:lnTo>
                <a:lnTo>
                  <a:pt x="8" y="24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75" name="Freeform 1102"/>
          <p:cNvSpPr>
            <a:spLocks/>
          </p:cNvSpPr>
          <p:nvPr/>
        </p:nvSpPr>
        <p:spPr bwMode="auto">
          <a:xfrm>
            <a:off x="6853458" y="3925476"/>
            <a:ext cx="294271" cy="476770"/>
          </a:xfrm>
          <a:custGeom>
            <a:avLst/>
            <a:gdLst/>
            <a:ahLst/>
            <a:cxnLst>
              <a:cxn ang="0">
                <a:pos x="1" y="230"/>
              </a:cxn>
              <a:cxn ang="0">
                <a:pos x="0" y="196"/>
              </a:cxn>
              <a:cxn ang="0">
                <a:pos x="1" y="161"/>
              </a:cxn>
              <a:cxn ang="0">
                <a:pos x="14" y="141"/>
              </a:cxn>
              <a:cxn ang="0">
                <a:pos x="32" y="130"/>
              </a:cxn>
              <a:cxn ang="0">
                <a:pos x="42" y="124"/>
              </a:cxn>
              <a:cxn ang="0">
                <a:pos x="102" y="73"/>
              </a:cxn>
              <a:cxn ang="0">
                <a:pos x="92" y="69"/>
              </a:cxn>
              <a:cxn ang="0">
                <a:pos x="44" y="48"/>
              </a:cxn>
              <a:cxn ang="0">
                <a:pos x="34" y="37"/>
              </a:cxn>
              <a:cxn ang="0">
                <a:pos x="30" y="33"/>
              </a:cxn>
              <a:cxn ang="0">
                <a:pos x="26" y="22"/>
              </a:cxn>
              <a:cxn ang="0">
                <a:pos x="29" y="15"/>
              </a:cxn>
              <a:cxn ang="0">
                <a:pos x="33" y="7"/>
              </a:cxn>
              <a:cxn ang="0">
                <a:pos x="37" y="12"/>
              </a:cxn>
              <a:cxn ang="0">
                <a:pos x="45" y="25"/>
              </a:cxn>
              <a:cxn ang="0">
                <a:pos x="53" y="26"/>
              </a:cxn>
              <a:cxn ang="0">
                <a:pos x="64" y="23"/>
              </a:cxn>
              <a:cxn ang="0">
                <a:pos x="69" y="20"/>
              </a:cxn>
              <a:cxn ang="0">
                <a:pos x="72" y="18"/>
              </a:cxn>
              <a:cxn ang="0">
                <a:pos x="78" y="20"/>
              </a:cxn>
              <a:cxn ang="0">
                <a:pos x="85" y="22"/>
              </a:cxn>
              <a:cxn ang="0">
                <a:pos x="90" y="17"/>
              </a:cxn>
              <a:cxn ang="0">
                <a:pos x="97" y="14"/>
              </a:cxn>
              <a:cxn ang="0">
                <a:pos x="105" y="14"/>
              </a:cxn>
              <a:cxn ang="0">
                <a:pos x="113" y="11"/>
              </a:cxn>
              <a:cxn ang="0">
                <a:pos x="122" y="11"/>
              </a:cxn>
              <a:cxn ang="0">
                <a:pos x="130" y="9"/>
              </a:cxn>
              <a:cxn ang="0">
                <a:pos x="138" y="6"/>
              </a:cxn>
              <a:cxn ang="0">
                <a:pos x="145" y="0"/>
              </a:cxn>
              <a:cxn ang="0">
                <a:pos x="153" y="3"/>
              </a:cxn>
              <a:cxn ang="0">
                <a:pos x="151" y="9"/>
              </a:cxn>
              <a:cxn ang="0">
                <a:pos x="151" y="15"/>
              </a:cxn>
              <a:cxn ang="0">
                <a:pos x="151" y="22"/>
              </a:cxn>
              <a:cxn ang="0">
                <a:pos x="150" y="28"/>
              </a:cxn>
              <a:cxn ang="0">
                <a:pos x="153" y="28"/>
              </a:cxn>
              <a:cxn ang="0">
                <a:pos x="153" y="29"/>
              </a:cxn>
              <a:cxn ang="0">
                <a:pos x="149" y="29"/>
              </a:cxn>
              <a:cxn ang="0">
                <a:pos x="146" y="40"/>
              </a:cxn>
              <a:cxn ang="0">
                <a:pos x="145" y="50"/>
              </a:cxn>
              <a:cxn ang="0">
                <a:pos x="141" y="59"/>
              </a:cxn>
              <a:cxn ang="0">
                <a:pos x="135" y="67"/>
              </a:cxn>
              <a:cxn ang="0">
                <a:pos x="131" y="73"/>
              </a:cxn>
              <a:cxn ang="0">
                <a:pos x="122" y="95"/>
              </a:cxn>
              <a:cxn ang="0">
                <a:pos x="118" y="111"/>
              </a:cxn>
              <a:cxn ang="0">
                <a:pos x="113" y="116"/>
              </a:cxn>
              <a:cxn ang="0">
                <a:pos x="106" y="125"/>
              </a:cxn>
              <a:cxn ang="0">
                <a:pos x="105" y="131"/>
              </a:cxn>
              <a:cxn ang="0">
                <a:pos x="97" y="144"/>
              </a:cxn>
              <a:cxn ang="0">
                <a:pos x="89" y="153"/>
              </a:cxn>
              <a:cxn ang="0">
                <a:pos x="81" y="161"/>
              </a:cxn>
              <a:cxn ang="0">
                <a:pos x="73" y="172"/>
              </a:cxn>
              <a:cxn ang="0">
                <a:pos x="64" y="179"/>
              </a:cxn>
              <a:cxn ang="0">
                <a:pos x="53" y="185"/>
              </a:cxn>
              <a:cxn ang="0">
                <a:pos x="32" y="210"/>
              </a:cxn>
              <a:cxn ang="0">
                <a:pos x="24" y="215"/>
              </a:cxn>
              <a:cxn ang="0">
                <a:pos x="22" y="219"/>
              </a:cxn>
              <a:cxn ang="0">
                <a:pos x="17" y="229"/>
              </a:cxn>
              <a:cxn ang="0">
                <a:pos x="9" y="240"/>
              </a:cxn>
            </a:cxnLst>
            <a:rect l="0" t="0" r="r" b="b"/>
            <a:pathLst>
              <a:path w="154" h="241">
                <a:moveTo>
                  <a:pt x="8" y="241"/>
                </a:moveTo>
                <a:lnTo>
                  <a:pt x="8" y="240"/>
                </a:lnTo>
                <a:lnTo>
                  <a:pt x="1" y="230"/>
                </a:lnTo>
                <a:lnTo>
                  <a:pt x="0" y="227"/>
                </a:lnTo>
                <a:lnTo>
                  <a:pt x="0" y="213"/>
                </a:lnTo>
                <a:lnTo>
                  <a:pt x="0" y="196"/>
                </a:lnTo>
                <a:lnTo>
                  <a:pt x="0" y="179"/>
                </a:lnTo>
                <a:lnTo>
                  <a:pt x="0" y="161"/>
                </a:lnTo>
                <a:lnTo>
                  <a:pt x="1" y="161"/>
                </a:lnTo>
                <a:lnTo>
                  <a:pt x="6" y="153"/>
                </a:lnTo>
                <a:lnTo>
                  <a:pt x="13" y="142"/>
                </a:lnTo>
                <a:lnTo>
                  <a:pt x="14" y="141"/>
                </a:lnTo>
                <a:lnTo>
                  <a:pt x="18" y="138"/>
                </a:lnTo>
                <a:lnTo>
                  <a:pt x="28" y="135"/>
                </a:lnTo>
                <a:lnTo>
                  <a:pt x="32" y="130"/>
                </a:lnTo>
                <a:lnTo>
                  <a:pt x="34" y="127"/>
                </a:lnTo>
                <a:lnTo>
                  <a:pt x="41" y="125"/>
                </a:lnTo>
                <a:lnTo>
                  <a:pt x="42" y="124"/>
                </a:lnTo>
                <a:lnTo>
                  <a:pt x="61" y="122"/>
                </a:lnTo>
                <a:lnTo>
                  <a:pt x="82" y="95"/>
                </a:lnTo>
                <a:lnTo>
                  <a:pt x="102" y="73"/>
                </a:lnTo>
                <a:lnTo>
                  <a:pt x="105" y="69"/>
                </a:lnTo>
                <a:lnTo>
                  <a:pt x="106" y="69"/>
                </a:lnTo>
                <a:lnTo>
                  <a:pt x="92" y="69"/>
                </a:lnTo>
                <a:lnTo>
                  <a:pt x="68" y="59"/>
                </a:lnTo>
                <a:lnTo>
                  <a:pt x="45" y="50"/>
                </a:lnTo>
                <a:lnTo>
                  <a:pt x="44" y="48"/>
                </a:lnTo>
                <a:lnTo>
                  <a:pt x="38" y="42"/>
                </a:lnTo>
                <a:lnTo>
                  <a:pt x="36" y="39"/>
                </a:lnTo>
                <a:lnTo>
                  <a:pt x="34" y="37"/>
                </a:lnTo>
                <a:lnTo>
                  <a:pt x="34" y="36"/>
                </a:lnTo>
                <a:lnTo>
                  <a:pt x="33" y="34"/>
                </a:lnTo>
                <a:lnTo>
                  <a:pt x="30" y="33"/>
                </a:lnTo>
                <a:lnTo>
                  <a:pt x="30" y="31"/>
                </a:lnTo>
                <a:lnTo>
                  <a:pt x="28" y="28"/>
                </a:lnTo>
                <a:lnTo>
                  <a:pt x="26" y="22"/>
                </a:lnTo>
                <a:lnTo>
                  <a:pt x="28" y="20"/>
                </a:lnTo>
                <a:lnTo>
                  <a:pt x="28" y="18"/>
                </a:lnTo>
                <a:lnTo>
                  <a:pt x="29" y="15"/>
                </a:lnTo>
                <a:lnTo>
                  <a:pt x="32" y="12"/>
                </a:lnTo>
                <a:lnTo>
                  <a:pt x="33" y="9"/>
                </a:lnTo>
                <a:lnTo>
                  <a:pt x="33" y="7"/>
                </a:lnTo>
                <a:lnTo>
                  <a:pt x="34" y="9"/>
                </a:lnTo>
                <a:lnTo>
                  <a:pt x="36" y="11"/>
                </a:lnTo>
                <a:lnTo>
                  <a:pt x="37" y="12"/>
                </a:lnTo>
                <a:lnTo>
                  <a:pt x="38" y="14"/>
                </a:lnTo>
                <a:lnTo>
                  <a:pt x="41" y="18"/>
                </a:lnTo>
                <a:lnTo>
                  <a:pt x="45" y="25"/>
                </a:lnTo>
                <a:lnTo>
                  <a:pt x="49" y="26"/>
                </a:lnTo>
                <a:lnTo>
                  <a:pt x="52" y="28"/>
                </a:lnTo>
                <a:lnTo>
                  <a:pt x="53" y="26"/>
                </a:lnTo>
                <a:lnTo>
                  <a:pt x="60" y="26"/>
                </a:lnTo>
                <a:lnTo>
                  <a:pt x="61" y="25"/>
                </a:lnTo>
                <a:lnTo>
                  <a:pt x="64" y="23"/>
                </a:lnTo>
                <a:lnTo>
                  <a:pt x="65" y="23"/>
                </a:lnTo>
                <a:lnTo>
                  <a:pt x="68" y="22"/>
                </a:lnTo>
                <a:lnTo>
                  <a:pt x="69" y="20"/>
                </a:lnTo>
                <a:lnTo>
                  <a:pt x="70" y="20"/>
                </a:lnTo>
                <a:lnTo>
                  <a:pt x="70" y="18"/>
                </a:lnTo>
                <a:lnTo>
                  <a:pt x="72" y="18"/>
                </a:lnTo>
                <a:lnTo>
                  <a:pt x="73" y="20"/>
                </a:lnTo>
                <a:lnTo>
                  <a:pt x="74" y="20"/>
                </a:lnTo>
                <a:lnTo>
                  <a:pt x="78" y="20"/>
                </a:lnTo>
                <a:lnTo>
                  <a:pt x="80" y="22"/>
                </a:lnTo>
                <a:lnTo>
                  <a:pt x="82" y="22"/>
                </a:lnTo>
                <a:lnTo>
                  <a:pt x="85" y="22"/>
                </a:lnTo>
                <a:lnTo>
                  <a:pt x="86" y="20"/>
                </a:lnTo>
                <a:lnTo>
                  <a:pt x="88" y="18"/>
                </a:lnTo>
                <a:lnTo>
                  <a:pt x="90" y="17"/>
                </a:lnTo>
                <a:lnTo>
                  <a:pt x="93" y="15"/>
                </a:lnTo>
                <a:lnTo>
                  <a:pt x="94" y="15"/>
                </a:lnTo>
                <a:lnTo>
                  <a:pt x="97" y="14"/>
                </a:lnTo>
                <a:lnTo>
                  <a:pt x="100" y="15"/>
                </a:lnTo>
                <a:lnTo>
                  <a:pt x="102" y="15"/>
                </a:lnTo>
                <a:lnTo>
                  <a:pt x="105" y="14"/>
                </a:lnTo>
                <a:lnTo>
                  <a:pt x="108" y="14"/>
                </a:lnTo>
                <a:lnTo>
                  <a:pt x="109" y="14"/>
                </a:lnTo>
                <a:lnTo>
                  <a:pt x="113" y="11"/>
                </a:lnTo>
                <a:lnTo>
                  <a:pt x="114" y="11"/>
                </a:lnTo>
                <a:lnTo>
                  <a:pt x="118" y="12"/>
                </a:lnTo>
                <a:lnTo>
                  <a:pt x="122" y="11"/>
                </a:lnTo>
                <a:lnTo>
                  <a:pt x="123" y="9"/>
                </a:lnTo>
                <a:lnTo>
                  <a:pt x="126" y="9"/>
                </a:lnTo>
                <a:lnTo>
                  <a:pt x="130" y="9"/>
                </a:lnTo>
                <a:lnTo>
                  <a:pt x="131" y="7"/>
                </a:lnTo>
                <a:lnTo>
                  <a:pt x="135" y="7"/>
                </a:lnTo>
                <a:lnTo>
                  <a:pt x="138" y="6"/>
                </a:lnTo>
                <a:lnTo>
                  <a:pt x="141" y="4"/>
                </a:lnTo>
                <a:lnTo>
                  <a:pt x="142" y="1"/>
                </a:lnTo>
                <a:lnTo>
                  <a:pt x="145" y="0"/>
                </a:lnTo>
                <a:lnTo>
                  <a:pt x="147" y="0"/>
                </a:lnTo>
                <a:lnTo>
                  <a:pt x="150" y="3"/>
                </a:lnTo>
                <a:lnTo>
                  <a:pt x="153" y="3"/>
                </a:lnTo>
                <a:lnTo>
                  <a:pt x="153" y="4"/>
                </a:lnTo>
                <a:lnTo>
                  <a:pt x="153" y="7"/>
                </a:lnTo>
                <a:lnTo>
                  <a:pt x="151" y="9"/>
                </a:lnTo>
                <a:lnTo>
                  <a:pt x="150" y="11"/>
                </a:lnTo>
                <a:lnTo>
                  <a:pt x="150" y="14"/>
                </a:lnTo>
                <a:lnTo>
                  <a:pt x="151" y="15"/>
                </a:lnTo>
                <a:lnTo>
                  <a:pt x="151" y="17"/>
                </a:lnTo>
                <a:lnTo>
                  <a:pt x="151" y="18"/>
                </a:lnTo>
                <a:lnTo>
                  <a:pt x="151" y="22"/>
                </a:lnTo>
                <a:lnTo>
                  <a:pt x="151" y="25"/>
                </a:lnTo>
                <a:lnTo>
                  <a:pt x="151" y="26"/>
                </a:lnTo>
                <a:lnTo>
                  <a:pt x="150" y="28"/>
                </a:lnTo>
                <a:lnTo>
                  <a:pt x="151" y="28"/>
                </a:lnTo>
                <a:lnTo>
                  <a:pt x="151" y="26"/>
                </a:lnTo>
                <a:lnTo>
                  <a:pt x="153" y="28"/>
                </a:lnTo>
                <a:lnTo>
                  <a:pt x="154" y="28"/>
                </a:lnTo>
                <a:lnTo>
                  <a:pt x="154" y="29"/>
                </a:lnTo>
                <a:lnTo>
                  <a:pt x="153" y="29"/>
                </a:lnTo>
                <a:lnTo>
                  <a:pt x="151" y="28"/>
                </a:lnTo>
                <a:lnTo>
                  <a:pt x="150" y="29"/>
                </a:lnTo>
                <a:lnTo>
                  <a:pt x="149" y="29"/>
                </a:lnTo>
                <a:lnTo>
                  <a:pt x="147" y="29"/>
                </a:lnTo>
                <a:lnTo>
                  <a:pt x="147" y="33"/>
                </a:lnTo>
                <a:lnTo>
                  <a:pt x="146" y="40"/>
                </a:lnTo>
                <a:lnTo>
                  <a:pt x="146" y="45"/>
                </a:lnTo>
                <a:lnTo>
                  <a:pt x="146" y="47"/>
                </a:lnTo>
                <a:lnTo>
                  <a:pt x="145" y="50"/>
                </a:lnTo>
                <a:lnTo>
                  <a:pt x="143" y="51"/>
                </a:lnTo>
                <a:lnTo>
                  <a:pt x="142" y="53"/>
                </a:lnTo>
                <a:lnTo>
                  <a:pt x="141" y="59"/>
                </a:lnTo>
                <a:lnTo>
                  <a:pt x="138" y="61"/>
                </a:lnTo>
                <a:lnTo>
                  <a:pt x="137" y="66"/>
                </a:lnTo>
                <a:lnTo>
                  <a:pt x="135" y="67"/>
                </a:lnTo>
                <a:lnTo>
                  <a:pt x="133" y="69"/>
                </a:lnTo>
                <a:lnTo>
                  <a:pt x="133" y="70"/>
                </a:lnTo>
                <a:lnTo>
                  <a:pt x="131" y="73"/>
                </a:lnTo>
                <a:lnTo>
                  <a:pt x="131" y="77"/>
                </a:lnTo>
                <a:lnTo>
                  <a:pt x="126" y="88"/>
                </a:lnTo>
                <a:lnTo>
                  <a:pt x="122" y="95"/>
                </a:lnTo>
                <a:lnTo>
                  <a:pt x="122" y="99"/>
                </a:lnTo>
                <a:lnTo>
                  <a:pt x="121" y="105"/>
                </a:lnTo>
                <a:lnTo>
                  <a:pt x="118" y="111"/>
                </a:lnTo>
                <a:lnTo>
                  <a:pt x="115" y="114"/>
                </a:lnTo>
                <a:lnTo>
                  <a:pt x="114" y="116"/>
                </a:lnTo>
                <a:lnTo>
                  <a:pt x="113" y="116"/>
                </a:lnTo>
                <a:lnTo>
                  <a:pt x="112" y="117"/>
                </a:lnTo>
                <a:lnTo>
                  <a:pt x="109" y="122"/>
                </a:lnTo>
                <a:lnTo>
                  <a:pt x="106" y="125"/>
                </a:lnTo>
                <a:lnTo>
                  <a:pt x="106" y="127"/>
                </a:lnTo>
                <a:lnTo>
                  <a:pt x="106" y="128"/>
                </a:lnTo>
                <a:lnTo>
                  <a:pt x="105" y="131"/>
                </a:lnTo>
                <a:lnTo>
                  <a:pt x="102" y="136"/>
                </a:lnTo>
                <a:lnTo>
                  <a:pt x="100" y="139"/>
                </a:lnTo>
                <a:lnTo>
                  <a:pt x="97" y="144"/>
                </a:lnTo>
                <a:lnTo>
                  <a:pt x="93" y="147"/>
                </a:lnTo>
                <a:lnTo>
                  <a:pt x="92" y="150"/>
                </a:lnTo>
                <a:lnTo>
                  <a:pt x="89" y="153"/>
                </a:lnTo>
                <a:lnTo>
                  <a:pt x="84" y="158"/>
                </a:lnTo>
                <a:lnTo>
                  <a:pt x="81" y="160"/>
                </a:lnTo>
                <a:lnTo>
                  <a:pt x="81" y="161"/>
                </a:lnTo>
                <a:lnTo>
                  <a:pt x="80" y="164"/>
                </a:lnTo>
                <a:lnTo>
                  <a:pt x="76" y="169"/>
                </a:lnTo>
                <a:lnTo>
                  <a:pt x="73" y="172"/>
                </a:lnTo>
                <a:lnTo>
                  <a:pt x="69" y="175"/>
                </a:lnTo>
                <a:lnTo>
                  <a:pt x="66" y="177"/>
                </a:lnTo>
                <a:lnTo>
                  <a:pt x="64" y="179"/>
                </a:lnTo>
                <a:lnTo>
                  <a:pt x="61" y="179"/>
                </a:lnTo>
                <a:lnTo>
                  <a:pt x="60" y="180"/>
                </a:lnTo>
                <a:lnTo>
                  <a:pt x="53" y="185"/>
                </a:lnTo>
                <a:lnTo>
                  <a:pt x="38" y="202"/>
                </a:lnTo>
                <a:lnTo>
                  <a:pt x="33" y="207"/>
                </a:lnTo>
                <a:lnTo>
                  <a:pt x="32" y="210"/>
                </a:lnTo>
                <a:lnTo>
                  <a:pt x="28" y="215"/>
                </a:lnTo>
                <a:lnTo>
                  <a:pt x="25" y="215"/>
                </a:lnTo>
                <a:lnTo>
                  <a:pt x="24" y="215"/>
                </a:lnTo>
                <a:lnTo>
                  <a:pt x="24" y="216"/>
                </a:lnTo>
                <a:lnTo>
                  <a:pt x="24" y="218"/>
                </a:lnTo>
                <a:lnTo>
                  <a:pt x="22" y="219"/>
                </a:lnTo>
                <a:lnTo>
                  <a:pt x="22" y="221"/>
                </a:lnTo>
                <a:lnTo>
                  <a:pt x="20" y="224"/>
                </a:lnTo>
                <a:lnTo>
                  <a:pt x="17" y="229"/>
                </a:lnTo>
                <a:lnTo>
                  <a:pt x="13" y="234"/>
                </a:lnTo>
                <a:lnTo>
                  <a:pt x="10" y="238"/>
                </a:lnTo>
                <a:lnTo>
                  <a:pt x="9" y="240"/>
                </a:lnTo>
                <a:lnTo>
                  <a:pt x="8" y="241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76" name="Freeform 1103"/>
          <p:cNvSpPr>
            <a:spLocks/>
          </p:cNvSpPr>
          <p:nvPr/>
        </p:nvSpPr>
        <p:spPr bwMode="auto">
          <a:xfrm>
            <a:off x="6397435" y="4898344"/>
            <a:ext cx="224115" cy="244827"/>
          </a:xfrm>
          <a:custGeom>
            <a:avLst/>
            <a:gdLst/>
            <a:ahLst/>
            <a:cxnLst>
              <a:cxn ang="0">
                <a:pos x="55" y="18"/>
              </a:cxn>
              <a:cxn ang="0">
                <a:pos x="53" y="22"/>
              </a:cxn>
              <a:cxn ang="0">
                <a:pos x="49" y="20"/>
              </a:cxn>
              <a:cxn ang="0">
                <a:pos x="46" y="22"/>
              </a:cxn>
              <a:cxn ang="0">
                <a:pos x="43" y="23"/>
              </a:cxn>
              <a:cxn ang="0">
                <a:pos x="42" y="25"/>
              </a:cxn>
              <a:cxn ang="0">
                <a:pos x="42" y="25"/>
              </a:cxn>
              <a:cxn ang="0">
                <a:pos x="38" y="28"/>
              </a:cxn>
              <a:cxn ang="0">
                <a:pos x="35" y="31"/>
              </a:cxn>
              <a:cxn ang="0">
                <a:pos x="33" y="34"/>
              </a:cxn>
              <a:cxn ang="0">
                <a:pos x="30" y="37"/>
              </a:cxn>
              <a:cxn ang="0">
                <a:pos x="27" y="39"/>
              </a:cxn>
              <a:cxn ang="0">
                <a:pos x="23" y="40"/>
              </a:cxn>
              <a:cxn ang="0">
                <a:pos x="21" y="42"/>
              </a:cxn>
              <a:cxn ang="0">
                <a:pos x="18" y="39"/>
              </a:cxn>
              <a:cxn ang="0">
                <a:pos x="15" y="40"/>
              </a:cxn>
              <a:cxn ang="0">
                <a:pos x="6" y="39"/>
              </a:cxn>
              <a:cxn ang="0">
                <a:pos x="1" y="39"/>
              </a:cxn>
              <a:cxn ang="0">
                <a:pos x="0" y="40"/>
              </a:cxn>
              <a:cxn ang="0">
                <a:pos x="5" y="50"/>
              </a:cxn>
              <a:cxn ang="0">
                <a:pos x="8" y="56"/>
              </a:cxn>
              <a:cxn ang="0">
                <a:pos x="13" y="65"/>
              </a:cxn>
              <a:cxn ang="0">
                <a:pos x="26" y="76"/>
              </a:cxn>
              <a:cxn ang="0">
                <a:pos x="31" y="84"/>
              </a:cxn>
              <a:cxn ang="0">
                <a:pos x="38" y="87"/>
              </a:cxn>
              <a:cxn ang="0">
                <a:pos x="39" y="100"/>
              </a:cxn>
              <a:cxn ang="0">
                <a:pos x="43" y="106"/>
              </a:cxn>
              <a:cxn ang="0">
                <a:pos x="49" y="109"/>
              </a:cxn>
              <a:cxn ang="0">
                <a:pos x="57" y="111"/>
              </a:cxn>
              <a:cxn ang="0">
                <a:pos x="62" y="114"/>
              </a:cxn>
              <a:cxn ang="0">
                <a:pos x="67" y="114"/>
              </a:cxn>
              <a:cxn ang="0">
                <a:pos x="78" y="117"/>
              </a:cxn>
              <a:cxn ang="0">
                <a:pos x="85" y="117"/>
              </a:cxn>
              <a:cxn ang="0">
                <a:pos x="94" y="124"/>
              </a:cxn>
              <a:cxn ang="0">
                <a:pos x="97" y="124"/>
              </a:cxn>
              <a:cxn ang="0">
                <a:pos x="97" y="116"/>
              </a:cxn>
              <a:cxn ang="0">
                <a:pos x="102" y="109"/>
              </a:cxn>
              <a:cxn ang="0">
                <a:pos x="109" y="97"/>
              </a:cxn>
              <a:cxn ang="0">
                <a:pos x="115" y="76"/>
              </a:cxn>
              <a:cxn ang="0">
                <a:pos x="114" y="64"/>
              </a:cxn>
              <a:cxn ang="0">
                <a:pos x="117" y="54"/>
              </a:cxn>
              <a:cxn ang="0">
                <a:pos x="118" y="47"/>
              </a:cxn>
              <a:cxn ang="0">
                <a:pos x="118" y="32"/>
              </a:cxn>
              <a:cxn ang="0">
                <a:pos x="115" y="22"/>
              </a:cxn>
              <a:cxn ang="0">
                <a:pos x="113" y="15"/>
              </a:cxn>
              <a:cxn ang="0">
                <a:pos x="97" y="7"/>
              </a:cxn>
              <a:cxn ang="0">
                <a:pos x="89" y="4"/>
              </a:cxn>
              <a:cxn ang="0">
                <a:pos x="77" y="6"/>
              </a:cxn>
              <a:cxn ang="0">
                <a:pos x="75" y="0"/>
              </a:cxn>
              <a:cxn ang="0">
                <a:pos x="70" y="0"/>
              </a:cxn>
              <a:cxn ang="0">
                <a:pos x="67" y="0"/>
              </a:cxn>
              <a:cxn ang="0">
                <a:pos x="61" y="1"/>
              </a:cxn>
              <a:cxn ang="0">
                <a:pos x="57" y="4"/>
              </a:cxn>
              <a:cxn ang="0">
                <a:pos x="53" y="6"/>
              </a:cxn>
              <a:cxn ang="0">
                <a:pos x="53" y="11"/>
              </a:cxn>
              <a:cxn ang="0">
                <a:pos x="53" y="14"/>
              </a:cxn>
            </a:cxnLst>
            <a:rect l="0" t="0" r="r" b="b"/>
            <a:pathLst>
              <a:path w="118" h="124">
                <a:moveTo>
                  <a:pt x="53" y="15"/>
                </a:moveTo>
                <a:lnTo>
                  <a:pt x="55" y="18"/>
                </a:lnTo>
                <a:lnTo>
                  <a:pt x="54" y="20"/>
                </a:lnTo>
                <a:lnTo>
                  <a:pt x="53" y="22"/>
                </a:lnTo>
                <a:lnTo>
                  <a:pt x="50" y="20"/>
                </a:lnTo>
                <a:lnTo>
                  <a:pt x="49" y="20"/>
                </a:lnTo>
                <a:lnTo>
                  <a:pt x="47" y="22"/>
                </a:lnTo>
                <a:lnTo>
                  <a:pt x="46" y="22"/>
                </a:lnTo>
                <a:lnTo>
                  <a:pt x="45" y="22"/>
                </a:lnTo>
                <a:lnTo>
                  <a:pt x="43" y="23"/>
                </a:lnTo>
                <a:lnTo>
                  <a:pt x="42" y="23"/>
                </a:lnTo>
                <a:lnTo>
                  <a:pt x="42" y="25"/>
                </a:lnTo>
                <a:lnTo>
                  <a:pt x="42" y="26"/>
                </a:lnTo>
                <a:lnTo>
                  <a:pt x="42" y="25"/>
                </a:lnTo>
                <a:lnTo>
                  <a:pt x="39" y="26"/>
                </a:lnTo>
                <a:lnTo>
                  <a:pt x="38" y="28"/>
                </a:lnTo>
                <a:lnTo>
                  <a:pt x="37" y="29"/>
                </a:lnTo>
                <a:lnTo>
                  <a:pt x="35" y="31"/>
                </a:lnTo>
                <a:lnTo>
                  <a:pt x="34" y="32"/>
                </a:lnTo>
                <a:lnTo>
                  <a:pt x="33" y="34"/>
                </a:lnTo>
                <a:lnTo>
                  <a:pt x="31" y="34"/>
                </a:lnTo>
                <a:lnTo>
                  <a:pt x="30" y="37"/>
                </a:lnTo>
                <a:lnTo>
                  <a:pt x="29" y="39"/>
                </a:lnTo>
                <a:lnTo>
                  <a:pt x="27" y="39"/>
                </a:lnTo>
                <a:lnTo>
                  <a:pt x="25" y="42"/>
                </a:lnTo>
                <a:lnTo>
                  <a:pt x="23" y="40"/>
                </a:lnTo>
                <a:lnTo>
                  <a:pt x="22" y="42"/>
                </a:lnTo>
                <a:lnTo>
                  <a:pt x="21" y="42"/>
                </a:lnTo>
                <a:lnTo>
                  <a:pt x="19" y="40"/>
                </a:lnTo>
                <a:lnTo>
                  <a:pt x="18" y="39"/>
                </a:lnTo>
                <a:lnTo>
                  <a:pt x="17" y="40"/>
                </a:lnTo>
                <a:lnTo>
                  <a:pt x="15" y="40"/>
                </a:lnTo>
                <a:lnTo>
                  <a:pt x="10" y="40"/>
                </a:lnTo>
                <a:lnTo>
                  <a:pt x="6" y="39"/>
                </a:lnTo>
                <a:lnTo>
                  <a:pt x="2" y="39"/>
                </a:lnTo>
                <a:lnTo>
                  <a:pt x="1" y="39"/>
                </a:lnTo>
                <a:lnTo>
                  <a:pt x="0" y="39"/>
                </a:lnTo>
                <a:lnTo>
                  <a:pt x="0" y="40"/>
                </a:lnTo>
                <a:lnTo>
                  <a:pt x="1" y="43"/>
                </a:lnTo>
                <a:lnTo>
                  <a:pt x="5" y="50"/>
                </a:lnTo>
                <a:lnTo>
                  <a:pt x="8" y="53"/>
                </a:lnTo>
                <a:lnTo>
                  <a:pt x="8" y="56"/>
                </a:lnTo>
                <a:lnTo>
                  <a:pt x="9" y="61"/>
                </a:lnTo>
                <a:lnTo>
                  <a:pt x="13" y="65"/>
                </a:lnTo>
                <a:lnTo>
                  <a:pt x="21" y="75"/>
                </a:lnTo>
                <a:lnTo>
                  <a:pt x="26" y="76"/>
                </a:lnTo>
                <a:lnTo>
                  <a:pt x="29" y="80"/>
                </a:lnTo>
                <a:lnTo>
                  <a:pt x="31" y="84"/>
                </a:lnTo>
                <a:lnTo>
                  <a:pt x="35" y="86"/>
                </a:lnTo>
                <a:lnTo>
                  <a:pt x="38" y="87"/>
                </a:lnTo>
                <a:lnTo>
                  <a:pt x="38" y="94"/>
                </a:lnTo>
                <a:lnTo>
                  <a:pt x="39" y="100"/>
                </a:lnTo>
                <a:lnTo>
                  <a:pt x="41" y="105"/>
                </a:lnTo>
                <a:lnTo>
                  <a:pt x="43" y="106"/>
                </a:lnTo>
                <a:lnTo>
                  <a:pt x="46" y="109"/>
                </a:lnTo>
                <a:lnTo>
                  <a:pt x="49" y="109"/>
                </a:lnTo>
                <a:lnTo>
                  <a:pt x="53" y="109"/>
                </a:lnTo>
                <a:lnTo>
                  <a:pt x="57" y="111"/>
                </a:lnTo>
                <a:lnTo>
                  <a:pt x="59" y="113"/>
                </a:lnTo>
                <a:lnTo>
                  <a:pt x="62" y="114"/>
                </a:lnTo>
                <a:lnTo>
                  <a:pt x="66" y="114"/>
                </a:lnTo>
                <a:lnTo>
                  <a:pt x="67" y="114"/>
                </a:lnTo>
                <a:lnTo>
                  <a:pt x="74" y="116"/>
                </a:lnTo>
                <a:lnTo>
                  <a:pt x="78" y="117"/>
                </a:lnTo>
                <a:lnTo>
                  <a:pt x="81" y="116"/>
                </a:lnTo>
                <a:lnTo>
                  <a:pt x="85" y="117"/>
                </a:lnTo>
                <a:lnTo>
                  <a:pt x="90" y="119"/>
                </a:lnTo>
                <a:lnTo>
                  <a:pt x="94" y="124"/>
                </a:lnTo>
                <a:lnTo>
                  <a:pt x="95" y="124"/>
                </a:lnTo>
                <a:lnTo>
                  <a:pt x="97" y="124"/>
                </a:lnTo>
                <a:lnTo>
                  <a:pt x="97" y="119"/>
                </a:lnTo>
                <a:lnTo>
                  <a:pt x="97" y="116"/>
                </a:lnTo>
                <a:lnTo>
                  <a:pt x="99" y="113"/>
                </a:lnTo>
                <a:lnTo>
                  <a:pt x="102" y="109"/>
                </a:lnTo>
                <a:lnTo>
                  <a:pt x="105" y="108"/>
                </a:lnTo>
                <a:lnTo>
                  <a:pt x="109" y="97"/>
                </a:lnTo>
                <a:lnTo>
                  <a:pt x="111" y="87"/>
                </a:lnTo>
                <a:lnTo>
                  <a:pt x="115" y="76"/>
                </a:lnTo>
                <a:lnTo>
                  <a:pt x="115" y="69"/>
                </a:lnTo>
                <a:lnTo>
                  <a:pt x="114" y="64"/>
                </a:lnTo>
                <a:lnTo>
                  <a:pt x="114" y="59"/>
                </a:lnTo>
                <a:lnTo>
                  <a:pt x="117" y="54"/>
                </a:lnTo>
                <a:lnTo>
                  <a:pt x="117" y="51"/>
                </a:lnTo>
                <a:lnTo>
                  <a:pt x="118" y="47"/>
                </a:lnTo>
                <a:lnTo>
                  <a:pt x="117" y="43"/>
                </a:lnTo>
                <a:lnTo>
                  <a:pt x="118" y="32"/>
                </a:lnTo>
                <a:lnTo>
                  <a:pt x="117" y="25"/>
                </a:lnTo>
                <a:lnTo>
                  <a:pt x="115" y="22"/>
                </a:lnTo>
                <a:lnTo>
                  <a:pt x="115" y="18"/>
                </a:lnTo>
                <a:lnTo>
                  <a:pt x="113" y="15"/>
                </a:lnTo>
                <a:lnTo>
                  <a:pt x="105" y="12"/>
                </a:lnTo>
                <a:lnTo>
                  <a:pt x="97" y="7"/>
                </a:lnTo>
                <a:lnTo>
                  <a:pt x="93" y="6"/>
                </a:lnTo>
                <a:lnTo>
                  <a:pt x="89" y="4"/>
                </a:lnTo>
                <a:lnTo>
                  <a:pt x="82" y="6"/>
                </a:lnTo>
                <a:lnTo>
                  <a:pt x="77" y="6"/>
                </a:lnTo>
                <a:lnTo>
                  <a:pt x="77" y="0"/>
                </a:lnTo>
                <a:lnTo>
                  <a:pt x="75" y="0"/>
                </a:lnTo>
                <a:lnTo>
                  <a:pt x="73" y="0"/>
                </a:lnTo>
                <a:lnTo>
                  <a:pt x="70" y="0"/>
                </a:lnTo>
                <a:lnTo>
                  <a:pt x="69" y="0"/>
                </a:lnTo>
                <a:lnTo>
                  <a:pt x="67" y="0"/>
                </a:lnTo>
                <a:lnTo>
                  <a:pt x="65" y="1"/>
                </a:lnTo>
                <a:lnTo>
                  <a:pt x="61" y="1"/>
                </a:lnTo>
                <a:lnTo>
                  <a:pt x="58" y="3"/>
                </a:lnTo>
                <a:lnTo>
                  <a:pt x="57" y="4"/>
                </a:lnTo>
                <a:lnTo>
                  <a:pt x="55" y="4"/>
                </a:lnTo>
                <a:lnTo>
                  <a:pt x="53" y="6"/>
                </a:lnTo>
                <a:lnTo>
                  <a:pt x="53" y="7"/>
                </a:lnTo>
                <a:lnTo>
                  <a:pt x="53" y="11"/>
                </a:lnTo>
                <a:lnTo>
                  <a:pt x="53" y="12"/>
                </a:lnTo>
                <a:lnTo>
                  <a:pt x="53" y="14"/>
                </a:lnTo>
                <a:lnTo>
                  <a:pt x="53" y="1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FFC000"/>
              </a:solidFill>
            </a:endParaRPr>
          </a:p>
        </p:txBody>
      </p:sp>
      <p:sp>
        <p:nvSpPr>
          <p:cNvPr id="1177" name="Freeform 1104"/>
          <p:cNvSpPr>
            <a:spLocks/>
          </p:cNvSpPr>
          <p:nvPr/>
        </p:nvSpPr>
        <p:spPr bwMode="auto">
          <a:xfrm>
            <a:off x="6299995" y="3528168"/>
            <a:ext cx="479409" cy="687235"/>
          </a:xfrm>
          <a:custGeom>
            <a:avLst/>
            <a:gdLst/>
            <a:ahLst/>
            <a:cxnLst>
              <a:cxn ang="0">
                <a:pos x="34" y="115"/>
              </a:cxn>
              <a:cxn ang="0">
                <a:pos x="20" y="132"/>
              </a:cxn>
              <a:cxn ang="0">
                <a:pos x="15" y="141"/>
              </a:cxn>
              <a:cxn ang="0">
                <a:pos x="8" y="160"/>
              </a:cxn>
              <a:cxn ang="0">
                <a:pos x="4" y="168"/>
              </a:cxn>
              <a:cxn ang="0">
                <a:pos x="0" y="181"/>
              </a:cxn>
              <a:cxn ang="0">
                <a:pos x="8" y="184"/>
              </a:cxn>
              <a:cxn ang="0">
                <a:pos x="12" y="206"/>
              </a:cxn>
              <a:cxn ang="0">
                <a:pos x="16" y="214"/>
              </a:cxn>
              <a:cxn ang="0">
                <a:pos x="26" y="233"/>
              </a:cxn>
              <a:cxn ang="0">
                <a:pos x="26" y="253"/>
              </a:cxn>
              <a:cxn ang="0">
                <a:pos x="36" y="262"/>
              </a:cxn>
              <a:cxn ang="0">
                <a:pos x="50" y="269"/>
              </a:cxn>
              <a:cxn ang="0">
                <a:pos x="56" y="281"/>
              </a:cxn>
              <a:cxn ang="0">
                <a:pos x="68" y="292"/>
              </a:cxn>
              <a:cxn ang="0">
                <a:pos x="75" y="303"/>
              </a:cxn>
              <a:cxn ang="0">
                <a:pos x="87" y="319"/>
              </a:cxn>
              <a:cxn ang="0">
                <a:pos x="95" y="331"/>
              </a:cxn>
              <a:cxn ang="0">
                <a:pos x="112" y="333"/>
              </a:cxn>
              <a:cxn ang="0">
                <a:pos x="128" y="339"/>
              </a:cxn>
              <a:cxn ang="0">
                <a:pos x="137" y="347"/>
              </a:cxn>
              <a:cxn ang="0">
                <a:pos x="149" y="346"/>
              </a:cxn>
              <a:cxn ang="0">
                <a:pos x="163" y="346"/>
              </a:cxn>
              <a:cxn ang="0">
                <a:pos x="182" y="339"/>
              </a:cxn>
              <a:cxn ang="0">
                <a:pos x="190" y="330"/>
              </a:cxn>
              <a:cxn ang="0">
                <a:pos x="212" y="330"/>
              </a:cxn>
              <a:cxn ang="0">
                <a:pos x="209" y="316"/>
              </a:cxn>
              <a:cxn ang="0">
                <a:pos x="197" y="300"/>
              </a:cxn>
              <a:cxn ang="0">
                <a:pos x="186" y="286"/>
              </a:cxn>
              <a:cxn ang="0">
                <a:pos x="178" y="275"/>
              </a:cxn>
              <a:cxn ang="0">
                <a:pos x="169" y="272"/>
              </a:cxn>
              <a:cxn ang="0">
                <a:pos x="172" y="262"/>
              </a:cxn>
              <a:cxn ang="0">
                <a:pos x="185" y="258"/>
              </a:cxn>
              <a:cxn ang="0">
                <a:pos x="186" y="229"/>
              </a:cxn>
              <a:cxn ang="0">
                <a:pos x="189" y="223"/>
              </a:cxn>
              <a:cxn ang="0">
                <a:pos x="197" y="217"/>
              </a:cxn>
              <a:cxn ang="0">
                <a:pos x="212" y="184"/>
              </a:cxn>
              <a:cxn ang="0">
                <a:pos x="221" y="157"/>
              </a:cxn>
              <a:cxn ang="0">
                <a:pos x="224" y="137"/>
              </a:cxn>
              <a:cxn ang="0">
                <a:pos x="228" y="110"/>
              </a:cxn>
              <a:cxn ang="0">
                <a:pos x="236" y="104"/>
              </a:cxn>
              <a:cxn ang="0">
                <a:pos x="249" y="93"/>
              </a:cxn>
              <a:cxn ang="0">
                <a:pos x="245" y="87"/>
              </a:cxn>
              <a:cxn ang="0">
                <a:pos x="237" y="79"/>
              </a:cxn>
              <a:cxn ang="0">
                <a:pos x="230" y="58"/>
              </a:cxn>
              <a:cxn ang="0">
                <a:pos x="230" y="35"/>
              </a:cxn>
              <a:cxn ang="0">
                <a:pos x="222" y="16"/>
              </a:cxn>
              <a:cxn ang="0">
                <a:pos x="210" y="6"/>
              </a:cxn>
              <a:cxn ang="0">
                <a:pos x="193" y="14"/>
              </a:cxn>
              <a:cxn ang="0">
                <a:pos x="171" y="21"/>
              </a:cxn>
              <a:cxn ang="0">
                <a:pos x="144" y="16"/>
              </a:cxn>
              <a:cxn ang="0">
                <a:pos x="105" y="21"/>
              </a:cxn>
              <a:cxn ang="0">
                <a:pos x="48" y="21"/>
              </a:cxn>
              <a:cxn ang="0">
                <a:pos x="34" y="65"/>
              </a:cxn>
            </a:cxnLst>
            <a:rect l="0" t="0" r="r" b="b"/>
            <a:pathLst>
              <a:path w="250" h="347">
                <a:moveTo>
                  <a:pt x="34" y="65"/>
                </a:moveTo>
                <a:lnTo>
                  <a:pt x="34" y="82"/>
                </a:lnTo>
                <a:lnTo>
                  <a:pt x="34" y="99"/>
                </a:lnTo>
                <a:lnTo>
                  <a:pt x="34" y="115"/>
                </a:lnTo>
                <a:lnTo>
                  <a:pt x="34" y="130"/>
                </a:lnTo>
                <a:lnTo>
                  <a:pt x="31" y="130"/>
                </a:lnTo>
                <a:lnTo>
                  <a:pt x="23" y="130"/>
                </a:lnTo>
                <a:lnTo>
                  <a:pt x="20" y="132"/>
                </a:lnTo>
                <a:lnTo>
                  <a:pt x="18" y="132"/>
                </a:lnTo>
                <a:lnTo>
                  <a:pt x="16" y="135"/>
                </a:lnTo>
                <a:lnTo>
                  <a:pt x="16" y="138"/>
                </a:lnTo>
                <a:lnTo>
                  <a:pt x="15" y="141"/>
                </a:lnTo>
                <a:lnTo>
                  <a:pt x="12" y="148"/>
                </a:lnTo>
                <a:lnTo>
                  <a:pt x="7" y="154"/>
                </a:lnTo>
                <a:lnTo>
                  <a:pt x="7" y="157"/>
                </a:lnTo>
                <a:lnTo>
                  <a:pt x="8" y="160"/>
                </a:lnTo>
                <a:lnTo>
                  <a:pt x="7" y="162"/>
                </a:lnTo>
                <a:lnTo>
                  <a:pt x="4" y="163"/>
                </a:lnTo>
                <a:lnTo>
                  <a:pt x="4" y="165"/>
                </a:lnTo>
                <a:lnTo>
                  <a:pt x="4" y="168"/>
                </a:lnTo>
                <a:lnTo>
                  <a:pt x="4" y="173"/>
                </a:lnTo>
                <a:lnTo>
                  <a:pt x="3" y="176"/>
                </a:lnTo>
                <a:lnTo>
                  <a:pt x="2" y="179"/>
                </a:lnTo>
                <a:lnTo>
                  <a:pt x="0" y="181"/>
                </a:lnTo>
                <a:lnTo>
                  <a:pt x="0" y="185"/>
                </a:lnTo>
                <a:lnTo>
                  <a:pt x="2" y="185"/>
                </a:lnTo>
                <a:lnTo>
                  <a:pt x="3" y="185"/>
                </a:lnTo>
                <a:lnTo>
                  <a:pt x="8" y="184"/>
                </a:lnTo>
                <a:lnTo>
                  <a:pt x="7" y="189"/>
                </a:lnTo>
                <a:lnTo>
                  <a:pt x="8" y="193"/>
                </a:lnTo>
                <a:lnTo>
                  <a:pt x="12" y="204"/>
                </a:lnTo>
                <a:lnTo>
                  <a:pt x="12" y="206"/>
                </a:lnTo>
                <a:lnTo>
                  <a:pt x="14" y="207"/>
                </a:lnTo>
                <a:lnTo>
                  <a:pt x="15" y="207"/>
                </a:lnTo>
                <a:lnTo>
                  <a:pt x="16" y="211"/>
                </a:lnTo>
                <a:lnTo>
                  <a:pt x="16" y="214"/>
                </a:lnTo>
                <a:lnTo>
                  <a:pt x="14" y="215"/>
                </a:lnTo>
                <a:lnTo>
                  <a:pt x="16" y="220"/>
                </a:lnTo>
                <a:lnTo>
                  <a:pt x="22" y="226"/>
                </a:lnTo>
                <a:lnTo>
                  <a:pt x="26" y="233"/>
                </a:lnTo>
                <a:lnTo>
                  <a:pt x="27" y="237"/>
                </a:lnTo>
                <a:lnTo>
                  <a:pt x="26" y="244"/>
                </a:lnTo>
                <a:lnTo>
                  <a:pt x="24" y="248"/>
                </a:lnTo>
                <a:lnTo>
                  <a:pt x="26" y="253"/>
                </a:lnTo>
                <a:lnTo>
                  <a:pt x="28" y="256"/>
                </a:lnTo>
                <a:lnTo>
                  <a:pt x="31" y="256"/>
                </a:lnTo>
                <a:lnTo>
                  <a:pt x="35" y="258"/>
                </a:lnTo>
                <a:lnTo>
                  <a:pt x="36" y="262"/>
                </a:lnTo>
                <a:lnTo>
                  <a:pt x="39" y="264"/>
                </a:lnTo>
                <a:lnTo>
                  <a:pt x="46" y="264"/>
                </a:lnTo>
                <a:lnTo>
                  <a:pt x="48" y="266"/>
                </a:lnTo>
                <a:lnTo>
                  <a:pt x="50" y="269"/>
                </a:lnTo>
                <a:lnTo>
                  <a:pt x="51" y="270"/>
                </a:lnTo>
                <a:lnTo>
                  <a:pt x="50" y="273"/>
                </a:lnTo>
                <a:lnTo>
                  <a:pt x="52" y="277"/>
                </a:lnTo>
                <a:lnTo>
                  <a:pt x="56" y="281"/>
                </a:lnTo>
                <a:lnTo>
                  <a:pt x="62" y="284"/>
                </a:lnTo>
                <a:lnTo>
                  <a:pt x="64" y="288"/>
                </a:lnTo>
                <a:lnTo>
                  <a:pt x="67" y="289"/>
                </a:lnTo>
                <a:lnTo>
                  <a:pt x="68" y="292"/>
                </a:lnTo>
                <a:lnTo>
                  <a:pt x="69" y="297"/>
                </a:lnTo>
                <a:lnTo>
                  <a:pt x="71" y="300"/>
                </a:lnTo>
                <a:lnTo>
                  <a:pt x="72" y="303"/>
                </a:lnTo>
                <a:lnTo>
                  <a:pt x="75" y="303"/>
                </a:lnTo>
                <a:lnTo>
                  <a:pt x="83" y="310"/>
                </a:lnTo>
                <a:lnTo>
                  <a:pt x="84" y="313"/>
                </a:lnTo>
                <a:lnTo>
                  <a:pt x="84" y="317"/>
                </a:lnTo>
                <a:lnTo>
                  <a:pt x="87" y="319"/>
                </a:lnTo>
                <a:lnTo>
                  <a:pt x="88" y="322"/>
                </a:lnTo>
                <a:lnTo>
                  <a:pt x="91" y="325"/>
                </a:lnTo>
                <a:lnTo>
                  <a:pt x="93" y="328"/>
                </a:lnTo>
                <a:lnTo>
                  <a:pt x="95" y="331"/>
                </a:lnTo>
                <a:lnTo>
                  <a:pt x="100" y="335"/>
                </a:lnTo>
                <a:lnTo>
                  <a:pt x="103" y="333"/>
                </a:lnTo>
                <a:lnTo>
                  <a:pt x="104" y="331"/>
                </a:lnTo>
                <a:lnTo>
                  <a:pt x="112" y="333"/>
                </a:lnTo>
                <a:lnTo>
                  <a:pt x="115" y="333"/>
                </a:lnTo>
                <a:lnTo>
                  <a:pt x="119" y="328"/>
                </a:lnTo>
                <a:lnTo>
                  <a:pt x="121" y="331"/>
                </a:lnTo>
                <a:lnTo>
                  <a:pt x="128" y="339"/>
                </a:lnTo>
                <a:lnTo>
                  <a:pt x="132" y="342"/>
                </a:lnTo>
                <a:lnTo>
                  <a:pt x="133" y="346"/>
                </a:lnTo>
                <a:lnTo>
                  <a:pt x="136" y="347"/>
                </a:lnTo>
                <a:lnTo>
                  <a:pt x="137" y="347"/>
                </a:lnTo>
                <a:lnTo>
                  <a:pt x="139" y="346"/>
                </a:lnTo>
                <a:lnTo>
                  <a:pt x="143" y="344"/>
                </a:lnTo>
                <a:lnTo>
                  <a:pt x="147" y="346"/>
                </a:lnTo>
                <a:lnTo>
                  <a:pt x="149" y="346"/>
                </a:lnTo>
                <a:lnTo>
                  <a:pt x="152" y="344"/>
                </a:lnTo>
                <a:lnTo>
                  <a:pt x="153" y="347"/>
                </a:lnTo>
                <a:lnTo>
                  <a:pt x="159" y="346"/>
                </a:lnTo>
                <a:lnTo>
                  <a:pt x="163" y="346"/>
                </a:lnTo>
                <a:lnTo>
                  <a:pt x="167" y="344"/>
                </a:lnTo>
                <a:lnTo>
                  <a:pt x="171" y="344"/>
                </a:lnTo>
                <a:lnTo>
                  <a:pt x="176" y="344"/>
                </a:lnTo>
                <a:lnTo>
                  <a:pt x="182" y="339"/>
                </a:lnTo>
                <a:lnTo>
                  <a:pt x="182" y="338"/>
                </a:lnTo>
                <a:lnTo>
                  <a:pt x="182" y="339"/>
                </a:lnTo>
                <a:lnTo>
                  <a:pt x="186" y="331"/>
                </a:lnTo>
                <a:lnTo>
                  <a:pt x="190" y="330"/>
                </a:lnTo>
                <a:lnTo>
                  <a:pt x="193" y="330"/>
                </a:lnTo>
                <a:lnTo>
                  <a:pt x="201" y="330"/>
                </a:lnTo>
                <a:lnTo>
                  <a:pt x="205" y="330"/>
                </a:lnTo>
                <a:lnTo>
                  <a:pt x="212" y="330"/>
                </a:lnTo>
                <a:lnTo>
                  <a:pt x="212" y="322"/>
                </a:lnTo>
                <a:lnTo>
                  <a:pt x="212" y="319"/>
                </a:lnTo>
                <a:lnTo>
                  <a:pt x="212" y="317"/>
                </a:lnTo>
                <a:lnTo>
                  <a:pt x="209" y="316"/>
                </a:lnTo>
                <a:lnTo>
                  <a:pt x="204" y="314"/>
                </a:lnTo>
                <a:lnTo>
                  <a:pt x="201" y="311"/>
                </a:lnTo>
                <a:lnTo>
                  <a:pt x="200" y="308"/>
                </a:lnTo>
                <a:lnTo>
                  <a:pt x="197" y="300"/>
                </a:lnTo>
                <a:lnTo>
                  <a:pt x="196" y="295"/>
                </a:lnTo>
                <a:lnTo>
                  <a:pt x="194" y="292"/>
                </a:lnTo>
                <a:lnTo>
                  <a:pt x="188" y="289"/>
                </a:lnTo>
                <a:lnTo>
                  <a:pt x="186" y="286"/>
                </a:lnTo>
                <a:lnTo>
                  <a:pt x="184" y="283"/>
                </a:lnTo>
                <a:lnTo>
                  <a:pt x="184" y="280"/>
                </a:lnTo>
                <a:lnTo>
                  <a:pt x="181" y="277"/>
                </a:lnTo>
                <a:lnTo>
                  <a:pt x="178" y="275"/>
                </a:lnTo>
                <a:lnTo>
                  <a:pt x="176" y="275"/>
                </a:lnTo>
                <a:lnTo>
                  <a:pt x="173" y="275"/>
                </a:lnTo>
                <a:lnTo>
                  <a:pt x="172" y="273"/>
                </a:lnTo>
                <a:lnTo>
                  <a:pt x="169" y="272"/>
                </a:lnTo>
                <a:lnTo>
                  <a:pt x="168" y="272"/>
                </a:lnTo>
                <a:lnTo>
                  <a:pt x="169" y="269"/>
                </a:lnTo>
                <a:lnTo>
                  <a:pt x="172" y="267"/>
                </a:lnTo>
                <a:lnTo>
                  <a:pt x="172" y="262"/>
                </a:lnTo>
                <a:lnTo>
                  <a:pt x="175" y="261"/>
                </a:lnTo>
                <a:lnTo>
                  <a:pt x="180" y="262"/>
                </a:lnTo>
                <a:lnTo>
                  <a:pt x="182" y="261"/>
                </a:lnTo>
                <a:lnTo>
                  <a:pt x="185" y="258"/>
                </a:lnTo>
                <a:lnTo>
                  <a:pt x="185" y="253"/>
                </a:lnTo>
                <a:lnTo>
                  <a:pt x="185" y="239"/>
                </a:lnTo>
                <a:lnTo>
                  <a:pt x="186" y="234"/>
                </a:lnTo>
                <a:lnTo>
                  <a:pt x="186" y="229"/>
                </a:lnTo>
                <a:lnTo>
                  <a:pt x="186" y="228"/>
                </a:lnTo>
                <a:lnTo>
                  <a:pt x="186" y="225"/>
                </a:lnTo>
                <a:lnTo>
                  <a:pt x="188" y="226"/>
                </a:lnTo>
                <a:lnTo>
                  <a:pt x="189" y="223"/>
                </a:lnTo>
                <a:lnTo>
                  <a:pt x="190" y="218"/>
                </a:lnTo>
                <a:lnTo>
                  <a:pt x="193" y="217"/>
                </a:lnTo>
                <a:lnTo>
                  <a:pt x="196" y="217"/>
                </a:lnTo>
                <a:lnTo>
                  <a:pt x="197" y="217"/>
                </a:lnTo>
                <a:lnTo>
                  <a:pt x="198" y="207"/>
                </a:lnTo>
                <a:lnTo>
                  <a:pt x="200" y="203"/>
                </a:lnTo>
                <a:lnTo>
                  <a:pt x="209" y="187"/>
                </a:lnTo>
                <a:lnTo>
                  <a:pt x="212" y="184"/>
                </a:lnTo>
                <a:lnTo>
                  <a:pt x="214" y="184"/>
                </a:lnTo>
                <a:lnTo>
                  <a:pt x="216" y="181"/>
                </a:lnTo>
                <a:lnTo>
                  <a:pt x="221" y="162"/>
                </a:lnTo>
                <a:lnTo>
                  <a:pt x="221" y="157"/>
                </a:lnTo>
                <a:lnTo>
                  <a:pt x="220" y="152"/>
                </a:lnTo>
                <a:lnTo>
                  <a:pt x="220" y="146"/>
                </a:lnTo>
                <a:lnTo>
                  <a:pt x="221" y="141"/>
                </a:lnTo>
                <a:lnTo>
                  <a:pt x="224" y="137"/>
                </a:lnTo>
                <a:lnTo>
                  <a:pt x="225" y="126"/>
                </a:lnTo>
                <a:lnTo>
                  <a:pt x="226" y="119"/>
                </a:lnTo>
                <a:lnTo>
                  <a:pt x="226" y="116"/>
                </a:lnTo>
                <a:lnTo>
                  <a:pt x="228" y="110"/>
                </a:lnTo>
                <a:lnTo>
                  <a:pt x="229" y="107"/>
                </a:lnTo>
                <a:lnTo>
                  <a:pt x="233" y="107"/>
                </a:lnTo>
                <a:lnTo>
                  <a:pt x="234" y="105"/>
                </a:lnTo>
                <a:lnTo>
                  <a:pt x="236" y="104"/>
                </a:lnTo>
                <a:lnTo>
                  <a:pt x="242" y="101"/>
                </a:lnTo>
                <a:lnTo>
                  <a:pt x="244" y="99"/>
                </a:lnTo>
                <a:lnTo>
                  <a:pt x="248" y="98"/>
                </a:lnTo>
                <a:lnTo>
                  <a:pt x="249" y="93"/>
                </a:lnTo>
                <a:lnTo>
                  <a:pt x="250" y="90"/>
                </a:lnTo>
                <a:lnTo>
                  <a:pt x="249" y="87"/>
                </a:lnTo>
                <a:lnTo>
                  <a:pt x="248" y="87"/>
                </a:lnTo>
                <a:lnTo>
                  <a:pt x="245" y="87"/>
                </a:lnTo>
                <a:lnTo>
                  <a:pt x="244" y="83"/>
                </a:lnTo>
                <a:lnTo>
                  <a:pt x="242" y="82"/>
                </a:lnTo>
                <a:lnTo>
                  <a:pt x="241" y="80"/>
                </a:lnTo>
                <a:lnTo>
                  <a:pt x="237" y="79"/>
                </a:lnTo>
                <a:lnTo>
                  <a:pt x="236" y="77"/>
                </a:lnTo>
                <a:lnTo>
                  <a:pt x="233" y="76"/>
                </a:lnTo>
                <a:lnTo>
                  <a:pt x="232" y="66"/>
                </a:lnTo>
                <a:lnTo>
                  <a:pt x="230" y="58"/>
                </a:lnTo>
                <a:lnTo>
                  <a:pt x="230" y="49"/>
                </a:lnTo>
                <a:lnTo>
                  <a:pt x="230" y="36"/>
                </a:lnTo>
                <a:lnTo>
                  <a:pt x="232" y="36"/>
                </a:lnTo>
                <a:lnTo>
                  <a:pt x="230" y="35"/>
                </a:lnTo>
                <a:lnTo>
                  <a:pt x="226" y="28"/>
                </a:lnTo>
                <a:lnTo>
                  <a:pt x="226" y="25"/>
                </a:lnTo>
                <a:lnTo>
                  <a:pt x="226" y="21"/>
                </a:lnTo>
                <a:lnTo>
                  <a:pt x="222" y="16"/>
                </a:lnTo>
                <a:lnTo>
                  <a:pt x="220" y="14"/>
                </a:lnTo>
                <a:lnTo>
                  <a:pt x="217" y="10"/>
                </a:lnTo>
                <a:lnTo>
                  <a:pt x="214" y="8"/>
                </a:lnTo>
                <a:lnTo>
                  <a:pt x="210" y="6"/>
                </a:lnTo>
                <a:lnTo>
                  <a:pt x="206" y="0"/>
                </a:lnTo>
                <a:lnTo>
                  <a:pt x="201" y="6"/>
                </a:lnTo>
                <a:lnTo>
                  <a:pt x="197" y="5"/>
                </a:lnTo>
                <a:lnTo>
                  <a:pt x="193" y="14"/>
                </a:lnTo>
                <a:lnTo>
                  <a:pt x="185" y="16"/>
                </a:lnTo>
                <a:lnTo>
                  <a:pt x="184" y="24"/>
                </a:lnTo>
                <a:lnTo>
                  <a:pt x="176" y="25"/>
                </a:lnTo>
                <a:lnTo>
                  <a:pt x="171" y="21"/>
                </a:lnTo>
                <a:lnTo>
                  <a:pt x="144" y="21"/>
                </a:lnTo>
                <a:lnTo>
                  <a:pt x="145" y="17"/>
                </a:lnTo>
                <a:lnTo>
                  <a:pt x="144" y="17"/>
                </a:lnTo>
                <a:lnTo>
                  <a:pt x="144" y="16"/>
                </a:lnTo>
                <a:lnTo>
                  <a:pt x="141" y="21"/>
                </a:lnTo>
                <a:lnTo>
                  <a:pt x="133" y="21"/>
                </a:lnTo>
                <a:lnTo>
                  <a:pt x="120" y="21"/>
                </a:lnTo>
                <a:lnTo>
                  <a:pt x="105" y="21"/>
                </a:lnTo>
                <a:lnTo>
                  <a:pt x="91" y="21"/>
                </a:lnTo>
                <a:lnTo>
                  <a:pt x="76" y="21"/>
                </a:lnTo>
                <a:lnTo>
                  <a:pt x="63" y="21"/>
                </a:lnTo>
                <a:lnTo>
                  <a:pt x="48" y="21"/>
                </a:lnTo>
                <a:lnTo>
                  <a:pt x="48" y="36"/>
                </a:lnTo>
                <a:lnTo>
                  <a:pt x="48" y="55"/>
                </a:lnTo>
                <a:lnTo>
                  <a:pt x="34" y="55"/>
                </a:lnTo>
                <a:lnTo>
                  <a:pt x="34" y="6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78" name="Freeform 1105"/>
          <p:cNvSpPr>
            <a:spLocks/>
          </p:cNvSpPr>
          <p:nvPr/>
        </p:nvSpPr>
        <p:spPr bwMode="auto">
          <a:xfrm>
            <a:off x="6299995" y="3528168"/>
            <a:ext cx="479409" cy="687235"/>
          </a:xfrm>
          <a:custGeom>
            <a:avLst/>
            <a:gdLst/>
            <a:ahLst/>
            <a:cxnLst>
              <a:cxn ang="0">
                <a:pos x="34" y="115"/>
              </a:cxn>
              <a:cxn ang="0">
                <a:pos x="20" y="132"/>
              </a:cxn>
              <a:cxn ang="0">
                <a:pos x="15" y="141"/>
              </a:cxn>
              <a:cxn ang="0">
                <a:pos x="8" y="160"/>
              </a:cxn>
              <a:cxn ang="0">
                <a:pos x="4" y="168"/>
              </a:cxn>
              <a:cxn ang="0">
                <a:pos x="0" y="181"/>
              </a:cxn>
              <a:cxn ang="0">
                <a:pos x="8" y="184"/>
              </a:cxn>
              <a:cxn ang="0">
                <a:pos x="12" y="206"/>
              </a:cxn>
              <a:cxn ang="0">
                <a:pos x="16" y="214"/>
              </a:cxn>
              <a:cxn ang="0">
                <a:pos x="26" y="233"/>
              </a:cxn>
              <a:cxn ang="0">
                <a:pos x="26" y="253"/>
              </a:cxn>
              <a:cxn ang="0">
                <a:pos x="36" y="262"/>
              </a:cxn>
              <a:cxn ang="0">
                <a:pos x="50" y="269"/>
              </a:cxn>
              <a:cxn ang="0">
                <a:pos x="56" y="281"/>
              </a:cxn>
              <a:cxn ang="0">
                <a:pos x="68" y="292"/>
              </a:cxn>
              <a:cxn ang="0">
                <a:pos x="75" y="303"/>
              </a:cxn>
              <a:cxn ang="0">
                <a:pos x="87" y="319"/>
              </a:cxn>
              <a:cxn ang="0">
                <a:pos x="95" y="331"/>
              </a:cxn>
              <a:cxn ang="0">
                <a:pos x="112" y="333"/>
              </a:cxn>
              <a:cxn ang="0">
                <a:pos x="128" y="339"/>
              </a:cxn>
              <a:cxn ang="0">
                <a:pos x="137" y="347"/>
              </a:cxn>
              <a:cxn ang="0">
                <a:pos x="149" y="346"/>
              </a:cxn>
              <a:cxn ang="0">
                <a:pos x="163" y="346"/>
              </a:cxn>
              <a:cxn ang="0">
                <a:pos x="182" y="339"/>
              </a:cxn>
              <a:cxn ang="0">
                <a:pos x="190" y="330"/>
              </a:cxn>
              <a:cxn ang="0">
                <a:pos x="212" y="330"/>
              </a:cxn>
              <a:cxn ang="0">
                <a:pos x="209" y="316"/>
              </a:cxn>
              <a:cxn ang="0">
                <a:pos x="197" y="300"/>
              </a:cxn>
              <a:cxn ang="0">
                <a:pos x="186" y="286"/>
              </a:cxn>
              <a:cxn ang="0">
                <a:pos x="178" y="275"/>
              </a:cxn>
              <a:cxn ang="0">
                <a:pos x="169" y="272"/>
              </a:cxn>
              <a:cxn ang="0">
                <a:pos x="172" y="262"/>
              </a:cxn>
              <a:cxn ang="0">
                <a:pos x="185" y="258"/>
              </a:cxn>
              <a:cxn ang="0">
                <a:pos x="186" y="229"/>
              </a:cxn>
              <a:cxn ang="0">
                <a:pos x="189" y="223"/>
              </a:cxn>
              <a:cxn ang="0">
                <a:pos x="197" y="217"/>
              </a:cxn>
              <a:cxn ang="0">
                <a:pos x="212" y="184"/>
              </a:cxn>
              <a:cxn ang="0">
                <a:pos x="221" y="157"/>
              </a:cxn>
              <a:cxn ang="0">
                <a:pos x="224" y="137"/>
              </a:cxn>
              <a:cxn ang="0">
                <a:pos x="228" y="110"/>
              </a:cxn>
              <a:cxn ang="0">
                <a:pos x="236" y="104"/>
              </a:cxn>
              <a:cxn ang="0">
                <a:pos x="249" y="93"/>
              </a:cxn>
              <a:cxn ang="0">
                <a:pos x="245" y="87"/>
              </a:cxn>
              <a:cxn ang="0">
                <a:pos x="237" y="79"/>
              </a:cxn>
              <a:cxn ang="0">
                <a:pos x="230" y="58"/>
              </a:cxn>
              <a:cxn ang="0">
                <a:pos x="230" y="35"/>
              </a:cxn>
              <a:cxn ang="0">
                <a:pos x="222" y="16"/>
              </a:cxn>
              <a:cxn ang="0">
                <a:pos x="210" y="6"/>
              </a:cxn>
              <a:cxn ang="0">
                <a:pos x="193" y="14"/>
              </a:cxn>
            </a:cxnLst>
            <a:rect l="0" t="0" r="r" b="b"/>
            <a:pathLst>
              <a:path w="250" h="347">
                <a:moveTo>
                  <a:pt x="34" y="65"/>
                </a:moveTo>
                <a:lnTo>
                  <a:pt x="34" y="82"/>
                </a:lnTo>
                <a:lnTo>
                  <a:pt x="34" y="99"/>
                </a:lnTo>
                <a:lnTo>
                  <a:pt x="34" y="115"/>
                </a:lnTo>
                <a:lnTo>
                  <a:pt x="34" y="130"/>
                </a:lnTo>
                <a:lnTo>
                  <a:pt x="31" y="130"/>
                </a:lnTo>
                <a:lnTo>
                  <a:pt x="23" y="130"/>
                </a:lnTo>
                <a:lnTo>
                  <a:pt x="20" y="132"/>
                </a:lnTo>
                <a:lnTo>
                  <a:pt x="18" y="132"/>
                </a:lnTo>
                <a:lnTo>
                  <a:pt x="16" y="135"/>
                </a:lnTo>
                <a:lnTo>
                  <a:pt x="16" y="138"/>
                </a:lnTo>
                <a:lnTo>
                  <a:pt x="15" y="141"/>
                </a:lnTo>
                <a:lnTo>
                  <a:pt x="12" y="148"/>
                </a:lnTo>
                <a:lnTo>
                  <a:pt x="7" y="154"/>
                </a:lnTo>
                <a:lnTo>
                  <a:pt x="7" y="157"/>
                </a:lnTo>
                <a:lnTo>
                  <a:pt x="8" y="160"/>
                </a:lnTo>
                <a:lnTo>
                  <a:pt x="7" y="162"/>
                </a:lnTo>
                <a:lnTo>
                  <a:pt x="4" y="163"/>
                </a:lnTo>
                <a:lnTo>
                  <a:pt x="4" y="165"/>
                </a:lnTo>
                <a:lnTo>
                  <a:pt x="4" y="168"/>
                </a:lnTo>
                <a:lnTo>
                  <a:pt x="4" y="173"/>
                </a:lnTo>
                <a:lnTo>
                  <a:pt x="3" y="176"/>
                </a:lnTo>
                <a:lnTo>
                  <a:pt x="2" y="179"/>
                </a:lnTo>
                <a:lnTo>
                  <a:pt x="0" y="181"/>
                </a:lnTo>
                <a:lnTo>
                  <a:pt x="0" y="185"/>
                </a:lnTo>
                <a:lnTo>
                  <a:pt x="2" y="185"/>
                </a:lnTo>
                <a:lnTo>
                  <a:pt x="3" y="185"/>
                </a:lnTo>
                <a:lnTo>
                  <a:pt x="8" y="184"/>
                </a:lnTo>
                <a:lnTo>
                  <a:pt x="7" y="189"/>
                </a:lnTo>
                <a:lnTo>
                  <a:pt x="8" y="193"/>
                </a:lnTo>
                <a:lnTo>
                  <a:pt x="12" y="204"/>
                </a:lnTo>
                <a:lnTo>
                  <a:pt x="12" y="206"/>
                </a:lnTo>
                <a:lnTo>
                  <a:pt x="14" y="207"/>
                </a:lnTo>
                <a:lnTo>
                  <a:pt x="15" y="207"/>
                </a:lnTo>
                <a:lnTo>
                  <a:pt x="16" y="211"/>
                </a:lnTo>
                <a:lnTo>
                  <a:pt x="16" y="214"/>
                </a:lnTo>
                <a:lnTo>
                  <a:pt x="14" y="215"/>
                </a:lnTo>
                <a:lnTo>
                  <a:pt x="16" y="220"/>
                </a:lnTo>
                <a:lnTo>
                  <a:pt x="22" y="226"/>
                </a:lnTo>
                <a:lnTo>
                  <a:pt x="26" y="233"/>
                </a:lnTo>
                <a:lnTo>
                  <a:pt x="27" y="237"/>
                </a:lnTo>
                <a:lnTo>
                  <a:pt x="26" y="244"/>
                </a:lnTo>
                <a:lnTo>
                  <a:pt x="24" y="248"/>
                </a:lnTo>
                <a:lnTo>
                  <a:pt x="26" y="253"/>
                </a:lnTo>
                <a:lnTo>
                  <a:pt x="28" y="256"/>
                </a:lnTo>
                <a:lnTo>
                  <a:pt x="31" y="256"/>
                </a:lnTo>
                <a:lnTo>
                  <a:pt x="35" y="258"/>
                </a:lnTo>
                <a:lnTo>
                  <a:pt x="36" y="262"/>
                </a:lnTo>
                <a:lnTo>
                  <a:pt x="39" y="264"/>
                </a:lnTo>
                <a:lnTo>
                  <a:pt x="46" y="264"/>
                </a:lnTo>
                <a:lnTo>
                  <a:pt x="48" y="266"/>
                </a:lnTo>
                <a:lnTo>
                  <a:pt x="50" y="269"/>
                </a:lnTo>
                <a:lnTo>
                  <a:pt x="51" y="270"/>
                </a:lnTo>
                <a:lnTo>
                  <a:pt x="50" y="273"/>
                </a:lnTo>
                <a:lnTo>
                  <a:pt x="52" y="277"/>
                </a:lnTo>
                <a:lnTo>
                  <a:pt x="56" y="281"/>
                </a:lnTo>
                <a:lnTo>
                  <a:pt x="62" y="284"/>
                </a:lnTo>
                <a:lnTo>
                  <a:pt x="64" y="288"/>
                </a:lnTo>
                <a:lnTo>
                  <a:pt x="67" y="289"/>
                </a:lnTo>
                <a:lnTo>
                  <a:pt x="68" y="292"/>
                </a:lnTo>
                <a:lnTo>
                  <a:pt x="69" y="297"/>
                </a:lnTo>
                <a:lnTo>
                  <a:pt x="71" y="300"/>
                </a:lnTo>
                <a:lnTo>
                  <a:pt x="72" y="303"/>
                </a:lnTo>
                <a:lnTo>
                  <a:pt x="75" y="303"/>
                </a:lnTo>
                <a:lnTo>
                  <a:pt x="83" y="310"/>
                </a:lnTo>
                <a:lnTo>
                  <a:pt x="84" y="313"/>
                </a:lnTo>
                <a:lnTo>
                  <a:pt x="84" y="317"/>
                </a:lnTo>
                <a:lnTo>
                  <a:pt x="87" y="319"/>
                </a:lnTo>
                <a:lnTo>
                  <a:pt x="88" y="322"/>
                </a:lnTo>
                <a:lnTo>
                  <a:pt x="91" y="325"/>
                </a:lnTo>
                <a:lnTo>
                  <a:pt x="93" y="328"/>
                </a:lnTo>
                <a:lnTo>
                  <a:pt x="95" y="331"/>
                </a:lnTo>
                <a:lnTo>
                  <a:pt x="100" y="335"/>
                </a:lnTo>
                <a:lnTo>
                  <a:pt x="103" y="333"/>
                </a:lnTo>
                <a:lnTo>
                  <a:pt x="104" y="331"/>
                </a:lnTo>
                <a:lnTo>
                  <a:pt x="112" y="333"/>
                </a:lnTo>
                <a:lnTo>
                  <a:pt x="115" y="333"/>
                </a:lnTo>
                <a:lnTo>
                  <a:pt x="119" y="328"/>
                </a:lnTo>
                <a:lnTo>
                  <a:pt x="121" y="331"/>
                </a:lnTo>
                <a:lnTo>
                  <a:pt x="128" y="339"/>
                </a:lnTo>
                <a:lnTo>
                  <a:pt x="132" y="342"/>
                </a:lnTo>
                <a:lnTo>
                  <a:pt x="133" y="346"/>
                </a:lnTo>
                <a:lnTo>
                  <a:pt x="136" y="347"/>
                </a:lnTo>
                <a:lnTo>
                  <a:pt x="137" y="347"/>
                </a:lnTo>
                <a:lnTo>
                  <a:pt x="139" y="346"/>
                </a:lnTo>
                <a:lnTo>
                  <a:pt x="143" y="344"/>
                </a:lnTo>
                <a:lnTo>
                  <a:pt x="147" y="346"/>
                </a:lnTo>
                <a:lnTo>
                  <a:pt x="149" y="346"/>
                </a:lnTo>
                <a:lnTo>
                  <a:pt x="152" y="344"/>
                </a:lnTo>
                <a:lnTo>
                  <a:pt x="153" y="347"/>
                </a:lnTo>
                <a:lnTo>
                  <a:pt x="159" y="346"/>
                </a:lnTo>
                <a:lnTo>
                  <a:pt x="163" y="346"/>
                </a:lnTo>
                <a:lnTo>
                  <a:pt x="167" y="344"/>
                </a:lnTo>
                <a:lnTo>
                  <a:pt x="171" y="344"/>
                </a:lnTo>
                <a:lnTo>
                  <a:pt x="176" y="344"/>
                </a:lnTo>
                <a:lnTo>
                  <a:pt x="182" y="339"/>
                </a:lnTo>
                <a:lnTo>
                  <a:pt x="182" y="338"/>
                </a:lnTo>
                <a:lnTo>
                  <a:pt x="182" y="339"/>
                </a:lnTo>
                <a:lnTo>
                  <a:pt x="186" y="331"/>
                </a:lnTo>
                <a:lnTo>
                  <a:pt x="190" y="330"/>
                </a:lnTo>
                <a:lnTo>
                  <a:pt x="193" y="330"/>
                </a:lnTo>
                <a:lnTo>
                  <a:pt x="201" y="330"/>
                </a:lnTo>
                <a:lnTo>
                  <a:pt x="205" y="330"/>
                </a:lnTo>
                <a:lnTo>
                  <a:pt x="212" y="330"/>
                </a:lnTo>
                <a:lnTo>
                  <a:pt x="212" y="322"/>
                </a:lnTo>
                <a:lnTo>
                  <a:pt x="212" y="319"/>
                </a:lnTo>
                <a:lnTo>
                  <a:pt x="212" y="317"/>
                </a:lnTo>
                <a:lnTo>
                  <a:pt x="209" y="316"/>
                </a:lnTo>
                <a:lnTo>
                  <a:pt x="204" y="314"/>
                </a:lnTo>
                <a:lnTo>
                  <a:pt x="201" y="311"/>
                </a:lnTo>
                <a:lnTo>
                  <a:pt x="200" y="308"/>
                </a:lnTo>
                <a:lnTo>
                  <a:pt x="197" y="300"/>
                </a:lnTo>
                <a:lnTo>
                  <a:pt x="196" y="295"/>
                </a:lnTo>
                <a:lnTo>
                  <a:pt x="194" y="292"/>
                </a:lnTo>
                <a:lnTo>
                  <a:pt x="188" y="289"/>
                </a:lnTo>
                <a:lnTo>
                  <a:pt x="186" y="286"/>
                </a:lnTo>
                <a:lnTo>
                  <a:pt x="184" y="283"/>
                </a:lnTo>
                <a:lnTo>
                  <a:pt x="184" y="280"/>
                </a:lnTo>
                <a:lnTo>
                  <a:pt x="181" y="277"/>
                </a:lnTo>
                <a:lnTo>
                  <a:pt x="178" y="275"/>
                </a:lnTo>
                <a:lnTo>
                  <a:pt x="176" y="275"/>
                </a:lnTo>
                <a:lnTo>
                  <a:pt x="173" y="275"/>
                </a:lnTo>
                <a:lnTo>
                  <a:pt x="172" y="273"/>
                </a:lnTo>
                <a:lnTo>
                  <a:pt x="169" y="272"/>
                </a:lnTo>
                <a:lnTo>
                  <a:pt x="168" y="272"/>
                </a:lnTo>
                <a:lnTo>
                  <a:pt x="169" y="269"/>
                </a:lnTo>
                <a:lnTo>
                  <a:pt x="172" y="267"/>
                </a:lnTo>
                <a:lnTo>
                  <a:pt x="172" y="262"/>
                </a:lnTo>
                <a:lnTo>
                  <a:pt x="175" y="261"/>
                </a:lnTo>
                <a:lnTo>
                  <a:pt x="180" y="262"/>
                </a:lnTo>
                <a:lnTo>
                  <a:pt x="182" y="261"/>
                </a:lnTo>
                <a:lnTo>
                  <a:pt x="185" y="258"/>
                </a:lnTo>
                <a:lnTo>
                  <a:pt x="185" y="253"/>
                </a:lnTo>
                <a:lnTo>
                  <a:pt x="185" y="239"/>
                </a:lnTo>
                <a:lnTo>
                  <a:pt x="186" y="234"/>
                </a:lnTo>
                <a:lnTo>
                  <a:pt x="186" y="229"/>
                </a:lnTo>
                <a:lnTo>
                  <a:pt x="186" y="228"/>
                </a:lnTo>
                <a:lnTo>
                  <a:pt x="186" y="225"/>
                </a:lnTo>
                <a:lnTo>
                  <a:pt x="188" y="226"/>
                </a:lnTo>
                <a:lnTo>
                  <a:pt x="189" y="223"/>
                </a:lnTo>
                <a:lnTo>
                  <a:pt x="190" y="218"/>
                </a:lnTo>
                <a:lnTo>
                  <a:pt x="193" y="217"/>
                </a:lnTo>
                <a:lnTo>
                  <a:pt x="196" y="217"/>
                </a:lnTo>
                <a:lnTo>
                  <a:pt x="197" y="217"/>
                </a:lnTo>
                <a:lnTo>
                  <a:pt x="198" y="207"/>
                </a:lnTo>
                <a:lnTo>
                  <a:pt x="200" y="203"/>
                </a:lnTo>
                <a:lnTo>
                  <a:pt x="209" y="187"/>
                </a:lnTo>
                <a:lnTo>
                  <a:pt x="212" y="184"/>
                </a:lnTo>
                <a:lnTo>
                  <a:pt x="214" y="184"/>
                </a:lnTo>
                <a:lnTo>
                  <a:pt x="216" y="181"/>
                </a:lnTo>
                <a:lnTo>
                  <a:pt x="221" y="162"/>
                </a:lnTo>
                <a:lnTo>
                  <a:pt x="221" y="157"/>
                </a:lnTo>
                <a:lnTo>
                  <a:pt x="220" y="152"/>
                </a:lnTo>
                <a:lnTo>
                  <a:pt x="220" y="146"/>
                </a:lnTo>
                <a:lnTo>
                  <a:pt x="221" y="141"/>
                </a:lnTo>
                <a:lnTo>
                  <a:pt x="224" y="137"/>
                </a:lnTo>
                <a:lnTo>
                  <a:pt x="225" y="126"/>
                </a:lnTo>
                <a:lnTo>
                  <a:pt x="226" y="119"/>
                </a:lnTo>
                <a:lnTo>
                  <a:pt x="226" y="116"/>
                </a:lnTo>
                <a:lnTo>
                  <a:pt x="228" y="110"/>
                </a:lnTo>
                <a:lnTo>
                  <a:pt x="229" y="107"/>
                </a:lnTo>
                <a:lnTo>
                  <a:pt x="233" y="107"/>
                </a:lnTo>
                <a:lnTo>
                  <a:pt x="234" y="105"/>
                </a:lnTo>
                <a:lnTo>
                  <a:pt x="236" y="104"/>
                </a:lnTo>
                <a:lnTo>
                  <a:pt x="242" y="101"/>
                </a:lnTo>
                <a:lnTo>
                  <a:pt x="244" y="99"/>
                </a:lnTo>
                <a:lnTo>
                  <a:pt x="248" y="98"/>
                </a:lnTo>
                <a:lnTo>
                  <a:pt x="249" y="93"/>
                </a:lnTo>
                <a:lnTo>
                  <a:pt x="250" y="90"/>
                </a:lnTo>
                <a:lnTo>
                  <a:pt x="249" y="87"/>
                </a:lnTo>
                <a:lnTo>
                  <a:pt x="248" y="87"/>
                </a:lnTo>
                <a:lnTo>
                  <a:pt x="245" y="87"/>
                </a:lnTo>
                <a:lnTo>
                  <a:pt x="244" y="83"/>
                </a:lnTo>
                <a:lnTo>
                  <a:pt x="242" y="82"/>
                </a:lnTo>
                <a:lnTo>
                  <a:pt x="241" y="80"/>
                </a:lnTo>
                <a:lnTo>
                  <a:pt x="237" y="79"/>
                </a:lnTo>
                <a:lnTo>
                  <a:pt x="236" y="77"/>
                </a:lnTo>
                <a:lnTo>
                  <a:pt x="233" y="76"/>
                </a:lnTo>
                <a:lnTo>
                  <a:pt x="232" y="66"/>
                </a:lnTo>
                <a:lnTo>
                  <a:pt x="230" y="58"/>
                </a:lnTo>
                <a:lnTo>
                  <a:pt x="230" y="49"/>
                </a:lnTo>
                <a:lnTo>
                  <a:pt x="230" y="36"/>
                </a:lnTo>
                <a:lnTo>
                  <a:pt x="232" y="36"/>
                </a:lnTo>
                <a:lnTo>
                  <a:pt x="230" y="35"/>
                </a:lnTo>
                <a:lnTo>
                  <a:pt x="226" y="28"/>
                </a:lnTo>
                <a:lnTo>
                  <a:pt x="226" y="25"/>
                </a:lnTo>
                <a:lnTo>
                  <a:pt x="226" y="21"/>
                </a:lnTo>
                <a:lnTo>
                  <a:pt x="222" y="16"/>
                </a:lnTo>
                <a:lnTo>
                  <a:pt x="220" y="14"/>
                </a:lnTo>
                <a:lnTo>
                  <a:pt x="217" y="10"/>
                </a:lnTo>
                <a:lnTo>
                  <a:pt x="214" y="8"/>
                </a:lnTo>
                <a:lnTo>
                  <a:pt x="210" y="6"/>
                </a:lnTo>
                <a:lnTo>
                  <a:pt x="206" y="0"/>
                </a:lnTo>
                <a:lnTo>
                  <a:pt x="201" y="6"/>
                </a:lnTo>
                <a:lnTo>
                  <a:pt x="197" y="5"/>
                </a:lnTo>
                <a:lnTo>
                  <a:pt x="193" y="14"/>
                </a:lnTo>
                <a:lnTo>
                  <a:pt x="185" y="16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79" name="Freeform 1106"/>
          <p:cNvSpPr>
            <a:spLocks/>
          </p:cNvSpPr>
          <p:nvPr/>
        </p:nvSpPr>
        <p:spPr bwMode="auto">
          <a:xfrm>
            <a:off x="6366254" y="3558236"/>
            <a:ext cx="288425" cy="98790"/>
          </a:xfrm>
          <a:custGeom>
            <a:avLst/>
            <a:gdLst/>
            <a:ahLst/>
            <a:cxnLst>
              <a:cxn ang="0">
                <a:pos x="151" y="0"/>
              </a:cxn>
              <a:cxn ang="0">
                <a:pos x="150" y="8"/>
              </a:cxn>
              <a:cxn ang="0">
                <a:pos x="142" y="9"/>
              </a:cxn>
              <a:cxn ang="0">
                <a:pos x="137" y="5"/>
              </a:cxn>
              <a:cxn ang="0">
                <a:pos x="110" y="5"/>
              </a:cxn>
              <a:cxn ang="0">
                <a:pos x="111" y="1"/>
              </a:cxn>
              <a:cxn ang="0">
                <a:pos x="110" y="1"/>
              </a:cxn>
              <a:cxn ang="0">
                <a:pos x="110" y="0"/>
              </a:cxn>
              <a:cxn ang="0">
                <a:pos x="107" y="5"/>
              </a:cxn>
              <a:cxn ang="0">
                <a:pos x="99" y="5"/>
              </a:cxn>
              <a:cxn ang="0">
                <a:pos x="86" y="5"/>
              </a:cxn>
              <a:cxn ang="0">
                <a:pos x="71" y="5"/>
              </a:cxn>
              <a:cxn ang="0">
                <a:pos x="57" y="5"/>
              </a:cxn>
              <a:cxn ang="0">
                <a:pos x="42" y="5"/>
              </a:cxn>
              <a:cxn ang="0">
                <a:pos x="29" y="5"/>
              </a:cxn>
              <a:cxn ang="0">
                <a:pos x="14" y="5"/>
              </a:cxn>
              <a:cxn ang="0">
                <a:pos x="14" y="20"/>
              </a:cxn>
              <a:cxn ang="0">
                <a:pos x="14" y="39"/>
              </a:cxn>
              <a:cxn ang="0">
                <a:pos x="0" y="39"/>
              </a:cxn>
              <a:cxn ang="0">
                <a:pos x="0" y="49"/>
              </a:cxn>
            </a:cxnLst>
            <a:rect l="0" t="0" r="r" b="b"/>
            <a:pathLst>
              <a:path w="151" h="49">
                <a:moveTo>
                  <a:pt x="151" y="0"/>
                </a:moveTo>
                <a:lnTo>
                  <a:pt x="150" y="8"/>
                </a:lnTo>
                <a:lnTo>
                  <a:pt x="142" y="9"/>
                </a:lnTo>
                <a:lnTo>
                  <a:pt x="137" y="5"/>
                </a:lnTo>
                <a:lnTo>
                  <a:pt x="110" y="5"/>
                </a:lnTo>
                <a:lnTo>
                  <a:pt x="111" y="1"/>
                </a:lnTo>
                <a:lnTo>
                  <a:pt x="110" y="1"/>
                </a:lnTo>
                <a:lnTo>
                  <a:pt x="110" y="0"/>
                </a:lnTo>
                <a:lnTo>
                  <a:pt x="107" y="5"/>
                </a:lnTo>
                <a:lnTo>
                  <a:pt x="99" y="5"/>
                </a:lnTo>
                <a:lnTo>
                  <a:pt x="86" y="5"/>
                </a:lnTo>
                <a:lnTo>
                  <a:pt x="71" y="5"/>
                </a:lnTo>
                <a:lnTo>
                  <a:pt x="57" y="5"/>
                </a:lnTo>
                <a:lnTo>
                  <a:pt x="42" y="5"/>
                </a:lnTo>
                <a:lnTo>
                  <a:pt x="29" y="5"/>
                </a:lnTo>
                <a:lnTo>
                  <a:pt x="14" y="5"/>
                </a:lnTo>
                <a:lnTo>
                  <a:pt x="14" y="20"/>
                </a:lnTo>
                <a:lnTo>
                  <a:pt x="14" y="39"/>
                </a:lnTo>
                <a:lnTo>
                  <a:pt x="0" y="39"/>
                </a:lnTo>
                <a:lnTo>
                  <a:pt x="0" y="49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80" name="Freeform 1107"/>
          <p:cNvSpPr>
            <a:spLocks/>
          </p:cNvSpPr>
          <p:nvPr/>
        </p:nvSpPr>
        <p:spPr bwMode="auto">
          <a:xfrm>
            <a:off x="5674425" y="3513135"/>
            <a:ext cx="459920" cy="416637"/>
          </a:xfrm>
          <a:custGeom>
            <a:avLst/>
            <a:gdLst/>
            <a:ahLst/>
            <a:cxnLst>
              <a:cxn ang="0">
                <a:pos x="61" y="117"/>
              </a:cxn>
              <a:cxn ang="0">
                <a:pos x="57" y="135"/>
              </a:cxn>
              <a:cxn ang="0">
                <a:pos x="53" y="142"/>
              </a:cxn>
              <a:cxn ang="0">
                <a:pos x="52" y="146"/>
              </a:cxn>
              <a:cxn ang="0">
                <a:pos x="44" y="146"/>
              </a:cxn>
              <a:cxn ang="0">
                <a:pos x="12" y="153"/>
              </a:cxn>
              <a:cxn ang="0">
                <a:pos x="1" y="157"/>
              </a:cxn>
              <a:cxn ang="0">
                <a:pos x="4" y="164"/>
              </a:cxn>
              <a:cxn ang="0">
                <a:pos x="4" y="170"/>
              </a:cxn>
              <a:cxn ang="0">
                <a:pos x="15" y="182"/>
              </a:cxn>
              <a:cxn ang="0">
                <a:pos x="20" y="193"/>
              </a:cxn>
              <a:cxn ang="0">
                <a:pos x="27" y="195"/>
              </a:cxn>
              <a:cxn ang="0">
                <a:pos x="31" y="193"/>
              </a:cxn>
              <a:cxn ang="0">
                <a:pos x="32" y="198"/>
              </a:cxn>
              <a:cxn ang="0">
                <a:pos x="31" y="201"/>
              </a:cxn>
              <a:cxn ang="0">
                <a:pos x="37" y="206"/>
              </a:cxn>
              <a:cxn ang="0">
                <a:pos x="39" y="200"/>
              </a:cxn>
              <a:cxn ang="0">
                <a:pos x="43" y="200"/>
              </a:cxn>
              <a:cxn ang="0">
                <a:pos x="51" y="208"/>
              </a:cxn>
              <a:cxn ang="0">
                <a:pos x="53" y="200"/>
              </a:cxn>
              <a:cxn ang="0">
                <a:pos x="54" y="195"/>
              </a:cxn>
              <a:cxn ang="0">
                <a:pos x="60" y="187"/>
              </a:cxn>
              <a:cxn ang="0">
                <a:pos x="72" y="175"/>
              </a:cxn>
              <a:cxn ang="0">
                <a:pos x="80" y="173"/>
              </a:cxn>
              <a:cxn ang="0">
                <a:pos x="101" y="187"/>
              </a:cxn>
              <a:cxn ang="0">
                <a:pos x="106" y="189"/>
              </a:cxn>
              <a:cxn ang="0">
                <a:pos x="116" y="182"/>
              </a:cxn>
              <a:cxn ang="0">
                <a:pos x="130" y="190"/>
              </a:cxn>
              <a:cxn ang="0">
                <a:pos x="142" y="192"/>
              </a:cxn>
              <a:cxn ang="0">
                <a:pos x="154" y="182"/>
              </a:cxn>
              <a:cxn ang="0">
                <a:pos x="169" y="181"/>
              </a:cxn>
              <a:cxn ang="0">
                <a:pos x="178" y="182"/>
              </a:cxn>
              <a:cxn ang="0">
                <a:pos x="185" y="184"/>
              </a:cxn>
              <a:cxn ang="0">
                <a:pos x="190" y="179"/>
              </a:cxn>
              <a:cxn ang="0">
                <a:pos x="195" y="178"/>
              </a:cxn>
              <a:cxn ang="0">
                <a:pos x="197" y="171"/>
              </a:cxn>
              <a:cxn ang="0">
                <a:pos x="197" y="167"/>
              </a:cxn>
              <a:cxn ang="0">
                <a:pos x="201" y="164"/>
              </a:cxn>
              <a:cxn ang="0">
                <a:pos x="203" y="159"/>
              </a:cxn>
              <a:cxn ang="0">
                <a:pos x="205" y="151"/>
              </a:cxn>
              <a:cxn ang="0">
                <a:pos x="233" y="88"/>
              </a:cxn>
              <a:cxn ang="0">
                <a:pos x="234" y="52"/>
              </a:cxn>
              <a:cxn ang="0">
                <a:pos x="229" y="46"/>
              </a:cxn>
              <a:cxn ang="0">
                <a:pos x="227" y="40"/>
              </a:cxn>
              <a:cxn ang="0">
                <a:pos x="225" y="10"/>
              </a:cxn>
              <a:cxn ang="0">
                <a:pos x="218" y="7"/>
              </a:cxn>
              <a:cxn ang="0">
                <a:pos x="211" y="2"/>
              </a:cxn>
              <a:cxn ang="0">
                <a:pos x="186" y="2"/>
              </a:cxn>
              <a:cxn ang="0">
                <a:pos x="175" y="2"/>
              </a:cxn>
              <a:cxn ang="0">
                <a:pos x="145" y="25"/>
              </a:cxn>
              <a:cxn ang="0">
                <a:pos x="109" y="54"/>
              </a:cxn>
              <a:cxn ang="0">
                <a:pos x="81" y="73"/>
              </a:cxn>
              <a:cxn ang="0">
                <a:pos x="61" y="84"/>
              </a:cxn>
            </a:cxnLst>
            <a:rect l="0" t="0" r="r" b="b"/>
            <a:pathLst>
              <a:path w="241" h="211">
                <a:moveTo>
                  <a:pt x="61" y="84"/>
                </a:moveTo>
                <a:lnTo>
                  <a:pt x="61" y="99"/>
                </a:lnTo>
                <a:lnTo>
                  <a:pt x="61" y="117"/>
                </a:lnTo>
                <a:lnTo>
                  <a:pt x="61" y="134"/>
                </a:lnTo>
                <a:lnTo>
                  <a:pt x="60" y="134"/>
                </a:lnTo>
                <a:lnTo>
                  <a:pt x="57" y="135"/>
                </a:lnTo>
                <a:lnTo>
                  <a:pt x="57" y="138"/>
                </a:lnTo>
                <a:lnTo>
                  <a:pt x="56" y="140"/>
                </a:lnTo>
                <a:lnTo>
                  <a:pt x="53" y="142"/>
                </a:lnTo>
                <a:lnTo>
                  <a:pt x="52" y="143"/>
                </a:lnTo>
                <a:lnTo>
                  <a:pt x="52" y="145"/>
                </a:lnTo>
                <a:lnTo>
                  <a:pt x="52" y="146"/>
                </a:lnTo>
                <a:lnTo>
                  <a:pt x="48" y="145"/>
                </a:lnTo>
                <a:lnTo>
                  <a:pt x="44" y="145"/>
                </a:lnTo>
                <a:lnTo>
                  <a:pt x="44" y="146"/>
                </a:lnTo>
                <a:lnTo>
                  <a:pt x="43" y="146"/>
                </a:lnTo>
                <a:lnTo>
                  <a:pt x="19" y="146"/>
                </a:lnTo>
                <a:lnTo>
                  <a:pt x="12" y="153"/>
                </a:lnTo>
                <a:lnTo>
                  <a:pt x="1" y="153"/>
                </a:lnTo>
                <a:lnTo>
                  <a:pt x="1" y="154"/>
                </a:lnTo>
                <a:lnTo>
                  <a:pt x="1" y="157"/>
                </a:lnTo>
                <a:lnTo>
                  <a:pt x="0" y="160"/>
                </a:lnTo>
                <a:lnTo>
                  <a:pt x="1" y="162"/>
                </a:lnTo>
                <a:lnTo>
                  <a:pt x="4" y="164"/>
                </a:lnTo>
                <a:lnTo>
                  <a:pt x="4" y="165"/>
                </a:lnTo>
                <a:lnTo>
                  <a:pt x="4" y="168"/>
                </a:lnTo>
                <a:lnTo>
                  <a:pt x="4" y="170"/>
                </a:lnTo>
                <a:lnTo>
                  <a:pt x="8" y="175"/>
                </a:lnTo>
                <a:lnTo>
                  <a:pt x="12" y="179"/>
                </a:lnTo>
                <a:lnTo>
                  <a:pt x="15" y="182"/>
                </a:lnTo>
                <a:lnTo>
                  <a:pt x="16" y="187"/>
                </a:lnTo>
                <a:lnTo>
                  <a:pt x="17" y="189"/>
                </a:lnTo>
                <a:lnTo>
                  <a:pt x="20" y="193"/>
                </a:lnTo>
                <a:lnTo>
                  <a:pt x="21" y="193"/>
                </a:lnTo>
                <a:lnTo>
                  <a:pt x="25" y="195"/>
                </a:lnTo>
                <a:lnTo>
                  <a:pt x="27" y="195"/>
                </a:lnTo>
                <a:lnTo>
                  <a:pt x="28" y="193"/>
                </a:lnTo>
                <a:lnTo>
                  <a:pt x="29" y="193"/>
                </a:lnTo>
                <a:lnTo>
                  <a:pt x="31" y="193"/>
                </a:lnTo>
                <a:lnTo>
                  <a:pt x="33" y="197"/>
                </a:lnTo>
                <a:lnTo>
                  <a:pt x="33" y="198"/>
                </a:lnTo>
                <a:lnTo>
                  <a:pt x="32" y="198"/>
                </a:lnTo>
                <a:lnTo>
                  <a:pt x="31" y="198"/>
                </a:lnTo>
                <a:lnTo>
                  <a:pt x="31" y="200"/>
                </a:lnTo>
                <a:lnTo>
                  <a:pt x="31" y="201"/>
                </a:lnTo>
                <a:lnTo>
                  <a:pt x="32" y="203"/>
                </a:lnTo>
                <a:lnTo>
                  <a:pt x="36" y="208"/>
                </a:lnTo>
                <a:lnTo>
                  <a:pt x="37" y="206"/>
                </a:lnTo>
                <a:lnTo>
                  <a:pt x="36" y="203"/>
                </a:lnTo>
                <a:lnTo>
                  <a:pt x="36" y="201"/>
                </a:lnTo>
                <a:lnTo>
                  <a:pt x="39" y="200"/>
                </a:lnTo>
                <a:lnTo>
                  <a:pt x="40" y="200"/>
                </a:lnTo>
                <a:lnTo>
                  <a:pt x="43" y="198"/>
                </a:lnTo>
                <a:lnTo>
                  <a:pt x="43" y="200"/>
                </a:lnTo>
                <a:lnTo>
                  <a:pt x="45" y="203"/>
                </a:lnTo>
                <a:lnTo>
                  <a:pt x="49" y="208"/>
                </a:lnTo>
                <a:lnTo>
                  <a:pt x="51" y="208"/>
                </a:lnTo>
                <a:lnTo>
                  <a:pt x="53" y="211"/>
                </a:lnTo>
                <a:lnTo>
                  <a:pt x="53" y="209"/>
                </a:lnTo>
                <a:lnTo>
                  <a:pt x="53" y="200"/>
                </a:lnTo>
                <a:lnTo>
                  <a:pt x="53" y="198"/>
                </a:lnTo>
                <a:lnTo>
                  <a:pt x="54" y="197"/>
                </a:lnTo>
                <a:lnTo>
                  <a:pt x="54" y="195"/>
                </a:lnTo>
                <a:lnTo>
                  <a:pt x="57" y="193"/>
                </a:lnTo>
                <a:lnTo>
                  <a:pt x="58" y="192"/>
                </a:lnTo>
                <a:lnTo>
                  <a:pt x="60" y="187"/>
                </a:lnTo>
                <a:lnTo>
                  <a:pt x="61" y="181"/>
                </a:lnTo>
                <a:lnTo>
                  <a:pt x="66" y="176"/>
                </a:lnTo>
                <a:lnTo>
                  <a:pt x="72" y="175"/>
                </a:lnTo>
                <a:lnTo>
                  <a:pt x="76" y="175"/>
                </a:lnTo>
                <a:lnTo>
                  <a:pt x="78" y="175"/>
                </a:lnTo>
                <a:lnTo>
                  <a:pt x="80" y="173"/>
                </a:lnTo>
                <a:lnTo>
                  <a:pt x="84" y="173"/>
                </a:lnTo>
                <a:lnTo>
                  <a:pt x="94" y="179"/>
                </a:lnTo>
                <a:lnTo>
                  <a:pt x="101" y="187"/>
                </a:lnTo>
                <a:lnTo>
                  <a:pt x="102" y="189"/>
                </a:lnTo>
                <a:lnTo>
                  <a:pt x="104" y="189"/>
                </a:lnTo>
                <a:lnTo>
                  <a:pt x="106" y="189"/>
                </a:lnTo>
                <a:lnTo>
                  <a:pt x="108" y="186"/>
                </a:lnTo>
                <a:lnTo>
                  <a:pt x="113" y="182"/>
                </a:lnTo>
                <a:lnTo>
                  <a:pt x="116" y="182"/>
                </a:lnTo>
                <a:lnTo>
                  <a:pt x="118" y="182"/>
                </a:lnTo>
                <a:lnTo>
                  <a:pt x="124" y="186"/>
                </a:lnTo>
                <a:lnTo>
                  <a:pt x="130" y="190"/>
                </a:lnTo>
                <a:lnTo>
                  <a:pt x="133" y="190"/>
                </a:lnTo>
                <a:lnTo>
                  <a:pt x="140" y="192"/>
                </a:lnTo>
                <a:lnTo>
                  <a:pt x="142" y="192"/>
                </a:lnTo>
                <a:lnTo>
                  <a:pt x="148" y="189"/>
                </a:lnTo>
                <a:lnTo>
                  <a:pt x="152" y="184"/>
                </a:lnTo>
                <a:lnTo>
                  <a:pt x="154" y="182"/>
                </a:lnTo>
                <a:lnTo>
                  <a:pt x="161" y="182"/>
                </a:lnTo>
                <a:lnTo>
                  <a:pt x="166" y="182"/>
                </a:lnTo>
                <a:lnTo>
                  <a:pt x="169" y="181"/>
                </a:lnTo>
                <a:lnTo>
                  <a:pt x="174" y="181"/>
                </a:lnTo>
                <a:lnTo>
                  <a:pt x="175" y="181"/>
                </a:lnTo>
                <a:lnTo>
                  <a:pt x="178" y="182"/>
                </a:lnTo>
                <a:lnTo>
                  <a:pt x="181" y="184"/>
                </a:lnTo>
                <a:lnTo>
                  <a:pt x="182" y="186"/>
                </a:lnTo>
                <a:lnTo>
                  <a:pt x="185" y="184"/>
                </a:lnTo>
                <a:lnTo>
                  <a:pt x="186" y="184"/>
                </a:lnTo>
                <a:lnTo>
                  <a:pt x="189" y="181"/>
                </a:lnTo>
                <a:lnTo>
                  <a:pt x="190" y="179"/>
                </a:lnTo>
                <a:lnTo>
                  <a:pt x="191" y="179"/>
                </a:lnTo>
                <a:lnTo>
                  <a:pt x="193" y="178"/>
                </a:lnTo>
                <a:lnTo>
                  <a:pt x="195" y="178"/>
                </a:lnTo>
                <a:lnTo>
                  <a:pt x="197" y="175"/>
                </a:lnTo>
                <a:lnTo>
                  <a:pt x="198" y="173"/>
                </a:lnTo>
                <a:lnTo>
                  <a:pt x="197" y="171"/>
                </a:lnTo>
                <a:lnTo>
                  <a:pt x="195" y="170"/>
                </a:lnTo>
                <a:lnTo>
                  <a:pt x="195" y="168"/>
                </a:lnTo>
                <a:lnTo>
                  <a:pt x="197" y="167"/>
                </a:lnTo>
                <a:lnTo>
                  <a:pt x="198" y="165"/>
                </a:lnTo>
                <a:lnTo>
                  <a:pt x="199" y="165"/>
                </a:lnTo>
                <a:lnTo>
                  <a:pt x="201" y="164"/>
                </a:lnTo>
                <a:lnTo>
                  <a:pt x="201" y="160"/>
                </a:lnTo>
                <a:lnTo>
                  <a:pt x="202" y="159"/>
                </a:lnTo>
                <a:lnTo>
                  <a:pt x="203" y="159"/>
                </a:lnTo>
                <a:lnTo>
                  <a:pt x="203" y="156"/>
                </a:lnTo>
                <a:lnTo>
                  <a:pt x="205" y="154"/>
                </a:lnTo>
                <a:lnTo>
                  <a:pt x="205" y="151"/>
                </a:lnTo>
                <a:lnTo>
                  <a:pt x="230" y="120"/>
                </a:lnTo>
                <a:lnTo>
                  <a:pt x="230" y="118"/>
                </a:lnTo>
                <a:lnTo>
                  <a:pt x="233" y="88"/>
                </a:lnTo>
                <a:lnTo>
                  <a:pt x="237" y="63"/>
                </a:lnTo>
                <a:lnTo>
                  <a:pt x="241" y="55"/>
                </a:lnTo>
                <a:lnTo>
                  <a:pt x="234" y="52"/>
                </a:lnTo>
                <a:lnTo>
                  <a:pt x="231" y="51"/>
                </a:lnTo>
                <a:lnTo>
                  <a:pt x="230" y="49"/>
                </a:lnTo>
                <a:lnTo>
                  <a:pt x="229" y="46"/>
                </a:lnTo>
                <a:lnTo>
                  <a:pt x="229" y="43"/>
                </a:lnTo>
                <a:lnTo>
                  <a:pt x="227" y="41"/>
                </a:lnTo>
                <a:lnTo>
                  <a:pt x="227" y="40"/>
                </a:lnTo>
                <a:lnTo>
                  <a:pt x="226" y="38"/>
                </a:lnTo>
                <a:lnTo>
                  <a:pt x="225" y="35"/>
                </a:lnTo>
                <a:lnTo>
                  <a:pt x="225" y="10"/>
                </a:lnTo>
                <a:lnTo>
                  <a:pt x="221" y="11"/>
                </a:lnTo>
                <a:lnTo>
                  <a:pt x="219" y="8"/>
                </a:lnTo>
                <a:lnTo>
                  <a:pt x="218" y="7"/>
                </a:lnTo>
                <a:lnTo>
                  <a:pt x="214" y="5"/>
                </a:lnTo>
                <a:lnTo>
                  <a:pt x="213" y="3"/>
                </a:lnTo>
                <a:lnTo>
                  <a:pt x="211" y="2"/>
                </a:lnTo>
                <a:lnTo>
                  <a:pt x="209" y="2"/>
                </a:lnTo>
                <a:lnTo>
                  <a:pt x="198" y="0"/>
                </a:lnTo>
                <a:lnTo>
                  <a:pt x="186" y="2"/>
                </a:lnTo>
                <a:lnTo>
                  <a:pt x="178" y="0"/>
                </a:lnTo>
                <a:lnTo>
                  <a:pt x="177" y="0"/>
                </a:lnTo>
                <a:lnTo>
                  <a:pt x="175" y="2"/>
                </a:lnTo>
                <a:lnTo>
                  <a:pt x="169" y="7"/>
                </a:lnTo>
                <a:lnTo>
                  <a:pt x="157" y="16"/>
                </a:lnTo>
                <a:lnTo>
                  <a:pt x="145" y="25"/>
                </a:lnTo>
                <a:lnTo>
                  <a:pt x="133" y="35"/>
                </a:lnTo>
                <a:lnTo>
                  <a:pt x="121" y="44"/>
                </a:lnTo>
                <a:lnTo>
                  <a:pt x="109" y="54"/>
                </a:lnTo>
                <a:lnTo>
                  <a:pt x="97" y="63"/>
                </a:lnTo>
                <a:lnTo>
                  <a:pt x="85" y="73"/>
                </a:lnTo>
                <a:lnTo>
                  <a:pt x="81" y="73"/>
                </a:lnTo>
                <a:lnTo>
                  <a:pt x="64" y="79"/>
                </a:lnTo>
                <a:lnTo>
                  <a:pt x="61" y="79"/>
                </a:lnTo>
                <a:lnTo>
                  <a:pt x="61" y="8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81" name="Freeform 1108"/>
          <p:cNvSpPr>
            <a:spLocks/>
          </p:cNvSpPr>
          <p:nvPr/>
        </p:nvSpPr>
        <p:spPr bwMode="auto">
          <a:xfrm>
            <a:off x="5674425" y="3513135"/>
            <a:ext cx="459920" cy="416637"/>
          </a:xfrm>
          <a:custGeom>
            <a:avLst/>
            <a:gdLst/>
            <a:ahLst/>
            <a:cxnLst>
              <a:cxn ang="0">
                <a:pos x="61" y="117"/>
              </a:cxn>
              <a:cxn ang="0">
                <a:pos x="57" y="135"/>
              </a:cxn>
              <a:cxn ang="0">
                <a:pos x="53" y="142"/>
              </a:cxn>
              <a:cxn ang="0">
                <a:pos x="52" y="146"/>
              </a:cxn>
              <a:cxn ang="0">
                <a:pos x="44" y="146"/>
              </a:cxn>
              <a:cxn ang="0">
                <a:pos x="12" y="153"/>
              </a:cxn>
              <a:cxn ang="0">
                <a:pos x="1" y="157"/>
              </a:cxn>
              <a:cxn ang="0">
                <a:pos x="4" y="164"/>
              </a:cxn>
              <a:cxn ang="0">
                <a:pos x="4" y="170"/>
              </a:cxn>
              <a:cxn ang="0">
                <a:pos x="15" y="182"/>
              </a:cxn>
              <a:cxn ang="0">
                <a:pos x="20" y="193"/>
              </a:cxn>
              <a:cxn ang="0">
                <a:pos x="27" y="195"/>
              </a:cxn>
              <a:cxn ang="0">
                <a:pos x="31" y="193"/>
              </a:cxn>
              <a:cxn ang="0">
                <a:pos x="32" y="198"/>
              </a:cxn>
              <a:cxn ang="0">
                <a:pos x="31" y="201"/>
              </a:cxn>
              <a:cxn ang="0">
                <a:pos x="37" y="206"/>
              </a:cxn>
              <a:cxn ang="0">
                <a:pos x="39" y="200"/>
              </a:cxn>
              <a:cxn ang="0">
                <a:pos x="43" y="200"/>
              </a:cxn>
              <a:cxn ang="0">
                <a:pos x="51" y="208"/>
              </a:cxn>
              <a:cxn ang="0">
                <a:pos x="53" y="200"/>
              </a:cxn>
              <a:cxn ang="0">
                <a:pos x="54" y="195"/>
              </a:cxn>
              <a:cxn ang="0">
                <a:pos x="60" y="187"/>
              </a:cxn>
              <a:cxn ang="0">
                <a:pos x="72" y="175"/>
              </a:cxn>
              <a:cxn ang="0">
                <a:pos x="80" y="173"/>
              </a:cxn>
              <a:cxn ang="0">
                <a:pos x="101" y="187"/>
              </a:cxn>
              <a:cxn ang="0">
                <a:pos x="106" y="189"/>
              </a:cxn>
              <a:cxn ang="0">
                <a:pos x="116" y="182"/>
              </a:cxn>
              <a:cxn ang="0">
                <a:pos x="130" y="190"/>
              </a:cxn>
              <a:cxn ang="0">
                <a:pos x="142" y="192"/>
              </a:cxn>
              <a:cxn ang="0">
                <a:pos x="154" y="182"/>
              </a:cxn>
              <a:cxn ang="0">
                <a:pos x="169" y="181"/>
              </a:cxn>
              <a:cxn ang="0">
                <a:pos x="178" y="182"/>
              </a:cxn>
              <a:cxn ang="0">
                <a:pos x="185" y="184"/>
              </a:cxn>
              <a:cxn ang="0">
                <a:pos x="190" y="179"/>
              </a:cxn>
              <a:cxn ang="0">
                <a:pos x="195" y="178"/>
              </a:cxn>
              <a:cxn ang="0">
                <a:pos x="197" y="171"/>
              </a:cxn>
              <a:cxn ang="0">
                <a:pos x="197" y="167"/>
              </a:cxn>
              <a:cxn ang="0">
                <a:pos x="201" y="164"/>
              </a:cxn>
              <a:cxn ang="0">
                <a:pos x="203" y="159"/>
              </a:cxn>
              <a:cxn ang="0">
                <a:pos x="205" y="151"/>
              </a:cxn>
              <a:cxn ang="0">
                <a:pos x="233" y="88"/>
              </a:cxn>
              <a:cxn ang="0">
                <a:pos x="234" y="52"/>
              </a:cxn>
              <a:cxn ang="0">
                <a:pos x="229" y="46"/>
              </a:cxn>
              <a:cxn ang="0">
                <a:pos x="227" y="40"/>
              </a:cxn>
              <a:cxn ang="0">
                <a:pos x="225" y="10"/>
              </a:cxn>
              <a:cxn ang="0">
                <a:pos x="218" y="7"/>
              </a:cxn>
              <a:cxn ang="0">
                <a:pos x="211" y="2"/>
              </a:cxn>
              <a:cxn ang="0">
                <a:pos x="186" y="2"/>
              </a:cxn>
              <a:cxn ang="0">
                <a:pos x="175" y="2"/>
              </a:cxn>
              <a:cxn ang="0">
                <a:pos x="145" y="25"/>
              </a:cxn>
              <a:cxn ang="0">
                <a:pos x="109" y="54"/>
              </a:cxn>
              <a:cxn ang="0">
                <a:pos x="81" y="73"/>
              </a:cxn>
              <a:cxn ang="0">
                <a:pos x="61" y="84"/>
              </a:cxn>
            </a:cxnLst>
            <a:rect l="0" t="0" r="r" b="b"/>
            <a:pathLst>
              <a:path w="241" h="211">
                <a:moveTo>
                  <a:pt x="61" y="84"/>
                </a:moveTo>
                <a:lnTo>
                  <a:pt x="61" y="99"/>
                </a:lnTo>
                <a:lnTo>
                  <a:pt x="61" y="117"/>
                </a:lnTo>
                <a:lnTo>
                  <a:pt x="61" y="134"/>
                </a:lnTo>
                <a:lnTo>
                  <a:pt x="60" y="134"/>
                </a:lnTo>
                <a:lnTo>
                  <a:pt x="57" y="135"/>
                </a:lnTo>
                <a:lnTo>
                  <a:pt x="57" y="138"/>
                </a:lnTo>
                <a:lnTo>
                  <a:pt x="56" y="140"/>
                </a:lnTo>
                <a:lnTo>
                  <a:pt x="53" y="142"/>
                </a:lnTo>
                <a:lnTo>
                  <a:pt x="52" y="143"/>
                </a:lnTo>
                <a:lnTo>
                  <a:pt x="52" y="145"/>
                </a:lnTo>
                <a:lnTo>
                  <a:pt x="52" y="146"/>
                </a:lnTo>
                <a:lnTo>
                  <a:pt x="48" y="145"/>
                </a:lnTo>
                <a:lnTo>
                  <a:pt x="44" y="145"/>
                </a:lnTo>
                <a:lnTo>
                  <a:pt x="44" y="146"/>
                </a:lnTo>
                <a:lnTo>
                  <a:pt x="43" y="146"/>
                </a:lnTo>
                <a:lnTo>
                  <a:pt x="19" y="146"/>
                </a:lnTo>
                <a:lnTo>
                  <a:pt x="12" y="153"/>
                </a:lnTo>
                <a:lnTo>
                  <a:pt x="1" y="153"/>
                </a:lnTo>
                <a:lnTo>
                  <a:pt x="1" y="154"/>
                </a:lnTo>
                <a:lnTo>
                  <a:pt x="1" y="157"/>
                </a:lnTo>
                <a:lnTo>
                  <a:pt x="0" y="160"/>
                </a:lnTo>
                <a:lnTo>
                  <a:pt x="1" y="162"/>
                </a:lnTo>
                <a:lnTo>
                  <a:pt x="4" y="164"/>
                </a:lnTo>
                <a:lnTo>
                  <a:pt x="4" y="165"/>
                </a:lnTo>
                <a:lnTo>
                  <a:pt x="4" y="168"/>
                </a:lnTo>
                <a:lnTo>
                  <a:pt x="4" y="170"/>
                </a:lnTo>
                <a:lnTo>
                  <a:pt x="8" y="175"/>
                </a:lnTo>
                <a:lnTo>
                  <a:pt x="12" y="179"/>
                </a:lnTo>
                <a:lnTo>
                  <a:pt x="15" y="182"/>
                </a:lnTo>
                <a:lnTo>
                  <a:pt x="16" y="187"/>
                </a:lnTo>
                <a:lnTo>
                  <a:pt x="17" y="189"/>
                </a:lnTo>
                <a:lnTo>
                  <a:pt x="20" y="193"/>
                </a:lnTo>
                <a:lnTo>
                  <a:pt x="21" y="193"/>
                </a:lnTo>
                <a:lnTo>
                  <a:pt x="25" y="195"/>
                </a:lnTo>
                <a:lnTo>
                  <a:pt x="27" y="195"/>
                </a:lnTo>
                <a:lnTo>
                  <a:pt x="28" y="193"/>
                </a:lnTo>
                <a:lnTo>
                  <a:pt x="29" y="193"/>
                </a:lnTo>
                <a:lnTo>
                  <a:pt x="31" y="193"/>
                </a:lnTo>
                <a:lnTo>
                  <a:pt x="33" y="197"/>
                </a:lnTo>
                <a:lnTo>
                  <a:pt x="33" y="198"/>
                </a:lnTo>
                <a:lnTo>
                  <a:pt x="32" y="198"/>
                </a:lnTo>
                <a:lnTo>
                  <a:pt x="31" y="198"/>
                </a:lnTo>
                <a:lnTo>
                  <a:pt x="31" y="200"/>
                </a:lnTo>
                <a:lnTo>
                  <a:pt x="31" y="201"/>
                </a:lnTo>
                <a:lnTo>
                  <a:pt x="32" y="203"/>
                </a:lnTo>
                <a:lnTo>
                  <a:pt x="36" y="208"/>
                </a:lnTo>
                <a:lnTo>
                  <a:pt x="37" y="206"/>
                </a:lnTo>
                <a:lnTo>
                  <a:pt x="36" y="203"/>
                </a:lnTo>
                <a:lnTo>
                  <a:pt x="36" y="201"/>
                </a:lnTo>
                <a:lnTo>
                  <a:pt x="39" y="200"/>
                </a:lnTo>
                <a:lnTo>
                  <a:pt x="40" y="200"/>
                </a:lnTo>
                <a:lnTo>
                  <a:pt x="43" y="198"/>
                </a:lnTo>
                <a:lnTo>
                  <a:pt x="43" y="200"/>
                </a:lnTo>
                <a:lnTo>
                  <a:pt x="45" y="203"/>
                </a:lnTo>
                <a:lnTo>
                  <a:pt x="49" y="208"/>
                </a:lnTo>
                <a:lnTo>
                  <a:pt x="51" y="208"/>
                </a:lnTo>
                <a:lnTo>
                  <a:pt x="53" y="211"/>
                </a:lnTo>
                <a:lnTo>
                  <a:pt x="53" y="209"/>
                </a:lnTo>
                <a:lnTo>
                  <a:pt x="53" y="200"/>
                </a:lnTo>
                <a:lnTo>
                  <a:pt x="53" y="198"/>
                </a:lnTo>
                <a:lnTo>
                  <a:pt x="54" y="197"/>
                </a:lnTo>
                <a:lnTo>
                  <a:pt x="54" y="195"/>
                </a:lnTo>
                <a:lnTo>
                  <a:pt x="57" y="193"/>
                </a:lnTo>
                <a:lnTo>
                  <a:pt x="58" y="192"/>
                </a:lnTo>
                <a:lnTo>
                  <a:pt x="60" y="187"/>
                </a:lnTo>
                <a:lnTo>
                  <a:pt x="61" y="181"/>
                </a:lnTo>
                <a:lnTo>
                  <a:pt x="66" y="176"/>
                </a:lnTo>
                <a:lnTo>
                  <a:pt x="72" y="175"/>
                </a:lnTo>
                <a:lnTo>
                  <a:pt x="76" y="175"/>
                </a:lnTo>
                <a:lnTo>
                  <a:pt x="78" y="175"/>
                </a:lnTo>
                <a:lnTo>
                  <a:pt x="80" y="173"/>
                </a:lnTo>
                <a:lnTo>
                  <a:pt x="84" y="173"/>
                </a:lnTo>
                <a:lnTo>
                  <a:pt x="94" y="179"/>
                </a:lnTo>
                <a:lnTo>
                  <a:pt x="101" y="187"/>
                </a:lnTo>
                <a:lnTo>
                  <a:pt x="102" y="189"/>
                </a:lnTo>
                <a:lnTo>
                  <a:pt x="104" y="189"/>
                </a:lnTo>
                <a:lnTo>
                  <a:pt x="106" y="189"/>
                </a:lnTo>
                <a:lnTo>
                  <a:pt x="108" y="186"/>
                </a:lnTo>
                <a:lnTo>
                  <a:pt x="113" y="182"/>
                </a:lnTo>
                <a:lnTo>
                  <a:pt x="116" y="182"/>
                </a:lnTo>
                <a:lnTo>
                  <a:pt x="118" y="182"/>
                </a:lnTo>
                <a:lnTo>
                  <a:pt x="124" y="186"/>
                </a:lnTo>
                <a:lnTo>
                  <a:pt x="130" y="190"/>
                </a:lnTo>
                <a:lnTo>
                  <a:pt x="133" y="190"/>
                </a:lnTo>
                <a:lnTo>
                  <a:pt x="140" y="192"/>
                </a:lnTo>
                <a:lnTo>
                  <a:pt x="142" y="192"/>
                </a:lnTo>
                <a:lnTo>
                  <a:pt x="148" y="189"/>
                </a:lnTo>
                <a:lnTo>
                  <a:pt x="152" y="184"/>
                </a:lnTo>
                <a:lnTo>
                  <a:pt x="154" y="182"/>
                </a:lnTo>
                <a:lnTo>
                  <a:pt x="161" y="182"/>
                </a:lnTo>
                <a:lnTo>
                  <a:pt x="166" y="182"/>
                </a:lnTo>
                <a:lnTo>
                  <a:pt x="169" y="181"/>
                </a:lnTo>
                <a:lnTo>
                  <a:pt x="174" y="181"/>
                </a:lnTo>
                <a:lnTo>
                  <a:pt x="175" y="181"/>
                </a:lnTo>
                <a:lnTo>
                  <a:pt x="178" y="182"/>
                </a:lnTo>
                <a:lnTo>
                  <a:pt x="181" y="184"/>
                </a:lnTo>
                <a:lnTo>
                  <a:pt x="182" y="186"/>
                </a:lnTo>
                <a:lnTo>
                  <a:pt x="185" y="184"/>
                </a:lnTo>
                <a:lnTo>
                  <a:pt x="186" y="184"/>
                </a:lnTo>
                <a:lnTo>
                  <a:pt x="189" y="181"/>
                </a:lnTo>
                <a:lnTo>
                  <a:pt x="190" y="179"/>
                </a:lnTo>
                <a:lnTo>
                  <a:pt x="191" y="179"/>
                </a:lnTo>
                <a:lnTo>
                  <a:pt x="193" y="178"/>
                </a:lnTo>
                <a:lnTo>
                  <a:pt x="195" y="178"/>
                </a:lnTo>
                <a:lnTo>
                  <a:pt x="197" y="175"/>
                </a:lnTo>
                <a:lnTo>
                  <a:pt x="198" y="173"/>
                </a:lnTo>
                <a:lnTo>
                  <a:pt x="197" y="171"/>
                </a:lnTo>
                <a:lnTo>
                  <a:pt x="195" y="170"/>
                </a:lnTo>
                <a:lnTo>
                  <a:pt x="195" y="168"/>
                </a:lnTo>
                <a:lnTo>
                  <a:pt x="197" y="167"/>
                </a:lnTo>
                <a:lnTo>
                  <a:pt x="198" y="165"/>
                </a:lnTo>
                <a:lnTo>
                  <a:pt x="199" y="165"/>
                </a:lnTo>
                <a:lnTo>
                  <a:pt x="201" y="164"/>
                </a:lnTo>
                <a:lnTo>
                  <a:pt x="201" y="160"/>
                </a:lnTo>
                <a:lnTo>
                  <a:pt x="202" y="159"/>
                </a:lnTo>
                <a:lnTo>
                  <a:pt x="203" y="159"/>
                </a:lnTo>
                <a:lnTo>
                  <a:pt x="203" y="156"/>
                </a:lnTo>
                <a:lnTo>
                  <a:pt x="205" y="154"/>
                </a:lnTo>
                <a:lnTo>
                  <a:pt x="205" y="151"/>
                </a:lnTo>
                <a:lnTo>
                  <a:pt x="230" y="120"/>
                </a:lnTo>
                <a:lnTo>
                  <a:pt x="230" y="118"/>
                </a:lnTo>
                <a:lnTo>
                  <a:pt x="233" y="88"/>
                </a:lnTo>
                <a:lnTo>
                  <a:pt x="237" y="63"/>
                </a:lnTo>
                <a:lnTo>
                  <a:pt x="241" y="55"/>
                </a:lnTo>
                <a:lnTo>
                  <a:pt x="234" y="52"/>
                </a:lnTo>
                <a:lnTo>
                  <a:pt x="231" y="51"/>
                </a:lnTo>
                <a:lnTo>
                  <a:pt x="230" y="49"/>
                </a:lnTo>
                <a:lnTo>
                  <a:pt x="229" y="46"/>
                </a:lnTo>
                <a:lnTo>
                  <a:pt x="229" y="43"/>
                </a:lnTo>
                <a:lnTo>
                  <a:pt x="227" y="41"/>
                </a:lnTo>
                <a:lnTo>
                  <a:pt x="227" y="40"/>
                </a:lnTo>
                <a:lnTo>
                  <a:pt x="226" y="38"/>
                </a:lnTo>
                <a:lnTo>
                  <a:pt x="225" y="35"/>
                </a:lnTo>
                <a:lnTo>
                  <a:pt x="225" y="10"/>
                </a:lnTo>
                <a:lnTo>
                  <a:pt x="221" y="11"/>
                </a:lnTo>
                <a:lnTo>
                  <a:pt x="219" y="8"/>
                </a:lnTo>
                <a:lnTo>
                  <a:pt x="218" y="7"/>
                </a:lnTo>
                <a:lnTo>
                  <a:pt x="214" y="5"/>
                </a:lnTo>
                <a:lnTo>
                  <a:pt x="213" y="3"/>
                </a:lnTo>
                <a:lnTo>
                  <a:pt x="211" y="2"/>
                </a:lnTo>
                <a:lnTo>
                  <a:pt x="209" y="2"/>
                </a:lnTo>
                <a:lnTo>
                  <a:pt x="198" y="0"/>
                </a:lnTo>
                <a:lnTo>
                  <a:pt x="186" y="2"/>
                </a:lnTo>
                <a:lnTo>
                  <a:pt x="178" y="0"/>
                </a:lnTo>
                <a:lnTo>
                  <a:pt x="177" y="0"/>
                </a:lnTo>
                <a:lnTo>
                  <a:pt x="175" y="2"/>
                </a:lnTo>
                <a:lnTo>
                  <a:pt x="169" y="7"/>
                </a:lnTo>
                <a:lnTo>
                  <a:pt x="157" y="16"/>
                </a:lnTo>
                <a:lnTo>
                  <a:pt x="145" y="25"/>
                </a:lnTo>
                <a:lnTo>
                  <a:pt x="133" y="35"/>
                </a:lnTo>
                <a:lnTo>
                  <a:pt x="121" y="44"/>
                </a:lnTo>
                <a:lnTo>
                  <a:pt x="109" y="54"/>
                </a:lnTo>
                <a:lnTo>
                  <a:pt x="97" y="63"/>
                </a:lnTo>
                <a:lnTo>
                  <a:pt x="85" y="73"/>
                </a:lnTo>
                <a:lnTo>
                  <a:pt x="81" y="73"/>
                </a:lnTo>
                <a:lnTo>
                  <a:pt x="64" y="79"/>
                </a:lnTo>
                <a:lnTo>
                  <a:pt x="61" y="79"/>
                </a:lnTo>
                <a:lnTo>
                  <a:pt x="61" y="84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FFC000"/>
              </a:solidFill>
            </a:endParaRPr>
          </a:p>
        </p:txBody>
      </p:sp>
      <p:sp>
        <p:nvSpPr>
          <p:cNvPr id="1182" name="Freeform 1109"/>
          <p:cNvSpPr>
            <a:spLocks/>
          </p:cNvSpPr>
          <p:nvPr/>
        </p:nvSpPr>
        <p:spPr bwMode="auto">
          <a:xfrm>
            <a:off x="7122394" y="3416495"/>
            <a:ext cx="3898" cy="10737"/>
          </a:xfrm>
          <a:custGeom>
            <a:avLst/>
            <a:gdLst/>
            <a:ahLst/>
            <a:cxnLst>
              <a:cxn ang="0">
                <a:pos x="2" y="1"/>
              </a:cxn>
              <a:cxn ang="0">
                <a:pos x="0" y="0"/>
              </a:cxn>
              <a:cxn ang="0">
                <a:pos x="0" y="3"/>
              </a:cxn>
              <a:cxn ang="0">
                <a:pos x="1" y="6"/>
              </a:cxn>
              <a:cxn ang="0">
                <a:pos x="2" y="6"/>
              </a:cxn>
              <a:cxn ang="0">
                <a:pos x="2" y="1"/>
              </a:cxn>
            </a:cxnLst>
            <a:rect l="0" t="0" r="r" b="b"/>
            <a:pathLst>
              <a:path w="2" h="6">
                <a:moveTo>
                  <a:pt x="2" y="1"/>
                </a:moveTo>
                <a:lnTo>
                  <a:pt x="0" y="0"/>
                </a:lnTo>
                <a:lnTo>
                  <a:pt x="0" y="3"/>
                </a:lnTo>
                <a:lnTo>
                  <a:pt x="1" y="6"/>
                </a:lnTo>
                <a:lnTo>
                  <a:pt x="2" y="6"/>
                </a:lnTo>
                <a:lnTo>
                  <a:pt x="2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83" name="Freeform 1110"/>
          <p:cNvSpPr>
            <a:spLocks/>
          </p:cNvSpPr>
          <p:nvPr/>
        </p:nvSpPr>
        <p:spPr bwMode="auto">
          <a:xfrm>
            <a:off x="7122394" y="3416495"/>
            <a:ext cx="3898" cy="10737"/>
          </a:xfrm>
          <a:custGeom>
            <a:avLst/>
            <a:gdLst/>
            <a:ahLst/>
            <a:cxnLst>
              <a:cxn ang="0">
                <a:pos x="2" y="1"/>
              </a:cxn>
              <a:cxn ang="0">
                <a:pos x="0" y="0"/>
              </a:cxn>
              <a:cxn ang="0">
                <a:pos x="0" y="3"/>
              </a:cxn>
              <a:cxn ang="0">
                <a:pos x="1" y="6"/>
              </a:cxn>
              <a:cxn ang="0">
                <a:pos x="2" y="6"/>
              </a:cxn>
              <a:cxn ang="0">
                <a:pos x="2" y="1"/>
              </a:cxn>
            </a:cxnLst>
            <a:rect l="0" t="0" r="r" b="b"/>
            <a:pathLst>
              <a:path w="2" h="6">
                <a:moveTo>
                  <a:pt x="2" y="1"/>
                </a:moveTo>
                <a:lnTo>
                  <a:pt x="0" y="0"/>
                </a:lnTo>
                <a:lnTo>
                  <a:pt x="0" y="3"/>
                </a:lnTo>
                <a:lnTo>
                  <a:pt x="1" y="6"/>
                </a:lnTo>
                <a:lnTo>
                  <a:pt x="2" y="6"/>
                </a:lnTo>
                <a:lnTo>
                  <a:pt x="2" y="1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84" name="Freeform 1111"/>
          <p:cNvSpPr>
            <a:spLocks/>
          </p:cNvSpPr>
          <p:nvPr/>
        </p:nvSpPr>
        <p:spPr bwMode="auto">
          <a:xfrm>
            <a:off x="3748997" y="2763621"/>
            <a:ext cx="5846" cy="8591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0" y="2"/>
              </a:cxn>
              <a:cxn ang="0">
                <a:pos x="0" y="4"/>
              </a:cxn>
              <a:cxn ang="0">
                <a:pos x="2" y="2"/>
              </a:cxn>
              <a:cxn ang="0">
                <a:pos x="3" y="0"/>
              </a:cxn>
              <a:cxn ang="0">
                <a:pos x="2" y="0"/>
              </a:cxn>
            </a:cxnLst>
            <a:rect l="0" t="0" r="r" b="b"/>
            <a:pathLst>
              <a:path w="3" h="4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2" y="2"/>
                </a:lnTo>
                <a:lnTo>
                  <a:pt x="3" y="0"/>
                </a:lnTo>
                <a:lnTo>
                  <a:pt x="2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85" name="Freeform 1112"/>
          <p:cNvSpPr>
            <a:spLocks/>
          </p:cNvSpPr>
          <p:nvPr/>
        </p:nvSpPr>
        <p:spPr bwMode="auto">
          <a:xfrm>
            <a:off x="3748997" y="2763621"/>
            <a:ext cx="5846" cy="8591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0" y="2"/>
              </a:cxn>
              <a:cxn ang="0">
                <a:pos x="0" y="4"/>
              </a:cxn>
              <a:cxn ang="0">
                <a:pos x="2" y="2"/>
              </a:cxn>
              <a:cxn ang="0">
                <a:pos x="3" y="0"/>
              </a:cxn>
              <a:cxn ang="0">
                <a:pos x="2" y="0"/>
              </a:cxn>
            </a:cxnLst>
            <a:rect l="0" t="0" r="r" b="b"/>
            <a:pathLst>
              <a:path w="3" h="4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2" y="2"/>
                </a:lnTo>
                <a:lnTo>
                  <a:pt x="3" y="0"/>
                </a:lnTo>
                <a:lnTo>
                  <a:pt x="2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86" name="Freeform 1113"/>
          <p:cNvSpPr>
            <a:spLocks/>
          </p:cNvSpPr>
          <p:nvPr/>
        </p:nvSpPr>
        <p:spPr bwMode="auto">
          <a:xfrm>
            <a:off x="5916079" y="3893263"/>
            <a:ext cx="220215" cy="395159"/>
          </a:xfrm>
          <a:custGeom>
            <a:avLst/>
            <a:gdLst/>
            <a:ahLst/>
            <a:cxnLst>
              <a:cxn ang="0">
                <a:pos x="60" y="188"/>
              </a:cxn>
              <a:cxn ang="0">
                <a:pos x="47" y="187"/>
              </a:cxn>
              <a:cxn ang="0">
                <a:pos x="20" y="188"/>
              </a:cxn>
              <a:cxn ang="0">
                <a:pos x="22" y="173"/>
              </a:cxn>
              <a:cxn ang="0">
                <a:pos x="20" y="168"/>
              </a:cxn>
              <a:cxn ang="0">
                <a:pos x="18" y="162"/>
              </a:cxn>
              <a:cxn ang="0">
                <a:pos x="19" y="157"/>
              </a:cxn>
              <a:cxn ang="0">
                <a:pos x="15" y="157"/>
              </a:cxn>
              <a:cxn ang="0">
                <a:pos x="7" y="152"/>
              </a:cxn>
              <a:cxn ang="0">
                <a:pos x="2" y="147"/>
              </a:cxn>
              <a:cxn ang="0">
                <a:pos x="0" y="143"/>
              </a:cxn>
              <a:cxn ang="0">
                <a:pos x="4" y="136"/>
              </a:cxn>
              <a:cxn ang="0">
                <a:pos x="6" y="124"/>
              </a:cxn>
              <a:cxn ang="0">
                <a:pos x="12" y="113"/>
              </a:cxn>
              <a:cxn ang="0">
                <a:pos x="18" y="105"/>
              </a:cxn>
              <a:cxn ang="0">
                <a:pos x="32" y="104"/>
              </a:cxn>
              <a:cxn ang="0">
                <a:pos x="36" y="110"/>
              </a:cxn>
              <a:cxn ang="0">
                <a:pos x="45" y="111"/>
              </a:cxn>
              <a:cxn ang="0">
                <a:pos x="52" y="97"/>
              </a:cxn>
              <a:cxn ang="0">
                <a:pos x="56" y="82"/>
              </a:cxn>
              <a:cxn ang="0">
                <a:pos x="64" y="71"/>
              </a:cxn>
              <a:cxn ang="0">
                <a:pos x="65" y="64"/>
              </a:cxn>
              <a:cxn ang="0">
                <a:pos x="69" y="47"/>
              </a:cxn>
              <a:cxn ang="0">
                <a:pos x="75" y="31"/>
              </a:cxn>
              <a:cxn ang="0">
                <a:pos x="80" y="27"/>
              </a:cxn>
              <a:cxn ang="0">
                <a:pos x="91" y="20"/>
              </a:cxn>
              <a:cxn ang="0">
                <a:pos x="89" y="8"/>
              </a:cxn>
              <a:cxn ang="0">
                <a:pos x="85" y="5"/>
              </a:cxn>
              <a:cxn ang="0">
                <a:pos x="91" y="0"/>
              </a:cxn>
              <a:cxn ang="0">
                <a:pos x="95" y="11"/>
              </a:cxn>
              <a:cxn ang="0">
                <a:pos x="97" y="22"/>
              </a:cxn>
              <a:cxn ang="0">
                <a:pos x="96" y="31"/>
              </a:cxn>
              <a:cxn ang="0">
                <a:pos x="103" y="47"/>
              </a:cxn>
              <a:cxn ang="0">
                <a:pos x="96" y="50"/>
              </a:cxn>
              <a:cxn ang="0">
                <a:pos x="87" y="50"/>
              </a:cxn>
              <a:cxn ang="0">
                <a:pos x="85" y="61"/>
              </a:cxn>
              <a:cxn ang="0">
                <a:pos x="93" y="69"/>
              </a:cxn>
              <a:cxn ang="0">
                <a:pos x="99" y="74"/>
              </a:cxn>
              <a:cxn ang="0">
                <a:pos x="103" y="94"/>
              </a:cxn>
              <a:cxn ang="0">
                <a:pos x="101" y="104"/>
              </a:cxn>
              <a:cxn ang="0">
                <a:pos x="93" y="118"/>
              </a:cxn>
              <a:cxn ang="0">
                <a:pos x="92" y="130"/>
              </a:cxn>
              <a:cxn ang="0">
                <a:pos x="95" y="147"/>
              </a:cxn>
              <a:cxn ang="0">
                <a:pos x="107" y="171"/>
              </a:cxn>
              <a:cxn ang="0">
                <a:pos x="115" y="180"/>
              </a:cxn>
              <a:cxn ang="0">
                <a:pos x="113" y="199"/>
              </a:cxn>
              <a:cxn ang="0">
                <a:pos x="100" y="191"/>
              </a:cxn>
              <a:cxn ang="0">
                <a:pos x="72" y="188"/>
              </a:cxn>
            </a:cxnLst>
            <a:rect l="0" t="0" r="r" b="b"/>
            <a:pathLst>
              <a:path w="116" h="199">
                <a:moveTo>
                  <a:pt x="72" y="188"/>
                </a:moveTo>
                <a:lnTo>
                  <a:pt x="71" y="188"/>
                </a:lnTo>
                <a:lnTo>
                  <a:pt x="60" y="188"/>
                </a:lnTo>
                <a:lnTo>
                  <a:pt x="56" y="187"/>
                </a:lnTo>
                <a:lnTo>
                  <a:pt x="51" y="188"/>
                </a:lnTo>
                <a:lnTo>
                  <a:pt x="47" y="187"/>
                </a:lnTo>
                <a:lnTo>
                  <a:pt x="43" y="188"/>
                </a:lnTo>
                <a:lnTo>
                  <a:pt x="32" y="188"/>
                </a:lnTo>
                <a:lnTo>
                  <a:pt x="20" y="188"/>
                </a:lnTo>
                <a:lnTo>
                  <a:pt x="19" y="190"/>
                </a:lnTo>
                <a:lnTo>
                  <a:pt x="20" y="177"/>
                </a:lnTo>
                <a:lnTo>
                  <a:pt x="22" y="173"/>
                </a:lnTo>
                <a:lnTo>
                  <a:pt x="22" y="171"/>
                </a:lnTo>
                <a:lnTo>
                  <a:pt x="22" y="169"/>
                </a:lnTo>
                <a:lnTo>
                  <a:pt x="20" y="168"/>
                </a:lnTo>
                <a:lnTo>
                  <a:pt x="19" y="165"/>
                </a:lnTo>
                <a:lnTo>
                  <a:pt x="19" y="163"/>
                </a:lnTo>
                <a:lnTo>
                  <a:pt x="18" y="162"/>
                </a:lnTo>
                <a:lnTo>
                  <a:pt x="18" y="160"/>
                </a:lnTo>
                <a:lnTo>
                  <a:pt x="19" y="158"/>
                </a:lnTo>
                <a:lnTo>
                  <a:pt x="19" y="157"/>
                </a:lnTo>
                <a:lnTo>
                  <a:pt x="18" y="155"/>
                </a:lnTo>
                <a:lnTo>
                  <a:pt x="16" y="155"/>
                </a:lnTo>
                <a:lnTo>
                  <a:pt x="15" y="157"/>
                </a:lnTo>
                <a:lnTo>
                  <a:pt x="14" y="157"/>
                </a:lnTo>
                <a:lnTo>
                  <a:pt x="8" y="155"/>
                </a:lnTo>
                <a:lnTo>
                  <a:pt x="7" y="152"/>
                </a:lnTo>
                <a:lnTo>
                  <a:pt x="6" y="147"/>
                </a:lnTo>
                <a:lnTo>
                  <a:pt x="3" y="147"/>
                </a:lnTo>
                <a:lnTo>
                  <a:pt x="2" y="147"/>
                </a:lnTo>
                <a:lnTo>
                  <a:pt x="0" y="146"/>
                </a:lnTo>
                <a:lnTo>
                  <a:pt x="0" y="144"/>
                </a:lnTo>
                <a:lnTo>
                  <a:pt x="0" y="143"/>
                </a:lnTo>
                <a:lnTo>
                  <a:pt x="0" y="141"/>
                </a:lnTo>
                <a:lnTo>
                  <a:pt x="2" y="140"/>
                </a:lnTo>
                <a:lnTo>
                  <a:pt x="4" y="136"/>
                </a:lnTo>
                <a:lnTo>
                  <a:pt x="4" y="133"/>
                </a:lnTo>
                <a:lnTo>
                  <a:pt x="6" y="129"/>
                </a:lnTo>
                <a:lnTo>
                  <a:pt x="6" y="124"/>
                </a:lnTo>
                <a:lnTo>
                  <a:pt x="8" y="118"/>
                </a:lnTo>
                <a:lnTo>
                  <a:pt x="11" y="115"/>
                </a:lnTo>
                <a:lnTo>
                  <a:pt x="12" y="113"/>
                </a:lnTo>
                <a:lnTo>
                  <a:pt x="16" y="111"/>
                </a:lnTo>
                <a:lnTo>
                  <a:pt x="16" y="105"/>
                </a:lnTo>
                <a:lnTo>
                  <a:pt x="18" y="105"/>
                </a:lnTo>
                <a:lnTo>
                  <a:pt x="22" y="105"/>
                </a:lnTo>
                <a:lnTo>
                  <a:pt x="28" y="104"/>
                </a:lnTo>
                <a:lnTo>
                  <a:pt x="32" y="104"/>
                </a:lnTo>
                <a:lnTo>
                  <a:pt x="35" y="107"/>
                </a:lnTo>
                <a:lnTo>
                  <a:pt x="36" y="108"/>
                </a:lnTo>
                <a:lnTo>
                  <a:pt x="36" y="110"/>
                </a:lnTo>
                <a:lnTo>
                  <a:pt x="39" y="113"/>
                </a:lnTo>
                <a:lnTo>
                  <a:pt x="43" y="113"/>
                </a:lnTo>
                <a:lnTo>
                  <a:pt x="45" y="111"/>
                </a:lnTo>
                <a:lnTo>
                  <a:pt x="45" y="110"/>
                </a:lnTo>
                <a:lnTo>
                  <a:pt x="47" y="107"/>
                </a:lnTo>
                <a:lnTo>
                  <a:pt x="52" y="97"/>
                </a:lnTo>
                <a:lnTo>
                  <a:pt x="55" y="89"/>
                </a:lnTo>
                <a:lnTo>
                  <a:pt x="55" y="88"/>
                </a:lnTo>
                <a:lnTo>
                  <a:pt x="56" y="82"/>
                </a:lnTo>
                <a:lnTo>
                  <a:pt x="57" y="77"/>
                </a:lnTo>
                <a:lnTo>
                  <a:pt x="60" y="74"/>
                </a:lnTo>
                <a:lnTo>
                  <a:pt x="64" y="71"/>
                </a:lnTo>
                <a:lnTo>
                  <a:pt x="65" y="69"/>
                </a:lnTo>
                <a:lnTo>
                  <a:pt x="65" y="67"/>
                </a:lnTo>
                <a:lnTo>
                  <a:pt x="65" y="64"/>
                </a:lnTo>
                <a:lnTo>
                  <a:pt x="68" y="55"/>
                </a:lnTo>
                <a:lnTo>
                  <a:pt x="69" y="52"/>
                </a:lnTo>
                <a:lnTo>
                  <a:pt x="69" y="47"/>
                </a:lnTo>
                <a:lnTo>
                  <a:pt x="72" y="42"/>
                </a:lnTo>
                <a:lnTo>
                  <a:pt x="75" y="34"/>
                </a:lnTo>
                <a:lnTo>
                  <a:pt x="75" y="31"/>
                </a:lnTo>
                <a:lnTo>
                  <a:pt x="76" y="30"/>
                </a:lnTo>
                <a:lnTo>
                  <a:pt x="79" y="27"/>
                </a:lnTo>
                <a:lnTo>
                  <a:pt x="80" y="27"/>
                </a:lnTo>
                <a:lnTo>
                  <a:pt x="84" y="25"/>
                </a:lnTo>
                <a:lnTo>
                  <a:pt x="85" y="23"/>
                </a:lnTo>
                <a:lnTo>
                  <a:pt x="91" y="20"/>
                </a:lnTo>
                <a:lnTo>
                  <a:pt x="89" y="16"/>
                </a:lnTo>
                <a:lnTo>
                  <a:pt x="89" y="9"/>
                </a:lnTo>
                <a:lnTo>
                  <a:pt x="89" y="8"/>
                </a:lnTo>
                <a:lnTo>
                  <a:pt x="88" y="6"/>
                </a:lnTo>
                <a:lnTo>
                  <a:pt x="85" y="6"/>
                </a:lnTo>
                <a:lnTo>
                  <a:pt x="85" y="5"/>
                </a:lnTo>
                <a:lnTo>
                  <a:pt x="87" y="5"/>
                </a:lnTo>
                <a:lnTo>
                  <a:pt x="88" y="0"/>
                </a:lnTo>
                <a:lnTo>
                  <a:pt x="91" y="0"/>
                </a:lnTo>
                <a:lnTo>
                  <a:pt x="93" y="0"/>
                </a:lnTo>
                <a:lnTo>
                  <a:pt x="93" y="1"/>
                </a:lnTo>
                <a:lnTo>
                  <a:pt x="95" y="11"/>
                </a:lnTo>
                <a:lnTo>
                  <a:pt x="96" y="12"/>
                </a:lnTo>
                <a:lnTo>
                  <a:pt x="97" y="16"/>
                </a:lnTo>
                <a:lnTo>
                  <a:pt x="97" y="22"/>
                </a:lnTo>
                <a:lnTo>
                  <a:pt x="97" y="25"/>
                </a:lnTo>
                <a:lnTo>
                  <a:pt x="96" y="28"/>
                </a:lnTo>
                <a:lnTo>
                  <a:pt x="96" y="31"/>
                </a:lnTo>
                <a:lnTo>
                  <a:pt x="99" y="38"/>
                </a:lnTo>
                <a:lnTo>
                  <a:pt x="103" y="44"/>
                </a:lnTo>
                <a:lnTo>
                  <a:pt x="103" y="47"/>
                </a:lnTo>
                <a:lnTo>
                  <a:pt x="104" y="49"/>
                </a:lnTo>
                <a:lnTo>
                  <a:pt x="103" y="50"/>
                </a:lnTo>
                <a:lnTo>
                  <a:pt x="96" y="50"/>
                </a:lnTo>
                <a:lnTo>
                  <a:pt x="92" y="49"/>
                </a:lnTo>
                <a:lnTo>
                  <a:pt x="88" y="50"/>
                </a:lnTo>
                <a:lnTo>
                  <a:pt x="87" y="50"/>
                </a:lnTo>
                <a:lnTo>
                  <a:pt x="85" y="52"/>
                </a:lnTo>
                <a:lnTo>
                  <a:pt x="85" y="58"/>
                </a:lnTo>
                <a:lnTo>
                  <a:pt x="85" y="61"/>
                </a:lnTo>
                <a:lnTo>
                  <a:pt x="88" y="66"/>
                </a:lnTo>
                <a:lnTo>
                  <a:pt x="91" y="67"/>
                </a:lnTo>
                <a:lnTo>
                  <a:pt x="93" y="69"/>
                </a:lnTo>
                <a:lnTo>
                  <a:pt x="96" y="69"/>
                </a:lnTo>
                <a:lnTo>
                  <a:pt x="97" y="71"/>
                </a:lnTo>
                <a:lnTo>
                  <a:pt x="99" y="74"/>
                </a:lnTo>
                <a:lnTo>
                  <a:pt x="101" y="83"/>
                </a:lnTo>
                <a:lnTo>
                  <a:pt x="103" y="88"/>
                </a:lnTo>
                <a:lnTo>
                  <a:pt x="103" y="94"/>
                </a:lnTo>
                <a:lnTo>
                  <a:pt x="104" y="94"/>
                </a:lnTo>
                <a:lnTo>
                  <a:pt x="104" y="96"/>
                </a:lnTo>
                <a:lnTo>
                  <a:pt x="101" y="104"/>
                </a:lnTo>
                <a:lnTo>
                  <a:pt x="99" y="108"/>
                </a:lnTo>
                <a:lnTo>
                  <a:pt x="96" y="113"/>
                </a:lnTo>
                <a:lnTo>
                  <a:pt x="93" y="118"/>
                </a:lnTo>
                <a:lnTo>
                  <a:pt x="91" y="122"/>
                </a:lnTo>
                <a:lnTo>
                  <a:pt x="91" y="126"/>
                </a:lnTo>
                <a:lnTo>
                  <a:pt x="92" y="130"/>
                </a:lnTo>
                <a:lnTo>
                  <a:pt x="92" y="136"/>
                </a:lnTo>
                <a:lnTo>
                  <a:pt x="92" y="141"/>
                </a:lnTo>
                <a:lnTo>
                  <a:pt x="95" y="147"/>
                </a:lnTo>
                <a:lnTo>
                  <a:pt x="97" y="151"/>
                </a:lnTo>
                <a:lnTo>
                  <a:pt x="104" y="166"/>
                </a:lnTo>
                <a:lnTo>
                  <a:pt x="107" y="171"/>
                </a:lnTo>
                <a:lnTo>
                  <a:pt x="113" y="177"/>
                </a:lnTo>
                <a:lnTo>
                  <a:pt x="116" y="177"/>
                </a:lnTo>
                <a:lnTo>
                  <a:pt x="115" y="180"/>
                </a:lnTo>
                <a:lnTo>
                  <a:pt x="116" y="195"/>
                </a:lnTo>
                <a:lnTo>
                  <a:pt x="115" y="198"/>
                </a:lnTo>
                <a:lnTo>
                  <a:pt x="113" y="199"/>
                </a:lnTo>
                <a:lnTo>
                  <a:pt x="107" y="193"/>
                </a:lnTo>
                <a:lnTo>
                  <a:pt x="104" y="193"/>
                </a:lnTo>
                <a:lnTo>
                  <a:pt x="100" y="191"/>
                </a:lnTo>
                <a:lnTo>
                  <a:pt x="96" y="191"/>
                </a:lnTo>
                <a:lnTo>
                  <a:pt x="93" y="188"/>
                </a:lnTo>
                <a:lnTo>
                  <a:pt x="72" y="188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87" name="Freeform 1114"/>
          <p:cNvSpPr>
            <a:spLocks/>
          </p:cNvSpPr>
          <p:nvPr/>
        </p:nvSpPr>
        <p:spPr bwMode="auto">
          <a:xfrm>
            <a:off x="5916079" y="3893263"/>
            <a:ext cx="220215" cy="395159"/>
          </a:xfrm>
          <a:custGeom>
            <a:avLst/>
            <a:gdLst/>
            <a:ahLst/>
            <a:cxnLst>
              <a:cxn ang="0">
                <a:pos x="60" y="188"/>
              </a:cxn>
              <a:cxn ang="0">
                <a:pos x="47" y="187"/>
              </a:cxn>
              <a:cxn ang="0">
                <a:pos x="20" y="188"/>
              </a:cxn>
              <a:cxn ang="0">
                <a:pos x="22" y="173"/>
              </a:cxn>
              <a:cxn ang="0">
                <a:pos x="20" y="168"/>
              </a:cxn>
              <a:cxn ang="0">
                <a:pos x="18" y="162"/>
              </a:cxn>
              <a:cxn ang="0">
                <a:pos x="19" y="157"/>
              </a:cxn>
              <a:cxn ang="0">
                <a:pos x="15" y="157"/>
              </a:cxn>
              <a:cxn ang="0">
                <a:pos x="7" y="152"/>
              </a:cxn>
              <a:cxn ang="0">
                <a:pos x="2" y="147"/>
              </a:cxn>
              <a:cxn ang="0">
                <a:pos x="0" y="143"/>
              </a:cxn>
              <a:cxn ang="0">
                <a:pos x="4" y="136"/>
              </a:cxn>
              <a:cxn ang="0">
                <a:pos x="6" y="124"/>
              </a:cxn>
              <a:cxn ang="0">
                <a:pos x="12" y="113"/>
              </a:cxn>
              <a:cxn ang="0">
                <a:pos x="18" y="105"/>
              </a:cxn>
              <a:cxn ang="0">
                <a:pos x="32" y="104"/>
              </a:cxn>
              <a:cxn ang="0">
                <a:pos x="36" y="110"/>
              </a:cxn>
              <a:cxn ang="0">
                <a:pos x="45" y="111"/>
              </a:cxn>
              <a:cxn ang="0">
                <a:pos x="52" y="97"/>
              </a:cxn>
              <a:cxn ang="0">
                <a:pos x="56" y="82"/>
              </a:cxn>
              <a:cxn ang="0">
                <a:pos x="64" y="71"/>
              </a:cxn>
              <a:cxn ang="0">
                <a:pos x="65" y="64"/>
              </a:cxn>
              <a:cxn ang="0">
                <a:pos x="69" y="47"/>
              </a:cxn>
              <a:cxn ang="0">
                <a:pos x="75" y="31"/>
              </a:cxn>
              <a:cxn ang="0">
                <a:pos x="80" y="27"/>
              </a:cxn>
              <a:cxn ang="0">
                <a:pos x="91" y="20"/>
              </a:cxn>
              <a:cxn ang="0">
                <a:pos x="89" y="8"/>
              </a:cxn>
              <a:cxn ang="0">
                <a:pos x="85" y="5"/>
              </a:cxn>
              <a:cxn ang="0">
                <a:pos x="91" y="0"/>
              </a:cxn>
              <a:cxn ang="0">
                <a:pos x="95" y="11"/>
              </a:cxn>
              <a:cxn ang="0">
                <a:pos x="97" y="22"/>
              </a:cxn>
              <a:cxn ang="0">
                <a:pos x="96" y="31"/>
              </a:cxn>
              <a:cxn ang="0">
                <a:pos x="103" y="47"/>
              </a:cxn>
              <a:cxn ang="0">
                <a:pos x="96" y="50"/>
              </a:cxn>
              <a:cxn ang="0">
                <a:pos x="87" y="50"/>
              </a:cxn>
              <a:cxn ang="0">
                <a:pos x="85" y="61"/>
              </a:cxn>
              <a:cxn ang="0">
                <a:pos x="93" y="69"/>
              </a:cxn>
              <a:cxn ang="0">
                <a:pos x="99" y="74"/>
              </a:cxn>
              <a:cxn ang="0">
                <a:pos x="103" y="94"/>
              </a:cxn>
              <a:cxn ang="0">
                <a:pos x="101" y="104"/>
              </a:cxn>
              <a:cxn ang="0">
                <a:pos x="93" y="118"/>
              </a:cxn>
              <a:cxn ang="0">
                <a:pos x="92" y="130"/>
              </a:cxn>
              <a:cxn ang="0">
                <a:pos x="95" y="147"/>
              </a:cxn>
              <a:cxn ang="0">
                <a:pos x="107" y="171"/>
              </a:cxn>
              <a:cxn ang="0">
                <a:pos x="115" y="180"/>
              </a:cxn>
              <a:cxn ang="0">
                <a:pos x="113" y="199"/>
              </a:cxn>
              <a:cxn ang="0">
                <a:pos x="100" y="191"/>
              </a:cxn>
              <a:cxn ang="0">
                <a:pos x="72" y="188"/>
              </a:cxn>
            </a:cxnLst>
            <a:rect l="0" t="0" r="r" b="b"/>
            <a:pathLst>
              <a:path w="116" h="199">
                <a:moveTo>
                  <a:pt x="72" y="188"/>
                </a:moveTo>
                <a:lnTo>
                  <a:pt x="71" y="188"/>
                </a:lnTo>
                <a:lnTo>
                  <a:pt x="60" y="188"/>
                </a:lnTo>
                <a:lnTo>
                  <a:pt x="56" y="187"/>
                </a:lnTo>
                <a:lnTo>
                  <a:pt x="51" y="188"/>
                </a:lnTo>
                <a:lnTo>
                  <a:pt x="47" y="187"/>
                </a:lnTo>
                <a:lnTo>
                  <a:pt x="43" y="188"/>
                </a:lnTo>
                <a:lnTo>
                  <a:pt x="32" y="188"/>
                </a:lnTo>
                <a:lnTo>
                  <a:pt x="20" y="188"/>
                </a:lnTo>
                <a:lnTo>
                  <a:pt x="19" y="190"/>
                </a:lnTo>
                <a:lnTo>
                  <a:pt x="20" y="177"/>
                </a:lnTo>
                <a:lnTo>
                  <a:pt x="22" y="173"/>
                </a:lnTo>
                <a:lnTo>
                  <a:pt x="22" y="171"/>
                </a:lnTo>
                <a:lnTo>
                  <a:pt x="22" y="169"/>
                </a:lnTo>
                <a:lnTo>
                  <a:pt x="20" y="168"/>
                </a:lnTo>
                <a:lnTo>
                  <a:pt x="19" y="165"/>
                </a:lnTo>
                <a:lnTo>
                  <a:pt x="19" y="163"/>
                </a:lnTo>
                <a:lnTo>
                  <a:pt x="18" y="162"/>
                </a:lnTo>
                <a:lnTo>
                  <a:pt x="18" y="160"/>
                </a:lnTo>
                <a:lnTo>
                  <a:pt x="19" y="158"/>
                </a:lnTo>
                <a:lnTo>
                  <a:pt x="19" y="157"/>
                </a:lnTo>
                <a:lnTo>
                  <a:pt x="18" y="155"/>
                </a:lnTo>
                <a:lnTo>
                  <a:pt x="16" y="155"/>
                </a:lnTo>
                <a:lnTo>
                  <a:pt x="15" y="157"/>
                </a:lnTo>
                <a:lnTo>
                  <a:pt x="14" y="157"/>
                </a:lnTo>
                <a:lnTo>
                  <a:pt x="8" y="155"/>
                </a:lnTo>
                <a:lnTo>
                  <a:pt x="7" y="152"/>
                </a:lnTo>
                <a:lnTo>
                  <a:pt x="6" y="147"/>
                </a:lnTo>
                <a:lnTo>
                  <a:pt x="3" y="147"/>
                </a:lnTo>
                <a:lnTo>
                  <a:pt x="2" y="147"/>
                </a:lnTo>
                <a:lnTo>
                  <a:pt x="0" y="146"/>
                </a:lnTo>
                <a:lnTo>
                  <a:pt x="0" y="144"/>
                </a:lnTo>
                <a:lnTo>
                  <a:pt x="0" y="143"/>
                </a:lnTo>
                <a:lnTo>
                  <a:pt x="0" y="141"/>
                </a:lnTo>
                <a:lnTo>
                  <a:pt x="2" y="140"/>
                </a:lnTo>
                <a:lnTo>
                  <a:pt x="4" y="136"/>
                </a:lnTo>
                <a:lnTo>
                  <a:pt x="4" y="133"/>
                </a:lnTo>
                <a:lnTo>
                  <a:pt x="6" y="129"/>
                </a:lnTo>
                <a:lnTo>
                  <a:pt x="6" y="124"/>
                </a:lnTo>
                <a:lnTo>
                  <a:pt x="8" y="118"/>
                </a:lnTo>
                <a:lnTo>
                  <a:pt x="11" y="115"/>
                </a:lnTo>
                <a:lnTo>
                  <a:pt x="12" y="113"/>
                </a:lnTo>
                <a:lnTo>
                  <a:pt x="16" y="111"/>
                </a:lnTo>
                <a:lnTo>
                  <a:pt x="16" y="105"/>
                </a:lnTo>
                <a:lnTo>
                  <a:pt x="18" y="105"/>
                </a:lnTo>
                <a:lnTo>
                  <a:pt x="22" y="105"/>
                </a:lnTo>
                <a:lnTo>
                  <a:pt x="28" y="104"/>
                </a:lnTo>
                <a:lnTo>
                  <a:pt x="32" y="104"/>
                </a:lnTo>
                <a:lnTo>
                  <a:pt x="35" y="107"/>
                </a:lnTo>
                <a:lnTo>
                  <a:pt x="36" y="108"/>
                </a:lnTo>
                <a:lnTo>
                  <a:pt x="36" y="110"/>
                </a:lnTo>
                <a:lnTo>
                  <a:pt x="39" y="113"/>
                </a:lnTo>
                <a:lnTo>
                  <a:pt x="43" y="113"/>
                </a:lnTo>
                <a:lnTo>
                  <a:pt x="45" y="111"/>
                </a:lnTo>
                <a:lnTo>
                  <a:pt x="45" y="110"/>
                </a:lnTo>
                <a:lnTo>
                  <a:pt x="47" y="107"/>
                </a:lnTo>
                <a:lnTo>
                  <a:pt x="52" y="97"/>
                </a:lnTo>
                <a:lnTo>
                  <a:pt x="55" y="89"/>
                </a:lnTo>
                <a:lnTo>
                  <a:pt x="55" y="88"/>
                </a:lnTo>
                <a:lnTo>
                  <a:pt x="56" y="82"/>
                </a:lnTo>
                <a:lnTo>
                  <a:pt x="57" y="77"/>
                </a:lnTo>
                <a:lnTo>
                  <a:pt x="60" y="74"/>
                </a:lnTo>
                <a:lnTo>
                  <a:pt x="64" y="71"/>
                </a:lnTo>
                <a:lnTo>
                  <a:pt x="65" y="69"/>
                </a:lnTo>
                <a:lnTo>
                  <a:pt x="65" y="67"/>
                </a:lnTo>
                <a:lnTo>
                  <a:pt x="65" y="64"/>
                </a:lnTo>
                <a:lnTo>
                  <a:pt x="68" y="55"/>
                </a:lnTo>
                <a:lnTo>
                  <a:pt x="69" y="52"/>
                </a:lnTo>
                <a:lnTo>
                  <a:pt x="69" y="47"/>
                </a:lnTo>
                <a:lnTo>
                  <a:pt x="72" y="42"/>
                </a:lnTo>
                <a:lnTo>
                  <a:pt x="75" y="34"/>
                </a:lnTo>
                <a:lnTo>
                  <a:pt x="75" y="31"/>
                </a:lnTo>
                <a:lnTo>
                  <a:pt x="76" y="30"/>
                </a:lnTo>
                <a:lnTo>
                  <a:pt x="79" y="27"/>
                </a:lnTo>
                <a:lnTo>
                  <a:pt x="80" y="27"/>
                </a:lnTo>
                <a:lnTo>
                  <a:pt x="84" y="25"/>
                </a:lnTo>
                <a:lnTo>
                  <a:pt x="85" y="23"/>
                </a:lnTo>
                <a:lnTo>
                  <a:pt x="91" y="20"/>
                </a:lnTo>
                <a:lnTo>
                  <a:pt x="89" y="16"/>
                </a:lnTo>
                <a:lnTo>
                  <a:pt x="89" y="9"/>
                </a:lnTo>
                <a:lnTo>
                  <a:pt x="89" y="8"/>
                </a:lnTo>
                <a:lnTo>
                  <a:pt x="88" y="6"/>
                </a:lnTo>
                <a:lnTo>
                  <a:pt x="85" y="6"/>
                </a:lnTo>
                <a:lnTo>
                  <a:pt x="85" y="5"/>
                </a:lnTo>
                <a:lnTo>
                  <a:pt x="87" y="5"/>
                </a:lnTo>
                <a:lnTo>
                  <a:pt x="88" y="0"/>
                </a:lnTo>
                <a:lnTo>
                  <a:pt x="91" y="0"/>
                </a:lnTo>
                <a:lnTo>
                  <a:pt x="93" y="0"/>
                </a:lnTo>
                <a:lnTo>
                  <a:pt x="93" y="1"/>
                </a:lnTo>
                <a:lnTo>
                  <a:pt x="95" y="11"/>
                </a:lnTo>
                <a:lnTo>
                  <a:pt x="96" y="12"/>
                </a:lnTo>
                <a:lnTo>
                  <a:pt x="97" y="16"/>
                </a:lnTo>
                <a:lnTo>
                  <a:pt x="97" y="22"/>
                </a:lnTo>
                <a:lnTo>
                  <a:pt x="97" y="25"/>
                </a:lnTo>
                <a:lnTo>
                  <a:pt x="96" y="28"/>
                </a:lnTo>
                <a:lnTo>
                  <a:pt x="96" y="31"/>
                </a:lnTo>
                <a:lnTo>
                  <a:pt x="99" y="38"/>
                </a:lnTo>
                <a:lnTo>
                  <a:pt x="103" y="44"/>
                </a:lnTo>
                <a:lnTo>
                  <a:pt x="103" y="47"/>
                </a:lnTo>
                <a:lnTo>
                  <a:pt x="104" y="49"/>
                </a:lnTo>
                <a:lnTo>
                  <a:pt x="103" y="50"/>
                </a:lnTo>
                <a:lnTo>
                  <a:pt x="96" y="50"/>
                </a:lnTo>
                <a:lnTo>
                  <a:pt x="92" y="49"/>
                </a:lnTo>
                <a:lnTo>
                  <a:pt x="88" y="50"/>
                </a:lnTo>
                <a:lnTo>
                  <a:pt x="87" y="50"/>
                </a:lnTo>
                <a:lnTo>
                  <a:pt x="85" y="52"/>
                </a:lnTo>
                <a:lnTo>
                  <a:pt x="85" y="58"/>
                </a:lnTo>
                <a:lnTo>
                  <a:pt x="85" y="61"/>
                </a:lnTo>
                <a:lnTo>
                  <a:pt x="88" y="66"/>
                </a:lnTo>
                <a:lnTo>
                  <a:pt x="91" y="67"/>
                </a:lnTo>
                <a:lnTo>
                  <a:pt x="93" y="69"/>
                </a:lnTo>
                <a:lnTo>
                  <a:pt x="96" y="69"/>
                </a:lnTo>
                <a:lnTo>
                  <a:pt x="97" y="71"/>
                </a:lnTo>
                <a:lnTo>
                  <a:pt x="99" y="74"/>
                </a:lnTo>
                <a:lnTo>
                  <a:pt x="101" y="83"/>
                </a:lnTo>
                <a:lnTo>
                  <a:pt x="103" y="88"/>
                </a:lnTo>
                <a:lnTo>
                  <a:pt x="103" y="94"/>
                </a:lnTo>
                <a:lnTo>
                  <a:pt x="104" y="94"/>
                </a:lnTo>
                <a:lnTo>
                  <a:pt x="104" y="96"/>
                </a:lnTo>
                <a:lnTo>
                  <a:pt x="101" y="104"/>
                </a:lnTo>
                <a:lnTo>
                  <a:pt x="99" y="108"/>
                </a:lnTo>
                <a:lnTo>
                  <a:pt x="96" y="113"/>
                </a:lnTo>
                <a:lnTo>
                  <a:pt x="93" y="118"/>
                </a:lnTo>
                <a:lnTo>
                  <a:pt x="91" y="122"/>
                </a:lnTo>
                <a:lnTo>
                  <a:pt x="91" y="126"/>
                </a:lnTo>
                <a:lnTo>
                  <a:pt x="92" y="130"/>
                </a:lnTo>
                <a:lnTo>
                  <a:pt x="92" y="136"/>
                </a:lnTo>
                <a:lnTo>
                  <a:pt x="92" y="141"/>
                </a:lnTo>
                <a:lnTo>
                  <a:pt x="95" y="147"/>
                </a:lnTo>
                <a:lnTo>
                  <a:pt x="97" y="151"/>
                </a:lnTo>
                <a:lnTo>
                  <a:pt x="104" y="166"/>
                </a:lnTo>
                <a:lnTo>
                  <a:pt x="107" y="171"/>
                </a:lnTo>
                <a:lnTo>
                  <a:pt x="113" y="177"/>
                </a:lnTo>
                <a:lnTo>
                  <a:pt x="116" y="177"/>
                </a:lnTo>
                <a:lnTo>
                  <a:pt x="115" y="180"/>
                </a:lnTo>
                <a:lnTo>
                  <a:pt x="116" y="195"/>
                </a:lnTo>
                <a:lnTo>
                  <a:pt x="115" y="198"/>
                </a:lnTo>
                <a:lnTo>
                  <a:pt x="113" y="199"/>
                </a:lnTo>
                <a:lnTo>
                  <a:pt x="107" y="193"/>
                </a:lnTo>
                <a:lnTo>
                  <a:pt x="104" y="193"/>
                </a:lnTo>
                <a:lnTo>
                  <a:pt x="100" y="191"/>
                </a:lnTo>
                <a:lnTo>
                  <a:pt x="96" y="191"/>
                </a:lnTo>
                <a:lnTo>
                  <a:pt x="93" y="188"/>
                </a:lnTo>
                <a:lnTo>
                  <a:pt x="72" y="188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88" name="Freeform 1115"/>
          <p:cNvSpPr>
            <a:spLocks/>
          </p:cNvSpPr>
          <p:nvPr/>
        </p:nvSpPr>
        <p:spPr bwMode="auto">
          <a:xfrm>
            <a:off x="8225423" y="3347771"/>
            <a:ext cx="99391" cy="55838"/>
          </a:xfrm>
          <a:custGeom>
            <a:avLst/>
            <a:gdLst/>
            <a:ahLst/>
            <a:cxnLst>
              <a:cxn ang="0">
                <a:pos x="45" y="9"/>
              </a:cxn>
              <a:cxn ang="0">
                <a:pos x="45" y="8"/>
              </a:cxn>
              <a:cxn ang="0">
                <a:pos x="41" y="6"/>
              </a:cxn>
              <a:cxn ang="0">
                <a:pos x="41" y="5"/>
              </a:cxn>
              <a:cxn ang="0">
                <a:pos x="40" y="5"/>
              </a:cxn>
              <a:cxn ang="0">
                <a:pos x="36" y="6"/>
              </a:cxn>
              <a:cxn ang="0">
                <a:pos x="34" y="6"/>
              </a:cxn>
              <a:cxn ang="0">
                <a:pos x="32" y="5"/>
              </a:cxn>
              <a:cxn ang="0">
                <a:pos x="26" y="3"/>
              </a:cxn>
              <a:cxn ang="0">
                <a:pos x="25" y="3"/>
              </a:cxn>
              <a:cxn ang="0">
                <a:pos x="25" y="2"/>
              </a:cxn>
              <a:cxn ang="0">
                <a:pos x="24" y="0"/>
              </a:cxn>
              <a:cxn ang="0">
                <a:pos x="22" y="0"/>
              </a:cxn>
              <a:cxn ang="0">
                <a:pos x="18" y="0"/>
              </a:cxn>
              <a:cxn ang="0">
                <a:pos x="14" y="2"/>
              </a:cxn>
              <a:cxn ang="0">
                <a:pos x="12" y="5"/>
              </a:cxn>
              <a:cxn ang="0">
                <a:pos x="9" y="9"/>
              </a:cxn>
              <a:cxn ang="0">
                <a:pos x="4" y="16"/>
              </a:cxn>
              <a:cxn ang="0">
                <a:pos x="2" y="17"/>
              </a:cxn>
              <a:cxn ang="0">
                <a:pos x="0" y="20"/>
              </a:cxn>
              <a:cxn ang="0">
                <a:pos x="0" y="22"/>
              </a:cxn>
              <a:cxn ang="0">
                <a:pos x="1" y="22"/>
              </a:cxn>
              <a:cxn ang="0">
                <a:pos x="2" y="22"/>
              </a:cxn>
              <a:cxn ang="0">
                <a:pos x="2" y="25"/>
              </a:cxn>
              <a:cxn ang="0">
                <a:pos x="4" y="25"/>
              </a:cxn>
              <a:cxn ang="0">
                <a:pos x="8" y="27"/>
              </a:cxn>
              <a:cxn ang="0">
                <a:pos x="13" y="28"/>
              </a:cxn>
              <a:cxn ang="0">
                <a:pos x="18" y="28"/>
              </a:cxn>
              <a:cxn ang="0">
                <a:pos x="25" y="25"/>
              </a:cxn>
              <a:cxn ang="0">
                <a:pos x="26" y="25"/>
              </a:cxn>
              <a:cxn ang="0">
                <a:pos x="29" y="27"/>
              </a:cxn>
              <a:cxn ang="0">
                <a:pos x="32" y="27"/>
              </a:cxn>
              <a:cxn ang="0">
                <a:pos x="34" y="27"/>
              </a:cxn>
              <a:cxn ang="0">
                <a:pos x="40" y="25"/>
              </a:cxn>
              <a:cxn ang="0">
                <a:pos x="44" y="25"/>
              </a:cxn>
              <a:cxn ang="0">
                <a:pos x="49" y="24"/>
              </a:cxn>
              <a:cxn ang="0">
                <a:pos x="52" y="22"/>
              </a:cxn>
              <a:cxn ang="0">
                <a:pos x="52" y="20"/>
              </a:cxn>
              <a:cxn ang="0">
                <a:pos x="52" y="17"/>
              </a:cxn>
              <a:cxn ang="0">
                <a:pos x="50" y="14"/>
              </a:cxn>
              <a:cxn ang="0">
                <a:pos x="45" y="13"/>
              </a:cxn>
              <a:cxn ang="0">
                <a:pos x="45" y="11"/>
              </a:cxn>
              <a:cxn ang="0">
                <a:pos x="45" y="9"/>
              </a:cxn>
            </a:cxnLst>
            <a:rect l="0" t="0" r="r" b="b"/>
            <a:pathLst>
              <a:path w="52" h="28">
                <a:moveTo>
                  <a:pt x="45" y="9"/>
                </a:moveTo>
                <a:lnTo>
                  <a:pt x="45" y="8"/>
                </a:lnTo>
                <a:lnTo>
                  <a:pt x="41" y="6"/>
                </a:lnTo>
                <a:lnTo>
                  <a:pt x="41" y="5"/>
                </a:lnTo>
                <a:lnTo>
                  <a:pt x="40" y="5"/>
                </a:lnTo>
                <a:lnTo>
                  <a:pt x="36" y="6"/>
                </a:lnTo>
                <a:lnTo>
                  <a:pt x="34" y="6"/>
                </a:lnTo>
                <a:lnTo>
                  <a:pt x="32" y="5"/>
                </a:lnTo>
                <a:lnTo>
                  <a:pt x="26" y="3"/>
                </a:lnTo>
                <a:lnTo>
                  <a:pt x="25" y="3"/>
                </a:lnTo>
                <a:lnTo>
                  <a:pt x="25" y="2"/>
                </a:lnTo>
                <a:lnTo>
                  <a:pt x="24" y="0"/>
                </a:lnTo>
                <a:lnTo>
                  <a:pt x="22" y="0"/>
                </a:lnTo>
                <a:lnTo>
                  <a:pt x="18" y="0"/>
                </a:lnTo>
                <a:lnTo>
                  <a:pt x="14" y="2"/>
                </a:lnTo>
                <a:lnTo>
                  <a:pt x="12" y="5"/>
                </a:lnTo>
                <a:lnTo>
                  <a:pt x="9" y="9"/>
                </a:lnTo>
                <a:lnTo>
                  <a:pt x="4" y="16"/>
                </a:lnTo>
                <a:lnTo>
                  <a:pt x="2" y="17"/>
                </a:lnTo>
                <a:lnTo>
                  <a:pt x="0" y="20"/>
                </a:lnTo>
                <a:lnTo>
                  <a:pt x="0" y="22"/>
                </a:lnTo>
                <a:lnTo>
                  <a:pt x="1" y="22"/>
                </a:lnTo>
                <a:lnTo>
                  <a:pt x="2" y="22"/>
                </a:lnTo>
                <a:lnTo>
                  <a:pt x="2" y="25"/>
                </a:lnTo>
                <a:lnTo>
                  <a:pt x="4" y="25"/>
                </a:lnTo>
                <a:lnTo>
                  <a:pt x="8" y="27"/>
                </a:lnTo>
                <a:lnTo>
                  <a:pt x="13" y="28"/>
                </a:lnTo>
                <a:lnTo>
                  <a:pt x="18" y="28"/>
                </a:lnTo>
                <a:lnTo>
                  <a:pt x="25" y="25"/>
                </a:lnTo>
                <a:lnTo>
                  <a:pt x="26" y="25"/>
                </a:lnTo>
                <a:lnTo>
                  <a:pt x="29" y="27"/>
                </a:lnTo>
                <a:lnTo>
                  <a:pt x="32" y="27"/>
                </a:lnTo>
                <a:lnTo>
                  <a:pt x="34" y="27"/>
                </a:lnTo>
                <a:lnTo>
                  <a:pt x="40" y="25"/>
                </a:lnTo>
                <a:lnTo>
                  <a:pt x="44" y="25"/>
                </a:lnTo>
                <a:lnTo>
                  <a:pt x="49" y="24"/>
                </a:lnTo>
                <a:lnTo>
                  <a:pt x="52" y="22"/>
                </a:lnTo>
                <a:lnTo>
                  <a:pt x="52" y="20"/>
                </a:lnTo>
                <a:lnTo>
                  <a:pt x="52" y="17"/>
                </a:lnTo>
                <a:lnTo>
                  <a:pt x="50" y="14"/>
                </a:lnTo>
                <a:lnTo>
                  <a:pt x="45" y="13"/>
                </a:lnTo>
                <a:lnTo>
                  <a:pt x="45" y="11"/>
                </a:lnTo>
                <a:lnTo>
                  <a:pt x="45" y="9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89" name="Freeform 1116"/>
          <p:cNvSpPr>
            <a:spLocks/>
          </p:cNvSpPr>
          <p:nvPr/>
        </p:nvSpPr>
        <p:spPr bwMode="auto">
          <a:xfrm>
            <a:off x="8225423" y="3347771"/>
            <a:ext cx="99391" cy="55838"/>
          </a:xfrm>
          <a:custGeom>
            <a:avLst/>
            <a:gdLst/>
            <a:ahLst/>
            <a:cxnLst>
              <a:cxn ang="0">
                <a:pos x="45" y="9"/>
              </a:cxn>
              <a:cxn ang="0">
                <a:pos x="45" y="8"/>
              </a:cxn>
              <a:cxn ang="0">
                <a:pos x="41" y="6"/>
              </a:cxn>
              <a:cxn ang="0">
                <a:pos x="41" y="5"/>
              </a:cxn>
              <a:cxn ang="0">
                <a:pos x="40" y="5"/>
              </a:cxn>
              <a:cxn ang="0">
                <a:pos x="36" y="6"/>
              </a:cxn>
              <a:cxn ang="0">
                <a:pos x="34" y="6"/>
              </a:cxn>
              <a:cxn ang="0">
                <a:pos x="32" y="5"/>
              </a:cxn>
              <a:cxn ang="0">
                <a:pos x="26" y="3"/>
              </a:cxn>
              <a:cxn ang="0">
                <a:pos x="25" y="3"/>
              </a:cxn>
              <a:cxn ang="0">
                <a:pos x="25" y="2"/>
              </a:cxn>
              <a:cxn ang="0">
                <a:pos x="24" y="0"/>
              </a:cxn>
              <a:cxn ang="0">
                <a:pos x="22" y="0"/>
              </a:cxn>
              <a:cxn ang="0">
                <a:pos x="18" y="0"/>
              </a:cxn>
              <a:cxn ang="0">
                <a:pos x="14" y="2"/>
              </a:cxn>
              <a:cxn ang="0">
                <a:pos x="12" y="5"/>
              </a:cxn>
              <a:cxn ang="0">
                <a:pos x="9" y="9"/>
              </a:cxn>
              <a:cxn ang="0">
                <a:pos x="4" y="16"/>
              </a:cxn>
              <a:cxn ang="0">
                <a:pos x="2" y="17"/>
              </a:cxn>
              <a:cxn ang="0">
                <a:pos x="0" y="20"/>
              </a:cxn>
              <a:cxn ang="0">
                <a:pos x="0" y="22"/>
              </a:cxn>
              <a:cxn ang="0">
                <a:pos x="1" y="22"/>
              </a:cxn>
              <a:cxn ang="0">
                <a:pos x="2" y="22"/>
              </a:cxn>
              <a:cxn ang="0">
                <a:pos x="2" y="25"/>
              </a:cxn>
              <a:cxn ang="0">
                <a:pos x="4" y="25"/>
              </a:cxn>
              <a:cxn ang="0">
                <a:pos x="8" y="27"/>
              </a:cxn>
              <a:cxn ang="0">
                <a:pos x="13" y="28"/>
              </a:cxn>
              <a:cxn ang="0">
                <a:pos x="18" y="28"/>
              </a:cxn>
              <a:cxn ang="0">
                <a:pos x="25" y="25"/>
              </a:cxn>
              <a:cxn ang="0">
                <a:pos x="26" y="25"/>
              </a:cxn>
              <a:cxn ang="0">
                <a:pos x="29" y="27"/>
              </a:cxn>
              <a:cxn ang="0">
                <a:pos x="32" y="27"/>
              </a:cxn>
              <a:cxn ang="0">
                <a:pos x="34" y="27"/>
              </a:cxn>
              <a:cxn ang="0">
                <a:pos x="40" y="25"/>
              </a:cxn>
              <a:cxn ang="0">
                <a:pos x="44" y="25"/>
              </a:cxn>
              <a:cxn ang="0">
                <a:pos x="49" y="24"/>
              </a:cxn>
              <a:cxn ang="0">
                <a:pos x="52" y="22"/>
              </a:cxn>
              <a:cxn ang="0">
                <a:pos x="52" y="20"/>
              </a:cxn>
              <a:cxn ang="0">
                <a:pos x="52" y="17"/>
              </a:cxn>
              <a:cxn ang="0">
                <a:pos x="50" y="14"/>
              </a:cxn>
              <a:cxn ang="0">
                <a:pos x="45" y="13"/>
              </a:cxn>
              <a:cxn ang="0">
                <a:pos x="45" y="11"/>
              </a:cxn>
              <a:cxn ang="0">
                <a:pos x="45" y="9"/>
              </a:cxn>
            </a:cxnLst>
            <a:rect l="0" t="0" r="r" b="b"/>
            <a:pathLst>
              <a:path w="52" h="28">
                <a:moveTo>
                  <a:pt x="45" y="9"/>
                </a:moveTo>
                <a:lnTo>
                  <a:pt x="45" y="8"/>
                </a:lnTo>
                <a:lnTo>
                  <a:pt x="41" y="6"/>
                </a:lnTo>
                <a:lnTo>
                  <a:pt x="41" y="5"/>
                </a:lnTo>
                <a:lnTo>
                  <a:pt x="40" y="5"/>
                </a:lnTo>
                <a:lnTo>
                  <a:pt x="36" y="6"/>
                </a:lnTo>
                <a:lnTo>
                  <a:pt x="34" y="6"/>
                </a:lnTo>
                <a:lnTo>
                  <a:pt x="32" y="5"/>
                </a:lnTo>
                <a:lnTo>
                  <a:pt x="26" y="3"/>
                </a:lnTo>
                <a:lnTo>
                  <a:pt x="25" y="3"/>
                </a:lnTo>
                <a:lnTo>
                  <a:pt x="25" y="2"/>
                </a:lnTo>
                <a:lnTo>
                  <a:pt x="24" y="0"/>
                </a:lnTo>
                <a:lnTo>
                  <a:pt x="22" y="0"/>
                </a:lnTo>
                <a:lnTo>
                  <a:pt x="18" y="0"/>
                </a:lnTo>
                <a:lnTo>
                  <a:pt x="14" y="2"/>
                </a:lnTo>
                <a:lnTo>
                  <a:pt x="12" y="5"/>
                </a:lnTo>
                <a:lnTo>
                  <a:pt x="9" y="9"/>
                </a:lnTo>
                <a:lnTo>
                  <a:pt x="4" y="16"/>
                </a:lnTo>
                <a:lnTo>
                  <a:pt x="2" y="17"/>
                </a:lnTo>
                <a:lnTo>
                  <a:pt x="0" y="20"/>
                </a:lnTo>
                <a:lnTo>
                  <a:pt x="0" y="22"/>
                </a:lnTo>
                <a:lnTo>
                  <a:pt x="1" y="22"/>
                </a:lnTo>
                <a:lnTo>
                  <a:pt x="2" y="22"/>
                </a:lnTo>
                <a:lnTo>
                  <a:pt x="2" y="25"/>
                </a:lnTo>
                <a:lnTo>
                  <a:pt x="4" y="25"/>
                </a:lnTo>
                <a:lnTo>
                  <a:pt x="8" y="27"/>
                </a:lnTo>
                <a:lnTo>
                  <a:pt x="13" y="28"/>
                </a:lnTo>
                <a:lnTo>
                  <a:pt x="18" y="28"/>
                </a:lnTo>
                <a:lnTo>
                  <a:pt x="25" y="25"/>
                </a:lnTo>
                <a:lnTo>
                  <a:pt x="26" y="25"/>
                </a:lnTo>
                <a:lnTo>
                  <a:pt x="29" y="27"/>
                </a:lnTo>
                <a:lnTo>
                  <a:pt x="32" y="27"/>
                </a:lnTo>
                <a:lnTo>
                  <a:pt x="34" y="27"/>
                </a:lnTo>
                <a:lnTo>
                  <a:pt x="40" y="25"/>
                </a:lnTo>
                <a:lnTo>
                  <a:pt x="44" y="25"/>
                </a:lnTo>
                <a:lnTo>
                  <a:pt x="49" y="24"/>
                </a:lnTo>
                <a:lnTo>
                  <a:pt x="52" y="22"/>
                </a:lnTo>
                <a:lnTo>
                  <a:pt x="52" y="20"/>
                </a:lnTo>
                <a:lnTo>
                  <a:pt x="52" y="17"/>
                </a:lnTo>
                <a:lnTo>
                  <a:pt x="50" y="14"/>
                </a:lnTo>
                <a:lnTo>
                  <a:pt x="45" y="13"/>
                </a:lnTo>
                <a:lnTo>
                  <a:pt x="45" y="11"/>
                </a:lnTo>
                <a:lnTo>
                  <a:pt x="45" y="9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90" name="Freeform 1117"/>
          <p:cNvSpPr>
            <a:spLocks/>
          </p:cNvSpPr>
          <p:nvPr/>
        </p:nvSpPr>
        <p:spPr bwMode="auto">
          <a:xfrm>
            <a:off x="6204502" y="2714226"/>
            <a:ext cx="124724" cy="152481"/>
          </a:xfrm>
          <a:custGeom>
            <a:avLst/>
            <a:gdLst/>
            <a:ahLst/>
            <a:cxnLst>
              <a:cxn ang="0">
                <a:pos x="6" y="9"/>
              </a:cxn>
              <a:cxn ang="0">
                <a:pos x="9" y="11"/>
              </a:cxn>
              <a:cxn ang="0">
                <a:pos x="7" y="14"/>
              </a:cxn>
              <a:cxn ang="0">
                <a:pos x="10" y="15"/>
              </a:cxn>
              <a:cxn ang="0">
                <a:pos x="14" y="15"/>
              </a:cxn>
              <a:cxn ang="0">
                <a:pos x="11" y="17"/>
              </a:cxn>
              <a:cxn ang="0">
                <a:pos x="10" y="20"/>
              </a:cxn>
              <a:cxn ang="0">
                <a:pos x="14" y="23"/>
              </a:cxn>
              <a:cxn ang="0">
                <a:pos x="11" y="30"/>
              </a:cxn>
              <a:cxn ang="0">
                <a:pos x="10" y="31"/>
              </a:cxn>
              <a:cxn ang="0">
                <a:pos x="13" y="34"/>
              </a:cxn>
              <a:cxn ang="0">
                <a:pos x="15" y="37"/>
              </a:cxn>
              <a:cxn ang="0">
                <a:pos x="18" y="39"/>
              </a:cxn>
              <a:cxn ang="0">
                <a:pos x="13" y="39"/>
              </a:cxn>
              <a:cxn ang="0">
                <a:pos x="17" y="44"/>
              </a:cxn>
              <a:cxn ang="0">
                <a:pos x="15" y="47"/>
              </a:cxn>
              <a:cxn ang="0">
                <a:pos x="11" y="47"/>
              </a:cxn>
              <a:cxn ang="0">
                <a:pos x="7" y="47"/>
              </a:cxn>
              <a:cxn ang="0">
                <a:pos x="9" y="50"/>
              </a:cxn>
              <a:cxn ang="0">
                <a:pos x="9" y="52"/>
              </a:cxn>
              <a:cxn ang="0">
                <a:pos x="6" y="50"/>
              </a:cxn>
              <a:cxn ang="0">
                <a:pos x="3" y="56"/>
              </a:cxn>
              <a:cxn ang="0">
                <a:pos x="1" y="59"/>
              </a:cxn>
              <a:cxn ang="0">
                <a:pos x="1" y="63"/>
              </a:cxn>
              <a:cxn ang="0">
                <a:pos x="5" y="69"/>
              </a:cxn>
              <a:cxn ang="0">
                <a:pos x="11" y="77"/>
              </a:cxn>
              <a:cxn ang="0">
                <a:pos x="14" y="72"/>
              </a:cxn>
              <a:cxn ang="0">
                <a:pos x="19" y="64"/>
              </a:cxn>
              <a:cxn ang="0">
                <a:pos x="26" y="69"/>
              </a:cxn>
              <a:cxn ang="0">
                <a:pos x="34" y="74"/>
              </a:cxn>
              <a:cxn ang="0">
                <a:pos x="41" y="70"/>
              </a:cxn>
              <a:cxn ang="0">
                <a:pos x="46" y="70"/>
              </a:cxn>
              <a:cxn ang="0">
                <a:pos x="55" y="70"/>
              </a:cxn>
              <a:cxn ang="0">
                <a:pos x="59" y="64"/>
              </a:cxn>
              <a:cxn ang="0">
                <a:pos x="62" y="52"/>
              </a:cxn>
              <a:cxn ang="0">
                <a:pos x="59" y="39"/>
              </a:cxn>
              <a:cxn ang="0">
                <a:pos x="59" y="33"/>
              </a:cxn>
              <a:cxn ang="0">
                <a:pos x="58" y="30"/>
              </a:cxn>
              <a:cxn ang="0">
                <a:pos x="45" y="20"/>
              </a:cxn>
              <a:cxn ang="0">
                <a:pos x="39" y="17"/>
              </a:cxn>
              <a:cxn ang="0">
                <a:pos x="34" y="8"/>
              </a:cxn>
              <a:cxn ang="0">
                <a:pos x="26" y="1"/>
              </a:cxn>
              <a:cxn ang="0">
                <a:pos x="18" y="1"/>
              </a:cxn>
              <a:cxn ang="0">
                <a:pos x="7" y="4"/>
              </a:cxn>
            </a:cxnLst>
            <a:rect l="0" t="0" r="r" b="b"/>
            <a:pathLst>
              <a:path w="66" h="78">
                <a:moveTo>
                  <a:pt x="3" y="6"/>
                </a:moveTo>
                <a:lnTo>
                  <a:pt x="6" y="8"/>
                </a:lnTo>
                <a:lnTo>
                  <a:pt x="6" y="9"/>
                </a:lnTo>
                <a:lnTo>
                  <a:pt x="6" y="11"/>
                </a:lnTo>
                <a:lnTo>
                  <a:pt x="7" y="11"/>
                </a:lnTo>
                <a:lnTo>
                  <a:pt x="9" y="11"/>
                </a:lnTo>
                <a:lnTo>
                  <a:pt x="9" y="12"/>
                </a:lnTo>
                <a:lnTo>
                  <a:pt x="7" y="12"/>
                </a:lnTo>
                <a:lnTo>
                  <a:pt x="7" y="14"/>
                </a:lnTo>
                <a:lnTo>
                  <a:pt x="9" y="14"/>
                </a:lnTo>
                <a:lnTo>
                  <a:pt x="9" y="15"/>
                </a:lnTo>
                <a:lnTo>
                  <a:pt x="10" y="15"/>
                </a:lnTo>
                <a:lnTo>
                  <a:pt x="11" y="15"/>
                </a:lnTo>
                <a:lnTo>
                  <a:pt x="13" y="15"/>
                </a:lnTo>
                <a:lnTo>
                  <a:pt x="14" y="15"/>
                </a:lnTo>
                <a:lnTo>
                  <a:pt x="14" y="17"/>
                </a:lnTo>
                <a:lnTo>
                  <a:pt x="13" y="17"/>
                </a:lnTo>
                <a:lnTo>
                  <a:pt x="11" y="17"/>
                </a:lnTo>
                <a:lnTo>
                  <a:pt x="10" y="17"/>
                </a:lnTo>
                <a:lnTo>
                  <a:pt x="10" y="19"/>
                </a:lnTo>
                <a:lnTo>
                  <a:pt x="10" y="20"/>
                </a:lnTo>
                <a:lnTo>
                  <a:pt x="10" y="22"/>
                </a:lnTo>
                <a:lnTo>
                  <a:pt x="14" y="22"/>
                </a:lnTo>
                <a:lnTo>
                  <a:pt x="14" y="23"/>
                </a:lnTo>
                <a:lnTo>
                  <a:pt x="14" y="25"/>
                </a:lnTo>
                <a:lnTo>
                  <a:pt x="13" y="26"/>
                </a:lnTo>
                <a:lnTo>
                  <a:pt x="11" y="30"/>
                </a:lnTo>
                <a:lnTo>
                  <a:pt x="10" y="30"/>
                </a:lnTo>
                <a:lnTo>
                  <a:pt x="11" y="31"/>
                </a:lnTo>
                <a:lnTo>
                  <a:pt x="10" y="31"/>
                </a:lnTo>
                <a:lnTo>
                  <a:pt x="10" y="33"/>
                </a:lnTo>
                <a:lnTo>
                  <a:pt x="11" y="33"/>
                </a:lnTo>
                <a:lnTo>
                  <a:pt x="13" y="34"/>
                </a:lnTo>
                <a:lnTo>
                  <a:pt x="14" y="34"/>
                </a:lnTo>
                <a:lnTo>
                  <a:pt x="15" y="36"/>
                </a:lnTo>
                <a:lnTo>
                  <a:pt x="15" y="37"/>
                </a:lnTo>
                <a:lnTo>
                  <a:pt x="17" y="37"/>
                </a:lnTo>
                <a:lnTo>
                  <a:pt x="18" y="37"/>
                </a:lnTo>
                <a:lnTo>
                  <a:pt x="18" y="39"/>
                </a:lnTo>
                <a:lnTo>
                  <a:pt x="17" y="39"/>
                </a:lnTo>
                <a:lnTo>
                  <a:pt x="14" y="39"/>
                </a:lnTo>
                <a:lnTo>
                  <a:pt x="13" y="39"/>
                </a:lnTo>
                <a:lnTo>
                  <a:pt x="14" y="41"/>
                </a:lnTo>
                <a:lnTo>
                  <a:pt x="15" y="44"/>
                </a:lnTo>
                <a:lnTo>
                  <a:pt x="17" y="44"/>
                </a:lnTo>
                <a:lnTo>
                  <a:pt x="17" y="45"/>
                </a:lnTo>
                <a:lnTo>
                  <a:pt x="15" y="45"/>
                </a:lnTo>
                <a:lnTo>
                  <a:pt x="15" y="47"/>
                </a:lnTo>
                <a:lnTo>
                  <a:pt x="14" y="45"/>
                </a:lnTo>
                <a:lnTo>
                  <a:pt x="13" y="47"/>
                </a:lnTo>
                <a:lnTo>
                  <a:pt x="11" y="47"/>
                </a:lnTo>
                <a:lnTo>
                  <a:pt x="10" y="47"/>
                </a:lnTo>
                <a:lnTo>
                  <a:pt x="9" y="47"/>
                </a:lnTo>
                <a:lnTo>
                  <a:pt x="7" y="47"/>
                </a:lnTo>
                <a:lnTo>
                  <a:pt x="7" y="48"/>
                </a:lnTo>
                <a:lnTo>
                  <a:pt x="9" y="48"/>
                </a:lnTo>
                <a:lnTo>
                  <a:pt x="9" y="50"/>
                </a:lnTo>
                <a:lnTo>
                  <a:pt x="10" y="50"/>
                </a:lnTo>
                <a:lnTo>
                  <a:pt x="10" y="52"/>
                </a:lnTo>
                <a:lnTo>
                  <a:pt x="9" y="52"/>
                </a:lnTo>
                <a:lnTo>
                  <a:pt x="7" y="52"/>
                </a:lnTo>
                <a:lnTo>
                  <a:pt x="7" y="50"/>
                </a:lnTo>
                <a:lnTo>
                  <a:pt x="6" y="50"/>
                </a:lnTo>
                <a:lnTo>
                  <a:pt x="3" y="52"/>
                </a:lnTo>
                <a:lnTo>
                  <a:pt x="3" y="53"/>
                </a:lnTo>
                <a:lnTo>
                  <a:pt x="3" y="56"/>
                </a:lnTo>
                <a:lnTo>
                  <a:pt x="2" y="56"/>
                </a:lnTo>
                <a:lnTo>
                  <a:pt x="1" y="56"/>
                </a:lnTo>
                <a:lnTo>
                  <a:pt x="1" y="59"/>
                </a:lnTo>
                <a:lnTo>
                  <a:pt x="0" y="59"/>
                </a:lnTo>
                <a:lnTo>
                  <a:pt x="1" y="61"/>
                </a:lnTo>
                <a:lnTo>
                  <a:pt x="1" y="63"/>
                </a:lnTo>
                <a:lnTo>
                  <a:pt x="0" y="64"/>
                </a:lnTo>
                <a:lnTo>
                  <a:pt x="0" y="66"/>
                </a:lnTo>
                <a:lnTo>
                  <a:pt x="5" y="69"/>
                </a:lnTo>
                <a:lnTo>
                  <a:pt x="7" y="72"/>
                </a:lnTo>
                <a:lnTo>
                  <a:pt x="10" y="74"/>
                </a:lnTo>
                <a:lnTo>
                  <a:pt x="11" y="77"/>
                </a:lnTo>
                <a:lnTo>
                  <a:pt x="13" y="78"/>
                </a:lnTo>
                <a:lnTo>
                  <a:pt x="14" y="74"/>
                </a:lnTo>
                <a:lnTo>
                  <a:pt x="14" y="72"/>
                </a:lnTo>
                <a:lnTo>
                  <a:pt x="15" y="67"/>
                </a:lnTo>
                <a:lnTo>
                  <a:pt x="17" y="66"/>
                </a:lnTo>
                <a:lnTo>
                  <a:pt x="19" y="64"/>
                </a:lnTo>
                <a:lnTo>
                  <a:pt x="21" y="66"/>
                </a:lnTo>
                <a:lnTo>
                  <a:pt x="25" y="66"/>
                </a:lnTo>
                <a:lnTo>
                  <a:pt x="26" y="69"/>
                </a:lnTo>
                <a:lnTo>
                  <a:pt x="30" y="70"/>
                </a:lnTo>
                <a:lnTo>
                  <a:pt x="33" y="74"/>
                </a:lnTo>
                <a:lnTo>
                  <a:pt x="34" y="74"/>
                </a:lnTo>
                <a:lnTo>
                  <a:pt x="35" y="74"/>
                </a:lnTo>
                <a:lnTo>
                  <a:pt x="35" y="72"/>
                </a:lnTo>
                <a:lnTo>
                  <a:pt x="41" y="70"/>
                </a:lnTo>
                <a:lnTo>
                  <a:pt x="43" y="72"/>
                </a:lnTo>
                <a:lnTo>
                  <a:pt x="43" y="70"/>
                </a:lnTo>
                <a:lnTo>
                  <a:pt x="46" y="70"/>
                </a:lnTo>
                <a:lnTo>
                  <a:pt x="50" y="70"/>
                </a:lnTo>
                <a:lnTo>
                  <a:pt x="51" y="69"/>
                </a:lnTo>
                <a:lnTo>
                  <a:pt x="55" y="70"/>
                </a:lnTo>
                <a:lnTo>
                  <a:pt x="58" y="70"/>
                </a:lnTo>
                <a:lnTo>
                  <a:pt x="59" y="70"/>
                </a:lnTo>
                <a:lnTo>
                  <a:pt x="59" y="64"/>
                </a:lnTo>
                <a:lnTo>
                  <a:pt x="63" y="59"/>
                </a:lnTo>
                <a:lnTo>
                  <a:pt x="66" y="56"/>
                </a:lnTo>
                <a:lnTo>
                  <a:pt x="62" y="52"/>
                </a:lnTo>
                <a:lnTo>
                  <a:pt x="59" y="48"/>
                </a:lnTo>
                <a:lnTo>
                  <a:pt x="59" y="44"/>
                </a:lnTo>
                <a:lnTo>
                  <a:pt x="59" y="39"/>
                </a:lnTo>
                <a:lnTo>
                  <a:pt x="65" y="37"/>
                </a:lnTo>
                <a:lnTo>
                  <a:pt x="62" y="36"/>
                </a:lnTo>
                <a:lnTo>
                  <a:pt x="59" y="33"/>
                </a:lnTo>
                <a:lnTo>
                  <a:pt x="62" y="30"/>
                </a:lnTo>
                <a:lnTo>
                  <a:pt x="61" y="28"/>
                </a:lnTo>
                <a:lnTo>
                  <a:pt x="58" y="30"/>
                </a:lnTo>
                <a:lnTo>
                  <a:pt x="50" y="26"/>
                </a:lnTo>
                <a:lnTo>
                  <a:pt x="46" y="25"/>
                </a:lnTo>
                <a:lnTo>
                  <a:pt x="45" y="20"/>
                </a:lnTo>
                <a:lnTo>
                  <a:pt x="45" y="19"/>
                </a:lnTo>
                <a:lnTo>
                  <a:pt x="42" y="17"/>
                </a:lnTo>
                <a:lnTo>
                  <a:pt x="39" y="17"/>
                </a:lnTo>
                <a:lnTo>
                  <a:pt x="37" y="14"/>
                </a:lnTo>
                <a:lnTo>
                  <a:pt x="35" y="9"/>
                </a:lnTo>
                <a:lnTo>
                  <a:pt x="34" y="8"/>
                </a:lnTo>
                <a:lnTo>
                  <a:pt x="31" y="4"/>
                </a:lnTo>
                <a:lnTo>
                  <a:pt x="27" y="3"/>
                </a:lnTo>
                <a:lnTo>
                  <a:pt x="26" y="1"/>
                </a:lnTo>
                <a:lnTo>
                  <a:pt x="25" y="0"/>
                </a:lnTo>
                <a:lnTo>
                  <a:pt x="21" y="1"/>
                </a:lnTo>
                <a:lnTo>
                  <a:pt x="18" y="1"/>
                </a:lnTo>
                <a:lnTo>
                  <a:pt x="14" y="3"/>
                </a:lnTo>
                <a:lnTo>
                  <a:pt x="10" y="4"/>
                </a:lnTo>
                <a:lnTo>
                  <a:pt x="7" y="4"/>
                </a:lnTo>
                <a:lnTo>
                  <a:pt x="3" y="6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91" name="Freeform 1118"/>
          <p:cNvSpPr>
            <a:spLocks/>
          </p:cNvSpPr>
          <p:nvPr/>
        </p:nvSpPr>
        <p:spPr bwMode="auto">
          <a:xfrm>
            <a:off x="6204502" y="2714226"/>
            <a:ext cx="124724" cy="152481"/>
          </a:xfrm>
          <a:custGeom>
            <a:avLst/>
            <a:gdLst/>
            <a:ahLst/>
            <a:cxnLst>
              <a:cxn ang="0">
                <a:pos x="6" y="9"/>
              </a:cxn>
              <a:cxn ang="0">
                <a:pos x="9" y="11"/>
              </a:cxn>
              <a:cxn ang="0">
                <a:pos x="7" y="14"/>
              </a:cxn>
              <a:cxn ang="0">
                <a:pos x="10" y="15"/>
              </a:cxn>
              <a:cxn ang="0">
                <a:pos x="14" y="15"/>
              </a:cxn>
              <a:cxn ang="0">
                <a:pos x="11" y="17"/>
              </a:cxn>
              <a:cxn ang="0">
                <a:pos x="10" y="20"/>
              </a:cxn>
              <a:cxn ang="0">
                <a:pos x="14" y="23"/>
              </a:cxn>
              <a:cxn ang="0">
                <a:pos x="11" y="30"/>
              </a:cxn>
              <a:cxn ang="0">
                <a:pos x="10" y="31"/>
              </a:cxn>
              <a:cxn ang="0">
                <a:pos x="13" y="34"/>
              </a:cxn>
              <a:cxn ang="0">
                <a:pos x="15" y="37"/>
              </a:cxn>
              <a:cxn ang="0">
                <a:pos x="18" y="39"/>
              </a:cxn>
              <a:cxn ang="0">
                <a:pos x="13" y="39"/>
              </a:cxn>
              <a:cxn ang="0">
                <a:pos x="17" y="44"/>
              </a:cxn>
              <a:cxn ang="0">
                <a:pos x="15" y="47"/>
              </a:cxn>
              <a:cxn ang="0">
                <a:pos x="11" y="47"/>
              </a:cxn>
              <a:cxn ang="0">
                <a:pos x="7" y="47"/>
              </a:cxn>
              <a:cxn ang="0">
                <a:pos x="9" y="50"/>
              </a:cxn>
              <a:cxn ang="0">
                <a:pos x="9" y="52"/>
              </a:cxn>
              <a:cxn ang="0">
                <a:pos x="6" y="50"/>
              </a:cxn>
              <a:cxn ang="0">
                <a:pos x="3" y="56"/>
              </a:cxn>
              <a:cxn ang="0">
                <a:pos x="1" y="59"/>
              </a:cxn>
              <a:cxn ang="0">
                <a:pos x="1" y="63"/>
              </a:cxn>
              <a:cxn ang="0">
                <a:pos x="5" y="69"/>
              </a:cxn>
              <a:cxn ang="0">
                <a:pos x="11" y="77"/>
              </a:cxn>
              <a:cxn ang="0">
                <a:pos x="14" y="72"/>
              </a:cxn>
              <a:cxn ang="0">
                <a:pos x="19" y="64"/>
              </a:cxn>
              <a:cxn ang="0">
                <a:pos x="26" y="69"/>
              </a:cxn>
              <a:cxn ang="0">
                <a:pos x="34" y="74"/>
              </a:cxn>
              <a:cxn ang="0">
                <a:pos x="41" y="70"/>
              </a:cxn>
              <a:cxn ang="0">
                <a:pos x="46" y="70"/>
              </a:cxn>
              <a:cxn ang="0">
                <a:pos x="55" y="70"/>
              </a:cxn>
              <a:cxn ang="0">
                <a:pos x="59" y="64"/>
              </a:cxn>
              <a:cxn ang="0">
                <a:pos x="62" y="52"/>
              </a:cxn>
              <a:cxn ang="0">
                <a:pos x="59" y="39"/>
              </a:cxn>
              <a:cxn ang="0">
                <a:pos x="59" y="33"/>
              </a:cxn>
              <a:cxn ang="0">
                <a:pos x="58" y="30"/>
              </a:cxn>
              <a:cxn ang="0">
                <a:pos x="45" y="20"/>
              </a:cxn>
              <a:cxn ang="0">
                <a:pos x="39" y="17"/>
              </a:cxn>
              <a:cxn ang="0">
                <a:pos x="34" y="8"/>
              </a:cxn>
              <a:cxn ang="0">
                <a:pos x="26" y="1"/>
              </a:cxn>
              <a:cxn ang="0">
                <a:pos x="18" y="1"/>
              </a:cxn>
              <a:cxn ang="0">
                <a:pos x="7" y="4"/>
              </a:cxn>
            </a:cxnLst>
            <a:rect l="0" t="0" r="r" b="b"/>
            <a:pathLst>
              <a:path w="66" h="78">
                <a:moveTo>
                  <a:pt x="3" y="6"/>
                </a:moveTo>
                <a:lnTo>
                  <a:pt x="6" y="8"/>
                </a:lnTo>
                <a:lnTo>
                  <a:pt x="6" y="9"/>
                </a:lnTo>
                <a:lnTo>
                  <a:pt x="6" y="11"/>
                </a:lnTo>
                <a:lnTo>
                  <a:pt x="7" y="11"/>
                </a:lnTo>
                <a:lnTo>
                  <a:pt x="9" y="11"/>
                </a:lnTo>
                <a:lnTo>
                  <a:pt x="9" y="12"/>
                </a:lnTo>
                <a:lnTo>
                  <a:pt x="7" y="12"/>
                </a:lnTo>
                <a:lnTo>
                  <a:pt x="7" y="14"/>
                </a:lnTo>
                <a:lnTo>
                  <a:pt x="9" y="14"/>
                </a:lnTo>
                <a:lnTo>
                  <a:pt x="9" y="15"/>
                </a:lnTo>
                <a:lnTo>
                  <a:pt x="10" y="15"/>
                </a:lnTo>
                <a:lnTo>
                  <a:pt x="11" y="15"/>
                </a:lnTo>
                <a:lnTo>
                  <a:pt x="13" y="15"/>
                </a:lnTo>
                <a:lnTo>
                  <a:pt x="14" y="15"/>
                </a:lnTo>
                <a:lnTo>
                  <a:pt x="14" y="17"/>
                </a:lnTo>
                <a:lnTo>
                  <a:pt x="13" y="17"/>
                </a:lnTo>
                <a:lnTo>
                  <a:pt x="11" y="17"/>
                </a:lnTo>
                <a:lnTo>
                  <a:pt x="10" y="17"/>
                </a:lnTo>
                <a:lnTo>
                  <a:pt x="10" y="19"/>
                </a:lnTo>
                <a:lnTo>
                  <a:pt x="10" y="20"/>
                </a:lnTo>
                <a:lnTo>
                  <a:pt x="10" y="22"/>
                </a:lnTo>
                <a:lnTo>
                  <a:pt x="14" y="22"/>
                </a:lnTo>
                <a:lnTo>
                  <a:pt x="14" y="23"/>
                </a:lnTo>
                <a:lnTo>
                  <a:pt x="14" y="25"/>
                </a:lnTo>
                <a:lnTo>
                  <a:pt x="13" y="26"/>
                </a:lnTo>
                <a:lnTo>
                  <a:pt x="11" y="30"/>
                </a:lnTo>
                <a:lnTo>
                  <a:pt x="10" y="30"/>
                </a:lnTo>
                <a:lnTo>
                  <a:pt x="11" y="31"/>
                </a:lnTo>
                <a:lnTo>
                  <a:pt x="10" y="31"/>
                </a:lnTo>
                <a:lnTo>
                  <a:pt x="10" y="33"/>
                </a:lnTo>
                <a:lnTo>
                  <a:pt x="11" y="33"/>
                </a:lnTo>
                <a:lnTo>
                  <a:pt x="13" y="34"/>
                </a:lnTo>
                <a:lnTo>
                  <a:pt x="14" y="34"/>
                </a:lnTo>
                <a:lnTo>
                  <a:pt x="15" y="36"/>
                </a:lnTo>
                <a:lnTo>
                  <a:pt x="15" y="37"/>
                </a:lnTo>
                <a:lnTo>
                  <a:pt x="17" y="37"/>
                </a:lnTo>
                <a:lnTo>
                  <a:pt x="18" y="37"/>
                </a:lnTo>
                <a:lnTo>
                  <a:pt x="18" y="39"/>
                </a:lnTo>
                <a:lnTo>
                  <a:pt x="17" y="39"/>
                </a:lnTo>
                <a:lnTo>
                  <a:pt x="14" y="39"/>
                </a:lnTo>
                <a:lnTo>
                  <a:pt x="13" y="39"/>
                </a:lnTo>
                <a:lnTo>
                  <a:pt x="14" y="41"/>
                </a:lnTo>
                <a:lnTo>
                  <a:pt x="15" y="44"/>
                </a:lnTo>
                <a:lnTo>
                  <a:pt x="17" y="44"/>
                </a:lnTo>
                <a:lnTo>
                  <a:pt x="17" y="45"/>
                </a:lnTo>
                <a:lnTo>
                  <a:pt x="15" y="45"/>
                </a:lnTo>
                <a:lnTo>
                  <a:pt x="15" y="47"/>
                </a:lnTo>
                <a:lnTo>
                  <a:pt x="14" y="45"/>
                </a:lnTo>
                <a:lnTo>
                  <a:pt x="13" y="47"/>
                </a:lnTo>
                <a:lnTo>
                  <a:pt x="11" y="47"/>
                </a:lnTo>
                <a:lnTo>
                  <a:pt x="10" y="47"/>
                </a:lnTo>
                <a:lnTo>
                  <a:pt x="9" y="47"/>
                </a:lnTo>
                <a:lnTo>
                  <a:pt x="7" y="47"/>
                </a:lnTo>
                <a:lnTo>
                  <a:pt x="7" y="48"/>
                </a:lnTo>
                <a:lnTo>
                  <a:pt x="9" y="48"/>
                </a:lnTo>
                <a:lnTo>
                  <a:pt x="9" y="50"/>
                </a:lnTo>
                <a:lnTo>
                  <a:pt x="10" y="50"/>
                </a:lnTo>
                <a:lnTo>
                  <a:pt x="10" y="52"/>
                </a:lnTo>
                <a:lnTo>
                  <a:pt x="9" y="52"/>
                </a:lnTo>
                <a:lnTo>
                  <a:pt x="7" y="52"/>
                </a:lnTo>
                <a:lnTo>
                  <a:pt x="7" y="50"/>
                </a:lnTo>
                <a:lnTo>
                  <a:pt x="6" y="50"/>
                </a:lnTo>
                <a:lnTo>
                  <a:pt x="3" y="52"/>
                </a:lnTo>
                <a:lnTo>
                  <a:pt x="3" y="53"/>
                </a:lnTo>
                <a:lnTo>
                  <a:pt x="3" y="56"/>
                </a:lnTo>
                <a:lnTo>
                  <a:pt x="2" y="56"/>
                </a:lnTo>
                <a:lnTo>
                  <a:pt x="1" y="56"/>
                </a:lnTo>
                <a:lnTo>
                  <a:pt x="1" y="59"/>
                </a:lnTo>
                <a:lnTo>
                  <a:pt x="0" y="59"/>
                </a:lnTo>
                <a:lnTo>
                  <a:pt x="1" y="61"/>
                </a:lnTo>
                <a:lnTo>
                  <a:pt x="1" y="63"/>
                </a:lnTo>
                <a:lnTo>
                  <a:pt x="0" y="64"/>
                </a:lnTo>
                <a:lnTo>
                  <a:pt x="0" y="66"/>
                </a:lnTo>
                <a:lnTo>
                  <a:pt x="5" y="69"/>
                </a:lnTo>
                <a:lnTo>
                  <a:pt x="7" y="72"/>
                </a:lnTo>
                <a:lnTo>
                  <a:pt x="10" y="74"/>
                </a:lnTo>
                <a:lnTo>
                  <a:pt x="11" y="77"/>
                </a:lnTo>
                <a:lnTo>
                  <a:pt x="13" y="78"/>
                </a:lnTo>
                <a:lnTo>
                  <a:pt x="14" y="74"/>
                </a:lnTo>
                <a:lnTo>
                  <a:pt x="14" y="72"/>
                </a:lnTo>
                <a:lnTo>
                  <a:pt x="15" y="67"/>
                </a:lnTo>
                <a:lnTo>
                  <a:pt x="17" y="66"/>
                </a:lnTo>
                <a:lnTo>
                  <a:pt x="19" y="64"/>
                </a:lnTo>
                <a:lnTo>
                  <a:pt x="21" y="66"/>
                </a:lnTo>
                <a:lnTo>
                  <a:pt x="25" y="66"/>
                </a:lnTo>
                <a:lnTo>
                  <a:pt x="26" y="69"/>
                </a:lnTo>
                <a:lnTo>
                  <a:pt x="30" y="70"/>
                </a:lnTo>
                <a:lnTo>
                  <a:pt x="33" y="74"/>
                </a:lnTo>
                <a:lnTo>
                  <a:pt x="34" y="74"/>
                </a:lnTo>
                <a:lnTo>
                  <a:pt x="35" y="74"/>
                </a:lnTo>
                <a:lnTo>
                  <a:pt x="35" y="72"/>
                </a:lnTo>
                <a:lnTo>
                  <a:pt x="41" y="70"/>
                </a:lnTo>
                <a:lnTo>
                  <a:pt x="43" y="72"/>
                </a:lnTo>
                <a:lnTo>
                  <a:pt x="43" y="70"/>
                </a:lnTo>
                <a:lnTo>
                  <a:pt x="46" y="70"/>
                </a:lnTo>
                <a:lnTo>
                  <a:pt x="50" y="70"/>
                </a:lnTo>
                <a:lnTo>
                  <a:pt x="51" y="69"/>
                </a:lnTo>
                <a:lnTo>
                  <a:pt x="55" y="70"/>
                </a:lnTo>
                <a:lnTo>
                  <a:pt x="58" y="70"/>
                </a:lnTo>
                <a:lnTo>
                  <a:pt x="59" y="70"/>
                </a:lnTo>
                <a:lnTo>
                  <a:pt x="59" y="64"/>
                </a:lnTo>
                <a:lnTo>
                  <a:pt x="63" y="59"/>
                </a:lnTo>
                <a:lnTo>
                  <a:pt x="66" y="56"/>
                </a:lnTo>
                <a:lnTo>
                  <a:pt x="62" y="52"/>
                </a:lnTo>
                <a:lnTo>
                  <a:pt x="59" y="48"/>
                </a:lnTo>
                <a:lnTo>
                  <a:pt x="59" y="44"/>
                </a:lnTo>
                <a:lnTo>
                  <a:pt x="59" y="39"/>
                </a:lnTo>
                <a:lnTo>
                  <a:pt x="65" y="37"/>
                </a:lnTo>
                <a:lnTo>
                  <a:pt x="62" y="36"/>
                </a:lnTo>
                <a:lnTo>
                  <a:pt x="59" y="33"/>
                </a:lnTo>
                <a:lnTo>
                  <a:pt x="62" y="30"/>
                </a:lnTo>
                <a:lnTo>
                  <a:pt x="61" y="28"/>
                </a:lnTo>
                <a:lnTo>
                  <a:pt x="58" y="30"/>
                </a:lnTo>
                <a:lnTo>
                  <a:pt x="50" y="26"/>
                </a:lnTo>
                <a:lnTo>
                  <a:pt x="46" y="25"/>
                </a:lnTo>
                <a:lnTo>
                  <a:pt x="45" y="20"/>
                </a:lnTo>
                <a:lnTo>
                  <a:pt x="45" y="19"/>
                </a:lnTo>
                <a:lnTo>
                  <a:pt x="42" y="17"/>
                </a:lnTo>
                <a:lnTo>
                  <a:pt x="39" y="17"/>
                </a:lnTo>
                <a:lnTo>
                  <a:pt x="37" y="14"/>
                </a:lnTo>
                <a:lnTo>
                  <a:pt x="35" y="9"/>
                </a:lnTo>
                <a:lnTo>
                  <a:pt x="34" y="8"/>
                </a:lnTo>
                <a:lnTo>
                  <a:pt x="31" y="4"/>
                </a:lnTo>
                <a:lnTo>
                  <a:pt x="27" y="3"/>
                </a:lnTo>
                <a:lnTo>
                  <a:pt x="26" y="1"/>
                </a:lnTo>
                <a:lnTo>
                  <a:pt x="25" y="0"/>
                </a:lnTo>
                <a:lnTo>
                  <a:pt x="21" y="1"/>
                </a:lnTo>
                <a:lnTo>
                  <a:pt x="18" y="1"/>
                </a:lnTo>
                <a:lnTo>
                  <a:pt x="14" y="3"/>
                </a:lnTo>
                <a:lnTo>
                  <a:pt x="10" y="4"/>
                </a:lnTo>
                <a:lnTo>
                  <a:pt x="7" y="4"/>
                </a:lnTo>
                <a:lnTo>
                  <a:pt x="3" y="6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92" name="Freeform 1119"/>
          <p:cNvSpPr>
            <a:spLocks/>
          </p:cNvSpPr>
          <p:nvPr/>
        </p:nvSpPr>
        <p:spPr bwMode="auto">
          <a:xfrm>
            <a:off x="6235685" y="2379199"/>
            <a:ext cx="93543" cy="49396"/>
          </a:xfrm>
          <a:custGeom>
            <a:avLst/>
            <a:gdLst/>
            <a:ahLst/>
            <a:cxnLst>
              <a:cxn ang="0">
                <a:pos x="0" y="22"/>
              </a:cxn>
              <a:cxn ang="0">
                <a:pos x="2" y="20"/>
              </a:cxn>
              <a:cxn ang="0">
                <a:pos x="4" y="19"/>
              </a:cxn>
              <a:cxn ang="0">
                <a:pos x="5" y="15"/>
              </a:cxn>
              <a:cxn ang="0">
                <a:pos x="5" y="14"/>
              </a:cxn>
              <a:cxn ang="0">
                <a:pos x="6" y="12"/>
              </a:cxn>
              <a:cxn ang="0">
                <a:pos x="12" y="12"/>
              </a:cxn>
              <a:cxn ang="0">
                <a:pos x="14" y="11"/>
              </a:cxn>
              <a:cxn ang="0">
                <a:pos x="18" y="9"/>
              </a:cxn>
              <a:cxn ang="0">
                <a:pos x="21" y="6"/>
              </a:cxn>
              <a:cxn ang="0">
                <a:pos x="22" y="3"/>
              </a:cxn>
              <a:cxn ang="0">
                <a:pos x="22" y="0"/>
              </a:cxn>
              <a:cxn ang="0">
                <a:pos x="21" y="4"/>
              </a:cxn>
              <a:cxn ang="0">
                <a:pos x="20" y="8"/>
              </a:cxn>
              <a:cxn ang="0">
                <a:pos x="17" y="9"/>
              </a:cxn>
              <a:cxn ang="0">
                <a:pos x="16" y="11"/>
              </a:cxn>
              <a:cxn ang="0">
                <a:pos x="16" y="12"/>
              </a:cxn>
              <a:cxn ang="0">
                <a:pos x="18" y="12"/>
              </a:cxn>
              <a:cxn ang="0">
                <a:pos x="21" y="14"/>
              </a:cxn>
              <a:cxn ang="0">
                <a:pos x="24" y="14"/>
              </a:cxn>
              <a:cxn ang="0">
                <a:pos x="24" y="12"/>
              </a:cxn>
              <a:cxn ang="0">
                <a:pos x="24" y="9"/>
              </a:cxn>
              <a:cxn ang="0">
                <a:pos x="25" y="8"/>
              </a:cxn>
              <a:cxn ang="0">
                <a:pos x="28" y="6"/>
              </a:cxn>
              <a:cxn ang="0">
                <a:pos x="29" y="8"/>
              </a:cxn>
              <a:cxn ang="0">
                <a:pos x="32" y="8"/>
              </a:cxn>
              <a:cxn ang="0">
                <a:pos x="33" y="9"/>
              </a:cxn>
              <a:cxn ang="0">
                <a:pos x="36" y="9"/>
              </a:cxn>
              <a:cxn ang="0">
                <a:pos x="40" y="11"/>
              </a:cxn>
              <a:cxn ang="0">
                <a:pos x="45" y="9"/>
              </a:cxn>
              <a:cxn ang="0">
                <a:pos x="46" y="11"/>
              </a:cxn>
              <a:cxn ang="0">
                <a:pos x="49" y="15"/>
              </a:cxn>
              <a:cxn ang="0">
                <a:pos x="48" y="17"/>
              </a:cxn>
              <a:cxn ang="0">
                <a:pos x="48" y="20"/>
              </a:cxn>
              <a:cxn ang="0">
                <a:pos x="48" y="23"/>
              </a:cxn>
              <a:cxn ang="0">
                <a:pos x="42" y="23"/>
              </a:cxn>
              <a:cxn ang="0">
                <a:pos x="34" y="25"/>
              </a:cxn>
              <a:cxn ang="0">
                <a:pos x="21" y="25"/>
              </a:cxn>
              <a:cxn ang="0">
                <a:pos x="4" y="23"/>
              </a:cxn>
              <a:cxn ang="0">
                <a:pos x="0" y="22"/>
              </a:cxn>
            </a:cxnLst>
            <a:rect l="0" t="0" r="r" b="b"/>
            <a:pathLst>
              <a:path w="49" h="25">
                <a:moveTo>
                  <a:pt x="0" y="22"/>
                </a:moveTo>
                <a:lnTo>
                  <a:pt x="2" y="20"/>
                </a:lnTo>
                <a:lnTo>
                  <a:pt x="4" y="19"/>
                </a:lnTo>
                <a:lnTo>
                  <a:pt x="5" y="15"/>
                </a:lnTo>
                <a:lnTo>
                  <a:pt x="5" y="14"/>
                </a:lnTo>
                <a:lnTo>
                  <a:pt x="6" y="12"/>
                </a:lnTo>
                <a:lnTo>
                  <a:pt x="12" y="12"/>
                </a:lnTo>
                <a:lnTo>
                  <a:pt x="14" y="11"/>
                </a:lnTo>
                <a:lnTo>
                  <a:pt x="18" y="9"/>
                </a:lnTo>
                <a:lnTo>
                  <a:pt x="21" y="6"/>
                </a:lnTo>
                <a:lnTo>
                  <a:pt x="22" y="3"/>
                </a:lnTo>
                <a:lnTo>
                  <a:pt x="22" y="0"/>
                </a:lnTo>
                <a:lnTo>
                  <a:pt x="21" y="4"/>
                </a:lnTo>
                <a:lnTo>
                  <a:pt x="20" y="8"/>
                </a:lnTo>
                <a:lnTo>
                  <a:pt x="17" y="9"/>
                </a:lnTo>
                <a:lnTo>
                  <a:pt x="16" y="11"/>
                </a:lnTo>
                <a:lnTo>
                  <a:pt x="16" y="12"/>
                </a:lnTo>
                <a:lnTo>
                  <a:pt x="18" y="12"/>
                </a:lnTo>
                <a:lnTo>
                  <a:pt x="21" y="14"/>
                </a:lnTo>
                <a:lnTo>
                  <a:pt x="24" y="14"/>
                </a:lnTo>
                <a:lnTo>
                  <a:pt x="24" y="12"/>
                </a:lnTo>
                <a:lnTo>
                  <a:pt x="24" y="9"/>
                </a:lnTo>
                <a:lnTo>
                  <a:pt x="25" y="8"/>
                </a:lnTo>
                <a:lnTo>
                  <a:pt x="28" y="6"/>
                </a:lnTo>
                <a:lnTo>
                  <a:pt x="29" y="8"/>
                </a:lnTo>
                <a:lnTo>
                  <a:pt x="32" y="8"/>
                </a:lnTo>
                <a:lnTo>
                  <a:pt x="33" y="9"/>
                </a:lnTo>
                <a:lnTo>
                  <a:pt x="36" y="9"/>
                </a:lnTo>
                <a:lnTo>
                  <a:pt x="40" y="11"/>
                </a:lnTo>
                <a:lnTo>
                  <a:pt x="45" y="9"/>
                </a:lnTo>
                <a:lnTo>
                  <a:pt x="46" y="11"/>
                </a:lnTo>
                <a:lnTo>
                  <a:pt x="49" y="15"/>
                </a:lnTo>
                <a:lnTo>
                  <a:pt x="48" y="17"/>
                </a:lnTo>
                <a:lnTo>
                  <a:pt x="48" y="20"/>
                </a:lnTo>
                <a:lnTo>
                  <a:pt x="48" y="23"/>
                </a:lnTo>
                <a:lnTo>
                  <a:pt x="42" y="23"/>
                </a:lnTo>
                <a:lnTo>
                  <a:pt x="34" y="25"/>
                </a:lnTo>
                <a:lnTo>
                  <a:pt x="21" y="25"/>
                </a:lnTo>
                <a:lnTo>
                  <a:pt x="4" y="23"/>
                </a:lnTo>
                <a:lnTo>
                  <a:pt x="0" y="22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93" name="Freeform 1120"/>
          <p:cNvSpPr>
            <a:spLocks/>
          </p:cNvSpPr>
          <p:nvPr/>
        </p:nvSpPr>
        <p:spPr bwMode="auto">
          <a:xfrm>
            <a:off x="6235685" y="2379199"/>
            <a:ext cx="93543" cy="49396"/>
          </a:xfrm>
          <a:custGeom>
            <a:avLst/>
            <a:gdLst/>
            <a:ahLst/>
            <a:cxnLst>
              <a:cxn ang="0">
                <a:pos x="0" y="22"/>
              </a:cxn>
              <a:cxn ang="0">
                <a:pos x="2" y="20"/>
              </a:cxn>
              <a:cxn ang="0">
                <a:pos x="4" y="19"/>
              </a:cxn>
              <a:cxn ang="0">
                <a:pos x="5" y="15"/>
              </a:cxn>
              <a:cxn ang="0">
                <a:pos x="5" y="14"/>
              </a:cxn>
              <a:cxn ang="0">
                <a:pos x="6" y="12"/>
              </a:cxn>
              <a:cxn ang="0">
                <a:pos x="12" y="12"/>
              </a:cxn>
              <a:cxn ang="0">
                <a:pos x="14" y="11"/>
              </a:cxn>
              <a:cxn ang="0">
                <a:pos x="18" y="9"/>
              </a:cxn>
              <a:cxn ang="0">
                <a:pos x="21" y="6"/>
              </a:cxn>
              <a:cxn ang="0">
                <a:pos x="22" y="3"/>
              </a:cxn>
              <a:cxn ang="0">
                <a:pos x="22" y="0"/>
              </a:cxn>
              <a:cxn ang="0">
                <a:pos x="21" y="4"/>
              </a:cxn>
              <a:cxn ang="0">
                <a:pos x="20" y="8"/>
              </a:cxn>
              <a:cxn ang="0">
                <a:pos x="17" y="9"/>
              </a:cxn>
              <a:cxn ang="0">
                <a:pos x="16" y="11"/>
              </a:cxn>
              <a:cxn ang="0">
                <a:pos x="16" y="12"/>
              </a:cxn>
              <a:cxn ang="0">
                <a:pos x="18" y="12"/>
              </a:cxn>
              <a:cxn ang="0">
                <a:pos x="21" y="14"/>
              </a:cxn>
              <a:cxn ang="0">
                <a:pos x="24" y="14"/>
              </a:cxn>
              <a:cxn ang="0">
                <a:pos x="24" y="12"/>
              </a:cxn>
              <a:cxn ang="0">
                <a:pos x="24" y="9"/>
              </a:cxn>
              <a:cxn ang="0">
                <a:pos x="25" y="8"/>
              </a:cxn>
              <a:cxn ang="0">
                <a:pos x="28" y="6"/>
              </a:cxn>
              <a:cxn ang="0">
                <a:pos x="29" y="8"/>
              </a:cxn>
              <a:cxn ang="0">
                <a:pos x="32" y="8"/>
              </a:cxn>
              <a:cxn ang="0">
                <a:pos x="33" y="9"/>
              </a:cxn>
              <a:cxn ang="0">
                <a:pos x="36" y="9"/>
              </a:cxn>
              <a:cxn ang="0">
                <a:pos x="40" y="11"/>
              </a:cxn>
              <a:cxn ang="0">
                <a:pos x="45" y="9"/>
              </a:cxn>
              <a:cxn ang="0">
                <a:pos x="46" y="11"/>
              </a:cxn>
              <a:cxn ang="0">
                <a:pos x="49" y="15"/>
              </a:cxn>
              <a:cxn ang="0">
                <a:pos x="48" y="17"/>
              </a:cxn>
              <a:cxn ang="0">
                <a:pos x="48" y="20"/>
              </a:cxn>
              <a:cxn ang="0">
                <a:pos x="48" y="23"/>
              </a:cxn>
              <a:cxn ang="0">
                <a:pos x="42" y="23"/>
              </a:cxn>
              <a:cxn ang="0">
                <a:pos x="34" y="25"/>
              </a:cxn>
              <a:cxn ang="0">
                <a:pos x="21" y="25"/>
              </a:cxn>
              <a:cxn ang="0">
                <a:pos x="4" y="23"/>
              </a:cxn>
              <a:cxn ang="0">
                <a:pos x="0" y="22"/>
              </a:cxn>
            </a:cxnLst>
            <a:rect l="0" t="0" r="r" b="b"/>
            <a:pathLst>
              <a:path w="49" h="25">
                <a:moveTo>
                  <a:pt x="0" y="22"/>
                </a:moveTo>
                <a:lnTo>
                  <a:pt x="2" y="20"/>
                </a:lnTo>
                <a:lnTo>
                  <a:pt x="4" y="19"/>
                </a:lnTo>
                <a:lnTo>
                  <a:pt x="5" y="15"/>
                </a:lnTo>
                <a:lnTo>
                  <a:pt x="5" y="14"/>
                </a:lnTo>
                <a:lnTo>
                  <a:pt x="6" y="12"/>
                </a:lnTo>
                <a:lnTo>
                  <a:pt x="12" y="12"/>
                </a:lnTo>
                <a:lnTo>
                  <a:pt x="14" y="11"/>
                </a:lnTo>
                <a:lnTo>
                  <a:pt x="18" y="9"/>
                </a:lnTo>
                <a:lnTo>
                  <a:pt x="21" y="6"/>
                </a:lnTo>
                <a:lnTo>
                  <a:pt x="22" y="3"/>
                </a:lnTo>
                <a:lnTo>
                  <a:pt x="22" y="0"/>
                </a:lnTo>
                <a:lnTo>
                  <a:pt x="21" y="4"/>
                </a:lnTo>
                <a:lnTo>
                  <a:pt x="20" y="8"/>
                </a:lnTo>
                <a:lnTo>
                  <a:pt x="17" y="9"/>
                </a:lnTo>
                <a:lnTo>
                  <a:pt x="16" y="11"/>
                </a:lnTo>
                <a:lnTo>
                  <a:pt x="16" y="12"/>
                </a:lnTo>
                <a:lnTo>
                  <a:pt x="18" y="12"/>
                </a:lnTo>
                <a:lnTo>
                  <a:pt x="21" y="14"/>
                </a:lnTo>
                <a:lnTo>
                  <a:pt x="24" y="14"/>
                </a:lnTo>
                <a:lnTo>
                  <a:pt x="24" y="12"/>
                </a:lnTo>
                <a:lnTo>
                  <a:pt x="24" y="9"/>
                </a:lnTo>
                <a:lnTo>
                  <a:pt x="25" y="8"/>
                </a:lnTo>
                <a:lnTo>
                  <a:pt x="28" y="6"/>
                </a:lnTo>
                <a:lnTo>
                  <a:pt x="29" y="8"/>
                </a:lnTo>
                <a:lnTo>
                  <a:pt x="32" y="8"/>
                </a:lnTo>
                <a:lnTo>
                  <a:pt x="33" y="9"/>
                </a:lnTo>
                <a:lnTo>
                  <a:pt x="36" y="9"/>
                </a:lnTo>
                <a:lnTo>
                  <a:pt x="40" y="11"/>
                </a:lnTo>
                <a:lnTo>
                  <a:pt x="45" y="9"/>
                </a:lnTo>
                <a:lnTo>
                  <a:pt x="46" y="11"/>
                </a:lnTo>
                <a:lnTo>
                  <a:pt x="49" y="15"/>
                </a:lnTo>
                <a:lnTo>
                  <a:pt x="48" y="17"/>
                </a:lnTo>
                <a:lnTo>
                  <a:pt x="48" y="20"/>
                </a:lnTo>
                <a:lnTo>
                  <a:pt x="48" y="23"/>
                </a:lnTo>
                <a:lnTo>
                  <a:pt x="42" y="23"/>
                </a:lnTo>
                <a:lnTo>
                  <a:pt x="34" y="25"/>
                </a:lnTo>
                <a:lnTo>
                  <a:pt x="21" y="25"/>
                </a:lnTo>
                <a:lnTo>
                  <a:pt x="4" y="23"/>
                </a:lnTo>
                <a:lnTo>
                  <a:pt x="0" y="22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94" name="Rectangle 1121"/>
          <p:cNvSpPr>
            <a:spLocks noChangeArrowheads="1"/>
          </p:cNvSpPr>
          <p:nvPr/>
        </p:nvSpPr>
        <p:spPr bwMode="auto">
          <a:xfrm>
            <a:off x="4078345" y="2989119"/>
            <a:ext cx="1949" cy="4295"/>
          </a:xfrm>
          <a:prstGeom prst="rect">
            <a:avLst/>
          </a:prstGeom>
          <a:solidFill>
            <a:srgbClr val="0070C0"/>
          </a:solidFill>
          <a:ln w="3175">
            <a:solidFill>
              <a:sysClr val="window" lastClr="FFFFFF">
                <a:lumMod val="95000"/>
              </a:sysClr>
            </a:solidFill>
            <a:miter lim="800000"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95" name="Rectangle 1122"/>
          <p:cNvSpPr>
            <a:spLocks noChangeArrowheads="1"/>
          </p:cNvSpPr>
          <p:nvPr/>
        </p:nvSpPr>
        <p:spPr bwMode="auto">
          <a:xfrm>
            <a:off x="3803565" y="3695684"/>
            <a:ext cx="1948" cy="4295"/>
          </a:xfrm>
          <a:prstGeom prst="rect">
            <a:avLst/>
          </a:prstGeom>
          <a:solidFill>
            <a:srgbClr val="0070C0"/>
          </a:solidFill>
          <a:ln w="3175">
            <a:solidFill>
              <a:sysClr val="window" lastClr="FFFFFF">
                <a:lumMod val="95000"/>
              </a:sysClr>
            </a:solidFill>
            <a:miter lim="800000"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96" name="Freeform 1123"/>
          <p:cNvSpPr>
            <a:spLocks/>
          </p:cNvSpPr>
          <p:nvPr/>
        </p:nvSpPr>
        <p:spPr bwMode="auto">
          <a:xfrm>
            <a:off x="4084192" y="3010597"/>
            <a:ext cx="5846" cy="429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3" y="0"/>
              </a:cxn>
              <a:cxn ang="0">
                <a:pos x="0" y="0"/>
              </a:cxn>
            </a:cxnLst>
            <a:rect l="0" t="0" r="r" b="b"/>
            <a:pathLst>
              <a:path w="3" h="2">
                <a:moveTo>
                  <a:pt x="0" y="0"/>
                </a:moveTo>
                <a:lnTo>
                  <a:pt x="0" y="2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97" name="Freeform 1124"/>
          <p:cNvSpPr>
            <a:spLocks/>
          </p:cNvSpPr>
          <p:nvPr/>
        </p:nvSpPr>
        <p:spPr bwMode="auto">
          <a:xfrm>
            <a:off x="3807462" y="3717158"/>
            <a:ext cx="5846" cy="644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3" y="0"/>
              </a:cxn>
              <a:cxn ang="0">
                <a:pos x="0" y="0"/>
              </a:cxn>
            </a:cxnLst>
            <a:rect l="0" t="0" r="r" b="b"/>
            <a:pathLst>
              <a:path w="3" h="2">
                <a:moveTo>
                  <a:pt x="0" y="0"/>
                </a:moveTo>
                <a:lnTo>
                  <a:pt x="0" y="2"/>
                </a:lnTo>
                <a:lnTo>
                  <a:pt x="3" y="0"/>
                </a:lnTo>
                <a:lnTo>
                  <a:pt x="0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98" name="Freeform 1125"/>
          <p:cNvSpPr>
            <a:spLocks/>
          </p:cNvSpPr>
          <p:nvPr/>
        </p:nvSpPr>
        <p:spPr bwMode="auto">
          <a:xfrm>
            <a:off x="3908800" y="3794474"/>
            <a:ext cx="5846" cy="10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4"/>
              </a:cxn>
              <a:cxn ang="0">
                <a:pos x="0" y="6"/>
              </a:cxn>
              <a:cxn ang="0">
                <a:pos x="1" y="6"/>
              </a:cxn>
              <a:cxn ang="0">
                <a:pos x="3" y="4"/>
              </a:cxn>
              <a:cxn ang="0">
                <a:pos x="1" y="1"/>
              </a:cxn>
              <a:cxn ang="0">
                <a:pos x="0" y="0"/>
              </a:cxn>
            </a:cxnLst>
            <a:rect l="0" t="0" r="r" b="b"/>
            <a:pathLst>
              <a:path w="3" h="6">
                <a:moveTo>
                  <a:pt x="0" y="0"/>
                </a:moveTo>
                <a:lnTo>
                  <a:pt x="0" y="4"/>
                </a:lnTo>
                <a:lnTo>
                  <a:pt x="0" y="6"/>
                </a:lnTo>
                <a:lnTo>
                  <a:pt x="1" y="6"/>
                </a:lnTo>
                <a:lnTo>
                  <a:pt x="3" y="4"/>
                </a:lnTo>
                <a:lnTo>
                  <a:pt x="1" y="1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199" name="Freeform 1126"/>
          <p:cNvSpPr>
            <a:spLocks/>
          </p:cNvSpPr>
          <p:nvPr/>
        </p:nvSpPr>
        <p:spPr bwMode="auto">
          <a:xfrm>
            <a:off x="3908800" y="3794474"/>
            <a:ext cx="5846" cy="10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4"/>
              </a:cxn>
              <a:cxn ang="0">
                <a:pos x="0" y="6"/>
              </a:cxn>
              <a:cxn ang="0">
                <a:pos x="1" y="6"/>
              </a:cxn>
              <a:cxn ang="0">
                <a:pos x="3" y="4"/>
              </a:cxn>
              <a:cxn ang="0">
                <a:pos x="1" y="1"/>
              </a:cxn>
              <a:cxn ang="0">
                <a:pos x="0" y="0"/>
              </a:cxn>
            </a:cxnLst>
            <a:rect l="0" t="0" r="r" b="b"/>
            <a:pathLst>
              <a:path w="3" h="6">
                <a:moveTo>
                  <a:pt x="0" y="0"/>
                </a:moveTo>
                <a:lnTo>
                  <a:pt x="0" y="4"/>
                </a:lnTo>
                <a:lnTo>
                  <a:pt x="0" y="6"/>
                </a:lnTo>
                <a:lnTo>
                  <a:pt x="1" y="6"/>
                </a:lnTo>
                <a:lnTo>
                  <a:pt x="3" y="4"/>
                </a:lnTo>
                <a:lnTo>
                  <a:pt x="1" y="1"/>
                </a:lnTo>
                <a:lnTo>
                  <a:pt x="0" y="0"/>
                </a:lnTo>
              </a:path>
            </a:pathLst>
          </a:custGeom>
          <a:solidFill>
            <a:srgbClr val="0070C0"/>
          </a:solidFill>
          <a:ln w="3175" cmpd="sng">
            <a:noFill/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00" name="Freeform 1127"/>
          <p:cNvSpPr>
            <a:spLocks/>
          </p:cNvSpPr>
          <p:nvPr/>
        </p:nvSpPr>
        <p:spPr bwMode="auto">
          <a:xfrm>
            <a:off x="3901005" y="3914738"/>
            <a:ext cx="1948" cy="6443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1" y="1"/>
              </a:cxn>
              <a:cxn ang="0">
                <a:pos x="0" y="3"/>
              </a:cxn>
              <a:cxn ang="0">
                <a:pos x="1" y="3"/>
              </a:cxn>
              <a:cxn ang="0">
                <a:pos x="2" y="0"/>
              </a:cxn>
            </a:cxnLst>
            <a:rect l="0" t="0" r="r" b="b"/>
            <a:pathLst>
              <a:path w="2" h="3">
                <a:moveTo>
                  <a:pt x="2" y="0"/>
                </a:moveTo>
                <a:lnTo>
                  <a:pt x="1" y="1"/>
                </a:lnTo>
                <a:lnTo>
                  <a:pt x="0" y="3"/>
                </a:lnTo>
                <a:lnTo>
                  <a:pt x="1" y="3"/>
                </a:lnTo>
                <a:lnTo>
                  <a:pt x="2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01" name="Freeform 1128"/>
          <p:cNvSpPr>
            <a:spLocks/>
          </p:cNvSpPr>
          <p:nvPr/>
        </p:nvSpPr>
        <p:spPr bwMode="auto">
          <a:xfrm>
            <a:off x="3901005" y="3914738"/>
            <a:ext cx="1948" cy="6443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1" y="1"/>
              </a:cxn>
              <a:cxn ang="0">
                <a:pos x="0" y="3"/>
              </a:cxn>
              <a:cxn ang="0">
                <a:pos x="1" y="3"/>
              </a:cxn>
              <a:cxn ang="0">
                <a:pos x="2" y="0"/>
              </a:cxn>
            </a:cxnLst>
            <a:rect l="0" t="0" r="r" b="b"/>
            <a:pathLst>
              <a:path w="2" h="3">
                <a:moveTo>
                  <a:pt x="2" y="0"/>
                </a:moveTo>
                <a:lnTo>
                  <a:pt x="1" y="1"/>
                </a:lnTo>
                <a:lnTo>
                  <a:pt x="0" y="3"/>
                </a:lnTo>
                <a:lnTo>
                  <a:pt x="1" y="3"/>
                </a:lnTo>
                <a:lnTo>
                  <a:pt x="2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02" name="Freeform 1129"/>
          <p:cNvSpPr>
            <a:spLocks/>
          </p:cNvSpPr>
          <p:nvPr/>
        </p:nvSpPr>
        <p:spPr bwMode="auto">
          <a:xfrm>
            <a:off x="6678065" y="3165224"/>
            <a:ext cx="120826" cy="150333"/>
          </a:xfrm>
          <a:custGeom>
            <a:avLst/>
            <a:gdLst/>
            <a:ahLst/>
            <a:cxnLst>
              <a:cxn ang="0">
                <a:pos x="59" y="27"/>
              </a:cxn>
              <a:cxn ang="0">
                <a:pos x="63" y="20"/>
              </a:cxn>
              <a:cxn ang="0">
                <a:pos x="59" y="0"/>
              </a:cxn>
              <a:cxn ang="0">
                <a:pos x="45" y="8"/>
              </a:cxn>
              <a:cxn ang="0">
                <a:pos x="39" y="11"/>
              </a:cxn>
              <a:cxn ang="0">
                <a:pos x="25" y="19"/>
              </a:cxn>
              <a:cxn ang="0">
                <a:pos x="24" y="19"/>
              </a:cxn>
              <a:cxn ang="0">
                <a:pos x="20" y="19"/>
              </a:cxn>
              <a:cxn ang="0">
                <a:pos x="19" y="17"/>
              </a:cxn>
              <a:cxn ang="0">
                <a:pos x="16" y="16"/>
              </a:cxn>
              <a:cxn ang="0">
                <a:pos x="15" y="14"/>
              </a:cxn>
              <a:cxn ang="0">
                <a:pos x="13" y="11"/>
              </a:cxn>
              <a:cxn ang="0">
                <a:pos x="12" y="11"/>
              </a:cxn>
              <a:cxn ang="0">
                <a:pos x="8" y="13"/>
              </a:cxn>
              <a:cxn ang="0">
                <a:pos x="8" y="17"/>
              </a:cxn>
              <a:cxn ang="0">
                <a:pos x="8" y="19"/>
              </a:cxn>
              <a:cxn ang="0">
                <a:pos x="8" y="20"/>
              </a:cxn>
              <a:cxn ang="0">
                <a:pos x="8" y="24"/>
              </a:cxn>
              <a:cxn ang="0">
                <a:pos x="7" y="27"/>
              </a:cxn>
              <a:cxn ang="0">
                <a:pos x="8" y="28"/>
              </a:cxn>
              <a:cxn ang="0">
                <a:pos x="7" y="30"/>
              </a:cxn>
              <a:cxn ang="0">
                <a:pos x="7" y="33"/>
              </a:cxn>
              <a:cxn ang="0">
                <a:pos x="7" y="35"/>
              </a:cxn>
              <a:cxn ang="0">
                <a:pos x="7" y="38"/>
              </a:cxn>
              <a:cxn ang="0">
                <a:pos x="7" y="39"/>
              </a:cxn>
              <a:cxn ang="0">
                <a:pos x="4" y="46"/>
              </a:cxn>
              <a:cxn ang="0">
                <a:pos x="3" y="50"/>
              </a:cxn>
              <a:cxn ang="0">
                <a:pos x="1" y="66"/>
              </a:cxn>
              <a:cxn ang="0">
                <a:pos x="0" y="69"/>
              </a:cxn>
              <a:cxn ang="0">
                <a:pos x="0" y="71"/>
              </a:cxn>
              <a:cxn ang="0">
                <a:pos x="0" y="72"/>
              </a:cxn>
              <a:cxn ang="0">
                <a:pos x="17" y="75"/>
              </a:cxn>
              <a:cxn ang="0">
                <a:pos x="21" y="71"/>
              </a:cxn>
              <a:cxn ang="0">
                <a:pos x="23" y="69"/>
              </a:cxn>
              <a:cxn ang="0">
                <a:pos x="27" y="61"/>
              </a:cxn>
              <a:cxn ang="0">
                <a:pos x="37" y="60"/>
              </a:cxn>
              <a:cxn ang="0">
                <a:pos x="39" y="58"/>
              </a:cxn>
              <a:cxn ang="0">
                <a:pos x="40" y="53"/>
              </a:cxn>
              <a:cxn ang="0">
                <a:pos x="45" y="50"/>
              </a:cxn>
              <a:cxn ang="0">
                <a:pos x="47" y="49"/>
              </a:cxn>
              <a:cxn ang="0">
                <a:pos x="32" y="35"/>
              </a:cxn>
              <a:cxn ang="0">
                <a:pos x="29" y="33"/>
              </a:cxn>
              <a:cxn ang="0">
                <a:pos x="40" y="30"/>
              </a:cxn>
              <a:cxn ang="0">
                <a:pos x="59" y="27"/>
              </a:cxn>
            </a:cxnLst>
            <a:rect l="0" t="0" r="r" b="b"/>
            <a:pathLst>
              <a:path w="63" h="75">
                <a:moveTo>
                  <a:pt x="59" y="27"/>
                </a:moveTo>
                <a:lnTo>
                  <a:pt x="63" y="20"/>
                </a:lnTo>
                <a:lnTo>
                  <a:pt x="59" y="0"/>
                </a:lnTo>
                <a:lnTo>
                  <a:pt x="45" y="8"/>
                </a:lnTo>
                <a:lnTo>
                  <a:pt x="39" y="11"/>
                </a:lnTo>
                <a:lnTo>
                  <a:pt x="25" y="19"/>
                </a:lnTo>
                <a:lnTo>
                  <a:pt x="24" y="19"/>
                </a:lnTo>
                <a:lnTo>
                  <a:pt x="20" y="19"/>
                </a:lnTo>
                <a:lnTo>
                  <a:pt x="19" y="17"/>
                </a:lnTo>
                <a:lnTo>
                  <a:pt x="16" y="16"/>
                </a:lnTo>
                <a:lnTo>
                  <a:pt x="15" y="14"/>
                </a:lnTo>
                <a:lnTo>
                  <a:pt x="13" y="11"/>
                </a:lnTo>
                <a:lnTo>
                  <a:pt x="12" y="11"/>
                </a:lnTo>
                <a:lnTo>
                  <a:pt x="8" y="13"/>
                </a:lnTo>
                <a:lnTo>
                  <a:pt x="8" y="17"/>
                </a:lnTo>
                <a:lnTo>
                  <a:pt x="8" y="19"/>
                </a:lnTo>
                <a:lnTo>
                  <a:pt x="8" y="20"/>
                </a:lnTo>
                <a:lnTo>
                  <a:pt x="8" y="24"/>
                </a:lnTo>
                <a:lnTo>
                  <a:pt x="7" y="27"/>
                </a:lnTo>
                <a:lnTo>
                  <a:pt x="8" y="28"/>
                </a:lnTo>
                <a:lnTo>
                  <a:pt x="7" y="30"/>
                </a:lnTo>
                <a:lnTo>
                  <a:pt x="7" y="33"/>
                </a:lnTo>
                <a:lnTo>
                  <a:pt x="7" y="35"/>
                </a:lnTo>
                <a:lnTo>
                  <a:pt x="7" y="38"/>
                </a:lnTo>
                <a:lnTo>
                  <a:pt x="7" y="39"/>
                </a:lnTo>
                <a:lnTo>
                  <a:pt x="4" y="46"/>
                </a:lnTo>
                <a:lnTo>
                  <a:pt x="3" y="50"/>
                </a:lnTo>
                <a:lnTo>
                  <a:pt x="1" y="66"/>
                </a:lnTo>
                <a:lnTo>
                  <a:pt x="0" y="69"/>
                </a:lnTo>
                <a:lnTo>
                  <a:pt x="0" y="71"/>
                </a:lnTo>
                <a:lnTo>
                  <a:pt x="0" y="72"/>
                </a:lnTo>
                <a:lnTo>
                  <a:pt x="17" y="75"/>
                </a:lnTo>
                <a:lnTo>
                  <a:pt x="21" y="71"/>
                </a:lnTo>
                <a:lnTo>
                  <a:pt x="23" y="69"/>
                </a:lnTo>
                <a:lnTo>
                  <a:pt x="27" y="61"/>
                </a:lnTo>
                <a:lnTo>
                  <a:pt x="37" y="60"/>
                </a:lnTo>
                <a:lnTo>
                  <a:pt x="39" y="58"/>
                </a:lnTo>
                <a:lnTo>
                  <a:pt x="40" y="53"/>
                </a:lnTo>
                <a:lnTo>
                  <a:pt x="45" y="50"/>
                </a:lnTo>
                <a:lnTo>
                  <a:pt x="47" y="49"/>
                </a:lnTo>
                <a:lnTo>
                  <a:pt x="32" y="35"/>
                </a:lnTo>
                <a:lnTo>
                  <a:pt x="29" y="33"/>
                </a:lnTo>
                <a:lnTo>
                  <a:pt x="40" y="30"/>
                </a:lnTo>
                <a:lnTo>
                  <a:pt x="59" y="27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03" name="Freeform 1130"/>
          <p:cNvSpPr>
            <a:spLocks/>
          </p:cNvSpPr>
          <p:nvPr/>
        </p:nvSpPr>
        <p:spPr bwMode="auto">
          <a:xfrm>
            <a:off x="6678065" y="3165224"/>
            <a:ext cx="120826" cy="150333"/>
          </a:xfrm>
          <a:custGeom>
            <a:avLst/>
            <a:gdLst/>
            <a:ahLst/>
            <a:cxnLst>
              <a:cxn ang="0">
                <a:pos x="59" y="27"/>
              </a:cxn>
              <a:cxn ang="0">
                <a:pos x="63" y="20"/>
              </a:cxn>
              <a:cxn ang="0">
                <a:pos x="59" y="0"/>
              </a:cxn>
              <a:cxn ang="0">
                <a:pos x="45" y="8"/>
              </a:cxn>
              <a:cxn ang="0">
                <a:pos x="39" y="11"/>
              </a:cxn>
              <a:cxn ang="0">
                <a:pos x="25" y="19"/>
              </a:cxn>
              <a:cxn ang="0">
                <a:pos x="24" y="19"/>
              </a:cxn>
              <a:cxn ang="0">
                <a:pos x="20" y="19"/>
              </a:cxn>
              <a:cxn ang="0">
                <a:pos x="19" y="17"/>
              </a:cxn>
              <a:cxn ang="0">
                <a:pos x="16" y="16"/>
              </a:cxn>
              <a:cxn ang="0">
                <a:pos x="15" y="14"/>
              </a:cxn>
              <a:cxn ang="0">
                <a:pos x="13" y="11"/>
              </a:cxn>
              <a:cxn ang="0">
                <a:pos x="12" y="11"/>
              </a:cxn>
              <a:cxn ang="0">
                <a:pos x="8" y="13"/>
              </a:cxn>
              <a:cxn ang="0">
                <a:pos x="8" y="17"/>
              </a:cxn>
              <a:cxn ang="0">
                <a:pos x="8" y="19"/>
              </a:cxn>
              <a:cxn ang="0">
                <a:pos x="8" y="20"/>
              </a:cxn>
              <a:cxn ang="0">
                <a:pos x="8" y="24"/>
              </a:cxn>
              <a:cxn ang="0">
                <a:pos x="7" y="27"/>
              </a:cxn>
              <a:cxn ang="0">
                <a:pos x="8" y="28"/>
              </a:cxn>
              <a:cxn ang="0">
                <a:pos x="7" y="30"/>
              </a:cxn>
              <a:cxn ang="0">
                <a:pos x="7" y="33"/>
              </a:cxn>
              <a:cxn ang="0">
                <a:pos x="7" y="35"/>
              </a:cxn>
              <a:cxn ang="0">
                <a:pos x="7" y="38"/>
              </a:cxn>
              <a:cxn ang="0">
                <a:pos x="7" y="39"/>
              </a:cxn>
              <a:cxn ang="0">
                <a:pos x="4" y="46"/>
              </a:cxn>
              <a:cxn ang="0">
                <a:pos x="3" y="50"/>
              </a:cxn>
              <a:cxn ang="0">
                <a:pos x="1" y="66"/>
              </a:cxn>
              <a:cxn ang="0">
                <a:pos x="0" y="69"/>
              </a:cxn>
              <a:cxn ang="0">
                <a:pos x="0" y="71"/>
              </a:cxn>
              <a:cxn ang="0">
                <a:pos x="0" y="72"/>
              </a:cxn>
              <a:cxn ang="0">
                <a:pos x="17" y="75"/>
              </a:cxn>
              <a:cxn ang="0">
                <a:pos x="21" y="71"/>
              </a:cxn>
              <a:cxn ang="0">
                <a:pos x="23" y="69"/>
              </a:cxn>
              <a:cxn ang="0">
                <a:pos x="27" y="61"/>
              </a:cxn>
              <a:cxn ang="0">
                <a:pos x="37" y="60"/>
              </a:cxn>
              <a:cxn ang="0">
                <a:pos x="39" y="58"/>
              </a:cxn>
              <a:cxn ang="0">
                <a:pos x="40" y="53"/>
              </a:cxn>
              <a:cxn ang="0">
                <a:pos x="45" y="50"/>
              </a:cxn>
              <a:cxn ang="0">
                <a:pos x="47" y="49"/>
              </a:cxn>
              <a:cxn ang="0">
                <a:pos x="32" y="35"/>
              </a:cxn>
              <a:cxn ang="0">
                <a:pos x="29" y="33"/>
              </a:cxn>
              <a:cxn ang="0">
                <a:pos x="40" y="30"/>
              </a:cxn>
              <a:cxn ang="0">
                <a:pos x="59" y="27"/>
              </a:cxn>
            </a:cxnLst>
            <a:rect l="0" t="0" r="r" b="b"/>
            <a:pathLst>
              <a:path w="63" h="75">
                <a:moveTo>
                  <a:pt x="59" y="27"/>
                </a:moveTo>
                <a:lnTo>
                  <a:pt x="63" y="20"/>
                </a:lnTo>
                <a:lnTo>
                  <a:pt x="59" y="0"/>
                </a:lnTo>
                <a:lnTo>
                  <a:pt x="45" y="8"/>
                </a:lnTo>
                <a:lnTo>
                  <a:pt x="39" y="11"/>
                </a:lnTo>
                <a:lnTo>
                  <a:pt x="25" y="19"/>
                </a:lnTo>
                <a:lnTo>
                  <a:pt x="24" y="19"/>
                </a:lnTo>
                <a:lnTo>
                  <a:pt x="20" y="19"/>
                </a:lnTo>
                <a:lnTo>
                  <a:pt x="19" y="17"/>
                </a:lnTo>
                <a:lnTo>
                  <a:pt x="16" y="16"/>
                </a:lnTo>
                <a:lnTo>
                  <a:pt x="15" y="14"/>
                </a:lnTo>
                <a:lnTo>
                  <a:pt x="13" y="11"/>
                </a:lnTo>
                <a:lnTo>
                  <a:pt x="12" y="11"/>
                </a:lnTo>
                <a:lnTo>
                  <a:pt x="8" y="13"/>
                </a:lnTo>
                <a:lnTo>
                  <a:pt x="8" y="17"/>
                </a:lnTo>
                <a:lnTo>
                  <a:pt x="8" y="19"/>
                </a:lnTo>
                <a:lnTo>
                  <a:pt x="8" y="20"/>
                </a:lnTo>
                <a:lnTo>
                  <a:pt x="8" y="24"/>
                </a:lnTo>
                <a:lnTo>
                  <a:pt x="7" y="27"/>
                </a:lnTo>
                <a:lnTo>
                  <a:pt x="8" y="28"/>
                </a:lnTo>
                <a:lnTo>
                  <a:pt x="7" y="30"/>
                </a:lnTo>
                <a:lnTo>
                  <a:pt x="7" y="33"/>
                </a:lnTo>
                <a:lnTo>
                  <a:pt x="7" y="35"/>
                </a:lnTo>
                <a:lnTo>
                  <a:pt x="7" y="38"/>
                </a:lnTo>
                <a:lnTo>
                  <a:pt x="7" y="39"/>
                </a:lnTo>
                <a:lnTo>
                  <a:pt x="4" y="46"/>
                </a:lnTo>
                <a:lnTo>
                  <a:pt x="3" y="50"/>
                </a:lnTo>
                <a:lnTo>
                  <a:pt x="1" y="66"/>
                </a:lnTo>
                <a:lnTo>
                  <a:pt x="0" y="69"/>
                </a:lnTo>
                <a:lnTo>
                  <a:pt x="0" y="71"/>
                </a:lnTo>
                <a:lnTo>
                  <a:pt x="0" y="72"/>
                </a:lnTo>
                <a:lnTo>
                  <a:pt x="17" y="75"/>
                </a:lnTo>
                <a:lnTo>
                  <a:pt x="21" y="71"/>
                </a:lnTo>
                <a:lnTo>
                  <a:pt x="23" y="69"/>
                </a:lnTo>
                <a:lnTo>
                  <a:pt x="27" y="61"/>
                </a:lnTo>
                <a:lnTo>
                  <a:pt x="37" y="60"/>
                </a:lnTo>
                <a:lnTo>
                  <a:pt x="39" y="58"/>
                </a:lnTo>
                <a:lnTo>
                  <a:pt x="40" y="53"/>
                </a:lnTo>
                <a:lnTo>
                  <a:pt x="45" y="50"/>
                </a:lnTo>
                <a:lnTo>
                  <a:pt x="47" y="49"/>
                </a:lnTo>
                <a:lnTo>
                  <a:pt x="32" y="35"/>
                </a:lnTo>
                <a:lnTo>
                  <a:pt x="29" y="33"/>
                </a:lnTo>
                <a:lnTo>
                  <a:pt x="40" y="30"/>
                </a:lnTo>
                <a:lnTo>
                  <a:pt x="59" y="27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04" name="Line 1131"/>
          <p:cNvSpPr>
            <a:spLocks noChangeShapeType="1"/>
          </p:cNvSpPr>
          <p:nvPr/>
        </p:nvSpPr>
        <p:spPr bwMode="auto">
          <a:xfrm>
            <a:off x="6693655" y="3199585"/>
            <a:ext cx="1949" cy="2148"/>
          </a:xfrm>
          <a:prstGeom prst="line">
            <a:avLst/>
          </a:prstGeom>
          <a:solidFill>
            <a:sysClr val="window" lastClr="FFFFFF">
              <a:lumMod val="75000"/>
            </a:sysClr>
          </a:solidFill>
          <a:ln w="3175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05" name="Freeform 1132"/>
          <p:cNvSpPr>
            <a:spLocks/>
          </p:cNvSpPr>
          <p:nvPr/>
        </p:nvSpPr>
        <p:spPr bwMode="auto">
          <a:xfrm>
            <a:off x="6898281" y="3674206"/>
            <a:ext cx="302066" cy="225499"/>
          </a:xfrm>
          <a:custGeom>
            <a:avLst/>
            <a:gdLst/>
            <a:ahLst/>
            <a:cxnLst>
              <a:cxn ang="0">
                <a:pos x="151" y="45"/>
              </a:cxn>
              <a:cxn ang="0">
                <a:pos x="146" y="50"/>
              </a:cxn>
              <a:cxn ang="0">
                <a:pos x="145" y="56"/>
              </a:cxn>
              <a:cxn ang="0">
                <a:pos x="145" y="61"/>
              </a:cxn>
              <a:cxn ang="0">
                <a:pos x="142" y="61"/>
              </a:cxn>
              <a:cxn ang="0">
                <a:pos x="135" y="63"/>
              </a:cxn>
              <a:cxn ang="0">
                <a:pos x="130" y="67"/>
              </a:cxn>
              <a:cxn ang="0">
                <a:pos x="123" y="69"/>
              </a:cxn>
              <a:cxn ang="0">
                <a:pos x="117" y="72"/>
              </a:cxn>
              <a:cxn ang="0">
                <a:pos x="109" y="75"/>
              </a:cxn>
              <a:cxn ang="0">
                <a:pos x="99" y="78"/>
              </a:cxn>
              <a:cxn ang="0">
                <a:pos x="97" y="82"/>
              </a:cxn>
              <a:cxn ang="0">
                <a:pos x="91" y="88"/>
              </a:cxn>
              <a:cxn ang="0">
                <a:pos x="89" y="89"/>
              </a:cxn>
              <a:cxn ang="0">
                <a:pos x="78" y="89"/>
              </a:cxn>
              <a:cxn ang="0">
                <a:pos x="74" y="94"/>
              </a:cxn>
              <a:cxn ang="0">
                <a:pos x="68" y="97"/>
              </a:cxn>
              <a:cxn ang="0">
                <a:pos x="60" y="100"/>
              </a:cxn>
              <a:cxn ang="0">
                <a:pos x="53" y="100"/>
              </a:cxn>
              <a:cxn ang="0">
                <a:pos x="48" y="100"/>
              </a:cxn>
              <a:cxn ang="0">
                <a:pos x="42" y="107"/>
              </a:cxn>
              <a:cxn ang="0">
                <a:pos x="34" y="111"/>
              </a:cxn>
              <a:cxn ang="0">
                <a:pos x="24" y="113"/>
              </a:cxn>
              <a:cxn ang="0">
                <a:pos x="20" y="113"/>
              </a:cxn>
              <a:cxn ang="0">
                <a:pos x="13" y="111"/>
              </a:cxn>
              <a:cxn ang="0">
                <a:pos x="9" y="104"/>
              </a:cxn>
              <a:cxn ang="0">
                <a:pos x="9" y="93"/>
              </a:cxn>
              <a:cxn ang="0">
                <a:pos x="6" y="88"/>
              </a:cxn>
              <a:cxn ang="0">
                <a:pos x="5" y="77"/>
              </a:cxn>
              <a:cxn ang="0">
                <a:pos x="2" y="72"/>
              </a:cxn>
              <a:cxn ang="0">
                <a:pos x="1" y="66"/>
              </a:cxn>
              <a:cxn ang="0">
                <a:pos x="1" y="64"/>
              </a:cxn>
              <a:cxn ang="0">
                <a:pos x="1" y="60"/>
              </a:cxn>
              <a:cxn ang="0">
                <a:pos x="2" y="56"/>
              </a:cxn>
              <a:cxn ang="0">
                <a:pos x="2" y="50"/>
              </a:cxn>
              <a:cxn ang="0">
                <a:pos x="1" y="45"/>
              </a:cxn>
              <a:cxn ang="0">
                <a:pos x="5" y="42"/>
              </a:cxn>
              <a:cxn ang="0">
                <a:pos x="8" y="39"/>
              </a:cxn>
              <a:cxn ang="0">
                <a:pos x="10" y="36"/>
              </a:cxn>
              <a:cxn ang="0">
                <a:pos x="18" y="35"/>
              </a:cxn>
              <a:cxn ang="0">
                <a:pos x="26" y="28"/>
              </a:cxn>
              <a:cxn ang="0">
                <a:pos x="30" y="28"/>
              </a:cxn>
              <a:cxn ang="0">
                <a:pos x="42" y="30"/>
              </a:cxn>
              <a:cxn ang="0">
                <a:pos x="56" y="31"/>
              </a:cxn>
              <a:cxn ang="0">
                <a:pos x="65" y="36"/>
              </a:cxn>
              <a:cxn ang="0">
                <a:pos x="73" y="33"/>
              </a:cxn>
              <a:cxn ang="0">
                <a:pos x="84" y="14"/>
              </a:cxn>
              <a:cxn ang="0">
                <a:pos x="122" y="5"/>
              </a:cxn>
              <a:cxn ang="0">
                <a:pos x="157" y="42"/>
              </a:cxn>
            </a:cxnLst>
            <a:rect l="0" t="0" r="r" b="b"/>
            <a:pathLst>
              <a:path w="157" h="113">
                <a:moveTo>
                  <a:pt x="157" y="42"/>
                </a:moveTo>
                <a:lnTo>
                  <a:pt x="151" y="45"/>
                </a:lnTo>
                <a:lnTo>
                  <a:pt x="149" y="47"/>
                </a:lnTo>
                <a:lnTo>
                  <a:pt x="146" y="50"/>
                </a:lnTo>
                <a:lnTo>
                  <a:pt x="145" y="55"/>
                </a:lnTo>
                <a:lnTo>
                  <a:pt x="145" y="56"/>
                </a:lnTo>
                <a:lnTo>
                  <a:pt x="145" y="60"/>
                </a:lnTo>
                <a:lnTo>
                  <a:pt x="145" y="61"/>
                </a:lnTo>
                <a:lnTo>
                  <a:pt x="143" y="61"/>
                </a:lnTo>
                <a:lnTo>
                  <a:pt x="142" y="61"/>
                </a:lnTo>
                <a:lnTo>
                  <a:pt x="139" y="61"/>
                </a:lnTo>
                <a:lnTo>
                  <a:pt x="135" y="63"/>
                </a:lnTo>
                <a:lnTo>
                  <a:pt x="134" y="66"/>
                </a:lnTo>
                <a:lnTo>
                  <a:pt x="130" y="67"/>
                </a:lnTo>
                <a:lnTo>
                  <a:pt x="126" y="67"/>
                </a:lnTo>
                <a:lnTo>
                  <a:pt x="123" y="69"/>
                </a:lnTo>
                <a:lnTo>
                  <a:pt x="121" y="71"/>
                </a:lnTo>
                <a:lnTo>
                  <a:pt x="117" y="72"/>
                </a:lnTo>
                <a:lnTo>
                  <a:pt x="111" y="74"/>
                </a:lnTo>
                <a:lnTo>
                  <a:pt x="109" y="75"/>
                </a:lnTo>
                <a:lnTo>
                  <a:pt x="105" y="75"/>
                </a:lnTo>
                <a:lnTo>
                  <a:pt x="99" y="78"/>
                </a:lnTo>
                <a:lnTo>
                  <a:pt x="97" y="80"/>
                </a:lnTo>
                <a:lnTo>
                  <a:pt x="97" y="82"/>
                </a:lnTo>
                <a:lnTo>
                  <a:pt x="95" y="85"/>
                </a:lnTo>
                <a:lnTo>
                  <a:pt x="91" y="88"/>
                </a:lnTo>
                <a:lnTo>
                  <a:pt x="90" y="89"/>
                </a:lnTo>
                <a:lnTo>
                  <a:pt x="89" y="89"/>
                </a:lnTo>
                <a:lnTo>
                  <a:pt x="82" y="89"/>
                </a:lnTo>
                <a:lnTo>
                  <a:pt x="78" y="89"/>
                </a:lnTo>
                <a:lnTo>
                  <a:pt x="76" y="93"/>
                </a:lnTo>
                <a:lnTo>
                  <a:pt x="74" y="94"/>
                </a:lnTo>
                <a:lnTo>
                  <a:pt x="69" y="97"/>
                </a:lnTo>
                <a:lnTo>
                  <a:pt x="68" y="97"/>
                </a:lnTo>
                <a:lnTo>
                  <a:pt x="62" y="100"/>
                </a:lnTo>
                <a:lnTo>
                  <a:pt x="60" y="100"/>
                </a:lnTo>
                <a:lnTo>
                  <a:pt x="57" y="99"/>
                </a:lnTo>
                <a:lnTo>
                  <a:pt x="53" y="100"/>
                </a:lnTo>
                <a:lnTo>
                  <a:pt x="50" y="99"/>
                </a:lnTo>
                <a:lnTo>
                  <a:pt x="48" y="100"/>
                </a:lnTo>
                <a:lnTo>
                  <a:pt x="45" y="102"/>
                </a:lnTo>
                <a:lnTo>
                  <a:pt x="42" y="107"/>
                </a:lnTo>
                <a:lnTo>
                  <a:pt x="37" y="110"/>
                </a:lnTo>
                <a:lnTo>
                  <a:pt x="34" y="111"/>
                </a:lnTo>
                <a:lnTo>
                  <a:pt x="28" y="111"/>
                </a:lnTo>
                <a:lnTo>
                  <a:pt x="24" y="113"/>
                </a:lnTo>
                <a:lnTo>
                  <a:pt x="21" y="113"/>
                </a:lnTo>
                <a:lnTo>
                  <a:pt x="20" y="113"/>
                </a:lnTo>
                <a:lnTo>
                  <a:pt x="16" y="111"/>
                </a:lnTo>
                <a:lnTo>
                  <a:pt x="13" y="111"/>
                </a:lnTo>
                <a:lnTo>
                  <a:pt x="12" y="107"/>
                </a:lnTo>
                <a:lnTo>
                  <a:pt x="9" y="104"/>
                </a:lnTo>
                <a:lnTo>
                  <a:pt x="9" y="94"/>
                </a:lnTo>
                <a:lnTo>
                  <a:pt x="9" y="93"/>
                </a:lnTo>
                <a:lnTo>
                  <a:pt x="6" y="91"/>
                </a:lnTo>
                <a:lnTo>
                  <a:pt x="6" y="88"/>
                </a:lnTo>
                <a:lnTo>
                  <a:pt x="5" y="83"/>
                </a:lnTo>
                <a:lnTo>
                  <a:pt x="5" y="77"/>
                </a:lnTo>
                <a:lnTo>
                  <a:pt x="4" y="74"/>
                </a:lnTo>
                <a:lnTo>
                  <a:pt x="2" y="72"/>
                </a:lnTo>
                <a:lnTo>
                  <a:pt x="2" y="71"/>
                </a:lnTo>
                <a:lnTo>
                  <a:pt x="1" y="66"/>
                </a:lnTo>
                <a:lnTo>
                  <a:pt x="0" y="66"/>
                </a:lnTo>
                <a:lnTo>
                  <a:pt x="1" y="64"/>
                </a:lnTo>
                <a:lnTo>
                  <a:pt x="1" y="63"/>
                </a:lnTo>
                <a:lnTo>
                  <a:pt x="1" y="60"/>
                </a:lnTo>
                <a:lnTo>
                  <a:pt x="0" y="58"/>
                </a:lnTo>
                <a:lnTo>
                  <a:pt x="2" y="56"/>
                </a:lnTo>
                <a:lnTo>
                  <a:pt x="2" y="55"/>
                </a:lnTo>
                <a:lnTo>
                  <a:pt x="2" y="50"/>
                </a:lnTo>
                <a:lnTo>
                  <a:pt x="1" y="47"/>
                </a:lnTo>
                <a:lnTo>
                  <a:pt x="1" y="45"/>
                </a:lnTo>
                <a:lnTo>
                  <a:pt x="4" y="44"/>
                </a:lnTo>
                <a:lnTo>
                  <a:pt x="5" y="42"/>
                </a:lnTo>
                <a:lnTo>
                  <a:pt x="5" y="41"/>
                </a:lnTo>
                <a:lnTo>
                  <a:pt x="8" y="39"/>
                </a:lnTo>
                <a:lnTo>
                  <a:pt x="9" y="38"/>
                </a:lnTo>
                <a:lnTo>
                  <a:pt x="10" y="36"/>
                </a:lnTo>
                <a:lnTo>
                  <a:pt x="12" y="35"/>
                </a:lnTo>
                <a:lnTo>
                  <a:pt x="18" y="35"/>
                </a:lnTo>
                <a:lnTo>
                  <a:pt x="25" y="28"/>
                </a:lnTo>
                <a:lnTo>
                  <a:pt x="26" y="28"/>
                </a:lnTo>
                <a:lnTo>
                  <a:pt x="29" y="28"/>
                </a:lnTo>
                <a:lnTo>
                  <a:pt x="30" y="28"/>
                </a:lnTo>
                <a:lnTo>
                  <a:pt x="38" y="28"/>
                </a:lnTo>
                <a:lnTo>
                  <a:pt x="42" y="30"/>
                </a:lnTo>
                <a:lnTo>
                  <a:pt x="52" y="31"/>
                </a:lnTo>
                <a:lnTo>
                  <a:pt x="56" y="31"/>
                </a:lnTo>
                <a:lnTo>
                  <a:pt x="62" y="30"/>
                </a:lnTo>
                <a:lnTo>
                  <a:pt x="65" y="36"/>
                </a:lnTo>
                <a:lnTo>
                  <a:pt x="68" y="36"/>
                </a:lnTo>
                <a:lnTo>
                  <a:pt x="73" y="33"/>
                </a:lnTo>
                <a:lnTo>
                  <a:pt x="74" y="28"/>
                </a:lnTo>
                <a:lnTo>
                  <a:pt x="84" y="14"/>
                </a:lnTo>
                <a:lnTo>
                  <a:pt x="97" y="6"/>
                </a:lnTo>
                <a:lnTo>
                  <a:pt x="122" y="5"/>
                </a:lnTo>
                <a:lnTo>
                  <a:pt x="141" y="0"/>
                </a:lnTo>
                <a:lnTo>
                  <a:pt x="157" y="4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06" name="Freeform 1133"/>
          <p:cNvSpPr>
            <a:spLocks/>
          </p:cNvSpPr>
          <p:nvPr/>
        </p:nvSpPr>
        <p:spPr bwMode="auto">
          <a:xfrm>
            <a:off x="6898281" y="3674206"/>
            <a:ext cx="302066" cy="225499"/>
          </a:xfrm>
          <a:custGeom>
            <a:avLst/>
            <a:gdLst/>
            <a:ahLst/>
            <a:cxnLst>
              <a:cxn ang="0">
                <a:pos x="151" y="45"/>
              </a:cxn>
              <a:cxn ang="0">
                <a:pos x="146" y="50"/>
              </a:cxn>
              <a:cxn ang="0">
                <a:pos x="145" y="56"/>
              </a:cxn>
              <a:cxn ang="0">
                <a:pos x="145" y="61"/>
              </a:cxn>
              <a:cxn ang="0">
                <a:pos x="142" y="61"/>
              </a:cxn>
              <a:cxn ang="0">
                <a:pos x="135" y="63"/>
              </a:cxn>
              <a:cxn ang="0">
                <a:pos x="130" y="67"/>
              </a:cxn>
              <a:cxn ang="0">
                <a:pos x="123" y="69"/>
              </a:cxn>
              <a:cxn ang="0">
                <a:pos x="117" y="72"/>
              </a:cxn>
              <a:cxn ang="0">
                <a:pos x="109" y="75"/>
              </a:cxn>
              <a:cxn ang="0">
                <a:pos x="99" y="78"/>
              </a:cxn>
              <a:cxn ang="0">
                <a:pos x="97" y="82"/>
              </a:cxn>
              <a:cxn ang="0">
                <a:pos x="91" y="88"/>
              </a:cxn>
              <a:cxn ang="0">
                <a:pos x="89" y="89"/>
              </a:cxn>
              <a:cxn ang="0">
                <a:pos x="78" y="89"/>
              </a:cxn>
              <a:cxn ang="0">
                <a:pos x="74" y="94"/>
              </a:cxn>
              <a:cxn ang="0">
                <a:pos x="68" y="97"/>
              </a:cxn>
              <a:cxn ang="0">
                <a:pos x="60" y="100"/>
              </a:cxn>
              <a:cxn ang="0">
                <a:pos x="53" y="100"/>
              </a:cxn>
              <a:cxn ang="0">
                <a:pos x="48" y="100"/>
              </a:cxn>
              <a:cxn ang="0">
                <a:pos x="42" y="107"/>
              </a:cxn>
              <a:cxn ang="0">
                <a:pos x="34" y="111"/>
              </a:cxn>
              <a:cxn ang="0">
                <a:pos x="24" y="113"/>
              </a:cxn>
              <a:cxn ang="0">
                <a:pos x="20" y="113"/>
              </a:cxn>
              <a:cxn ang="0">
                <a:pos x="13" y="111"/>
              </a:cxn>
              <a:cxn ang="0">
                <a:pos x="9" y="104"/>
              </a:cxn>
              <a:cxn ang="0">
                <a:pos x="9" y="93"/>
              </a:cxn>
              <a:cxn ang="0">
                <a:pos x="6" y="88"/>
              </a:cxn>
              <a:cxn ang="0">
                <a:pos x="5" y="77"/>
              </a:cxn>
              <a:cxn ang="0">
                <a:pos x="2" y="72"/>
              </a:cxn>
              <a:cxn ang="0">
                <a:pos x="1" y="66"/>
              </a:cxn>
              <a:cxn ang="0">
                <a:pos x="1" y="64"/>
              </a:cxn>
              <a:cxn ang="0">
                <a:pos x="1" y="60"/>
              </a:cxn>
              <a:cxn ang="0">
                <a:pos x="2" y="56"/>
              </a:cxn>
              <a:cxn ang="0">
                <a:pos x="2" y="50"/>
              </a:cxn>
              <a:cxn ang="0">
                <a:pos x="1" y="45"/>
              </a:cxn>
              <a:cxn ang="0">
                <a:pos x="5" y="42"/>
              </a:cxn>
              <a:cxn ang="0">
                <a:pos x="8" y="39"/>
              </a:cxn>
              <a:cxn ang="0">
                <a:pos x="10" y="36"/>
              </a:cxn>
              <a:cxn ang="0">
                <a:pos x="18" y="35"/>
              </a:cxn>
              <a:cxn ang="0">
                <a:pos x="26" y="28"/>
              </a:cxn>
              <a:cxn ang="0">
                <a:pos x="30" y="28"/>
              </a:cxn>
              <a:cxn ang="0">
                <a:pos x="42" y="30"/>
              </a:cxn>
              <a:cxn ang="0">
                <a:pos x="56" y="31"/>
              </a:cxn>
              <a:cxn ang="0">
                <a:pos x="65" y="36"/>
              </a:cxn>
              <a:cxn ang="0">
                <a:pos x="73" y="33"/>
              </a:cxn>
              <a:cxn ang="0">
                <a:pos x="84" y="14"/>
              </a:cxn>
              <a:cxn ang="0">
                <a:pos x="122" y="5"/>
              </a:cxn>
              <a:cxn ang="0">
                <a:pos x="157" y="42"/>
              </a:cxn>
            </a:cxnLst>
            <a:rect l="0" t="0" r="r" b="b"/>
            <a:pathLst>
              <a:path w="157" h="113">
                <a:moveTo>
                  <a:pt x="157" y="42"/>
                </a:moveTo>
                <a:lnTo>
                  <a:pt x="151" y="45"/>
                </a:lnTo>
                <a:lnTo>
                  <a:pt x="149" y="47"/>
                </a:lnTo>
                <a:lnTo>
                  <a:pt x="146" y="50"/>
                </a:lnTo>
                <a:lnTo>
                  <a:pt x="145" y="55"/>
                </a:lnTo>
                <a:lnTo>
                  <a:pt x="145" y="56"/>
                </a:lnTo>
                <a:lnTo>
                  <a:pt x="145" y="60"/>
                </a:lnTo>
                <a:lnTo>
                  <a:pt x="145" y="61"/>
                </a:lnTo>
                <a:lnTo>
                  <a:pt x="143" y="61"/>
                </a:lnTo>
                <a:lnTo>
                  <a:pt x="142" y="61"/>
                </a:lnTo>
                <a:lnTo>
                  <a:pt x="139" y="61"/>
                </a:lnTo>
                <a:lnTo>
                  <a:pt x="135" y="63"/>
                </a:lnTo>
                <a:lnTo>
                  <a:pt x="134" y="66"/>
                </a:lnTo>
                <a:lnTo>
                  <a:pt x="130" y="67"/>
                </a:lnTo>
                <a:lnTo>
                  <a:pt x="126" y="67"/>
                </a:lnTo>
                <a:lnTo>
                  <a:pt x="123" y="69"/>
                </a:lnTo>
                <a:lnTo>
                  <a:pt x="121" y="71"/>
                </a:lnTo>
                <a:lnTo>
                  <a:pt x="117" y="72"/>
                </a:lnTo>
                <a:lnTo>
                  <a:pt x="111" y="74"/>
                </a:lnTo>
                <a:lnTo>
                  <a:pt x="109" y="75"/>
                </a:lnTo>
                <a:lnTo>
                  <a:pt x="105" y="75"/>
                </a:lnTo>
                <a:lnTo>
                  <a:pt x="99" y="78"/>
                </a:lnTo>
                <a:lnTo>
                  <a:pt x="97" y="80"/>
                </a:lnTo>
                <a:lnTo>
                  <a:pt x="97" y="82"/>
                </a:lnTo>
                <a:lnTo>
                  <a:pt x="95" y="85"/>
                </a:lnTo>
                <a:lnTo>
                  <a:pt x="91" y="88"/>
                </a:lnTo>
                <a:lnTo>
                  <a:pt x="90" y="89"/>
                </a:lnTo>
                <a:lnTo>
                  <a:pt x="89" y="89"/>
                </a:lnTo>
                <a:lnTo>
                  <a:pt x="82" y="89"/>
                </a:lnTo>
                <a:lnTo>
                  <a:pt x="78" y="89"/>
                </a:lnTo>
                <a:lnTo>
                  <a:pt x="76" y="93"/>
                </a:lnTo>
                <a:lnTo>
                  <a:pt x="74" y="94"/>
                </a:lnTo>
                <a:lnTo>
                  <a:pt x="69" y="97"/>
                </a:lnTo>
                <a:lnTo>
                  <a:pt x="68" y="97"/>
                </a:lnTo>
                <a:lnTo>
                  <a:pt x="62" y="100"/>
                </a:lnTo>
                <a:lnTo>
                  <a:pt x="60" y="100"/>
                </a:lnTo>
                <a:lnTo>
                  <a:pt x="57" y="99"/>
                </a:lnTo>
                <a:lnTo>
                  <a:pt x="53" y="100"/>
                </a:lnTo>
                <a:lnTo>
                  <a:pt x="50" y="99"/>
                </a:lnTo>
                <a:lnTo>
                  <a:pt x="48" y="100"/>
                </a:lnTo>
                <a:lnTo>
                  <a:pt x="45" y="102"/>
                </a:lnTo>
                <a:lnTo>
                  <a:pt x="42" y="107"/>
                </a:lnTo>
                <a:lnTo>
                  <a:pt x="37" y="110"/>
                </a:lnTo>
                <a:lnTo>
                  <a:pt x="34" y="111"/>
                </a:lnTo>
                <a:lnTo>
                  <a:pt x="28" y="111"/>
                </a:lnTo>
                <a:lnTo>
                  <a:pt x="24" y="113"/>
                </a:lnTo>
                <a:lnTo>
                  <a:pt x="21" y="113"/>
                </a:lnTo>
                <a:lnTo>
                  <a:pt x="20" y="113"/>
                </a:lnTo>
                <a:lnTo>
                  <a:pt x="16" y="111"/>
                </a:lnTo>
                <a:lnTo>
                  <a:pt x="13" y="111"/>
                </a:lnTo>
                <a:lnTo>
                  <a:pt x="12" y="107"/>
                </a:lnTo>
                <a:lnTo>
                  <a:pt x="9" y="104"/>
                </a:lnTo>
                <a:lnTo>
                  <a:pt x="9" y="94"/>
                </a:lnTo>
                <a:lnTo>
                  <a:pt x="9" y="93"/>
                </a:lnTo>
                <a:lnTo>
                  <a:pt x="6" y="91"/>
                </a:lnTo>
                <a:lnTo>
                  <a:pt x="6" y="88"/>
                </a:lnTo>
                <a:lnTo>
                  <a:pt x="5" y="83"/>
                </a:lnTo>
                <a:lnTo>
                  <a:pt x="5" y="77"/>
                </a:lnTo>
                <a:lnTo>
                  <a:pt x="4" y="74"/>
                </a:lnTo>
                <a:lnTo>
                  <a:pt x="2" y="72"/>
                </a:lnTo>
                <a:lnTo>
                  <a:pt x="2" y="71"/>
                </a:lnTo>
                <a:lnTo>
                  <a:pt x="1" y="66"/>
                </a:lnTo>
                <a:lnTo>
                  <a:pt x="0" y="66"/>
                </a:lnTo>
                <a:lnTo>
                  <a:pt x="1" y="64"/>
                </a:lnTo>
                <a:lnTo>
                  <a:pt x="1" y="63"/>
                </a:lnTo>
                <a:lnTo>
                  <a:pt x="1" y="60"/>
                </a:lnTo>
                <a:lnTo>
                  <a:pt x="0" y="58"/>
                </a:lnTo>
                <a:lnTo>
                  <a:pt x="2" y="56"/>
                </a:lnTo>
                <a:lnTo>
                  <a:pt x="2" y="55"/>
                </a:lnTo>
                <a:lnTo>
                  <a:pt x="2" y="50"/>
                </a:lnTo>
                <a:lnTo>
                  <a:pt x="1" y="47"/>
                </a:lnTo>
                <a:lnTo>
                  <a:pt x="1" y="45"/>
                </a:lnTo>
                <a:lnTo>
                  <a:pt x="4" y="44"/>
                </a:lnTo>
                <a:lnTo>
                  <a:pt x="5" y="42"/>
                </a:lnTo>
                <a:lnTo>
                  <a:pt x="5" y="41"/>
                </a:lnTo>
                <a:lnTo>
                  <a:pt x="8" y="39"/>
                </a:lnTo>
                <a:lnTo>
                  <a:pt x="9" y="38"/>
                </a:lnTo>
                <a:lnTo>
                  <a:pt x="10" y="36"/>
                </a:lnTo>
                <a:lnTo>
                  <a:pt x="12" y="35"/>
                </a:lnTo>
                <a:lnTo>
                  <a:pt x="18" y="35"/>
                </a:lnTo>
                <a:lnTo>
                  <a:pt x="25" y="28"/>
                </a:lnTo>
                <a:lnTo>
                  <a:pt x="26" y="28"/>
                </a:lnTo>
                <a:lnTo>
                  <a:pt x="29" y="28"/>
                </a:lnTo>
                <a:lnTo>
                  <a:pt x="30" y="28"/>
                </a:lnTo>
                <a:lnTo>
                  <a:pt x="38" y="28"/>
                </a:lnTo>
                <a:lnTo>
                  <a:pt x="42" y="30"/>
                </a:lnTo>
                <a:lnTo>
                  <a:pt x="52" y="31"/>
                </a:lnTo>
                <a:lnTo>
                  <a:pt x="56" y="31"/>
                </a:lnTo>
                <a:lnTo>
                  <a:pt x="62" y="30"/>
                </a:lnTo>
                <a:lnTo>
                  <a:pt x="65" y="36"/>
                </a:lnTo>
                <a:lnTo>
                  <a:pt x="68" y="36"/>
                </a:lnTo>
                <a:lnTo>
                  <a:pt x="73" y="33"/>
                </a:lnTo>
                <a:lnTo>
                  <a:pt x="74" y="28"/>
                </a:lnTo>
                <a:lnTo>
                  <a:pt x="84" y="14"/>
                </a:lnTo>
                <a:lnTo>
                  <a:pt x="97" y="6"/>
                </a:lnTo>
                <a:lnTo>
                  <a:pt x="122" y="5"/>
                </a:lnTo>
                <a:lnTo>
                  <a:pt x="141" y="0"/>
                </a:lnTo>
                <a:lnTo>
                  <a:pt x="157" y="42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07" name="Freeform 1134"/>
          <p:cNvSpPr>
            <a:spLocks/>
          </p:cNvSpPr>
          <p:nvPr/>
        </p:nvSpPr>
        <p:spPr bwMode="auto">
          <a:xfrm>
            <a:off x="7153575" y="3425085"/>
            <a:ext cx="140315" cy="122412"/>
          </a:xfrm>
          <a:custGeom>
            <a:avLst/>
            <a:gdLst/>
            <a:ahLst/>
            <a:cxnLst>
              <a:cxn ang="0">
                <a:pos x="55" y="60"/>
              </a:cxn>
              <a:cxn ang="0">
                <a:pos x="55" y="62"/>
              </a:cxn>
              <a:cxn ang="0">
                <a:pos x="16" y="55"/>
              </a:cxn>
              <a:cxn ang="0">
                <a:pos x="0" y="35"/>
              </a:cxn>
              <a:cxn ang="0">
                <a:pos x="0" y="32"/>
              </a:cxn>
              <a:cxn ang="0">
                <a:pos x="1" y="32"/>
              </a:cxn>
              <a:cxn ang="0">
                <a:pos x="3" y="32"/>
              </a:cxn>
              <a:cxn ang="0">
                <a:pos x="3" y="35"/>
              </a:cxn>
              <a:cxn ang="0">
                <a:pos x="4" y="36"/>
              </a:cxn>
              <a:cxn ang="0">
                <a:pos x="8" y="36"/>
              </a:cxn>
              <a:cxn ang="0">
                <a:pos x="12" y="36"/>
              </a:cxn>
              <a:cxn ang="0">
                <a:pos x="15" y="35"/>
              </a:cxn>
              <a:cxn ang="0">
                <a:pos x="16" y="33"/>
              </a:cxn>
              <a:cxn ang="0">
                <a:pos x="23" y="33"/>
              </a:cxn>
              <a:cxn ang="0">
                <a:pos x="25" y="35"/>
              </a:cxn>
              <a:cxn ang="0">
                <a:pos x="27" y="35"/>
              </a:cxn>
              <a:cxn ang="0">
                <a:pos x="29" y="35"/>
              </a:cxn>
              <a:cxn ang="0">
                <a:pos x="36" y="35"/>
              </a:cxn>
              <a:cxn ang="0">
                <a:pos x="37" y="33"/>
              </a:cxn>
              <a:cxn ang="0">
                <a:pos x="39" y="32"/>
              </a:cxn>
              <a:cxn ang="0">
                <a:pos x="41" y="32"/>
              </a:cxn>
              <a:cxn ang="0">
                <a:pos x="41" y="30"/>
              </a:cxn>
              <a:cxn ang="0">
                <a:pos x="44" y="30"/>
              </a:cxn>
              <a:cxn ang="0">
                <a:pos x="43" y="29"/>
              </a:cxn>
              <a:cxn ang="0">
                <a:pos x="45" y="29"/>
              </a:cxn>
              <a:cxn ang="0">
                <a:pos x="45" y="27"/>
              </a:cxn>
              <a:cxn ang="0">
                <a:pos x="47" y="27"/>
              </a:cxn>
              <a:cxn ang="0">
                <a:pos x="45" y="25"/>
              </a:cxn>
              <a:cxn ang="0">
                <a:pos x="47" y="24"/>
              </a:cxn>
              <a:cxn ang="0">
                <a:pos x="48" y="22"/>
              </a:cxn>
              <a:cxn ang="0">
                <a:pos x="51" y="21"/>
              </a:cxn>
              <a:cxn ang="0">
                <a:pos x="51" y="19"/>
              </a:cxn>
              <a:cxn ang="0">
                <a:pos x="52" y="19"/>
              </a:cxn>
              <a:cxn ang="0">
                <a:pos x="53" y="18"/>
              </a:cxn>
              <a:cxn ang="0">
                <a:pos x="55" y="16"/>
              </a:cxn>
              <a:cxn ang="0">
                <a:pos x="56" y="14"/>
              </a:cxn>
              <a:cxn ang="0">
                <a:pos x="57" y="13"/>
              </a:cxn>
              <a:cxn ang="0">
                <a:pos x="59" y="13"/>
              </a:cxn>
              <a:cxn ang="0">
                <a:pos x="59" y="11"/>
              </a:cxn>
              <a:cxn ang="0">
                <a:pos x="60" y="10"/>
              </a:cxn>
              <a:cxn ang="0">
                <a:pos x="60" y="8"/>
              </a:cxn>
              <a:cxn ang="0">
                <a:pos x="61" y="8"/>
              </a:cxn>
              <a:cxn ang="0">
                <a:pos x="64" y="7"/>
              </a:cxn>
              <a:cxn ang="0">
                <a:pos x="67" y="3"/>
              </a:cxn>
              <a:cxn ang="0">
                <a:pos x="68" y="0"/>
              </a:cxn>
              <a:cxn ang="0">
                <a:pos x="68" y="3"/>
              </a:cxn>
              <a:cxn ang="0">
                <a:pos x="69" y="5"/>
              </a:cxn>
              <a:cxn ang="0">
                <a:pos x="68" y="7"/>
              </a:cxn>
              <a:cxn ang="0">
                <a:pos x="69" y="7"/>
              </a:cxn>
              <a:cxn ang="0">
                <a:pos x="70" y="7"/>
              </a:cxn>
              <a:cxn ang="0">
                <a:pos x="72" y="8"/>
              </a:cxn>
              <a:cxn ang="0">
                <a:pos x="72" y="19"/>
              </a:cxn>
              <a:cxn ang="0">
                <a:pos x="72" y="21"/>
              </a:cxn>
              <a:cxn ang="0">
                <a:pos x="63" y="21"/>
              </a:cxn>
              <a:cxn ang="0">
                <a:pos x="65" y="32"/>
              </a:cxn>
              <a:cxn ang="0">
                <a:pos x="64" y="32"/>
              </a:cxn>
              <a:cxn ang="0">
                <a:pos x="65" y="33"/>
              </a:cxn>
              <a:cxn ang="0">
                <a:pos x="65" y="36"/>
              </a:cxn>
              <a:cxn ang="0">
                <a:pos x="61" y="36"/>
              </a:cxn>
              <a:cxn ang="0">
                <a:pos x="60" y="44"/>
              </a:cxn>
              <a:cxn ang="0">
                <a:pos x="55" y="60"/>
              </a:cxn>
            </a:cxnLst>
            <a:rect l="0" t="0" r="r" b="b"/>
            <a:pathLst>
              <a:path w="72" h="62">
                <a:moveTo>
                  <a:pt x="55" y="60"/>
                </a:moveTo>
                <a:lnTo>
                  <a:pt x="55" y="62"/>
                </a:lnTo>
                <a:lnTo>
                  <a:pt x="16" y="55"/>
                </a:lnTo>
                <a:lnTo>
                  <a:pt x="0" y="35"/>
                </a:lnTo>
                <a:lnTo>
                  <a:pt x="0" y="32"/>
                </a:lnTo>
                <a:lnTo>
                  <a:pt x="1" y="32"/>
                </a:lnTo>
                <a:lnTo>
                  <a:pt x="3" y="32"/>
                </a:lnTo>
                <a:lnTo>
                  <a:pt x="3" y="35"/>
                </a:lnTo>
                <a:lnTo>
                  <a:pt x="4" y="36"/>
                </a:lnTo>
                <a:lnTo>
                  <a:pt x="8" y="36"/>
                </a:lnTo>
                <a:lnTo>
                  <a:pt x="12" y="36"/>
                </a:lnTo>
                <a:lnTo>
                  <a:pt x="15" y="35"/>
                </a:lnTo>
                <a:lnTo>
                  <a:pt x="16" y="33"/>
                </a:lnTo>
                <a:lnTo>
                  <a:pt x="23" y="33"/>
                </a:lnTo>
                <a:lnTo>
                  <a:pt x="25" y="35"/>
                </a:lnTo>
                <a:lnTo>
                  <a:pt x="27" y="35"/>
                </a:lnTo>
                <a:lnTo>
                  <a:pt x="29" y="35"/>
                </a:lnTo>
                <a:lnTo>
                  <a:pt x="36" y="35"/>
                </a:lnTo>
                <a:lnTo>
                  <a:pt x="37" y="33"/>
                </a:lnTo>
                <a:lnTo>
                  <a:pt x="39" y="32"/>
                </a:lnTo>
                <a:lnTo>
                  <a:pt x="41" y="32"/>
                </a:lnTo>
                <a:lnTo>
                  <a:pt x="41" y="30"/>
                </a:lnTo>
                <a:lnTo>
                  <a:pt x="44" y="30"/>
                </a:lnTo>
                <a:lnTo>
                  <a:pt x="43" y="29"/>
                </a:lnTo>
                <a:lnTo>
                  <a:pt x="45" y="29"/>
                </a:lnTo>
                <a:lnTo>
                  <a:pt x="45" y="27"/>
                </a:lnTo>
                <a:lnTo>
                  <a:pt x="47" y="27"/>
                </a:lnTo>
                <a:lnTo>
                  <a:pt x="45" y="25"/>
                </a:lnTo>
                <a:lnTo>
                  <a:pt x="47" y="24"/>
                </a:lnTo>
                <a:lnTo>
                  <a:pt x="48" y="22"/>
                </a:lnTo>
                <a:lnTo>
                  <a:pt x="51" y="21"/>
                </a:lnTo>
                <a:lnTo>
                  <a:pt x="51" y="19"/>
                </a:lnTo>
                <a:lnTo>
                  <a:pt x="52" y="19"/>
                </a:lnTo>
                <a:lnTo>
                  <a:pt x="53" y="18"/>
                </a:lnTo>
                <a:lnTo>
                  <a:pt x="55" y="16"/>
                </a:lnTo>
                <a:lnTo>
                  <a:pt x="56" y="14"/>
                </a:lnTo>
                <a:lnTo>
                  <a:pt x="57" y="13"/>
                </a:lnTo>
                <a:lnTo>
                  <a:pt x="59" y="13"/>
                </a:lnTo>
                <a:lnTo>
                  <a:pt x="59" y="11"/>
                </a:lnTo>
                <a:lnTo>
                  <a:pt x="60" y="10"/>
                </a:lnTo>
                <a:lnTo>
                  <a:pt x="60" y="8"/>
                </a:lnTo>
                <a:lnTo>
                  <a:pt x="61" y="8"/>
                </a:lnTo>
                <a:lnTo>
                  <a:pt x="64" y="7"/>
                </a:lnTo>
                <a:lnTo>
                  <a:pt x="67" y="3"/>
                </a:lnTo>
                <a:lnTo>
                  <a:pt x="68" y="0"/>
                </a:lnTo>
                <a:lnTo>
                  <a:pt x="68" y="3"/>
                </a:lnTo>
                <a:lnTo>
                  <a:pt x="69" y="5"/>
                </a:lnTo>
                <a:lnTo>
                  <a:pt x="68" y="7"/>
                </a:lnTo>
                <a:lnTo>
                  <a:pt x="69" y="7"/>
                </a:lnTo>
                <a:lnTo>
                  <a:pt x="70" y="7"/>
                </a:lnTo>
                <a:lnTo>
                  <a:pt x="72" y="8"/>
                </a:lnTo>
                <a:lnTo>
                  <a:pt x="72" y="19"/>
                </a:lnTo>
                <a:lnTo>
                  <a:pt x="72" y="21"/>
                </a:lnTo>
                <a:lnTo>
                  <a:pt x="63" y="21"/>
                </a:lnTo>
                <a:lnTo>
                  <a:pt x="65" y="32"/>
                </a:lnTo>
                <a:lnTo>
                  <a:pt x="64" y="32"/>
                </a:lnTo>
                <a:lnTo>
                  <a:pt x="65" y="33"/>
                </a:lnTo>
                <a:lnTo>
                  <a:pt x="65" y="36"/>
                </a:lnTo>
                <a:lnTo>
                  <a:pt x="61" y="36"/>
                </a:lnTo>
                <a:lnTo>
                  <a:pt x="60" y="44"/>
                </a:lnTo>
                <a:lnTo>
                  <a:pt x="55" y="6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08" name="Freeform 1135"/>
          <p:cNvSpPr>
            <a:spLocks/>
          </p:cNvSpPr>
          <p:nvPr/>
        </p:nvSpPr>
        <p:spPr bwMode="auto">
          <a:xfrm>
            <a:off x="7153575" y="3425085"/>
            <a:ext cx="140315" cy="122412"/>
          </a:xfrm>
          <a:custGeom>
            <a:avLst/>
            <a:gdLst/>
            <a:ahLst/>
            <a:cxnLst>
              <a:cxn ang="0">
                <a:pos x="55" y="60"/>
              </a:cxn>
              <a:cxn ang="0">
                <a:pos x="55" y="62"/>
              </a:cxn>
              <a:cxn ang="0">
                <a:pos x="16" y="55"/>
              </a:cxn>
              <a:cxn ang="0">
                <a:pos x="0" y="35"/>
              </a:cxn>
              <a:cxn ang="0">
                <a:pos x="0" y="32"/>
              </a:cxn>
              <a:cxn ang="0">
                <a:pos x="1" y="32"/>
              </a:cxn>
              <a:cxn ang="0">
                <a:pos x="3" y="32"/>
              </a:cxn>
              <a:cxn ang="0">
                <a:pos x="3" y="35"/>
              </a:cxn>
              <a:cxn ang="0">
                <a:pos x="4" y="36"/>
              </a:cxn>
              <a:cxn ang="0">
                <a:pos x="8" y="36"/>
              </a:cxn>
              <a:cxn ang="0">
                <a:pos x="12" y="36"/>
              </a:cxn>
              <a:cxn ang="0">
                <a:pos x="15" y="35"/>
              </a:cxn>
              <a:cxn ang="0">
                <a:pos x="16" y="33"/>
              </a:cxn>
              <a:cxn ang="0">
                <a:pos x="23" y="33"/>
              </a:cxn>
              <a:cxn ang="0">
                <a:pos x="25" y="35"/>
              </a:cxn>
              <a:cxn ang="0">
                <a:pos x="27" y="35"/>
              </a:cxn>
              <a:cxn ang="0">
                <a:pos x="29" y="35"/>
              </a:cxn>
              <a:cxn ang="0">
                <a:pos x="36" y="35"/>
              </a:cxn>
              <a:cxn ang="0">
                <a:pos x="37" y="33"/>
              </a:cxn>
              <a:cxn ang="0">
                <a:pos x="39" y="32"/>
              </a:cxn>
              <a:cxn ang="0">
                <a:pos x="41" y="32"/>
              </a:cxn>
              <a:cxn ang="0">
                <a:pos x="41" y="30"/>
              </a:cxn>
              <a:cxn ang="0">
                <a:pos x="44" y="30"/>
              </a:cxn>
              <a:cxn ang="0">
                <a:pos x="43" y="29"/>
              </a:cxn>
              <a:cxn ang="0">
                <a:pos x="45" y="29"/>
              </a:cxn>
              <a:cxn ang="0">
                <a:pos x="45" y="27"/>
              </a:cxn>
              <a:cxn ang="0">
                <a:pos x="47" y="27"/>
              </a:cxn>
              <a:cxn ang="0">
                <a:pos x="45" y="25"/>
              </a:cxn>
              <a:cxn ang="0">
                <a:pos x="47" y="24"/>
              </a:cxn>
              <a:cxn ang="0">
                <a:pos x="48" y="22"/>
              </a:cxn>
              <a:cxn ang="0">
                <a:pos x="51" y="21"/>
              </a:cxn>
              <a:cxn ang="0">
                <a:pos x="51" y="19"/>
              </a:cxn>
              <a:cxn ang="0">
                <a:pos x="52" y="19"/>
              </a:cxn>
              <a:cxn ang="0">
                <a:pos x="53" y="18"/>
              </a:cxn>
              <a:cxn ang="0">
                <a:pos x="55" y="16"/>
              </a:cxn>
              <a:cxn ang="0">
                <a:pos x="56" y="14"/>
              </a:cxn>
              <a:cxn ang="0">
                <a:pos x="57" y="13"/>
              </a:cxn>
              <a:cxn ang="0">
                <a:pos x="59" y="13"/>
              </a:cxn>
              <a:cxn ang="0">
                <a:pos x="59" y="11"/>
              </a:cxn>
              <a:cxn ang="0">
                <a:pos x="60" y="10"/>
              </a:cxn>
              <a:cxn ang="0">
                <a:pos x="60" y="8"/>
              </a:cxn>
              <a:cxn ang="0">
                <a:pos x="61" y="8"/>
              </a:cxn>
              <a:cxn ang="0">
                <a:pos x="64" y="7"/>
              </a:cxn>
              <a:cxn ang="0">
                <a:pos x="67" y="3"/>
              </a:cxn>
              <a:cxn ang="0">
                <a:pos x="68" y="0"/>
              </a:cxn>
              <a:cxn ang="0">
                <a:pos x="68" y="3"/>
              </a:cxn>
              <a:cxn ang="0">
                <a:pos x="69" y="5"/>
              </a:cxn>
              <a:cxn ang="0">
                <a:pos x="68" y="7"/>
              </a:cxn>
              <a:cxn ang="0">
                <a:pos x="69" y="7"/>
              </a:cxn>
              <a:cxn ang="0">
                <a:pos x="70" y="7"/>
              </a:cxn>
              <a:cxn ang="0">
                <a:pos x="72" y="8"/>
              </a:cxn>
              <a:cxn ang="0">
                <a:pos x="72" y="19"/>
              </a:cxn>
              <a:cxn ang="0">
                <a:pos x="72" y="21"/>
              </a:cxn>
              <a:cxn ang="0">
                <a:pos x="63" y="21"/>
              </a:cxn>
              <a:cxn ang="0">
                <a:pos x="65" y="32"/>
              </a:cxn>
              <a:cxn ang="0">
                <a:pos x="64" y="32"/>
              </a:cxn>
              <a:cxn ang="0">
                <a:pos x="65" y="33"/>
              </a:cxn>
              <a:cxn ang="0">
                <a:pos x="65" y="36"/>
              </a:cxn>
              <a:cxn ang="0">
                <a:pos x="61" y="36"/>
              </a:cxn>
              <a:cxn ang="0">
                <a:pos x="60" y="44"/>
              </a:cxn>
              <a:cxn ang="0">
                <a:pos x="55" y="60"/>
              </a:cxn>
            </a:cxnLst>
            <a:rect l="0" t="0" r="r" b="b"/>
            <a:pathLst>
              <a:path w="72" h="62">
                <a:moveTo>
                  <a:pt x="55" y="60"/>
                </a:moveTo>
                <a:lnTo>
                  <a:pt x="55" y="62"/>
                </a:lnTo>
                <a:lnTo>
                  <a:pt x="16" y="55"/>
                </a:lnTo>
                <a:lnTo>
                  <a:pt x="0" y="35"/>
                </a:lnTo>
                <a:lnTo>
                  <a:pt x="0" y="32"/>
                </a:lnTo>
                <a:lnTo>
                  <a:pt x="1" y="32"/>
                </a:lnTo>
                <a:lnTo>
                  <a:pt x="3" y="32"/>
                </a:lnTo>
                <a:lnTo>
                  <a:pt x="3" y="35"/>
                </a:lnTo>
                <a:lnTo>
                  <a:pt x="4" y="36"/>
                </a:lnTo>
                <a:lnTo>
                  <a:pt x="8" y="36"/>
                </a:lnTo>
                <a:lnTo>
                  <a:pt x="12" y="36"/>
                </a:lnTo>
                <a:lnTo>
                  <a:pt x="15" y="35"/>
                </a:lnTo>
                <a:lnTo>
                  <a:pt x="16" y="33"/>
                </a:lnTo>
                <a:lnTo>
                  <a:pt x="23" y="33"/>
                </a:lnTo>
                <a:lnTo>
                  <a:pt x="25" y="35"/>
                </a:lnTo>
                <a:lnTo>
                  <a:pt x="27" y="35"/>
                </a:lnTo>
                <a:lnTo>
                  <a:pt x="29" y="35"/>
                </a:lnTo>
                <a:lnTo>
                  <a:pt x="36" y="35"/>
                </a:lnTo>
                <a:lnTo>
                  <a:pt x="37" y="33"/>
                </a:lnTo>
                <a:lnTo>
                  <a:pt x="39" y="32"/>
                </a:lnTo>
                <a:lnTo>
                  <a:pt x="41" y="32"/>
                </a:lnTo>
                <a:lnTo>
                  <a:pt x="41" y="30"/>
                </a:lnTo>
                <a:lnTo>
                  <a:pt x="44" y="30"/>
                </a:lnTo>
                <a:lnTo>
                  <a:pt x="43" y="29"/>
                </a:lnTo>
                <a:lnTo>
                  <a:pt x="45" y="29"/>
                </a:lnTo>
                <a:lnTo>
                  <a:pt x="45" y="27"/>
                </a:lnTo>
                <a:lnTo>
                  <a:pt x="47" y="27"/>
                </a:lnTo>
                <a:lnTo>
                  <a:pt x="45" y="25"/>
                </a:lnTo>
                <a:lnTo>
                  <a:pt x="47" y="24"/>
                </a:lnTo>
                <a:lnTo>
                  <a:pt x="48" y="22"/>
                </a:lnTo>
                <a:lnTo>
                  <a:pt x="51" y="21"/>
                </a:lnTo>
                <a:lnTo>
                  <a:pt x="51" y="19"/>
                </a:lnTo>
                <a:lnTo>
                  <a:pt x="52" y="19"/>
                </a:lnTo>
                <a:lnTo>
                  <a:pt x="53" y="18"/>
                </a:lnTo>
                <a:lnTo>
                  <a:pt x="55" y="16"/>
                </a:lnTo>
                <a:lnTo>
                  <a:pt x="56" y="14"/>
                </a:lnTo>
                <a:lnTo>
                  <a:pt x="57" y="13"/>
                </a:lnTo>
                <a:lnTo>
                  <a:pt x="59" y="13"/>
                </a:lnTo>
                <a:lnTo>
                  <a:pt x="59" y="11"/>
                </a:lnTo>
                <a:lnTo>
                  <a:pt x="60" y="10"/>
                </a:lnTo>
                <a:lnTo>
                  <a:pt x="60" y="8"/>
                </a:lnTo>
                <a:lnTo>
                  <a:pt x="61" y="8"/>
                </a:lnTo>
                <a:lnTo>
                  <a:pt x="64" y="7"/>
                </a:lnTo>
                <a:lnTo>
                  <a:pt x="67" y="3"/>
                </a:lnTo>
                <a:lnTo>
                  <a:pt x="68" y="0"/>
                </a:lnTo>
                <a:lnTo>
                  <a:pt x="68" y="3"/>
                </a:lnTo>
                <a:lnTo>
                  <a:pt x="69" y="5"/>
                </a:lnTo>
                <a:lnTo>
                  <a:pt x="68" y="7"/>
                </a:lnTo>
                <a:lnTo>
                  <a:pt x="69" y="7"/>
                </a:lnTo>
                <a:lnTo>
                  <a:pt x="70" y="7"/>
                </a:lnTo>
                <a:lnTo>
                  <a:pt x="72" y="8"/>
                </a:lnTo>
                <a:lnTo>
                  <a:pt x="72" y="19"/>
                </a:lnTo>
                <a:lnTo>
                  <a:pt x="72" y="21"/>
                </a:lnTo>
                <a:lnTo>
                  <a:pt x="63" y="21"/>
                </a:lnTo>
                <a:lnTo>
                  <a:pt x="65" y="32"/>
                </a:lnTo>
                <a:lnTo>
                  <a:pt x="64" y="32"/>
                </a:lnTo>
                <a:lnTo>
                  <a:pt x="65" y="33"/>
                </a:lnTo>
                <a:lnTo>
                  <a:pt x="65" y="36"/>
                </a:lnTo>
                <a:lnTo>
                  <a:pt x="61" y="36"/>
                </a:lnTo>
                <a:lnTo>
                  <a:pt x="60" y="44"/>
                </a:lnTo>
                <a:lnTo>
                  <a:pt x="55" y="60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09" name="Freeform 1136"/>
          <p:cNvSpPr>
            <a:spLocks/>
          </p:cNvSpPr>
          <p:nvPr/>
        </p:nvSpPr>
        <p:spPr bwMode="auto">
          <a:xfrm>
            <a:off x="9240756" y="4670697"/>
            <a:ext cx="11693" cy="10737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2" y="3"/>
              </a:cxn>
              <a:cxn ang="0">
                <a:pos x="4" y="1"/>
              </a:cxn>
              <a:cxn ang="0">
                <a:pos x="6" y="0"/>
              </a:cxn>
              <a:cxn ang="0">
                <a:pos x="7" y="0"/>
              </a:cxn>
              <a:cxn ang="0">
                <a:pos x="7" y="1"/>
              </a:cxn>
              <a:cxn ang="0">
                <a:pos x="6" y="1"/>
              </a:cxn>
              <a:cxn ang="0">
                <a:pos x="6" y="3"/>
              </a:cxn>
              <a:cxn ang="0">
                <a:pos x="4" y="3"/>
              </a:cxn>
              <a:cxn ang="0">
                <a:pos x="6" y="3"/>
              </a:cxn>
              <a:cxn ang="0">
                <a:pos x="6" y="5"/>
              </a:cxn>
              <a:cxn ang="0">
                <a:pos x="4" y="5"/>
              </a:cxn>
              <a:cxn ang="0">
                <a:pos x="4" y="6"/>
              </a:cxn>
              <a:cxn ang="0">
                <a:pos x="3" y="6"/>
              </a:cxn>
              <a:cxn ang="0">
                <a:pos x="3" y="5"/>
              </a:cxn>
              <a:cxn ang="0">
                <a:pos x="3" y="3"/>
              </a:cxn>
              <a:cxn ang="0">
                <a:pos x="2" y="3"/>
              </a:cxn>
              <a:cxn ang="0">
                <a:pos x="2" y="5"/>
              </a:cxn>
              <a:cxn ang="0">
                <a:pos x="0" y="5"/>
              </a:cxn>
              <a:cxn ang="0">
                <a:pos x="0" y="3"/>
              </a:cxn>
            </a:cxnLst>
            <a:rect l="0" t="0" r="r" b="b"/>
            <a:pathLst>
              <a:path w="7" h="6">
                <a:moveTo>
                  <a:pt x="0" y="3"/>
                </a:moveTo>
                <a:lnTo>
                  <a:pt x="2" y="3"/>
                </a:lnTo>
                <a:lnTo>
                  <a:pt x="4" y="1"/>
                </a:lnTo>
                <a:lnTo>
                  <a:pt x="6" y="0"/>
                </a:lnTo>
                <a:lnTo>
                  <a:pt x="7" y="0"/>
                </a:lnTo>
                <a:lnTo>
                  <a:pt x="7" y="1"/>
                </a:lnTo>
                <a:lnTo>
                  <a:pt x="6" y="1"/>
                </a:lnTo>
                <a:lnTo>
                  <a:pt x="6" y="3"/>
                </a:lnTo>
                <a:lnTo>
                  <a:pt x="4" y="3"/>
                </a:lnTo>
                <a:lnTo>
                  <a:pt x="6" y="3"/>
                </a:lnTo>
                <a:lnTo>
                  <a:pt x="6" y="5"/>
                </a:lnTo>
                <a:lnTo>
                  <a:pt x="4" y="5"/>
                </a:lnTo>
                <a:lnTo>
                  <a:pt x="4" y="6"/>
                </a:lnTo>
                <a:lnTo>
                  <a:pt x="3" y="6"/>
                </a:lnTo>
                <a:lnTo>
                  <a:pt x="3" y="5"/>
                </a:lnTo>
                <a:lnTo>
                  <a:pt x="3" y="3"/>
                </a:lnTo>
                <a:lnTo>
                  <a:pt x="2" y="3"/>
                </a:lnTo>
                <a:lnTo>
                  <a:pt x="2" y="5"/>
                </a:lnTo>
                <a:lnTo>
                  <a:pt x="0" y="5"/>
                </a:lnTo>
                <a:lnTo>
                  <a:pt x="0" y="3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10" name="Freeform 1137"/>
          <p:cNvSpPr>
            <a:spLocks/>
          </p:cNvSpPr>
          <p:nvPr/>
        </p:nvSpPr>
        <p:spPr bwMode="auto">
          <a:xfrm>
            <a:off x="9240756" y="4670697"/>
            <a:ext cx="11693" cy="10737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2" y="3"/>
              </a:cxn>
              <a:cxn ang="0">
                <a:pos x="4" y="1"/>
              </a:cxn>
              <a:cxn ang="0">
                <a:pos x="6" y="0"/>
              </a:cxn>
              <a:cxn ang="0">
                <a:pos x="7" y="0"/>
              </a:cxn>
              <a:cxn ang="0">
                <a:pos x="7" y="1"/>
              </a:cxn>
              <a:cxn ang="0">
                <a:pos x="6" y="1"/>
              </a:cxn>
              <a:cxn ang="0">
                <a:pos x="6" y="3"/>
              </a:cxn>
              <a:cxn ang="0">
                <a:pos x="4" y="3"/>
              </a:cxn>
              <a:cxn ang="0">
                <a:pos x="6" y="3"/>
              </a:cxn>
              <a:cxn ang="0">
                <a:pos x="6" y="5"/>
              </a:cxn>
              <a:cxn ang="0">
                <a:pos x="4" y="5"/>
              </a:cxn>
              <a:cxn ang="0">
                <a:pos x="4" y="6"/>
              </a:cxn>
              <a:cxn ang="0">
                <a:pos x="3" y="6"/>
              </a:cxn>
              <a:cxn ang="0">
                <a:pos x="3" y="5"/>
              </a:cxn>
              <a:cxn ang="0">
                <a:pos x="3" y="3"/>
              </a:cxn>
              <a:cxn ang="0">
                <a:pos x="2" y="3"/>
              </a:cxn>
              <a:cxn ang="0">
                <a:pos x="2" y="5"/>
              </a:cxn>
              <a:cxn ang="0">
                <a:pos x="0" y="5"/>
              </a:cxn>
              <a:cxn ang="0">
                <a:pos x="0" y="3"/>
              </a:cxn>
            </a:cxnLst>
            <a:rect l="0" t="0" r="r" b="b"/>
            <a:pathLst>
              <a:path w="7" h="6">
                <a:moveTo>
                  <a:pt x="0" y="3"/>
                </a:moveTo>
                <a:lnTo>
                  <a:pt x="2" y="3"/>
                </a:lnTo>
                <a:lnTo>
                  <a:pt x="4" y="1"/>
                </a:lnTo>
                <a:lnTo>
                  <a:pt x="6" y="0"/>
                </a:lnTo>
                <a:lnTo>
                  <a:pt x="7" y="0"/>
                </a:lnTo>
                <a:lnTo>
                  <a:pt x="7" y="1"/>
                </a:lnTo>
                <a:lnTo>
                  <a:pt x="6" y="1"/>
                </a:lnTo>
                <a:lnTo>
                  <a:pt x="6" y="3"/>
                </a:lnTo>
                <a:lnTo>
                  <a:pt x="4" y="3"/>
                </a:lnTo>
                <a:lnTo>
                  <a:pt x="6" y="3"/>
                </a:lnTo>
                <a:lnTo>
                  <a:pt x="6" y="5"/>
                </a:lnTo>
                <a:lnTo>
                  <a:pt x="4" y="5"/>
                </a:lnTo>
                <a:lnTo>
                  <a:pt x="4" y="6"/>
                </a:lnTo>
                <a:lnTo>
                  <a:pt x="3" y="6"/>
                </a:lnTo>
                <a:lnTo>
                  <a:pt x="3" y="5"/>
                </a:lnTo>
                <a:lnTo>
                  <a:pt x="3" y="3"/>
                </a:lnTo>
                <a:lnTo>
                  <a:pt x="2" y="3"/>
                </a:lnTo>
                <a:lnTo>
                  <a:pt x="2" y="5"/>
                </a:lnTo>
                <a:lnTo>
                  <a:pt x="0" y="5"/>
                </a:lnTo>
                <a:lnTo>
                  <a:pt x="0" y="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11" name="Freeform 1138"/>
          <p:cNvSpPr>
            <a:spLocks/>
          </p:cNvSpPr>
          <p:nvPr/>
        </p:nvSpPr>
        <p:spPr bwMode="auto">
          <a:xfrm>
            <a:off x="9266090" y="4640631"/>
            <a:ext cx="64312" cy="38657"/>
          </a:xfrm>
          <a:custGeom>
            <a:avLst/>
            <a:gdLst/>
            <a:ahLst/>
            <a:cxnLst>
              <a:cxn ang="0">
                <a:pos x="2" y="19"/>
              </a:cxn>
              <a:cxn ang="0">
                <a:pos x="2" y="17"/>
              </a:cxn>
              <a:cxn ang="0">
                <a:pos x="1" y="17"/>
              </a:cxn>
              <a:cxn ang="0">
                <a:pos x="1" y="15"/>
              </a:cxn>
              <a:cxn ang="0">
                <a:pos x="0" y="14"/>
              </a:cxn>
              <a:cxn ang="0">
                <a:pos x="1" y="14"/>
              </a:cxn>
              <a:cxn ang="0">
                <a:pos x="2" y="14"/>
              </a:cxn>
              <a:cxn ang="0">
                <a:pos x="4" y="14"/>
              </a:cxn>
              <a:cxn ang="0">
                <a:pos x="4" y="12"/>
              </a:cxn>
              <a:cxn ang="0">
                <a:pos x="4" y="11"/>
              </a:cxn>
              <a:cxn ang="0">
                <a:pos x="2" y="11"/>
              </a:cxn>
              <a:cxn ang="0">
                <a:pos x="1" y="11"/>
              </a:cxn>
              <a:cxn ang="0">
                <a:pos x="1" y="12"/>
              </a:cxn>
              <a:cxn ang="0">
                <a:pos x="0" y="12"/>
              </a:cxn>
              <a:cxn ang="0">
                <a:pos x="0" y="11"/>
              </a:cxn>
              <a:cxn ang="0">
                <a:pos x="0" y="9"/>
              </a:cxn>
              <a:cxn ang="0">
                <a:pos x="1" y="9"/>
              </a:cxn>
              <a:cxn ang="0">
                <a:pos x="2" y="4"/>
              </a:cxn>
              <a:cxn ang="0">
                <a:pos x="5" y="4"/>
              </a:cxn>
              <a:cxn ang="0">
                <a:pos x="13" y="3"/>
              </a:cxn>
              <a:cxn ang="0">
                <a:pos x="14" y="1"/>
              </a:cxn>
              <a:cxn ang="0">
                <a:pos x="17" y="3"/>
              </a:cxn>
              <a:cxn ang="0">
                <a:pos x="25" y="1"/>
              </a:cxn>
              <a:cxn ang="0">
                <a:pos x="28" y="1"/>
              </a:cxn>
              <a:cxn ang="0">
                <a:pos x="30" y="0"/>
              </a:cxn>
              <a:cxn ang="0">
                <a:pos x="32" y="0"/>
              </a:cxn>
              <a:cxn ang="0">
                <a:pos x="34" y="0"/>
              </a:cxn>
              <a:cxn ang="0">
                <a:pos x="34" y="1"/>
              </a:cxn>
              <a:cxn ang="0">
                <a:pos x="33" y="6"/>
              </a:cxn>
              <a:cxn ang="0">
                <a:pos x="29" y="8"/>
              </a:cxn>
              <a:cxn ang="0">
                <a:pos x="22" y="11"/>
              </a:cxn>
              <a:cxn ang="0">
                <a:pos x="18" y="12"/>
              </a:cxn>
              <a:cxn ang="0">
                <a:pos x="14" y="14"/>
              </a:cxn>
              <a:cxn ang="0">
                <a:pos x="9" y="15"/>
              </a:cxn>
              <a:cxn ang="0">
                <a:pos x="4" y="19"/>
              </a:cxn>
              <a:cxn ang="0">
                <a:pos x="2" y="19"/>
              </a:cxn>
            </a:cxnLst>
            <a:rect l="0" t="0" r="r" b="b"/>
            <a:pathLst>
              <a:path w="34" h="19">
                <a:moveTo>
                  <a:pt x="2" y="19"/>
                </a:moveTo>
                <a:lnTo>
                  <a:pt x="2" y="17"/>
                </a:lnTo>
                <a:lnTo>
                  <a:pt x="1" y="17"/>
                </a:lnTo>
                <a:lnTo>
                  <a:pt x="1" y="15"/>
                </a:lnTo>
                <a:lnTo>
                  <a:pt x="0" y="14"/>
                </a:lnTo>
                <a:lnTo>
                  <a:pt x="1" y="14"/>
                </a:lnTo>
                <a:lnTo>
                  <a:pt x="2" y="14"/>
                </a:lnTo>
                <a:lnTo>
                  <a:pt x="4" y="14"/>
                </a:lnTo>
                <a:lnTo>
                  <a:pt x="4" y="12"/>
                </a:lnTo>
                <a:lnTo>
                  <a:pt x="4" y="11"/>
                </a:lnTo>
                <a:lnTo>
                  <a:pt x="2" y="11"/>
                </a:lnTo>
                <a:lnTo>
                  <a:pt x="1" y="11"/>
                </a:lnTo>
                <a:lnTo>
                  <a:pt x="1" y="12"/>
                </a:lnTo>
                <a:lnTo>
                  <a:pt x="0" y="12"/>
                </a:lnTo>
                <a:lnTo>
                  <a:pt x="0" y="11"/>
                </a:lnTo>
                <a:lnTo>
                  <a:pt x="0" y="9"/>
                </a:lnTo>
                <a:lnTo>
                  <a:pt x="1" y="9"/>
                </a:lnTo>
                <a:lnTo>
                  <a:pt x="2" y="4"/>
                </a:lnTo>
                <a:lnTo>
                  <a:pt x="5" y="4"/>
                </a:lnTo>
                <a:lnTo>
                  <a:pt x="13" y="3"/>
                </a:lnTo>
                <a:lnTo>
                  <a:pt x="14" y="1"/>
                </a:lnTo>
                <a:lnTo>
                  <a:pt x="17" y="3"/>
                </a:lnTo>
                <a:lnTo>
                  <a:pt x="25" y="1"/>
                </a:lnTo>
                <a:lnTo>
                  <a:pt x="28" y="1"/>
                </a:lnTo>
                <a:lnTo>
                  <a:pt x="30" y="0"/>
                </a:lnTo>
                <a:lnTo>
                  <a:pt x="32" y="0"/>
                </a:lnTo>
                <a:lnTo>
                  <a:pt x="34" y="0"/>
                </a:lnTo>
                <a:lnTo>
                  <a:pt x="34" y="1"/>
                </a:lnTo>
                <a:lnTo>
                  <a:pt x="33" y="6"/>
                </a:lnTo>
                <a:lnTo>
                  <a:pt x="29" y="8"/>
                </a:lnTo>
                <a:lnTo>
                  <a:pt x="22" y="11"/>
                </a:lnTo>
                <a:lnTo>
                  <a:pt x="18" y="12"/>
                </a:lnTo>
                <a:lnTo>
                  <a:pt x="14" y="14"/>
                </a:lnTo>
                <a:lnTo>
                  <a:pt x="9" y="15"/>
                </a:lnTo>
                <a:lnTo>
                  <a:pt x="4" y="19"/>
                </a:lnTo>
                <a:lnTo>
                  <a:pt x="2" y="19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12" name="Freeform 1139"/>
          <p:cNvSpPr>
            <a:spLocks/>
          </p:cNvSpPr>
          <p:nvPr/>
        </p:nvSpPr>
        <p:spPr bwMode="auto">
          <a:xfrm>
            <a:off x="9266090" y="4640631"/>
            <a:ext cx="64312" cy="38657"/>
          </a:xfrm>
          <a:custGeom>
            <a:avLst/>
            <a:gdLst/>
            <a:ahLst/>
            <a:cxnLst>
              <a:cxn ang="0">
                <a:pos x="2" y="19"/>
              </a:cxn>
              <a:cxn ang="0">
                <a:pos x="2" y="17"/>
              </a:cxn>
              <a:cxn ang="0">
                <a:pos x="1" y="17"/>
              </a:cxn>
              <a:cxn ang="0">
                <a:pos x="1" y="15"/>
              </a:cxn>
              <a:cxn ang="0">
                <a:pos x="0" y="14"/>
              </a:cxn>
              <a:cxn ang="0">
                <a:pos x="1" y="14"/>
              </a:cxn>
              <a:cxn ang="0">
                <a:pos x="2" y="14"/>
              </a:cxn>
              <a:cxn ang="0">
                <a:pos x="4" y="14"/>
              </a:cxn>
              <a:cxn ang="0">
                <a:pos x="4" y="12"/>
              </a:cxn>
              <a:cxn ang="0">
                <a:pos x="4" y="11"/>
              </a:cxn>
              <a:cxn ang="0">
                <a:pos x="2" y="11"/>
              </a:cxn>
              <a:cxn ang="0">
                <a:pos x="1" y="11"/>
              </a:cxn>
              <a:cxn ang="0">
                <a:pos x="1" y="12"/>
              </a:cxn>
              <a:cxn ang="0">
                <a:pos x="0" y="12"/>
              </a:cxn>
              <a:cxn ang="0">
                <a:pos x="0" y="11"/>
              </a:cxn>
              <a:cxn ang="0">
                <a:pos x="0" y="9"/>
              </a:cxn>
              <a:cxn ang="0">
                <a:pos x="1" y="9"/>
              </a:cxn>
              <a:cxn ang="0">
                <a:pos x="2" y="4"/>
              </a:cxn>
              <a:cxn ang="0">
                <a:pos x="5" y="4"/>
              </a:cxn>
              <a:cxn ang="0">
                <a:pos x="13" y="3"/>
              </a:cxn>
              <a:cxn ang="0">
                <a:pos x="14" y="1"/>
              </a:cxn>
              <a:cxn ang="0">
                <a:pos x="17" y="3"/>
              </a:cxn>
              <a:cxn ang="0">
                <a:pos x="25" y="1"/>
              </a:cxn>
              <a:cxn ang="0">
                <a:pos x="28" y="1"/>
              </a:cxn>
              <a:cxn ang="0">
                <a:pos x="30" y="0"/>
              </a:cxn>
              <a:cxn ang="0">
                <a:pos x="32" y="0"/>
              </a:cxn>
              <a:cxn ang="0">
                <a:pos x="34" y="0"/>
              </a:cxn>
              <a:cxn ang="0">
                <a:pos x="34" y="1"/>
              </a:cxn>
              <a:cxn ang="0">
                <a:pos x="33" y="6"/>
              </a:cxn>
              <a:cxn ang="0">
                <a:pos x="29" y="8"/>
              </a:cxn>
              <a:cxn ang="0">
                <a:pos x="22" y="11"/>
              </a:cxn>
              <a:cxn ang="0">
                <a:pos x="18" y="12"/>
              </a:cxn>
              <a:cxn ang="0">
                <a:pos x="14" y="14"/>
              </a:cxn>
              <a:cxn ang="0">
                <a:pos x="9" y="15"/>
              </a:cxn>
              <a:cxn ang="0">
                <a:pos x="4" y="19"/>
              </a:cxn>
              <a:cxn ang="0">
                <a:pos x="2" y="19"/>
              </a:cxn>
            </a:cxnLst>
            <a:rect l="0" t="0" r="r" b="b"/>
            <a:pathLst>
              <a:path w="34" h="19">
                <a:moveTo>
                  <a:pt x="2" y="19"/>
                </a:moveTo>
                <a:lnTo>
                  <a:pt x="2" y="17"/>
                </a:lnTo>
                <a:lnTo>
                  <a:pt x="1" y="17"/>
                </a:lnTo>
                <a:lnTo>
                  <a:pt x="1" y="15"/>
                </a:lnTo>
                <a:lnTo>
                  <a:pt x="0" y="14"/>
                </a:lnTo>
                <a:lnTo>
                  <a:pt x="1" y="14"/>
                </a:lnTo>
                <a:lnTo>
                  <a:pt x="2" y="14"/>
                </a:lnTo>
                <a:lnTo>
                  <a:pt x="4" y="14"/>
                </a:lnTo>
                <a:lnTo>
                  <a:pt x="4" y="12"/>
                </a:lnTo>
                <a:lnTo>
                  <a:pt x="4" y="11"/>
                </a:lnTo>
                <a:lnTo>
                  <a:pt x="2" y="11"/>
                </a:lnTo>
                <a:lnTo>
                  <a:pt x="1" y="11"/>
                </a:lnTo>
                <a:lnTo>
                  <a:pt x="1" y="12"/>
                </a:lnTo>
                <a:lnTo>
                  <a:pt x="0" y="12"/>
                </a:lnTo>
                <a:lnTo>
                  <a:pt x="0" y="11"/>
                </a:lnTo>
                <a:lnTo>
                  <a:pt x="0" y="9"/>
                </a:lnTo>
                <a:lnTo>
                  <a:pt x="1" y="9"/>
                </a:lnTo>
                <a:lnTo>
                  <a:pt x="2" y="4"/>
                </a:lnTo>
                <a:lnTo>
                  <a:pt x="5" y="4"/>
                </a:lnTo>
                <a:lnTo>
                  <a:pt x="13" y="3"/>
                </a:lnTo>
                <a:lnTo>
                  <a:pt x="14" y="1"/>
                </a:lnTo>
                <a:lnTo>
                  <a:pt x="17" y="3"/>
                </a:lnTo>
                <a:lnTo>
                  <a:pt x="25" y="1"/>
                </a:lnTo>
                <a:lnTo>
                  <a:pt x="28" y="1"/>
                </a:lnTo>
                <a:lnTo>
                  <a:pt x="30" y="0"/>
                </a:lnTo>
                <a:lnTo>
                  <a:pt x="32" y="0"/>
                </a:lnTo>
                <a:lnTo>
                  <a:pt x="34" y="0"/>
                </a:lnTo>
                <a:lnTo>
                  <a:pt x="34" y="1"/>
                </a:lnTo>
                <a:lnTo>
                  <a:pt x="33" y="6"/>
                </a:lnTo>
                <a:lnTo>
                  <a:pt x="29" y="8"/>
                </a:lnTo>
                <a:lnTo>
                  <a:pt x="22" y="11"/>
                </a:lnTo>
                <a:lnTo>
                  <a:pt x="18" y="12"/>
                </a:lnTo>
                <a:lnTo>
                  <a:pt x="14" y="14"/>
                </a:lnTo>
                <a:lnTo>
                  <a:pt x="9" y="15"/>
                </a:lnTo>
                <a:lnTo>
                  <a:pt x="4" y="19"/>
                </a:lnTo>
                <a:lnTo>
                  <a:pt x="2" y="19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13" name="Freeform 1140"/>
          <p:cNvSpPr>
            <a:spLocks/>
          </p:cNvSpPr>
          <p:nvPr/>
        </p:nvSpPr>
        <p:spPr bwMode="auto">
          <a:xfrm>
            <a:off x="6005724" y="4548281"/>
            <a:ext cx="360530" cy="431670"/>
          </a:xfrm>
          <a:custGeom>
            <a:avLst/>
            <a:gdLst/>
            <a:ahLst/>
            <a:cxnLst>
              <a:cxn ang="0">
                <a:pos x="1" y="180"/>
              </a:cxn>
              <a:cxn ang="0">
                <a:pos x="7" y="168"/>
              </a:cxn>
              <a:cxn ang="0">
                <a:pos x="8" y="157"/>
              </a:cxn>
              <a:cxn ang="0">
                <a:pos x="11" y="146"/>
              </a:cxn>
              <a:cxn ang="0">
                <a:pos x="12" y="139"/>
              </a:cxn>
              <a:cxn ang="0">
                <a:pos x="19" y="130"/>
              </a:cxn>
              <a:cxn ang="0">
                <a:pos x="28" y="117"/>
              </a:cxn>
              <a:cxn ang="0">
                <a:pos x="31" y="106"/>
              </a:cxn>
              <a:cxn ang="0">
                <a:pos x="32" y="94"/>
              </a:cxn>
              <a:cxn ang="0">
                <a:pos x="28" y="83"/>
              </a:cxn>
              <a:cxn ang="0">
                <a:pos x="24" y="70"/>
              </a:cxn>
              <a:cxn ang="0">
                <a:pos x="23" y="56"/>
              </a:cxn>
              <a:cxn ang="0">
                <a:pos x="24" y="45"/>
              </a:cxn>
              <a:cxn ang="0">
                <a:pos x="19" y="26"/>
              </a:cxn>
              <a:cxn ang="0">
                <a:pos x="13" y="14"/>
              </a:cxn>
              <a:cxn ang="0">
                <a:pos x="11" y="7"/>
              </a:cxn>
              <a:cxn ang="0">
                <a:pos x="21" y="3"/>
              </a:cxn>
              <a:cxn ang="0">
                <a:pos x="29" y="1"/>
              </a:cxn>
              <a:cxn ang="0">
                <a:pos x="44" y="1"/>
              </a:cxn>
              <a:cxn ang="0">
                <a:pos x="56" y="1"/>
              </a:cxn>
              <a:cxn ang="0">
                <a:pos x="71" y="1"/>
              </a:cxn>
              <a:cxn ang="0">
                <a:pos x="73" y="3"/>
              </a:cxn>
              <a:cxn ang="0">
                <a:pos x="77" y="17"/>
              </a:cxn>
              <a:cxn ang="0">
                <a:pos x="80" y="28"/>
              </a:cxn>
              <a:cxn ang="0">
                <a:pos x="93" y="42"/>
              </a:cxn>
              <a:cxn ang="0">
                <a:pos x="105" y="39"/>
              </a:cxn>
              <a:cxn ang="0">
                <a:pos x="117" y="34"/>
              </a:cxn>
              <a:cxn ang="0">
                <a:pos x="118" y="29"/>
              </a:cxn>
              <a:cxn ang="0">
                <a:pos x="120" y="22"/>
              </a:cxn>
              <a:cxn ang="0">
                <a:pos x="138" y="20"/>
              </a:cxn>
              <a:cxn ang="0">
                <a:pos x="153" y="31"/>
              </a:cxn>
              <a:cxn ang="0">
                <a:pos x="154" y="50"/>
              </a:cxn>
              <a:cxn ang="0">
                <a:pos x="154" y="61"/>
              </a:cxn>
              <a:cxn ang="0">
                <a:pos x="157" y="73"/>
              </a:cxn>
              <a:cxn ang="0">
                <a:pos x="160" y="88"/>
              </a:cxn>
              <a:cxn ang="0">
                <a:pos x="156" y="95"/>
              </a:cxn>
              <a:cxn ang="0">
                <a:pos x="161" y="99"/>
              </a:cxn>
              <a:cxn ang="0">
                <a:pos x="164" y="92"/>
              </a:cxn>
              <a:cxn ang="0">
                <a:pos x="184" y="92"/>
              </a:cxn>
              <a:cxn ang="0">
                <a:pos x="188" y="92"/>
              </a:cxn>
              <a:cxn ang="0">
                <a:pos x="188" y="99"/>
              </a:cxn>
              <a:cxn ang="0">
                <a:pos x="186" y="108"/>
              </a:cxn>
              <a:cxn ang="0">
                <a:pos x="186" y="121"/>
              </a:cxn>
              <a:cxn ang="0">
                <a:pos x="188" y="127"/>
              </a:cxn>
              <a:cxn ang="0">
                <a:pos x="157" y="128"/>
              </a:cxn>
              <a:cxn ang="0">
                <a:pos x="157" y="180"/>
              </a:cxn>
              <a:cxn ang="0">
                <a:pos x="158" y="194"/>
              </a:cxn>
              <a:cxn ang="0">
                <a:pos x="165" y="202"/>
              </a:cxn>
              <a:cxn ang="0">
                <a:pos x="172" y="207"/>
              </a:cxn>
              <a:cxn ang="0">
                <a:pos x="174" y="212"/>
              </a:cxn>
              <a:cxn ang="0">
                <a:pos x="148" y="218"/>
              </a:cxn>
              <a:cxn ang="0">
                <a:pos x="140" y="216"/>
              </a:cxn>
              <a:cxn ang="0">
                <a:pos x="120" y="213"/>
              </a:cxn>
              <a:cxn ang="0">
                <a:pos x="106" y="212"/>
              </a:cxn>
              <a:cxn ang="0">
                <a:pos x="95" y="205"/>
              </a:cxn>
              <a:cxn ang="0">
                <a:pos x="55" y="205"/>
              </a:cxn>
              <a:cxn ang="0">
                <a:pos x="33" y="207"/>
              </a:cxn>
              <a:cxn ang="0">
                <a:pos x="25" y="198"/>
              </a:cxn>
              <a:cxn ang="0">
                <a:pos x="13" y="199"/>
              </a:cxn>
              <a:cxn ang="0">
                <a:pos x="7" y="201"/>
              </a:cxn>
              <a:cxn ang="0">
                <a:pos x="0" y="204"/>
              </a:cxn>
              <a:cxn ang="0">
                <a:pos x="1" y="194"/>
              </a:cxn>
            </a:cxnLst>
            <a:rect l="0" t="0" r="r" b="b"/>
            <a:pathLst>
              <a:path w="189" h="218">
                <a:moveTo>
                  <a:pt x="1" y="191"/>
                </a:moveTo>
                <a:lnTo>
                  <a:pt x="1" y="185"/>
                </a:lnTo>
                <a:lnTo>
                  <a:pt x="1" y="180"/>
                </a:lnTo>
                <a:lnTo>
                  <a:pt x="3" y="179"/>
                </a:lnTo>
                <a:lnTo>
                  <a:pt x="5" y="171"/>
                </a:lnTo>
                <a:lnTo>
                  <a:pt x="7" y="168"/>
                </a:lnTo>
                <a:lnTo>
                  <a:pt x="7" y="163"/>
                </a:lnTo>
                <a:lnTo>
                  <a:pt x="8" y="160"/>
                </a:lnTo>
                <a:lnTo>
                  <a:pt x="8" y="157"/>
                </a:lnTo>
                <a:lnTo>
                  <a:pt x="8" y="155"/>
                </a:lnTo>
                <a:lnTo>
                  <a:pt x="9" y="150"/>
                </a:lnTo>
                <a:lnTo>
                  <a:pt x="11" y="146"/>
                </a:lnTo>
                <a:lnTo>
                  <a:pt x="11" y="143"/>
                </a:lnTo>
                <a:lnTo>
                  <a:pt x="12" y="141"/>
                </a:lnTo>
                <a:lnTo>
                  <a:pt x="12" y="139"/>
                </a:lnTo>
                <a:lnTo>
                  <a:pt x="15" y="135"/>
                </a:lnTo>
                <a:lnTo>
                  <a:pt x="16" y="132"/>
                </a:lnTo>
                <a:lnTo>
                  <a:pt x="19" y="130"/>
                </a:lnTo>
                <a:lnTo>
                  <a:pt x="19" y="125"/>
                </a:lnTo>
                <a:lnTo>
                  <a:pt x="24" y="124"/>
                </a:lnTo>
                <a:lnTo>
                  <a:pt x="28" y="117"/>
                </a:lnTo>
                <a:lnTo>
                  <a:pt x="29" y="116"/>
                </a:lnTo>
                <a:lnTo>
                  <a:pt x="31" y="113"/>
                </a:lnTo>
                <a:lnTo>
                  <a:pt x="31" y="106"/>
                </a:lnTo>
                <a:lnTo>
                  <a:pt x="31" y="102"/>
                </a:lnTo>
                <a:lnTo>
                  <a:pt x="32" y="99"/>
                </a:lnTo>
                <a:lnTo>
                  <a:pt x="32" y="94"/>
                </a:lnTo>
                <a:lnTo>
                  <a:pt x="33" y="92"/>
                </a:lnTo>
                <a:lnTo>
                  <a:pt x="32" y="86"/>
                </a:lnTo>
                <a:lnTo>
                  <a:pt x="28" y="83"/>
                </a:lnTo>
                <a:lnTo>
                  <a:pt x="27" y="78"/>
                </a:lnTo>
                <a:lnTo>
                  <a:pt x="25" y="77"/>
                </a:lnTo>
                <a:lnTo>
                  <a:pt x="24" y="70"/>
                </a:lnTo>
                <a:lnTo>
                  <a:pt x="21" y="61"/>
                </a:lnTo>
                <a:lnTo>
                  <a:pt x="21" y="59"/>
                </a:lnTo>
                <a:lnTo>
                  <a:pt x="23" y="56"/>
                </a:lnTo>
                <a:lnTo>
                  <a:pt x="25" y="55"/>
                </a:lnTo>
                <a:lnTo>
                  <a:pt x="25" y="48"/>
                </a:lnTo>
                <a:lnTo>
                  <a:pt x="24" y="45"/>
                </a:lnTo>
                <a:lnTo>
                  <a:pt x="23" y="42"/>
                </a:lnTo>
                <a:lnTo>
                  <a:pt x="19" y="29"/>
                </a:lnTo>
                <a:lnTo>
                  <a:pt x="19" y="26"/>
                </a:lnTo>
                <a:lnTo>
                  <a:pt x="17" y="23"/>
                </a:lnTo>
                <a:lnTo>
                  <a:pt x="15" y="17"/>
                </a:lnTo>
                <a:lnTo>
                  <a:pt x="13" y="14"/>
                </a:lnTo>
                <a:lnTo>
                  <a:pt x="11" y="12"/>
                </a:lnTo>
                <a:lnTo>
                  <a:pt x="11" y="9"/>
                </a:lnTo>
                <a:lnTo>
                  <a:pt x="11" y="7"/>
                </a:lnTo>
                <a:lnTo>
                  <a:pt x="12" y="7"/>
                </a:lnTo>
                <a:lnTo>
                  <a:pt x="17" y="6"/>
                </a:lnTo>
                <a:lnTo>
                  <a:pt x="21" y="3"/>
                </a:lnTo>
                <a:lnTo>
                  <a:pt x="25" y="1"/>
                </a:lnTo>
                <a:lnTo>
                  <a:pt x="27" y="1"/>
                </a:lnTo>
                <a:lnTo>
                  <a:pt x="29" y="1"/>
                </a:lnTo>
                <a:lnTo>
                  <a:pt x="36" y="1"/>
                </a:lnTo>
                <a:lnTo>
                  <a:pt x="41" y="1"/>
                </a:lnTo>
                <a:lnTo>
                  <a:pt x="44" y="1"/>
                </a:lnTo>
                <a:lnTo>
                  <a:pt x="49" y="1"/>
                </a:lnTo>
                <a:lnTo>
                  <a:pt x="52" y="1"/>
                </a:lnTo>
                <a:lnTo>
                  <a:pt x="56" y="1"/>
                </a:lnTo>
                <a:lnTo>
                  <a:pt x="65" y="0"/>
                </a:lnTo>
                <a:lnTo>
                  <a:pt x="69" y="1"/>
                </a:lnTo>
                <a:lnTo>
                  <a:pt x="71" y="1"/>
                </a:lnTo>
                <a:lnTo>
                  <a:pt x="72" y="4"/>
                </a:lnTo>
                <a:lnTo>
                  <a:pt x="73" y="4"/>
                </a:lnTo>
                <a:lnTo>
                  <a:pt x="73" y="3"/>
                </a:lnTo>
                <a:lnTo>
                  <a:pt x="75" y="6"/>
                </a:lnTo>
                <a:lnTo>
                  <a:pt x="76" y="12"/>
                </a:lnTo>
                <a:lnTo>
                  <a:pt x="77" y="17"/>
                </a:lnTo>
                <a:lnTo>
                  <a:pt x="77" y="18"/>
                </a:lnTo>
                <a:lnTo>
                  <a:pt x="79" y="22"/>
                </a:lnTo>
                <a:lnTo>
                  <a:pt x="80" y="28"/>
                </a:lnTo>
                <a:lnTo>
                  <a:pt x="84" y="31"/>
                </a:lnTo>
                <a:lnTo>
                  <a:pt x="89" y="40"/>
                </a:lnTo>
                <a:lnTo>
                  <a:pt x="93" y="42"/>
                </a:lnTo>
                <a:lnTo>
                  <a:pt x="96" y="42"/>
                </a:lnTo>
                <a:lnTo>
                  <a:pt x="103" y="40"/>
                </a:lnTo>
                <a:lnTo>
                  <a:pt x="105" y="39"/>
                </a:lnTo>
                <a:lnTo>
                  <a:pt x="110" y="39"/>
                </a:lnTo>
                <a:lnTo>
                  <a:pt x="116" y="39"/>
                </a:lnTo>
                <a:lnTo>
                  <a:pt x="117" y="34"/>
                </a:lnTo>
                <a:lnTo>
                  <a:pt x="117" y="33"/>
                </a:lnTo>
                <a:lnTo>
                  <a:pt x="117" y="31"/>
                </a:lnTo>
                <a:lnTo>
                  <a:pt x="118" y="29"/>
                </a:lnTo>
                <a:lnTo>
                  <a:pt x="118" y="28"/>
                </a:lnTo>
                <a:lnTo>
                  <a:pt x="118" y="25"/>
                </a:lnTo>
                <a:lnTo>
                  <a:pt x="120" y="22"/>
                </a:lnTo>
                <a:lnTo>
                  <a:pt x="130" y="22"/>
                </a:lnTo>
                <a:lnTo>
                  <a:pt x="132" y="20"/>
                </a:lnTo>
                <a:lnTo>
                  <a:pt x="138" y="20"/>
                </a:lnTo>
                <a:lnTo>
                  <a:pt x="137" y="26"/>
                </a:lnTo>
                <a:lnTo>
                  <a:pt x="152" y="28"/>
                </a:lnTo>
                <a:lnTo>
                  <a:pt x="153" y="31"/>
                </a:lnTo>
                <a:lnTo>
                  <a:pt x="153" y="42"/>
                </a:lnTo>
                <a:lnTo>
                  <a:pt x="154" y="45"/>
                </a:lnTo>
                <a:lnTo>
                  <a:pt x="154" y="50"/>
                </a:lnTo>
                <a:lnTo>
                  <a:pt x="154" y="56"/>
                </a:lnTo>
                <a:lnTo>
                  <a:pt x="154" y="58"/>
                </a:lnTo>
                <a:lnTo>
                  <a:pt x="154" y="61"/>
                </a:lnTo>
                <a:lnTo>
                  <a:pt x="153" y="66"/>
                </a:lnTo>
                <a:lnTo>
                  <a:pt x="154" y="69"/>
                </a:lnTo>
                <a:lnTo>
                  <a:pt x="157" y="73"/>
                </a:lnTo>
                <a:lnTo>
                  <a:pt x="158" y="80"/>
                </a:lnTo>
                <a:lnTo>
                  <a:pt x="160" y="86"/>
                </a:lnTo>
                <a:lnTo>
                  <a:pt x="160" y="88"/>
                </a:lnTo>
                <a:lnTo>
                  <a:pt x="158" y="89"/>
                </a:lnTo>
                <a:lnTo>
                  <a:pt x="156" y="94"/>
                </a:lnTo>
                <a:lnTo>
                  <a:pt x="156" y="95"/>
                </a:lnTo>
                <a:lnTo>
                  <a:pt x="157" y="95"/>
                </a:lnTo>
                <a:lnTo>
                  <a:pt x="158" y="99"/>
                </a:lnTo>
                <a:lnTo>
                  <a:pt x="161" y="99"/>
                </a:lnTo>
                <a:lnTo>
                  <a:pt x="162" y="97"/>
                </a:lnTo>
                <a:lnTo>
                  <a:pt x="162" y="94"/>
                </a:lnTo>
                <a:lnTo>
                  <a:pt x="164" y="92"/>
                </a:lnTo>
                <a:lnTo>
                  <a:pt x="178" y="92"/>
                </a:lnTo>
                <a:lnTo>
                  <a:pt x="181" y="92"/>
                </a:lnTo>
                <a:lnTo>
                  <a:pt x="184" y="92"/>
                </a:lnTo>
                <a:lnTo>
                  <a:pt x="186" y="91"/>
                </a:lnTo>
                <a:lnTo>
                  <a:pt x="188" y="91"/>
                </a:lnTo>
                <a:lnTo>
                  <a:pt x="188" y="92"/>
                </a:lnTo>
                <a:lnTo>
                  <a:pt x="188" y="94"/>
                </a:lnTo>
                <a:lnTo>
                  <a:pt x="188" y="97"/>
                </a:lnTo>
                <a:lnTo>
                  <a:pt x="188" y="99"/>
                </a:lnTo>
                <a:lnTo>
                  <a:pt x="188" y="100"/>
                </a:lnTo>
                <a:lnTo>
                  <a:pt x="188" y="105"/>
                </a:lnTo>
                <a:lnTo>
                  <a:pt x="186" y="108"/>
                </a:lnTo>
                <a:lnTo>
                  <a:pt x="186" y="113"/>
                </a:lnTo>
                <a:lnTo>
                  <a:pt x="186" y="117"/>
                </a:lnTo>
                <a:lnTo>
                  <a:pt x="186" y="121"/>
                </a:lnTo>
                <a:lnTo>
                  <a:pt x="185" y="125"/>
                </a:lnTo>
                <a:lnTo>
                  <a:pt x="186" y="127"/>
                </a:lnTo>
                <a:lnTo>
                  <a:pt x="188" y="127"/>
                </a:lnTo>
                <a:lnTo>
                  <a:pt x="189" y="128"/>
                </a:lnTo>
                <a:lnTo>
                  <a:pt x="173" y="128"/>
                </a:lnTo>
                <a:lnTo>
                  <a:pt x="157" y="128"/>
                </a:lnTo>
                <a:lnTo>
                  <a:pt x="157" y="146"/>
                </a:lnTo>
                <a:lnTo>
                  <a:pt x="157" y="163"/>
                </a:lnTo>
                <a:lnTo>
                  <a:pt x="157" y="180"/>
                </a:lnTo>
                <a:lnTo>
                  <a:pt x="157" y="191"/>
                </a:lnTo>
                <a:lnTo>
                  <a:pt x="157" y="193"/>
                </a:lnTo>
                <a:lnTo>
                  <a:pt x="158" y="194"/>
                </a:lnTo>
                <a:lnTo>
                  <a:pt x="160" y="196"/>
                </a:lnTo>
                <a:lnTo>
                  <a:pt x="164" y="199"/>
                </a:lnTo>
                <a:lnTo>
                  <a:pt x="165" y="202"/>
                </a:lnTo>
                <a:lnTo>
                  <a:pt x="168" y="204"/>
                </a:lnTo>
                <a:lnTo>
                  <a:pt x="169" y="205"/>
                </a:lnTo>
                <a:lnTo>
                  <a:pt x="172" y="207"/>
                </a:lnTo>
                <a:lnTo>
                  <a:pt x="173" y="208"/>
                </a:lnTo>
                <a:lnTo>
                  <a:pt x="174" y="210"/>
                </a:lnTo>
                <a:lnTo>
                  <a:pt x="174" y="212"/>
                </a:lnTo>
                <a:lnTo>
                  <a:pt x="170" y="212"/>
                </a:lnTo>
                <a:lnTo>
                  <a:pt x="150" y="218"/>
                </a:lnTo>
                <a:lnTo>
                  <a:pt x="148" y="218"/>
                </a:lnTo>
                <a:lnTo>
                  <a:pt x="146" y="218"/>
                </a:lnTo>
                <a:lnTo>
                  <a:pt x="144" y="216"/>
                </a:lnTo>
                <a:lnTo>
                  <a:pt x="140" y="216"/>
                </a:lnTo>
                <a:lnTo>
                  <a:pt x="136" y="216"/>
                </a:lnTo>
                <a:lnTo>
                  <a:pt x="126" y="213"/>
                </a:lnTo>
                <a:lnTo>
                  <a:pt x="120" y="213"/>
                </a:lnTo>
                <a:lnTo>
                  <a:pt x="113" y="215"/>
                </a:lnTo>
                <a:lnTo>
                  <a:pt x="112" y="213"/>
                </a:lnTo>
                <a:lnTo>
                  <a:pt x="106" y="212"/>
                </a:lnTo>
                <a:lnTo>
                  <a:pt x="105" y="208"/>
                </a:lnTo>
                <a:lnTo>
                  <a:pt x="101" y="205"/>
                </a:lnTo>
                <a:lnTo>
                  <a:pt x="95" y="205"/>
                </a:lnTo>
                <a:lnTo>
                  <a:pt x="83" y="205"/>
                </a:lnTo>
                <a:lnTo>
                  <a:pt x="69" y="205"/>
                </a:lnTo>
                <a:lnTo>
                  <a:pt x="55" y="205"/>
                </a:lnTo>
                <a:lnTo>
                  <a:pt x="41" y="205"/>
                </a:lnTo>
                <a:lnTo>
                  <a:pt x="36" y="205"/>
                </a:lnTo>
                <a:lnTo>
                  <a:pt x="33" y="207"/>
                </a:lnTo>
                <a:lnTo>
                  <a:pt x="31" y="202"/>
                </a:lnTo>
                <a:lnTo>
                  <a:pt x="27" y="201"/>
                </a:lnTo>
                <a:lnTo>
                  <a:pt x="25" y="198"/>
                </a:lnTo>
                <a:lnTo>
                  <a:pt x="23" y="198"/>
                </a:lnTo>
                <a:lnTo>
                  <a:pt x="16" y="198"/>
                </a:lnTo>
                <a:lnTo>
                  <a:pt x="13" y="199"/>
                </a:lnTo>
                <a:lnTo>
                  <a:pt x="11" y="202"/>
                </a:lnTo>
                <a:lnTo>
                  <a:pt x="9" y="202"/>
                </a:lnTo>
                <a:lnTo>
                  <a:pt x="7" y="201"/>
                </a:lnTo>
                <a:lnTo>
                  <a:pt x="4" y="204"/>
                </a:lnTo>
                <a:lnTo>
                  <a:pt x="0" y="205"/>
                </a:lnTo>
                <a:lnTo>
                  <a:pt x="0" y="204"/>
                </a:lnTo>
                <a:lnTo>
                  <a:pt x="0" y="198"/>
                </a:lnTo>
                <a:lnTo>
                  <a:pt x="0" y="194"/>
                </a:lnTo>
                <a:lnTo>
                  <a:pt x="1" y="194"/>
                </a:lnTo>
                <a:lnTo>
                  <a:pt x="1" y="19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14" name="Freeform 1141"/>
          <p:cNvSpPr>
            <a:spLocks/>
          </p:cNvSpPr>
          <p:nvPr/>
        </p:nvSpPr>
        <p:spPr bwMode="auto">
          <a:xfrm>
            <a:off x="6005724" y="4548281"/>
            <a:ext cx="360530" cy="431670"/>
          </a:xfrm>
          <a:custGeom>
            <a:avLst/>
            <a:gdLst/>
            <a:ahLst/>
            <a:cxnLst>
              <a:cxn ang="0">
                <a:pos x="1" y="180"/>
              </a:cxn>
              <a:cxn ang="0">
                <a:pos x="7" y="168"/>
              </a:cxn>
              <a:cxn ang="0">
                <a:pos x="8" y="157"/>
              </a:cxn>
              <a:cxn ang="0">
                <a:pos x="11" y="146"/>
              </a:cxn>
              <a:cxn ang="0">
                <a:pos x="12" y="139"/>
              </a:cxn>
              <a:cxn ang="0">
                <a:pos x="19" y="130"/>
              </a:cxn>
              <a:cxn ang="0">
                <a:pos x="28" y="117"/>
              </a:cxn>
              <a:cxn ang="0">
                <a:pos x="31" y="106"/>
              </a:cxn>
              <a:cxn ang="0">
                <a:pos x="32" y="94"/>
              </a:cxn>
              <a:cxn ang="0">
                <a:pos x="28" y="83"/>
              </a:cxn>
              <a:cxn ang="0">
                <a:pos x="24" y="70"/>
              </a:cxn>
              <a:cxn ang="0">
                <a:pos x="23" y="56"/>
              </a:cxn>
              <a:cxn ang="0">
                <a:pos x="24" y="45"/>
              </a:cxn>
              <a:cxn ang="0">
                <a:pos x="19" y="26"/>
              </a:cxn>
              <a:cxn ang="0">
                <a:pos x="13" y="14"/>
              </a:cxn>
              <a:cxn ang="0">
                <a:pos x="11" y="7"/>
              </a:cxn>
              <a:cxn ang="0">
                <a:pos x="21" y="3"/>
              </a:cxn>
              <a:cxn ang="0">
                <a:pos x="29" y="1"/>
              </a:cxn>
              <a:cxn ang="0">
                <a:pos x="44" y="1"/>
              </a:cxn>
              <a:cxn ang="0">
                <a:pos x="56" y="1"/>
              </a:cxn>
              <a:cxn ang="0">
                <a:pos x="71" y="1"/>
              </a:cxn>
              <a:cxn ang="0">
                <a:pos x="73" y="3"/>
              </a:cxn>
              <a:cxn ang="0">
                <a:pos x="77" y="17"/>
              </a:cxn>
              <a:cxn ang="0">
                <a:pos x="80" y="28"/>
              </a:cxn>
              <a:cxn ang="0">
                <a:pos x="93" y="42"/>
              </a:cxn>
              <a:cxn ang="0">
                <a:pos x="105" y="39"/>
              </a:cxn>
              <a:cxn ang="0">
                <a:pos x="117" y="34"/>
              </a:cxn>
              <a:cxn ang="0">
                <a:pos x="118" y="29"/>
              </a:cxn>
              <a:cxn ang="0">
                <a:pos x="120" y="22"/>
              </a:cxn>
              <a:cxn ang="0">
                <a:pos x="138" y="20"/>
              </a:cxn>
              <a:cxn ang="0">
                <a:pos x="153" y="31"/>
              </a:cxn>
              <a:cxn ang="0">
                <a:pos x="154" y="50"/>
              </a:cxn>
              <a:cxn ang="0">
                <a:pos x="154" y="61"/>
              </a:cxn>
              <a:cxn ang="0">
                <a:pos x="157" y="73"/>
              </a:cxn>
              <a:cxn ang="0">
                <a:pos x="160" y="88"/>
              </a:cxn>
              <a:cxn ang="0">
                <a:pos x="156" y="95"/>
              </a:cxn>
              <a:cxn ang="0">
                <a:pos x="161" y="99"/>
              </a:cxn>
              <a:cxn ang="0">
                <a:pos x="164" y="92"/>
              </a:cxn>
              <a:cxn ang="0">
                <a:pos x="184" y="92"/>
              </a:cxn>
              <a:cxn ang="0">
                <a:pos x="188" y="92"/>
              </a:cxn>
              <a:cxn ang="0">
                <a:pos x="188" y="99"/>
              </a:cxn>
              <a:cxn ang="0">
                <a:pos x="186" y="108"/>
              </a:cxn>
              <a:cxn ang="0">
                <a:pos x="186" y="121"/>
              </a:cxn>
              <a:cxn ang="0">
                <a:pos x="188" y="127"/>
              </a:cxn>
              <a:cxn ang="0">
                <a:pos x="157" y="128"/>
              </a:cxn>
              <a:cxn ang="0">
                <a:pos x="157" y="180"/>
              </a:cxn>
              <a:cxn ang="0">
                <a:pos x="158" y="194"/>
              </a:cxn>
              <a:cxn ang="0">
                <a:pos x="165" y="202"/>
              </a:cxn>
              <a:cxn ang="0">
                <a:pos x="172" y="207"/>
              </a:cxn>
              <a:cxn ang="0">
                <a:pos x="174" y="212"/>
              </a:cxn>
              <a:cxn ang="0">
                <a:pos x="148" y="218"/>
              </a:cxn>
              <a:cxn ang="0">
                <a:pos x="140" y="216"/>
              </a:cxn>
              <a:cxn ang="0">
                <a:pos x="120" y="213"/>
              </a:cxn>
              <a:cxn ang="0">
                <a:pos x="106" y="212"/>
              </a:cxn>
              <a:cxn ang="0">
                <a:pos x="95" y="205"/>
              </a:cxn>
              <a:cxn ang="0">
                <a:pos x="55" y="205"/>
              </a:cxn>
              <a:cxn ang="0">
                <a:pos x="33" y="207"/>
              </a:cxn>
              <a:cxn ang="0">
                <a:pos x="25" y="198"/>
              </a:cxn>
              <a:cxn ang="0">
                <a:pos x="13" y="199"/>
              </a:cxn>
              <a:cxn ang="0">
                <a:pos x="7" y="201"/>
              </a:cxn>
              <a:cxn ang="0">
                <a:pos x="0" y="204"/>
              </a:cxn>
              <a:cxn ang="0">
                <a:pos x="1" y="194"/>
              </a:cxn>
            </a:cxnLst>
            <a:rect l="0" t="0" r="r" b="b"/>
            <a:pathLst>
              <a:path w="189" h="218">
                <a:moveTo>
                  <a:pt x="1" y="191"/>
                </a:moveTo>
                <a:lnTo>
                  <a:pt x="1" y="185"/>
                </a:lnTo>
                <a:lnTo>
                  <a:pt x="1" y="180"/>
                </a:lnTo>
                <a:lnTo>
                  <a:pt x="3" y="179"/>
                </a:lnTo>
                <a:lnTo>
                  <a:pt x="5" y="171"/>
                </a:lnTo>
                <a:lnTo>
                  <a:pt x="7" y="168"/>
                </a:lnTo>
                <a:lnTo>
                  <a:pt x="7" y="163"/>
                </a:lnTo>
                <a:lnTo>
                  <a:pt x="8" y="160"/>
                </a:lnTo>
                <a:lnTo>
                  <a:pt x="8" y="157"/>
                </a:lnTo>
                <a:lnTo>
                  <a:pt x="8" y="155"/>
                </a:lnTo>
                <a:lnTo>
                  <a:pt x="9" y="150"/>
                </a:lnTo>
                <a:lnTo>
                  <a:pt x="11" y="146"/>
                </a:lnTo>
                <a:lnTo>
                  <a:pt x="11" y="143"/>
                </a:lnTo>
                <a:lnTo>
                  <a:pt x="12" y="141"/>
                </a:lnTo>
                <a:lnTo>
                  <a:pt x="12" y="139"/>
                </a:lnTo>
                <a:lnTo>
                  <a:pt x="15" y="135"/>
                </a:lnTo>
                <a:lnTo>
                  <a:pt x="16" y="132"/>
                </a:lnTo>
                <a:lnTo>
                  <a:pt x="19" y="130"/>
                </a:lnTo>
                <a:lnTo>
                  <a:pt x="19" y="125"/>
                </a:lnTo>
                <a:lnTo>
                  <a:pt x="24" y="124"/>
                </a:lnTo>
                <a:lnTo>
                  <a:pt x="28" y="117"/>
                </a:lnTo>
                <a:lnTo>
                  <a:pt x="29" y="116"/>
                </a:lnTo>
                <a:lnTo>
                  <a:pt x="31" y="113"/>
                </a:lnTo>
                <a:lnTo>
                  <a:pt x="31" y="106"/>
                </a:lnTo>
                <a:lnTo>
                  <a:pt x="31" y="102"/>
                </a:lnTo>
                <a:lnTo>
                  <a:pt x="32" y="99"/>
                </a:lnTo>
                <a:lnTo>
                  <a:pt x="32" y="94"/>
                </a:lnTo>
                <a:lnTo>
                  <a:pt x="33" y="92"/>
                </a:lnTo>
                <a:lnTo>
                  <a:pt x="32" y="86"/>
                </a:lnTo>
                <a:lnTo>
                  <a:pt x="28" y="83"/>
                </a:lnTo>
                <a:lnTo>
                  <a:pt x="27" y="78"/>
                </a:lnTo>
                <a:lnTo>
                  <a:pt x="25" y="77"/>
                </a:lnTo>
                <a:lnTo>
                  <a:pt x="24" y="70"/>
                </a:lnTo>
                <a:lnTo>
                  <a:pt x="21" y="61"/>
                </a:lnTo>
                <a:lnTo>
                  <a:pt x="21" y="59"/>
                </a:lnTo>
                <a:lnTo>
                  <a:pt x="23" y="56"/>
                </a:lnTo>
                <a:lnTo>
                  <a:pt x="25" y="55"/>
                </a:lnTo>
                <a:lnTo>
                  <a:pt x="25" y="48"/>
                </a:lnTo>
                <a:lnTo>
                  <a:pt x="24" y="45"/>
                </a:lnTo>
                <a:lnTo>
                  <a:pt x="23" y="42"/>
                </a:lnTo>
                <a:lnTo>
                  <a:pt x="19" y="29"/>
                </a:lnTo>
                <a:lnTo>
                  <a:pt x="19" y="26"/>
                </a:lnTo>
                <a:lnTo>
                  <a:pt x="17" y="23"/>
                </a:lnTo>
                <a:lnTo>
                  <a:pt x="15" y="17"/>
                </a:lnTo>
                <a:lnTo>
                  <a:pt x="13" y="14"/>
                </a:lnTo>
                <a:lnTo>
                  <a:pt x="11" y="12"/>
                </a:lnTo>
                <a:lnTo>
                  <a:pt x="11" y="9"/>
                </a:lnTo>
                <a:lnTo>
                  <a:pt x="11" y="7"/>
                </a:lnTo>
                <a:lnTo>
                  <a:pt x="12" y="7"/>
                </a:lnTo>
                <a:lnTo>
                  <a:pt x="17" y="6"/>
                </a:lnTo>
                <a:lnTo>
                  <a:pt x="21" y="3"/>
                </a:lnTo>
                <a:lnTo>
                  <a:pt x="25" y="1"/>
                </a:lnTo>
                <a:lnTo>
                  <a:pt x="27" y="1"/>
                </a:lnTo>
                <a:lnTo>
                  <a:pt x="29" y="1"/>
                </a:lnTo>
                <a:lnTo>
                  <a:pt x="36" y="1"/>
                </a:lnTo>
                <a:lnTo>
                  <a:pt x="41" y="1"/>
                </a:lnTo>
                <a:lnTo>
                  <a:pt x="44" y="1"/>
                </a:lnTo>
                <a:lnTo>
                  <a:pt x="49" y="1"/>
                </a:lnTo>
                <a:lnTo>
                  <a:pt x="52" y="1"/>
                </a:lnTo>
                <a:lnTo>
                  <a:pt x="56" y="1"/>
                </a:lnTo>
                <a:lnTo>
                  <a:pt x="65" y="0"/>
                </a:lnTo>
                <a:lnTo>
                  <a:pt x="69" y="1"/>
                </a:lnTo>
                <a:lnTo>
                  <a:pt x="71" y="1"/>
                </a:lnTo>
                <a:lnTo>
                  <a:pt x="72" y="4"/>
                </a:lnTo>
                <a:lnTo>
                  <a:pt x="73" y="4"/>
                </a:lnTo>
                <a:lnTo>
                  <a:pt x="73" y="3"/>
                </a:lnTo>
                <a:lnTo>
                  <a:pt x="75" y="6"/>
                </a:lnTo>
                <a:lnTo>
                  <a:pt x="76" y="12"/>
                </a:lnTo>
                <a:lnTo>
                  <a:pt x="77" y="17"/>
                </a:lnTo>
                <a:lnTo>
                  <a:pt x="77" y="18"/>
                </a:lnTo>
                <a:lnTo>
                  <a:pt x="79" y="22"/>
                </a:lnTo>
                <a:lnTo>
                  <a:pt x="80" y="28"/>
                </a:lnTo>
                <a:lnTo>
                  <a:pt x="84" y="31"/>
                </a:lnTo>
                <a:lnTo>
                  <a:pt x="89" y="40"/>
                </a:lnTo>
                <a:lnTo>
                  <a:pt x="93" y="42"/>
                </a:lnTo>
                <a:lnTo>
                  <a:pt x="96" y="42"/>
                </a:lnTo>
                <a:lnTo>
                  <a:pt x="103" y="40"/>
                </a:lnTo>
                <a:lnTo>
                  <a:pt x="105" y="39"/>
                </a:lnTo>
                <a:lnTo>
                  <a:pt x="110" y="39"/>
                </a:lnTo>
                <a:lnTo>
                  <a:pt x="116" y="39"/>
                </a:lnTo>
                <a:lnTo>
                  <a:pt x="117" y="34"/>
                </a:lnTo>
                <a:lnTo>
                  <a:pt x="117" y="33"/>
                </a:lnTo>
                <a:lnTo>
                  <a:pt x="117" y="31"/>
                </a:lnTo>
                <a:lnTo>
                  <a:pt x="118" y="29"/>
                </a:lnTo>
                <a:lnTo>
                  <a:pt x="118" y="28"/>
                </a:lnTo>
                <a:lnTo>
                  <a:pt x="118" y="25"/>
                </a:lnTo>
                <a:lnTo>
                  <a:pt x="120" y="22"/>
                </a:lnTo>
                <a:lnTo>
                  <a:pt x="130" y="22"/>
                </a:lnTo>
                <a:lnTo>
                  <a:pt x="132" y="20"/>
                </a:lnTo>
                <a:lnTo>
                  <a:pt x="138" y="20"/>
                </a:lnTo>
                <a:lnTo>
                  <a:pt x="137" y="26"/>
                </a:lnTo>
                <a:lnTo>
                  <a:pt x="152" y="28"/>
                </a:lnTo>
                <a:lnTo>
                  <a:pt x="153" y="31"/>
                </a:lnTo>
                <a:lnTo>
                  <a:pt x="153" y="42"/>
                </a:lnTo>
                <a:lnTo>
                  <a:pt x="154" y="45"/>
                </a:lnTo>
                <a:lnTo>
                  <a:pt x="154" y="50"/>
                </a:lnTo>
                <a:lnTo>
                  <a:pt x="154" y="56"/>
                </a:lnTo>
                <a:lnTo>
                  <a:pt x="154" y="58"/>
                </a:lnTo>
                <a:lnTo>
                  <a:pt x="154" y="61"/>
                </a:lnTo>
                <a:lnTo>
                  <a:pt x="153" y="66"/>
                </a:lnTo>
                <a:lnTo>
                  <a:pt x="154" y="69"/>
                </a:lnTo>
                <a:lnTo>
                  <a:pt x="157" y="73"/>
                </a:lnTo>
                <a:lnTo>
                  <a:pt x="158" y="80"/>
                </a:lnTo>
                <a:lnTo>
                  <a:pt x="160" y="86"/>
                </a:lnTo>
                <a:lnTo>
                  <a:pt x="160" y="88"/>
                </a:lnTo>
                <a:lnTo>
                  <a:pt x="158" y="89"/>
                </a:lnTo>
                <a:lnTo>
                  <a:pt x="156" y="94"/>
                </a:lnTo>
                <a:lnTo>
                  <a:pt x="156" y="95"/>
                </a:lnTo>
                <a:lnTo>
                  <a:pt x="157" y="95"/>
                </a:lnTo>
                <a:lnTo>
                  <a:pt x="158" y="99"/>
                </a:lnTo>
                <a:lnTo>
                  <a:pt x="161" y="99"/>
                </a:lnTo>
                <a:lnTo>
                  <a:pt x="162" y="97"/>
                </a:lnTo>
                <a:lnTo>
                  <a:pt x="162" y="94"/>
                </a:lnTo>
                <a:lnTo>
                  <a:pt x="164" y="92"/>
                </a:lnTo>
                <a:lnTo>
                  <a:pt x="178" y="92"/>
                </a:lnTo>
                <a:lnTo>
                  <a:pt x="181" y="92"/>
                </a:lnTo>
                <a:lnTo>
                  <a:pt x="184" y="92"/>
                </a:lnTo>
                <a:lnTo>
                  <a:pt x="186" y="91"/>
                </a:lnTo>
                <a:lnTo>
                  <a:pt x="188" y="91"/>
                </a:lnTo>
                <a:lnTo>
                  <a:pt x="188" y="92"/>
                </a:lnTo>
                <a:lnTo>
                  <a:pt x="188" y="94"/>
                </a:lnTo>
                <a:lnTo>
                  <a:pt x="188" y="97"/>
                </a:lnTo>
                <a:lnTo>
                  <a:pt x="188" y="99"/>
                </a:lnTo>
                <a:lnTo>
                  <a:pt x="188" y="100"/>
                </a:lnTo>
                <a:lnTo>
                  <a:pt x="188" y="105"/>
                </a:lnTo>
                <a:lnTo>
                  <a:pt x="186" y="108"/>
                </a:lnTo>
                <a:lnTo>
                  <a:pt x="186" y="113"/>
                </a:lnTo>
                <a:lnTo>
                  <a:pt x="186" y="117"/>
                </a:lnTo>
                <a:lnTo>
                  <a:pt x="186" y="121"/>
                </a:lnTo>
                <a:lnTo>
                  <a:pt x="185" y="125"/>
                </a:lnTo>
                <a:lnTo>
                  <a:pt x="186" y="127"/>
                </a:lnTo>
                <a:lnTo>
                  <a:pt x="188" y="127"/>
                </a:lnTo>
                <a:lnTo>
                  <a:pt x="189" y="128"/>
                </a:lnTo>
                <a:lnTo>
                  <a:pt x="173" y="128"/>
                </a:lnTo>
                <a:lnTo>
                  <a:pt x="157" y="128"/>
                </a:lnTo>
                <a:lnTo>
                  <a:pt x="157" y="146"/>
                </a:lnTo>
                <a:lnTo>
                  <a:pt x="157" y="163"/>
                </a:lnTo>
                <a:lnTo>
                  <a:pt x="157" y="180"/>
                </a:lnTo>
                <a:lnTo>
                  <a:pt x="157" y="191"/>
                </a:lnTo>
                <a:lnTo>
                  <a:pt x="157" y="193"/>
                </a:lnTo>
                <a:lnTo>
                  <a:pt x="158" y="194"/>
                </a:lnTo>
                <a:lnTo>
                  <a:pt x="160" y="196"/>
                </a:lnTo>
                <a:lnTo>
                  <a:pt x="164" y="199"/>
                </a:lnTo>
                <a:lnTo>
                  <a:pt x="165" y="202"/>
                </a:lnTo>
                <a:lnTo>
                  <a:pt x="168" y="204"/>
                </a:lnTo>
                <a:lnTo>
                  <a:pt x="169" y="205"/>
                </a:lnTo>
                <a:lnTo>
                  <a:pt x="172" y="207"/>
                </a:lnTo>
                <a:lnTo>
                  <a:pt x="173" y="208"/>
                </a:lnTo>
                <a:lnTo>
                  <a:pt x="174" y="210"/>
                </a:lnTo>
                <a:lnTo>
                  <a:pt x="174" y="212"/>
                </a:lnTo>
                <a:lnTo>
                  <a:pt x="170" y="212"/>
                </a:lnTo>
                <a:lnTo>
                  <a:pt x="150" y="218"/>
                </a:lnTo>
                <a:lnTo>
                  <a:pt x="148" y="218"/>
                </a:lnTo>
                <a:lnTo>
                  <a:pt x="146" y="218"/>
                </a:lnTo>
                <a:lnTo>
                  <a:pt x="144" y="216"/>
                </a:lnTo>
                <a:lnTo>
                  <a:pt x="140" y="216"/>
                </a:lnTo>
                <a:lnTo>
                  <a:pt x="136" y="216"/>
                </a:lnTo>
                <a:lnTo>
                  <a:pt x="126" y="213"/>
                </a:lnTo>
                <a:lnTo>
                  <a:pt x="120" y="213"/>
                </a:lnTo>
                <a:lnTo>
                  <a:pt x="113" y="215"/>
                </a:lnTo>
                <a:lnTo>
                  <a:pt x="112" y="213"/>
                </a:lnTo>
                <a:lnTo>
                  <a:pt x="106" y="212"/>
                </a:lnTo>
                <a:lnTo>
                  <a:pt x="105" y="208"/>
                </a:lnTo>
                <a:lnTo>
                  <a:pt x="101" y="205"/>
                </a:lnTo>
                <a:lnTo>
                  <a:pt x="95" y="205"/>
                </a:lnTo>
                <a:lnTo>
                  <a:pt x="83" y="205"/>
                </a:lnTo>
                <a:lnTo>
                  <a:pt x="69" y="205"/>
                </a:lnTo>
                <a:lnTo>
                  <a:pt x="55" y="205"/>
                </a:lnTo>
                <a:lnTo>
                  <a:pt x="41" y="205"/>
                </a:lnTo>
                <a:lnTo>
                  <a:pt x="36" y="205"/>
                </a:lnTo>
                <a:lnTo>
                  <a:pt x="33" y="207"/>
                </a:lnTo>
                <a:lnTo>
                  <a:pt x="31" y="202"/>
                </a:lnTo>
                <a:lnTo>
                  <a:pt x="27" y="201"/>
                </a:lnTo>
                <a:lnTo>
                  <a:pt x="25" y="198"/>
                </a:lnTo>
                <a:lnTo>
                  <a:pt x="23" y="198"/>
                </a:lnTo>
                <a:lnTo>
                  <a:pt x="16" y="198"/>
                </a:lnTo>
                <a:lnTo>
                  <a:pt x="13" y="199"/>
                </a:lnTo>
                <a:lnTo>
                  <a:pt x="11" y="202"/>
                </a:lnTo>
                <a:lnTo>
                  <a:pt x="9" y="202"/>
                </a:lnTo>
                <a:lnTo>
                  <a:pt x="7" y="201"/>
                </a:lnTo>
                <a:lnTo>
                  <a:pt x="4" y="204"/>
                </a:lnTo>
                <a:lnTo>
                  <a:pt x="0" y="205"/>
                </a:lnTo>
                <a:lnTo>
                  <a:pt x="0" y="204"/>
                </a:lnTo>
                <a:lnTo>
                  <a:pt x="0" y="198"/>
                </a:lnTo>
                <a:lnTo>
                  <a:pt x="0" y="194"/>
                </a:lnTo>
                <a:lnTo>
                  <a:pt x="1" y="194"/>
                </a:lnTo>
                <a:lnTo>
                  <a:pt x="1" y="191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15" name="Freeform 1142"/>
          <p:cNvSpPr>
            <a:spLocks/>
          </p:cNvSpPr>
          <p:nvPr/>
        </p:nvSpPr>
        <p:spPr bwMode="auto">
          <a:xfrm>
            <a:off x="6017417" y="4498887"/>
            <a:ext cx="29232" cy="51542"/>
          </a:xfrm>
          <a:custGeom>
            <a:avLst/>
            <a:gdLst/>
            <a:ahLst/>
            <a:cxnLst>
              <a:cxn ang="0">
                <a:pos x="15" y="5"/>
              </a:cxn>
              <a:cxn ang="0">
                <a:pos x="14" y="2"/>
              </a:cxn>
              <a:cxn ang="0">
                <a:pos x="12" y="0"/>
              </a:cxn>
              <a:cxn ang="0">
                <a:pos x="8" y="2"/>
              </a:cxn>
              <a:cxn ang="0">
                <a:pos x="7" y="6"/>
              </a:cxn>
              <a:cxn ang="0">
                <a:pos x="4" y="8"/>
              </a:cxn>
              <a:cxn ang="0">
                <a:pos x="0" y="11"/>
              </a:cxn>
              <a:cxn ang="0">
                <a:pos x="2" y="14"/>
              </a:cxn>
              <a:cxn ang="0">
                <a:pos x="3" y="17"/>
              </a:cxn>
              <a:cxn ang="0">
                <a:pos x="3" y="21"/>
              </a:cxn>
              <a:cxn ang="0">
                <a:pos x="3" y="24"/>
              </a:cxn>
              <a:cxn ang="0">
                <a:pos x="6" y="25"/>
              </a:cxn>
              <a:cxn ang="0">
                <a:pos x="8" y="24"/>
              </a:cxn>
              <a:cxn ang="0">
                <a:pos x="8" y="21"/>
              </a:cxn>
              <a:cxn ang="0">
                <a:pos x="8" y="16"/>
              </a:cxn>
              <a:cxn ang="0">
                <a:pos x="10" y="11"/>
              </a:cxn>
              <a:cxn ang="0">
                <a:pos x="12" y="8"/>
              </a:cxn>
              <a:cxn ang="0">
                <a:pos x="15" y="5"/>
              </a:cxn>
            </a:cxnLst>
            <a:rect l="0" t="0" r="r" b="b"/>
            <a:pathLst>
              <a:path w="15" h="25">
                <a:moveTo>
                  <a:pt x="15" y="5"/>
                </a:moveTo>
                <a:lnTo>
                  <a:pt x="14" y="2"/>
                </a:lnTo>
                <a:lnTo>
                  <a:pt x="12" y="0"/>
                </a:lnTo>
                <a:lnTo>
                  <a:pt x="8" y="2"/>
                </a:lnTo>
                <a:lnTo>
                  <a:pt x="7" y="6"/>
                </a:lnTo>
                <a:lnTo>
                  <a:pt x="4" y="8"/>
                </a:lnTo>
                <a:lnTo>
                  <a:pt x="0" y="11"/>
                </a:lnTo>
                <a:lnTo>
                  <a:pt x="2" y="14"/>
                </a:lnTo>
                <a:lnTo>
                  <a:pt x="3" y="17"/>
                </a:lnTo>
                <a:lnTo>
                  <a:pt x="3" y="21"/>
                </a:lnTo>
                <a:lnTo>
                  <a:pt x="3" y="24"/>
                </a:lnTo>
                <a:lnTo>
                  <a:pt x="6" y="25"/>
                </a:lnTo>
                <a:lnTo>
                  <a:pt x="8" y="24"/>
                </a:lnTo>
                <a:lnTo>
                  <a:pt x="8" y="21"/>
                </a:lnTo>
                <a:lnTo>
                  <a:pt x="8" y="16"/>
                </a:lnTo>
                <a:lnTo>
                  <a:pt x="10" y="11"/>
                </a:lnTo>
                <a:lnTo>
                  <a:pt x="12" y="8"/>
                </a:lnTo>
                <a:lnTo>
                  <a:pt x="15" y="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16" name="Freeform 1143"/>
          <p:cNvSpPr>
            <a:spLocks/>
          </p:cNvSpPr>
          <p:nvPr/>
        </p:nvSpPr>
        <p:spPr bwMode="auto">
          <a:xfrm>
            <a:off x="6017417" y="4498887"/>
            <a:ext cx="29232" cy="51542"/>
          </a:xfrm>
          <a:custGeom>
            <a:avLst/>
            <a:gdLst/>
            <a:ahLst/>
            <a:cxnLst>
              <a:cxn ang="0">
                <a:pos x="15" y="5"/>
              </a:cxn>
              <a:cxn ang="0">
                <a:pos x="14" y="2"/>
              </a:cxn>
              <a:cxn ang="0">
                <a:pos x="12" y="0"/>
              </a:cxn>
              <a:cxn ang="0">
                <a:pos x="8" y="2"/>
              </a:cxn>
              <a:cxn ang="0">
                <a:pos x="7" y="6"/>
              </a:cxn>
              <a:cxn ang="0">
                <a:pos x="4" y="8"/>
              </a:cxn>
              <a:cxn ang="0">
                <a:pos x="0" y="11"/>
              </a:cxn>
              <a:cxn ang="0">
                <a:pos x="2" y="14"/>
              </a:cxn>
              <a:cxn ang="0">
                <a:pos x="3" y="17"/>
              </a:cxn>
              <a:cxn ang="0">
                <a:pos x="3" y="21"/>
              </a:cxn>
              <a:cxn ang="0">
                <a:pos x="3" y="24"/>
              </a:cxn>
              <a:cxn ang="0">
                <a:pos x="6" y="25"/>
              </a:cxn>
              <a:cxn ang="0">
                <a:pos x="8" y="24"/>
              </a:cxn>
              <a:cxn ang="0">
                <a:pos x="8" y="21"/>
              </a:cxn>
              <a:cxn ang="0">
                <a:pos x="8" y="16"/>
              </a:cxn>
              <a:cxn ang="0">
                <a:pos x="10" y="11"/>
              </a:cxn>
              <a:cxn ang="0">
                <a:pos x="12" y="8"/>
              </a:cxn>
              <a:cxn ang="0">
                <a:pos x="15" y="5"/>
              </a:cxn>
            </a:cxnLst>
            <a:rect l="0" t="0" r="r" b="b"/>
            <a:pathLst>
              <a:path w="15" h="25">
                <a:moveTo>
                  <a:pt x="15" y="5"/>
                </a:moveTo>
                <a:lnTo>
                  <a:pt x="14" y="2"/>
                </a:lnTo>
                <a:lnTo>
                  <a:pt x="12" y="0"/>
                </a:lnTo>
                <a:lnTo>
                  <a:pt x="8" y="2"/>
                </a:lnTo>
                <a:lnTo>
                  <a:pt x="7" y="6"/>
                </a:lnTo>
                <a:lnTo>
                  <a:pt x="4" y="8"/>
                </a:lnTo>
                <a:lnTo>
                  <a:pt x="0" y="11"/>
                </a:lnTo>
                <a:lnTo>
                  <a:pt x="2" y="14"/>
                </a:lnTo>
                <a:lnTo>
                  <a:pt x="3" y="17"/>
                </a:lnTo>
                <a:lnTo>
                  <a:pt x="3" y="21"/>
                </a:lnTo>
                <a:lnTo>
                  <a:pt x="3" y="24"/>
                </a:lnTo>
                <a:lnTo>
                  <a:pt x="6" y="25"/>
                </a:lnTo>
                <a:lnTo>
                  <a:pt x="8" y="24"/>
                </a:lnTo>
                <a:lnTo>
                  <a:pt x="8" y="21"/>
                </a:lnTo>
                <a:lnTo>
                  <a:pt x="8" y="16"/>
                </a:lnTo>
                <a:lnTo>
                  <a:pt x="10" y="11"/>
                </a:lnTo>
                <a:lnTo>
                  <a:pt x="12" y="8"/>
                </a:lnTo>
                <a:lnTo>
                  <a:pt x="15" y="5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17" name="Freeform 1144"/>
          <p:cNvSpPr>
            <a:spLocks/>
          </p:cNvSpPr>
          <p:nvPr/>
        </p:nvSpPr>
        <p:spPr bwMode="auto">
          <a:xfrm>
            <a:off x="3813307" y="3199585"/>
            <a:ext cx="3898" cy="6444"/>
          </a:xfrm>
          <a:custGeom>
            <a:avLst/>
            <a:gdLst/>
            <a:ahLst/>
            <a:cxnLst>
              <a:cxn ang="0">
                <a:pos x="1" y="2"/>
              </a:cxn>
              <a:cxn ang="0">
                <a:pos x="1" y="0"/>
              </a:cxn>
              <a:cxn ang="0">
                <a:pos x="0" y="2"/>
              </a:cxn>
              <a:cxn ang="0">
                <a:pos x="0" y="3"/>
              </a:cxn>
              <a:cxn ang="0">
                <a:pos x="1" y="3"/>
              </a:cxn>
              <a:cxn ang="0">
                <a:pos x="1" y="2"/>
              </a:cxn>
            </a:cxnLst>
            <a:rect l="0" t="0" r="r" b="b"/>
            <a:pathLst>
              <a:path w="1" h="3">
                <a:moveTo>
                  <a:pt x="1" y="2"/>
                </a:moveTo>
                <a:lnTo>
                  <a:pt x="1" y="0"/>
                </a:lnTo>
                <a:lnTo>
                  <a:pt x="0" y="2"/>
                </a:lnTo>
                <a:lnTo>
                  <a:pt x="0" y="3"/>
                </a:lnTo>
                <a:lnTo>
                  <a:pt x="1" y="3"/>
                </a:lnTo>
                <a:lnTo>
                  <a:pt x="1" y="2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18" name="Freeform 1145"/>
          <p:cNvSpPr>
            <a:spLocks/>
          </p:cNvSpPr>
          <p:nvPr/>
        </p:nvSpPr>
        <p:spPr bwMode="auto">
          <a:xfrm>
            <a:off x="3813307" y="3199585"/>
            <a:ext cx="3898" cy="6444"/>
          </a:xfrm>
          <a:custGeom>
            <a:avLst/>
            <a:gdLst/>
            <a:ahLst/>
            <a:cxnLst>
              <a:cxn ang="0">
                <a:pos x="1" y="2"/>
              </a:cxn>
              <a:cxn ang="0">
                <a:pos x="1" y="0"/>
              </a:cxn>
              <a:cxn ang="0">
                <a:pos x="0" y="2"/>
              </a:cxn>
              <a:cxn ang="0">
                <a:pos x="0" y="3"/>
              </a:cxn>
              <a:cxn ang="0">
                <a:pos x="1" y="3"/>
              </a:cxn>
              <a:cxn ang="0">
                <a:pos x="1" y="2"/>
              </a:cxn>
            </a:cxnLst>
            <a:rect l="0" t="0" r="r" b="b"/>
            <a:pathLst>
              <a:path w="1" h="3">
                <a:moveTo>
                  <a:pt x="1" y="2"/>
                </a:moveTo>
                <a:lnTo>
                  <a:pt x="1" y="0"/>
                </a:lnTo>
                <a:lnTo>
                  <a:pt x="0" y="2"/>
                </a:lnTo>
                <a:lnTo>
                  <a:pt x="0" y="3"/>
                </a:lnTo>
                <a:lnTo>
                  <a:pt x="1" y="3"/>
                </a:lnTo>
                <a:lnTo>
                  <a:pt x="1" y="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19" name="Freeform 1146"/>
          <p:cNvSpPr>
            <a:spLocks/>
          </p:cNvSpPr>
          <p:nvPr/>
        </p:nvSpPr>
        <p:spPr bwMode="auto">
          <a:xfrm>
            <a:off x="3421596" y="3689238"/>
            <a:ext cx="58465" cy="27920"/>
          </a:xfrm>
          <a:custGeom>
            <a:avLst/>
            <a:gdLst/>
            <a:ahLst/>
            <a:cxnLst>
              <a:cxn ang="0">
                <a:pos x="17" y="1"/>
              </a:cxn>
              <a:cxn ang="0">
                <a:pos x="18" y="1"/>
              </a:cxn>
              <a:cxn ang="0">
                <a:pos x="21" y="3"/>
              </a:cxn>
              <a:cxn ang="0">
                <a:pos x="22" y="5"/>
              </a:cxn>
              <a:cxn ang="0">
                <a:pos x="28" y="5"/>
              </a:cxn>
              <a:cxn ang="0">
                <a:pos x="30" y="11"/>
              </a:cxn>
              <a:cxn ang="0">
                <a:pos x="28" y="11"/>
              </a:cxn>
              <a:cxn ang="0">
                <a:pos x="24" y="11"/>
              </a:cxn>
              <a:cxn ang="0">
                <a:pos x="21" y="11"/>
              </a:cxn>
              <a:cxn ang="0">
                <a:pos x="18" y="11"/>
              </a:cxn>
              <a:cxn ang="0">
                <a:pos x="17" y="14"/>
              </a:cxn>
              <a:cxn ang="0">
                <a:pos x="14" y="14"/>
              </a:cxn>
              <a:cxn ang="0">
                <a:pos x="12" y="12"/>
              </a:cxn>
              <a:cxn ang="0">
                <a:pos x="9" y="11"/>
              </a:cxn>
              <a:cxn ang="0">
                <a:pos x="4" y="6"/>
              </a:cxn>
              <a:cxn ang="0">
                <a:pos x="1" y="6"/>
              </a:cxn>
              <a:cxn ang="0">
                <a:pos x="0" y="3"/>
              </a:cxn>
              <a:cxn ang="0">
                <a:pos x="0" y="1"/>
              </a:cxn>
              <a:cxn ang="0">
                <a:pos x="6" y="0"/>
              </a:cxn>
              <a:cxn ang="0">
                <a:pos x="9" y="0"/>
              </a:cxn>
              <a:cxn ang="0">
                <a:pos x="13" y="1"/>
              </a:cxn>
              <a:cxn ang="0">
                <a:pos x="17" y="1"/>
              </a:cxn>
            </a:cxnLst>
            <a:rect l="0" t="0" r="r" b="b"/>
            <a:pathLst>
              <a:path w="30" h="14">
                <a:moveTo>
                  <a:pt x="17" y="1"/>
                </a:moveTo>
                <a:lnTo>
                  <a:pt x="18" y="1"/>
                </a:lnTo>
                <a:lnTo>
                  <a:pt x="21" y="3"/>
                </a:lnTo>
                <a:lnTo>
                  <a:pt x="22" y="5"/>
                </a:lnTo>
                <a:lnTo>
                  <a:pt x="28" y="5"/>
                </a:lnTo>
                <a:lnTo>
                  <a:pt x="30" y="11"/>
                </a:lnTo>
                <a:lnTo>
                  <a:pt x="28" y="11"/>
                </a:lnTo>
                <a:lnTo>
                  <a:pt x="24" y="11"/>
                </a:lnTo>
                <a:lnTo>
                  <a:pt x="21" y="11"/>
                </a:lnTo>
                <a:lnTo>
                  <a:pt x="18" y="11"/>
                </a:lnTo>
                <a:lnTo>
                  <a:pt x="17" y="14"/>
                </a:lnTo>
                <a:lnTo>
                  <a:pt x="14" y="14"/>
                </a:lnTo>
                <a:lnTo>
                  <a:pt x="12" y="12"/>
                </a:lnTo>
                <a:lnTo>
                  <a:pt x="9" y="11"/>
                </a:lnTo>
                <a:lnTo>
                  <a:pt x="4" y="6"/>
                </a:lnTo>
                <a:lnTo>
                  <a:pt x="1" y="6"/>
                </a:lnTo>
                <a:lnTo>
                  <a:pt x="0" y="3"/>
                </a:lnTo>
                <a:lnTo>
                  <a:pt x="0" y="1"/>
                </a:lnTo>
                <a:lnTo>
                  <a:pt x="6" y="0"/>
                </a:lnTo>
                <a:lnTo>
                  <a:pt x="9" y="0"/>
                </a:lnTo>
                <a:lnTo>
                  <a:pt x="13" y="1"/>
                </a:lnTo>
                <a:lnTo>
                  <a:pt x="17" y="1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20" name="Freeform 1147"/>
          <p:cNvSpPr>
            <a:spLocks/>
          </p:cNvSpPr>
          <p:nvPr/>
        </p:nvSpPr>
        <p:spPr bwMode="auto">
          <a:xfrm>
            <a:off x="3421596" y="3689238"/>
            <a:ext cx="58465" cy="27920"/>
          </a:xfrm>
          <a:custGeom>
            <a:avLst/>
            <a:gdLst/>
            <a:ahLst/>
            <a:cxnLst>
              <a:cxn ang="0">
                <a:pos x="17" y="1"/>
              </a:cxn>
              <a:cxn ang="0">
                <a:pos x="18" y="1"/>
              </a:cxn>
              <a:cxn ang="0">
                <a:pos x="21" y="3"/>
              </a:cxn>
              <a:cxn ang="0">
                <a:pos x="22" y="5"/>
              </a:cxn>
              <a:cxn ang="0">
                <a:pos x="28" y="5"/>
              </a:cxn>
              <a:cxn ang="0">
                <a:pos x="30" y="11"/>
              </a:cxn>
              <a:cxn ang="0">
                <a:pos x="28" y="11"/>
              </a:cxn>
              <a:cxn ang="0">
                <a:pos x="24" y="11"/>
              </a:cxn>
              <a:cxn ang="0">
                <a:pos x="21" y="11"/>
              </a:cxn>
              <a:cxn ang="0">
                <a:pos x="18" y="11"/>
              </a:cxn>
              <a:cxn ang="0">
                <a:pos x="17" y="14"/>
              </a:cxn>
              <a:cxn ang="0">
                <a:pos x="14" y="14"/>
              </a:cxn>
              <a:cxn ang="0">
                <a:pos x="12" y="12"/>
              </a:cxn>
              <a:cxn ang="0">
                <a:pos x="9" y="11"/>
              </a:cxn>
              <a:cxn ang="0">
                <a:pos x="4" y="6"/>
              </a:cxn>
              <a:cxn ang="0">
                <a:pos x="1" y="6"/>
              </a:cxn>
              <a:cxn ang="0">
                <a:pos x="0" y="3"/>
              </a:cxn>
              <a:cxn ang="0">
                <a:pos x="0" y="1"/>
              </a:cxn>
              <a:cxn ang="0">
                <a:pos x="6" y="0"/>
              </a:cxn>
              <a:cxn ang="0">
                <a:pos x="9" y="0"/>
              </a:cxn>
              <a:cxn ang="0">
                <a:pos x="13" y="1"/>
              </a:cxn>
              <a:cxn ang="0">
                <a:pos x="17" y="1"/>
              </a:cxn>
            </a:cxnLst>
            <a:rect l="0" t="0" r="r" b="b"/>
            <a:pathLst>
              <a:path w="30" h="14">
                <a:moveTo>
                  <a:pt x="17" y="1"/>
                </a:moveTo>
                <a:lnTo>
                  <a:pt x="18" y="1"/>
                </a:lnTo>
                <a:lnTo>
                  <a:pt x="21" y="3"/>
                </a:lnTo>
                <a:lnTo>
                  <a:pt x="22" y="5"/>
                </a:lnTo>
                <a:lnTo>
                  <a:pt x="28" y="5"/>
                </a:lnTo>
                <a:lnTo>
                  <a:pt x="30" y="11"/>
                </a:lnTo>
                <a:lnTo>
                  <a:pt x="28" y="11"/>
                </a:lnTo>
                <a:lnTo>
                  <a:pt x="24" y="11"/>
                </a:lnTo>
                <a:lnTo>
                  <a:pt x="21" y="11"/>
                </a:lnTo>
                <a:lnTo>
                  <a:pt x="18" y="11"/>
                </a:lnTo>
                <a:lnTo>
                  <a:pt x="17" y="14"/>
                </a:lnTo>
                <a:lnTo>
                  <a:pt x="14" y="14"/>
                </a:lnTo>
                <a:lnTo>
                  <a:pt x="12" y="12"/>
                </a:lnTo>
                <a:lnTo>
                  <a:pt x="9" y="11"/>
                </a:lnTo>
                <a:lnTo>
                  <a:pt x="4" y="6"/>
                </a:lnTo>
                <a:lnTo>
                  <a:pt x="1" y="6"/>
                </a:lnTo>
                <a:lnTo>
                  <a:pt x="0" y="3"/>
                </a:lnTo>
                <a:lnTo>
                  <a:pt x="0" y="1"/>
                </a:lnTo>
                <a:lnTo>
                  <a:pt x="6" y="0"/>
                </a:lnTo>
                <a:lnTo>
                  <a:pt x="9" y="0"/>
                </a:lnTo>
                <a:lnTo>
                  <a:pt x="13" y="1"/>
                </a:lnTo>
                <a:lnTo>
                  <a:pt x="17" y="1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21" name="Freeform 1148"/>
          <p:cNvSpPr>
            <a:spLocks/>
          </p:cNvSpPr>
          <p:nvPr/>
        </p:nvSpPr>
        <p:spPr bwMode="auto">
          <a:xfrm>
            <a:off x="3532678" y="5817519"/>
            <a:ext cx="31181" cy="57985"/>
          </a:xfrm>
          <a:custGeom>
            <a:avLst/>
            <a:gdLst/>
            <a:ahLst/>
            <a:cxnLst>
              <a:cxn ang="0">
                <a:pos x="8" y="0"/>
              </a:cxn>
              <a:cxn ang="0">
                <a:pos x="10" y="0"/>
              </a:cxn>
              <a:cxn ang="0">
                <a:pos x="10" y="2"/>
              </a:cxn>
              <a:cxn ang="0">
                <a:pos x="11" y="2"/>
              </a:cxn>
              <a:cxn ang="0">
                <a:pos x="12" y="2"/>
              </a:cxn>
              <a:cxn ang="0">
                <a:pos x="15" y="7"/>
              </a:cxn>
              <a:cxn ang="0">
                <a:pos x="15" y="8"/>
              </a:cxn>
              <a:cxn ang="0">
                <a:pos x="15" y="10"/>
              </a:cxn>
              <a:cxn ang="0">
                <a:pos x="16" y="11"/>
              </a:cxn>
              <a:cxn ang="0">
                <a:pos x="14" y="13"/>
              </a:cxn>
              <a:cxn ang="0">
                <a:pos x="12" y="14"/>
              </a:cxn>
              <a:cxn ang="0">
                <a:pos x="11" y="14"/>
              </a:cxn>
              <a:cxn ang="0">
                <a:pos x="11" y="16"/>
              </a:cxn>
              <a:cxn ang="0">
                <a:pos x="10" y="16"/>
              </a:cxn>
              <a:cxn ang="0">
                <a:pos x="11" y="18"/>
              </a:cxn>
              <a:cxn ang="0">
                <a:pos x="12" y="19"/>
              </a:cxn>
              <a:cxn ang="0">
                <a:pos x="14" y="21"/>
              </a:cxn>
              <a:cxn ang="0">
                <a:pos x="11" y="21"/>
              </a:cxn>
              <a:cxn ang="0">
                <a:pos x="11" y="22"/>
              </a:cxn>
              <a:cxn ang="0">
                <a:pos x="12" y="24"/>
              </a:cxn>
              <a:cxn ang="0">
                <a:pos x="12" y="25"/>
              </a:cxn>
              <a:cxn ang="0">
                <a:pos x="11" y="25"/>
              </a:cxn>
              <a:cxn ang="0">
                <a:pos x="11" y="29"/>
              </a:cxn>
              <a:cxn ang="0">
                <a:pos x="10" y="30"/>
              </a:cxn>
              <a:cxn ang="0">
                <a:pos x="7" y="30"/>
              </a:cxn>
              <a:cxn ang="0">
                <a:pos x="2" y="29"/>
              </a:cxn>
              <a:cxn ang="0">
                <a:pos x="0" y="25"/>
              </a:cxn>
              <a:cxn ang="0">
                <a:pos x="2" y="24"/>
              </a:cxn>
              <a:cxn ang="0">
                <a:pos x="4" y="18"/>
              </a:cxn>
              <a:cxn ang="0">
                <a:pos x="4" y="10"/>
              </a:cxn>
              <a:cxn ang="0">
                <a:pos x="4" y="7"/>
              </a:cxn>
              <a:cxn ang="0">
                <a:pos x="6" y="3"/>
              </a:cxn>
              <a:cxn ang="0">
                <a:pos x="6" y="2"/>
              </a:cxn>
              <a:cxn ang="0">
                <a:pos x="7" y="2"/>
              </a:cxn>
              <a:cxn ang="0">
                <a:pos x="8" y="0"/>
              </a:cxn>
            </a:cxnLst>
            <a:rect l="0" t="0" r="r" b="b"/>
            <a:pathLst>
              <a:path w="16" h="30">
                <a:moveTo>
                  <a:pt x="8" y="0"/>
                </a:moveTo>
                <a:lnTo>
                  <a:pt x="10" y="0"/>
                </a:lnTo>
                <a:lnTo>
                  <a:pt x="10" y="2"/>
                </a:lnTo>
                <a:lnTo>
                  <a:pt x="11" y="2"/>
                </a:lnTo>
                <a:lnTo>
                  <a:pt x="12" y="2"/>
                </a:lnTo>
                <a:lnTo>
                  <a:pt x="15" y="7"/>
                </a:lnTo>
                <a:lnTo>
                  <a:pt x="15" y="8"/>
                </a:lnTo>
                <a:lnTo>
                  <a:pt x="15" y="10"/>
                </a:lnTo>
                <a:lnTo>
                  <a:pt x="16" y="11"/>
                </a:lnTo>
                <a:lnTo>
                  <a:pt x="14" y="13"/>
                </a:lnTo>
                <a:lnTo>
                  <a:pt x="12" y="14"/>
                </a:lnTo>
                <a:lnTo>
                  <a:pt x="11" y="14"/>
                </a:lnTo>
                <a:lnTo>
                  <a:pt x="11" y="16"/>
                </a:lnTo>
                <a:lnTo>
                  <a:pt x="10" y="16"/>
                </a:lnTo>
                <a:lnTo>
                  <a:pt x="11" y="18"/>
                </a:lnTo>
                <a:lnTo>
                  <a:pt x="12" y="19"/>
                </a:lnTo>
                <a:lnTo>
                  <a:pt x="14" y="21"/>
                </a:lnTo>
                <a:lnTo>
                  <a:pt x="11" y="21"/>
                </a:lnTo>
                <a:lnTo>
                  <a:pt x="11" y="22"/>
                </a:lnTo>
                <a:lnTo>
                  <a:pt x="12" y="24"/>
                </a:lnTo>
                <a:lnTo>
                  <a:pt x="12" y="25"/>
                </a:lnTo>
                <a:lnTo>
                  <a:pt x="11" y="25"/>
                </a:lnTo>
                <a:lnTo>
                  <a:pt x="11" y="29"/>
                </a:lnTo>
                <a:lnTo>
                  <a:pt x="10" y="30"/>
                </a:lnTo>
                <a:lnTo>
                  <a:pt x="7" y="30"/>
                </a:lnTo>
                <a:lnTo>
                  <a:pt x="2" y="29"/>
                </a:lnTo>
                <a:lnTo>
                  <a:pt x="0" y="25"/>
                </a:lnTo>
                <a:lnTo>
                  <a:pt x="2" y="24"/>
                </a:lnTo>
                <a:lnTo>
                  <a:pt x="4" y="18"/>
                </a:lnTo>
                <a:lnTo>
                  <a:pt x="4" y="10"/>
                </a:lnTo>
                <a:lnTo>
                  <a:pt x="4" y="7"/>
                </a:lnTo>
                <a:lnTo>
                  <a:pt x="6" y="3"/>
                </a:lnTo>
                <a:lnTo>
                  <a:pt x="6" y="2"/>
                </a:lnTo>
                <a:lnTo>
                  <a:pt x="7" y="2"/>
                </a:lnTo>
                <a:lnTo>
                  <a:pt x="8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22" name="Freeform 1149"/>
          <p:cNvSpPr>
            <a:spLocks/>
          </p:cNvSpPr>
          <p:nvPr/>
        </p:nvSpPr>
        <p:spPr bwMode="auto">
          <a:xfrm>
            <a:off x="3532678" y="5817519"/>
            <a:ext cx="31181" cy="57985"/>
          </a:xfrm>
          <a:custGeom>
            <a:avLst/>
            <a:gdLst/>
            <a:ahLst/>
            <a:cxnLst>
              <a:cxn ang="0">
                <a:pos x="8" y="0"/>
              </a:cxn>
              <a:cxn ang="0">
                <a:pos x="10" y="0"/>
              </a:cxn>
              <a:cxn ang="0">
                <a:pos x="10" y="2"/>
              </a:cxn>
              <a:cxn ang="0">
                <a:pos x="11" y="2"/>
              </a:cxn>
              <a:cxn ang="0">
                <a:pos x="12" y="2"/>
              </a:cxn>
              <a:cxn ang="0">
                <a:pos x="15" y="7"/>
              </a:cxn>
              <a:cxn ang="0">
                <a:pos x="15" y="8"/>
              </a:cxn>
              <a:cxn ang="0">
                <a:pos x="15" y="10"/>
              </a:cxn>
              <a:cxn ang="0">
                <a:pos x="16" y="11"/>
              </a:cxn>
              <a:cxn ang="0">
                <a:pos x="14" y="13"/>
              </a:cxn>
              <a:cxn ang="0">
                <a:pos x="12" y="14"/>
              </a:cxn>
              <a:cxn ang="0">
                <a:pos x="11" y="14"/>
              </a:cxn>
              <a:cxn ang="0">
                <a:pos x="11" y="16"/>
              </a:cxn>
              <a:cxn ang="0">
                <a:pos x="10" y="16"/>
              </a:cxn>
              <a:cxn ang="0">
                <a:pos x="11" y="18"/>
              </a:cxn>
              <a:cxn ang="0">
                <a:pos x="12" y="19"/>
              </a:cxn>
              <a:cxn ang="0">
                <a:pos x="14" y="21"/>
              </a:cxn>
              <a:cxn ang="0">
                <a:pos x="11" y="21"/>
              </a:cxn>
              <a:cxn ang="0">
                <a:pos x="11" y="22"/>
              </a:cxn>
              <a:cxn ang="0">
                <a:pos x="12" y="24"/>
              </a:cxn>
              <a:cxn ang="0">
                <a:pos x="12" y="25"/>
              </a:cxn>
              <a:cxn ang="0">
                <a:pos x="11" y="25"/>
              </a:cxn>
              <a:cxn ang="0">
                <a:pos x="11" y="29"/>
              </a:cxn>
              <a:cxn ang="0">
                <a:pos x="10" y="30"/>
              </a:cxn>
              <a:cxn ang="0">
                <a:pos x="7" y="30"/>
              </a:cxn>
              <a:cxn ang="0">
                <a:pos x="2" y="29"/>
              </a:cxn>
              <a:cxn ang="0">
                <a:pos x="0" y="25"/>
              </a:cxn>
              <a:cxn ang="0">
                <a:pos x="2" y="24"/>
              </a:cxn>
              <a:cxn ang="0">
                <a:pos x="4" y="18"/>
              </a:cxn>
              <a:cxn ang="0">
                <a:pos x="4" y="10"/>
              </a:cxn>
              <a:cxn ang="0">
                <a:pos x="4" y="7"/>
              </a:cxn>
              <a:cxn ang="0">
                <a:pos x="6" y="3"/>
              </a:cxn>
              <a:cxn ang="0">
                <a:pos x="6" y="2"/>
              </a:cxn>
              <a:cxn ang="0">
                <a:pos x="7" y="2"/>
              </a:cxn>
              <a:cxn ang="0">
                <a:pos x="8" y="0"/>
              </a:cxn>
            </a:cxnLst>
            <a:rect l="0" t="0" r="r" b="b"/>
            <a:pathLst>
              <a:path w="16" h="30">
                <a:moveTo>
                  <a:pt x="8" y="0"/>
                </a:moveTo>
                <a:lnTo>
                  <a:pt x="10" y="0"/>
                </a:lnTo>
                <a:lnTo>
                  <a:pt x="10" y="2"/>
                </a:lnTo>
                <a:lnTo>
                  <a:pt x="11" y="2"/>
                </a:lnTo>
                <a:lnTo>
                  <a:pt x="12" y="2"/>
                </a:lnTo>
                <a:lnTo>
                  <a:pt x="15" y="7"/>
                </a:lnTo>
                <a:lnTo>
                  <a:pt x="15" y="8"/>
                </a:lnTo>
                <a:lnTo>
                  <a:pt x="15" y="10"/>
                </a:lnTo>
                <a:lnTo>
                  <a:pt x="16" y="11"/>
                </a:lnTo>
                <a:lnTo>
                  <a:pt x="14" y="13"/>
                </a:lnTo>
                <a:lnTo>
                  <a:pt x="12" y="14"/>
                </a:lnTo>
                <a:lnTo>
                  <a:pt x="11" y="14"/>
                </a:lnTo>
                <a:lnTo>
                  <a:pt x="11" y="16"/>
                </a:lnTo>
                <a:lnTo>
                  <a:pt x="10" y="16"/>
                </a:lnTo>
                <a:lnTo>
                  <a:pt x="11" y="18"/>
                </a:lnTo>
                <a:lnTo>
                  <a:pt x="12" y="19"/>
                </a:lnTo>
                <a:lnTo>
                  <a:pt x="14" y="21"/>
                </a:lnTo>
                <a:lnTo>
                  <a:pt x="11" y="21"/>
                </a:lnTo>
                <a:lnTo>
                  <a:pt x="11" y="22"/>
                </a:lnTo>
                <a:lnTo>
                  <a:pt x="12" y="24"/>
                </a:lnTo>
                <a:lnTo>
                  <a:pt x="12" y="25"/>
                </a:lnTo>
                <a:lnTo>
                  <a:pt x="11" y="25"/>
                </a:lnTo>
                <a:lnTo>
                  <a:pt x="11" y="29"/>
                </a:lnTo>
                <a:lnTo>
                  <a:pt x="10" y="30"/>
                </a:lnTo>
                <a:lnTo>
                  <a:pt x="7" y="30"/>
                </a:lnTo>
                <a:lnTo>
                  <a:pt x="2" y="29"/>
                </a:lnTo>
                <a:lnTo>
                  <a:pt x="0" y="25"/>
                </a:lnTo>
                <a:lnTo>
                  <a:pt x="2" y="24"/>
                </a:lnTo>
                <a:lnTo>
                  <a:pt x="4" y="18"/>
                </a:lnTo>
                <a:lnTo>
                  <a:pt x="4" y="10"/>
                </a:lnTo>
                <a:lnTo>
                  <a:pt x="4" y="7"/>
                </a:lnTo>
                <a:lnTo>
                  <a:pt x="6" y="3"/>
                </a:lnTo>
                <a:lnTo>
                  <a:pt x="6" y="2"/>
                </a:lnTo>
                <a:lnTo>
                  <a:pt x="7" y="2"/>
                </a:lnTo>
                <a:lnTo>
                  <a:pt x="8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23" name="Freeform 1150"/>
          <p:cNvSpPr>
            <a:spLocks/>
          </p:cNvSpPr>
          <p:nvPr/>
        </p:nvSpPr>
        <p:spPr bwMode="auto">
          <a:xfrm>
            <a:off x="3561910" y="5909865"/>
            <a:ext cx="21437" cy="19329"/>
          </a:xfrm>
          <a:custGeom>
            <a:avLst/>
            <a:gdLst/>
            <a:ahLst/>
            <a:cxnLst>
              <a:cxn ang="0">
                <a:pos x="7" y="0"/>
              </a:cxn>
              <a:cxn ang="0">
                <a:pos x="9" y="2"/>
              </a:cxn>
              <a:cxn ang="0">
                <a:pos x="11" y="4"/>
              </a:cxn>
              <a:cxn ang="0">
                <a:pos x="9" y="5"/>
              </a:cxn>
              <a:cxn ang="0">
                <a:pos x="9" y="8"/>
              </a:cxn>
              <a:cxn ang="0">
                <a:pos x="7" y="10"/>
              </a:cxn>
              <a:cxn ang="0">
                <a:pos x="5" y="10"/>
              </a:cxn>
              <a:cxn ang="0">
                <a:pos x="3" y="10"/>
              </a:cxn>
              <a:cxn ang="0">
                <a:pos x="1" y="8"/>
              </a:cxn>
              <a:cxn ang="0">
                <a:pos x="0" y="7"/>
              </a:cxn>
              <a:cxn ang="0">
                <a:pos x="0" y="4"/>
              </a:cxn>
              <a:cxn ang="0">
                <a:pos x="3" y="2"/>
              </a:cxn>
              <a:cxn ang="0">
                <a:pos x="7" y="0"/>
              </a:cxn>
            </a:cxnLst>
            <a:rect l="0" t="0" r="r" b="b"/>
            <a:pathLst>
              <a:path w="11" h="10">
                <a:moveTo>
                  <a:pt x="7" y="0"/>
                </a:moveTo>
                <a:lnTo>
                  <a:pt x="9" y="2"/>
                </a:lnTo>
                <a:lnTo>
                  <a:pt x="11" y="4"/>
                </a:lnTo>
                <a:lnTo>
                  <a:pt x="9" y="5"/>
                </a:lnTo>
                <a:lnTo>
                  <a:pt x="9" y="8"/>
                </a:lnTo>
                <a:lnTo>
                  <a:pt x="7" y="10"/>
                </a:lnTo>
                <a:lnTo>
                  <a:pt x="5" y="10"/>
                </a:lnTo>
                <a:lnTo>
                  <a:pt x="3" y="10"/>
                </a:lnTo>
                <a:lnTo>
                  <a:pt x="1" y="8"/>
                </a:lnTo>
                <a:lnTo>
                  <a:pt x="0" y="7"/>
                </a:lnTo>
                <a:lnTo>
                  <a:pt x="0" y="4"/>
                </a:lnTo>
                <a:lnTo>
                  <a:pt x="3" y="2"/>
                </a:lnTo>
                <a:lnTo>
                  <a:pt x="7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24" name="Freeform 1151"/>
          <p:cNvSpPr>
            <a:spLocks/>
          </p:cNvSpPr>
          <p:nvPr/>
        </p:nvSpPr>
        <p:spPr bwMode="auto">
          <a:xfrm>
            <a:off x="3561910" y="5909865"/>
            <a:ext cx="21437" cy="19329"/>
          </a:xfrm>
          <a:custGeom>
            <a:avLst/>
            <a:gdLst/>
            <a:ahLst/>
            <a:cxnLst>
              <a:cxn ang="0">
                <a:pos x="7" y="0"/>
              </a:cxn>
              <a:cxn ang="0">
                <a:pos x="9" y="2"/>
              </a:cxn>
              <a:cxn ang="0">
                <a:pos x="11" y="4"/>
              </a:cxn>
              <a:cxn ang="0">
                <a:pos x="9" y="5"/>
              </a:cxn>
              <a:cxn ang="0">
                <a:pos x="9" y="8"/>
              </a:cxn>
              <a:cxn ang="0">
                <a:pos x="7" y="10"/>
              </a:cxn>
              <a:cxn ang="0">
                <a:pos x="5" y="10"/>
              </a:cxn>
              <a:cxn ang="0">
                <a:pos x="3" y="10"/>
              </a:cxn>
              <a:cxn ang="0">
                <a:pos x="1" y="8"/>
              </a:cxn>
              <a:cxn ang="0">
                <a:pos x="0" y="7"/>
              </a:cxn>
              <a:cxn ang="0">
                <a:pos x="0" y="4"/>
              </a:cxn>
              <a:cxn ang="0">
                <a:pos x="3" y="2"/>
              </a:cxn>
              <a:cxn ang="0">
                <a:pos x="7" y="0"/>
              </a:cxn>
            </a:cxnLst>
            <a:rect l="0" t="0" r="r" b="b"/>
            <a:pathLst>
              <a:path w="11" h="10">
                <a:moveTo>
                  <a:pt x="7" y="0"/>
                </a:moveTo>
                <a:lnTo>
                  <a:pt x="9" y="2"/>
                </a:lnTo>
                <a:lnTo>
                  <a:pt x="11" y="4"/>
                </a:lnTo>
                <a:lnTo>
                  <a:pt x="9" y="5"/>
                </a:lnTo>
                <a:lnTo>
                  <a:pt x="9" y="8"/>
                </a:lnTo>
                <a:lnTo>
                  <a:pt x="7" y="10"/>
                </a:lnTo>
                <a:lnTo>
                  <a:pt x="5" y="10"/>
                </a:lnTo>
                <a:lnTo>
                  <a:pt x="3" y="10"/>
                </a:lnTo>
                <a:lnTo>
                  <a:pt x="1" y="8"/>
                </a:lnTo>
                <a:lnTo>
                  <a:pt x="0" y="7"/>
                </a:lnTo>
                <a:lnTo>
                  <a:pt x="0" y="4"/>
                </a:lnTo>
                <a:lnTo>
                  <a:pt x="3" y="2"/>
                </a:lnTo>
                <a:lnTo>
                  <a:pt x="7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25" name="Freeform 1152"/>
          <p:cNvSpPr>
            <a:spLocks/>
          </p:cNvSpPr>
          <p:nvPr/>
        </p:nvSpPr>
        <p:spPr bwMode="auto">
          <a:xfrm>
            <a:off x="3536575" y="5918455"/>
            <a:ext cx="9745" cy="644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5" y="0"/>
              </a:cxn>
              <a:cxn ang="0">
                <a:pos x="1" y="2"/>
              </a:cxn>
              <a:cxn ang="0">
                <a:pos x="1" y="0"/>
              </a:cxn>
              <a:cxn ang="0">
                <a:pos x="0" y="0"/>
              </a:cxn>
            </a:cxnLst>
            <a:rect l="0" t="0" r="r" b="b"/>
            <a:pathLst>
              <a:path w="5" h="2">
                <a:moveTo>
                  <a:pt x="0" y="0"/>
                </a:moveTo>
                <a:lnTo>
                  <a:pt x="2" y="0"/>
                </a:lnTo>
                <a:lnTo>
                  <a:pt x="5" y="0"/>
                </a:lnTo>
                <a:lnTo>
                  <a:pt x="1" y="2"/>
                </a:lnTo>
                <a:lnTo>
                  <a:pt x="1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26" name="Freeform 1153"/>
          <p:cNvSpPr>
            <a:spLocks/>
          </p:cNvSpPr>
          <p:nvPr/>
        </p:nvSpPr>
        <p:spPr bwMode="auto">
          <a:xfrm>
            <a:off x="3536575" y="5918455"/>
            <a:ext cx="9745" cy="644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5" y="0"/>
              </a:cxn>
              <a:cxn ang="0">
                <a:pos x="1" y="2"/>
              </a:cxn>
              <a:cxn ang="0">
                <a:pos x="1" y="0"/>
              </a:cxn>
              <a:cxn ang="0">
                <a:pos x="0" y="0"/>
              </a:cxn>
            </a:cxnLst>
            <a:rect l="0" t="0" r="r" b="b"/>
            <a:pathLst>
              <a:path w="5" h="2">
                <a:moveTo>
                  <a:pt x="0" y="0"/>
                </a:moveTo>
                <a:lnTo>
                  <a:pt x="2" y="0"/>
                </a:lnTo>
                <a:lnTo>
                  <a:pt x="5" y="0"/>
                </a:lnTo>
                <a:lnTo>
                  <a:pt x="1" y="2"/>
                </a:lnTo>
                <a:lnTo>
                  <a:pt x="1" y="0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27" name="Freeform 1154"/>
          <p:cNvSpPr>
            <a:spLocks/>
          </p:cNvSpPr>
          <p:nvPr/>
        </p:nvSpPr>
        <p:spPr bwMode="auto">
          <a:xfrm>
            <a:off x="3536575" y="5929196"/>
            <a:ext cx="9745" cy="2146"/>
          </a:xfrm>
          <a:custGeom>
            <a:avLst/>
            <a:gdLst/>
            <a:ahLst/>
            <a:cxnLst>
              <a:cxn ang="0">
                <a:pos x="1" y="1"/>
              </a:cxn>
              <a:cxn ang="0">
                <a:pos x="0" y="1"/>
              </a:cxn>
              <a:cxn ang="0">
                <a:pos x="2" y="0"/>
              </a:cxn>
              <a:cxn ang="0">
                <a:pos x="5" y="0"/>
              </a:cxn>
              <a:cxn ang="0">
                <a:pos x="5" y="1"/>
              </a:cxn>
              <a:cxn ang="0">
                <a:pos x="1" y="1"/>
              </a:cxn>
            </a:cxnLst>
            <a:rect l="0" t="0" r="r" b="b"/>
            <a:pathLst>
              <a:path w="5" h="1">
                <a:moveTo>
                  <a:pt x="1" y="1"/>
                </a:moveTo>
                <a:lnTo>
                  <a:pt x="0" y="1"/>
                </a:lnTo>
                <a:lnTo>
                  <a:pt x="2" y="0"/>
                </a:lnTo>
                <a:lnTo>
                  <a:pt x="5" y="0"/>
                </a:lnTo>
                <a:lnTo>
                  <a:pt x="5" y="1"/>
                </a:lnTo>
                <a:lnTo>
                  <a:pt x="1" y="1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28" name="Freeform 1155"/>
          <p:cNvSpPr>
            <a:spLocks/>
          </p:cNvSpPr>
          <p:nvPr/>
        </p:nvSpPr>
        <p:spPr bwMode="auto">
          <a:xfrm>
            <a:off x="3536575" y="5929196"/>
            <a:ext cx="9745" cy="2146"/>
          </a:xfrm>
          <a:custGeom>
            <a:avLst/>
            <a:gdLst/>
            <a:ahLst/>
            <a:cxnLst>
              <a:cxn ang="0">
                <a:pos x="1" y="1"/>
              </a:cxn>
              <a:cxn ang="0">
                <a:pos x="0" y="1"/>
              </a:cxn>
              <a:cxn ang="0">
                <a:pos x="2" y="0"/>
              </a:cxn>
              <a:cxn ang="0">
                <a:pos x="5" y="0"/>
              </a:cxn>
              <a:cxn ang="0">
                <a:pos x="5" y="1"/>
              </a:cxn>
              <a:cxn ang="0">
                <a:pos x="1" y="1"/>
              </a:cxn>
            </a:cxnLst>
            <a:rect l="0" t="0" r="r" b="b"/>
            <a:pathLst>
              <a:path w="5" h="1">
                <a:moveTo>
                  <a:pt x="1" y="1"/>
                </a:moveTo>
                <a:lnTo>
                  <a:pt x="0" y="1"/>
                </a:lnTo>
                <a:lnTo>
                  <a:pt x="2" y="0"/>
                </a:lnTo>
                <a:lnTo>
                  <a:pt x="5" y="0"/>
                </a:lnTo>
                <a:lnTo>
                  <a:pt x="5" y="1"/>
                </a:lnTo>
                <a:lnTo>
                  <a:pt x="1" y="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29" name="Freeform 1156"/>
          <p:cNvSpPr>
            <a:spLocks/>
          </p:cNvSpPr>
          <p:nvPr/>
        </p:nvSpPr>
        <p:spPr bwMode="auto">
          <a:xfrm>
            <a:off x="3540473" y="5935637"/>
            <a:ext cx="13642" cy="6444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0" y="0"/>
              </a:cxn>
              <a:cxn ang="0">
                <a:pos x="1" y="0"/>
              </a:cxn>
              <a:cxn ang="0">
                <a:pos x="7" y="0"/>
              </a:cxn>
              <a:cxn ang="0">
                <a:pos x="8" y="2"/>
              </a:cxn>
              <a:cxn ang="0">
                <a:pos x="8" y="3"/>
              </a:cxn>
              <a:cxn ang="0">
                <a:pos x="5" y="2"/>
              </a:cxn>
              <a:cxn ang="0">
                <a:pos x="4" y="2"/>
              </a:cxn>
              <a:cxn ang="0">
                <a:pos x="1" y="0"/>
              </a:cxn>
            </a:cxnLst>
            <a:rect l="0" t="0" r="r" b="b"/>
            <a:pathLst>
              <a:path w="8" h="3">
                <a:moveTo>
                  <a:pt x="1" y="0"/>
                </a:moveTo>
                <a:lnTo>
                  <a:pt x="0" y="0"/>
                </a:lnTo>
                <a:lnTo>
                  <a:pt x="1" y="0"/>
                </a:lnTo>
                <a:lnTo>
                  <a:pt x="7" y="0"/>
                </a:lnTo>
                <a:lnTo>
                  <a:pt x="8" y="2"/>
                </a:lnTo>
                <a:lnTo>
                  <a:pt x="8" y="3"/>
                </a:lnTo>
                <a:lnTo>
                  <a:pt x="5" y="2"/>
                </a:lnTo>
                <a:lnTo>
                  <a:pt x="4" y="2"/>
                </a:lnTo>
                <a:lnTo>
                  <a:pt x="1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30" name="Freeform 1157"/>
          <p:cNvSpPr>
            <a:spLocks/>
          </p:cNvSpPr>
          <p:nvPr/>
        </p:nvSpPr>
        <p:spPr bwMode="auto">
          <a:xfrm>
            <a:off x="3540473" y="5935637"/>
            <a:ext cx="13642" cy="6444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0" y="0"/>
              </a:cxn>
              <a:cxn ang="0">
                <a:pos x="1" y="0"/>
              </a:cxn>
              <a:cxn ang="0">
                <a:pos x="7" y="0"/>
              </a:cxn>
              <a:cxn ang="0">
                <a:pos x="8" y="2"/>
              </a:cxn>
              <a:cxn ang="0">
                <a:pos x="8" y="3"/>
              </a:cxn>
              <a:cxn ang="0">
                <a:pos x="5" y="2"/>
              </a:cxn>
              <a:cxn ang="0">
                <a:pos x="4" y="2"/>
              </a:cxn>
              <a:cxn ang="0">
                <a:pos x="1" y="0"/>
              </a:cxn>
            </a:cxnLst>
            <a:rect l="0" t="0" r="r" b="b"/>
            <a:pathLst>
              <a:path w="8" h="3">
                <a:moveTo>
                  <a:pt x="1" y="0"/>
                </a:moveTo>
                <a:lnTo>
                  <a:pt x="0" y="0"/>
                </a:lnTo>
                <a:lnTo>
                  <a:pt x="1" y="0"/>
                </a:lnTo>
                <a:lnTo>
                  <a:pt x="7" y="0"/>
                </a:lnTo>
                <a:lnTo>
                  <a:pt x="8" y="2"/>
                </a:lnTo>
                <a:lnTo>
                  <a:pt x="8" y="3"/>
                </a:lnTo>
                <a:lnTo>
                  <a:pt x="5" y="2"/>
                </a:lnTo>
                <a:lnTo>
                  <a:pt x="4" y="2"/>
                </a:lnTo>
                <a:lnTo>
                  <a:pt x="1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31" name="Freeform 1158"/>
          <p:cNvSpPr>
            <a:spLocks/>
          </p:cNvSpPr>
          <p:nvPr/>
        </p:nvSpPr>
        <p:spPr bwMode="auto">
          <a:xfrm>
            <a:off x="3540473" y="5939931"/>
            <a:ext cx="7795" cy="644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" y="1"/>
              </a:cxn>
              <a:cxn ang="0">
                <a:pos x="4" y="3"/>
              </a:cxn>
              <a:cxn ang="0">
                <a:pos x="2" y="1"/>
              </a:cxn>
              <a:cxn ang="0">
                <a:pos x="0" y="0"/>
              </a:cxn>
            </a:cxnLst>
            <a:rect l="0" t="0" r="r" b="b"/>
            <a:pathLst>
              <a:path w="4" h="3">
                <a:moveTo>
                  <a:pt x="0" y="0"/>
                </a:moveTo>
                <a:lnTo>
                  <a:pt x="3" y="1"/>
                </a:lnTo>
                <a:lnTo>
                  <a:pt x="4" y="3"/>
                </a:lnTo>
                <a:lnTo>
                  <a:pt x="2" y="1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32" name="Freeform 1159"/>
          <p:cNvSpPr>
            <a:spLocks/>
          </p:cNvSpPr>
          <p:nvPr/>
        </p:nvSpPr>
        <p:spPr bwMode="auto">
          <a:xfrm>
            <a:off x="3540473" y="5939931"/>
            <a:ext cx="7795" cy="644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" y="1"/>
              </a:cxn>
              <a:cxn ang="0">
                <a:pos x="4" y="3"/>
              </a:cxn>
              <a:cxn ang="0">
                <a:pos x="2" y="1"/>
              </a:cxn>
              <a:cxn ang="0">
                <a:pos x="0" y="0"/>
              </a:cxn>
            </a:cxnLst>
            <a:rect l="0" t="0" r="r" b="b"/>
            <a:pathLst>
              <a:path w="4" h="3">
                <a:moveTo>
                  <a:pt x="0" y="0"/>
                </a:moveTo>
                <a:lnTo>
                  <a:pt x="3" y="1"/>
                </a:lnTo>
                <a:lnTo>
                  <a:pt x="4" y="3"/>
                </a:lnTo>
                <a:lnTo>
                  <a:pt x="2" y="1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33" name="Freeform 1160"/>
          <p:cNvSpPr>
            <a:spLocks/>
          </p:cNvSpPr>
          <p:nvPr/>
        </p:nvSpPr>
        <p:spPr bwMode="auto">
          <a:xfrm>
            <a:off x="3548268" y="5959262"/>
            <a:ext cx="5847" cy="429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0"/>
              </a:cxn>
              <a:cxn ang="0">
                <a:pos x="2" y="2"/>
              </a:cxn>
              <a:cxn ang="0">
                <a:pos x="3" y="3"/>
              </a:cxn>
              <a:cxn ang="0">
                <a:pos x="0" y="3"/>
              </a:cxn>
              <a:cxn ang="0">
                <a:pos x="0" y="2"/>
              </a:cxn>
            </a:cxnLst>
            <a:rect l="0" t="0" r="r" b="b"/>
            <a:pathLst>
              <a:path w="3" h="3">
                <a:moveTo>
                  <a:pt x="0" y="2"/>
                </a:moveTo>
                <a:lnTo>
                  <a:pt x="2" y="0"/>
                </a:lnTo>
                <a:lnTo>
                  <a:pt x="2" y="2"/>
                </a:lnTo>
                <a:lnTo>
                  <a:pt x="3" y="3"/>
                </a:lnTo>
                <a:lnTo>
                  <a:pt x="0" y="3"/>
                </a:lnTo>
                <a:lnTo>
                  <a:pt x="0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34" name="Freeform 1161"/>
          <p:cNvSpPr>
            <a:spLocks/>
          </p:cNvSpPr>
          <p:nvPr/>
        </p:nvSpPr>
        <p:spPr bwMode="auto">
          <a:xfrm>
            <a:off x="3548268" y="5959262"/>
            <a:ext cx="5847" cy="429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0"/>
              </a:cxn>
              <a:cxn ang="0">
                <a:pos x="2" y="2"/>
              </a:cxn>
              <a:cxn ang="0">
                <a:pos x="3" y="3"/>
              </a:cxn>
              <a:cxn ang="0">
                <a:pos x="0" y="3"/>
              </a:cxn>
              <a:cxn ang="0">
                <a:pos x="0" y="2"/>
              </a:cxn>
            </a:cxnLst>
            <a:rect l="0" t="0" r="r" b="b"/>
            <a:pathLst>
              <a:path w="3" h="3">
                <a:moveTo>
                  <a:pt x="0" y="2"/>
                </a:moveTo>
                <a:lnTo>
                  <a:pt x="2" y="0"/>
                </a:lnTo>
                <a:lnTo>
                  <a:pt x="2" y="2"/>
                </a:lnTo>
                <a:lnTo>
                  <a:pt x="3" y="3"/>
                </a:lnTo>
                <a:lnTo>
                  <a:pt x="0" y="3"/>
                </a:lnTo>
                <a:lnTo>
                  <a:pt x="0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35" name="Freeform 1162"/>
          <p:cNvSpPr>
            <a:spLocks/>
          </p:cNvSpPr>
          <p:nvPr/>
        </p:nvSpPr>
        <p:spPr bwMode="auto">
          <a:xfrm>
            <a:off x="3528780" y="6023690"/>
            <a:ext cx="11693" cy="4295"/>
          </a:xfrm>
          <a:custGeom>
            <a:avLst/>
            <a:gdLst/>
            <a:ahLst/>
            <a:cxnLst>
              <a:cxn ang="0">
                <a:pos x="4" y="3"/>
              </a:cxn>
              <a:cxn ang="0">
                <a:pos x="2" y="3"/>
              </a:cxn>
              <a:cxn ang="0">
                <a:pos x="0" y="3"/>
              </a:cxn>
              <a:cxn ang="0">
                <a:pos x="0" y="2"/>
              </a:cxn>
              <a:cxn ang="0">
                <a:pos x="1" y="0"/>
              </a:cxn>
              <a:cxn ang="0">
                <a:pos x="4" y="2"/>
              </a:cxn>
              <a:cxn ang="0">
                <a:pos x="5" y="3"/>
              </a:cxn>
              <a:cxn ang="0">
                <a:pos x="4" y="3"/>
              </a:cxn>
            </a:cxnLst>
            <a:rect l="0" t="0" r="r" b="b"/>
            <a:pathLst>
              <a:path w="5" h="3">
                <a:moveTo>
                  <a:pt x="4" y="3"/>
                </a:moveTo>
                <a:lnTo>
                  <a:pt x="2" y="3"/>
                </a:lnTo>
                <a:lnTo>
                  <a:pt x="0" y="3"/>
                </a:lnTo>
                <a:lnTo>
                  <a:pt x="0" y="2"/>
                </a:lnTo>
                <a:lnTo>
                  <a:pt x="1" y="0"/>
                </a:lnTo>
                <a:lnTo>
                  <a:pt x="4" y="2"/>
                </a:lnTo>
                <a:lnTo>
                  <a:pt x="5" y="3"/>
                </a:lnTo>
                <a:lnTo>
                  <a:pt x="4" y="3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36" name="Freeform 1163"/>
          <p:cNvSpPr>
            <a:spLocks/>
          </p:cNvSpPr>
          <p:nvPr/>
        </p:nvSpPr>
        <p:spPr bwMode="auto">
          <a:xfrm>
            <a:off x="3528780" y="6023690"/>
            <a:ext cx="11693" cy="4295"/>
          </a:xfrm>
          <a:custGeom>
            <a:avLst/>
            <a:gdLst/>
            <a:ahLst/>
            <a:cxnLst>
              <a:cxn ang="0">
                <a:pos x="4" y="3"/>
              </a:cxn>
              <a:cxn ang="0">
                <a:pos x="2" y="3"/>
              </a:cxn>
              <a:cxn ang="0">
                <a:pos x="0" y="3"/>
              </a:cxn>
              <a:cxn ang="0">
                <a:pos x="0" y="2"/>
              </a:cxn>
              <a:cxn ang="0">
                <a:pos x="1" y="0"/>
              </a:cxn>
              <a:cxn ang="0">
                <a:pos x="4" y="2"/>
              </a:cxn>
              <a:cxn ang="0">
                <a:pos x="5" y="3"/>
              </a:cxn>
              <a:cxn ang="0">
                <a:pos x="4" y="3"/>
              </a:cxn>
            </a:cxnLst>
            <a:rect l="0" t="0" r="r" b="b"/>
            <a:pathLst>
              <a:path w="5" h="3">
                <a:moveTo>
                  <a:pt x="4" y="3"/>
                </a:moveTo>
                <a:lnTo>
                  <a:pt x="2" y="3"/>
                </a:lnTo>
                <a:lnTo>
                  <a:pt x="0" y="3"/>
                </a:lnTo>
                <a:lnTo>
                  <a:pt x="0" y="2"/>
                </a:lnTo>
                <a:lnTo>
                  <a:pt x="1" y="0"/>
                </a:lnTo>
                <a:lnTo>
                  <a:pt x="4" y="2"/>
                </a:lnTo>
                <a:lnTo>
                  <a:pt x="5" y="3"/>
                </a:lnTo>
                <a:lnTo>
                  <a:pt x="4" y="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37" name="Freeform 1164"/>
          <p:cNvSpPr>
            <a:spLocks/>
          </p:cNvSpPr>
          <p:nvPr/>
        </p:nvSpPr>
        <p:spPr bwMode="auto">
          <a:xfrm>
            <a:off x="3509291" y="6027986"/>
            <a:ext cx="9745" cy="4295"/>
          </a:xfrm>
          <a:custGeom>
            <a:avLst/>
            <a:gdLst/>
            <a:ahLst/>
            <a:cxnLst>
              <a:cxn ang="0">
                <a:pos x="5" y="0"/>
              </a:cxn>
              <a:cxn ang="0">
                <a:pos x="5" y="1"/>
              </a:cxn>
              <a:cxn ang="0">
                <a:pos x="4" y="3"/>
              </a:cxn>
              <a:cxn ang="0">
                <a:pos x="1" y="3"/>
              </a:cxn>
              <a:cxn ang="0">
                <a:pos x="0" y="3"/>
              </a:cxn>
              <a:cxn ang="0">
                <a:pos x="0" y="1"/>
              </a:cxn>
              <a:cxn ang="0">
                <a:pos x="3" y="0"/>
              </a:cxn>
              <a:cxn ang="0">
                <a:pos x="5" y="0"/>
              </a:cxn>
            </a:cxnLst>
            <a:rect l="0" t="0" r="r" b="b"/>
            <a:pathLst>
              <a:path w="5" h="3">
                <a:moveTo>
                  <a:pt x="5" y="0"/>
                </a:moveTo>
                <a:lnTo>
                  <a:pt x="5" y="1"/>
                </a:lnTo>
                <a:lnTo>
                  <a:pt x="4" y="3"/>
                </a:lnTo>
                <a:lnTo>
                  <a:pt x="1" y="3"/>
                </a:lnTo>
                <a:lnTo>
                  <a:pt x="0" y="3"/>
                </a:lnTo>
                <a:lnTo>
                  <a:pt x="0" y="1"/>
                </a:lnTo>
                <a:lnTo>
                  <a:pt x="3" y="0"/>
                </a:lnTo>
                <a:lnTo>
                  <a:pt x="5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38" name="Freeform 1165"/>
          <p:cNvSpPr>
            <a:spLocks/>
          </p:cNvSpPr>
          <p:nvPr/>
        </p:nvSpPr>
        <p:spPr bwMode="auto">
          <a:xfrm>
            <a:off x="3509291" y="6027986"/>
            <a:ext cx="9745" cy="4295"/>
          </a:xfrm>
          <a:custGeom>
            <a:avLst/>
            <a:gdLst/>
            <a:ahLst/>
            <a:cxnLst>
              <a:cxn ang="0">
                <a:pos x="5" y="0"/>
              </a:cxn>
              <a:cxn ang="0">
                <a:pos x="5" y="1"/>
              </a:cxn>
              <a:cxn ang="0">
                <a:pos x="4" y="3"/>
              </a:cxn>
              <a:cxn ang="0">
                <a:pos x="1" y="3"/>
              </a:cxn>
              <a:cxn ang="0">
                <a:pos x="0" y="3"/>
              </a:cxn>
              <a:cxn ang="0">
                <a:pos x="0" y="1"/>
              </a:cxn>
              <a:cxn ang="0">
                <a:pos x="3" y="0"/>
              </a:cxn>
              <a:cxn ang="0">
                <a:pos x="5" y="0"/>
              </a:cxn>
            </a:cxnLst>
            <a:rect l="0" t="0" r="r" b="b"/>
            <a:pathLst>
              <a:path w="5" h="3">
                <a:moveTo>
                  <a:pt x="5" y="0"/>
                </a:moveTo>
                <a:lnTo>
                  <a:pt x="5" y="1"/>
                </a:lnTo>
                <a:lnTo>
                  <a:pt x="4" y="3"/>
                </a:lnTo>
                <a:lnTo>
                  <a:pt x="1" y="3"/>
                </a:lnTo>
                <a:lnTo>
                  <a:pt x="0" y="3"/>
                </a:lnTo>
                <a:lnTo>
                  <a:pt x="0" y="1"/>
                </a:lnTo>
                <a:lnTo>
                  <a:pt x="3" y="0"/>
                </a:lnTo>
                <a:lnTo>
                  <a:pt x="5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39" name="Freeform 1166"/>
          <p:cNvSpPr>
            <a:spLocks/>
          </p:cNvSpPr>
          <p:nvPr/>
        </p:nvSpPr>
        <p:spPr bwMode="auto">
          <a:xfrm>
            <a:off x="3513191" y="6040870"/>
            <a:ext cx="11693" cy="85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" y="0"/>
              </a:cxn>
              <a:cxn ang="0">
                <a:pos x="5" y="2"/>
              </a:cxn>
              <a:cxn ang="0">
                <a:pos x="5" y="4"/>
              </a:cxn>
              <a:cxn ang="0">
                <a:pos x="4" y="4"/>
              </a:cxn>
              <a:cxn ang="0">
                <a:pos x="2" y="5"/>
              </a:cxn>
              <a:cxn ang="0">
                <a:pos x="0" y="0"/>
              </a:cxn>
            </a:cxnLst>
            <a:rect l="0" t="0" r="r" b="b"/>
            <a:pathLst>
              <a:path w="5" h="5">
                <a:moveTo>
                  <a:pt x="0" y="0"/>
                </a:moveTo>
                <a:lnTo>
                  <a:pt x="4" y="0"/>
                </a:lnTo>
                <a:lnTo>
                  <a:pt x="5" y="2"/>
                </a:lnTo>
                <a:lnTo>
                  <a:pt x="5" y="4"/>
                </a:lnTo>
                <a:lnTo>
                  <a:pt x="4" y="4"/>
                </a:lnTo>
                <a:lnTo>
                  <a:pt x="2" y="5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40" name="Freeform 1167"/>
          <p:cNvSpPr>
            <a:spLocks/>
          </p:cNvSpPr>
          <p:nvPr/>
        </p:nvSpPr>
        <p:spPr bwMode="auto">
          <a:xfrm>
            <a:off x="3513191" y="6040870"/>
            <a:ext cx="11693" cy="85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" y="0"/>
              </a:cxn>
              <a:cxn ang="0">
                <a:pos x="5" y="2"/>
              </a:cxn>
              <a:cxn ang="0">
                <a:pos x="5" y="4"/>
              </a:cxn>
              <a:cxn ang="0">
                <a:pos x="4" y="4"/>
              </a:cxn>
              <a:cxn ang="0">
                <a:pos x="2" y="5"/>
              </a:cxn>
              <a:cxn ang="0">
                <a:pos x="0" y="0"/>
              </a:cxn>
            </a:cxnLst>
            <a:rect l="0" t="0" r="r" b="b"/>
            <a:pathLst>
              <a:path w="5" h="5">
                <a:moveTo>
                  <a:pt x="0" y="0"/>
                </a:moveTo>
                <a:lnTo>
                  <a:pt x="4" y="0"/>
                </a:lnTo>
                <a:lnTo>
                  <a:pt x="5" y="2"/>
                </a:lnTo>
                <a:lnTo>
                  <a:pt x="5" y="4"/>
                </a:lnTo>
                <a:lnTo>
                  <a:pt x="4" y="4"/>
                </a:lnTo>
                <a:lnTo>
                  <a:pt x="2" y="5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41" name="Freeform 1168"/>
          <p:cNvSpPr>
            <a:spLocks/>
          </p:cNvSpPr>
          <p:nvPr/>
        </p:nvSpPr>
        <p:spPr bwMode="auto">
          <a:xfrm>
            <a:off x="3503447" y="6038723"/>
            <a:ext cx="11693" cy="21476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0"/>
              </a:cxn>
              <a:cxn ang="0">
                <a:pos x="3" y="0"/>
              </a:cxn>
              <a:cxn ang="0">
                <a:pos x="6" y="6"/>
              </a:cxn>
              <a:cxn ang="0">
                <a:pos x="7" y="8"/>
              </a:cxn>
              <a:cxn ang="0">
                <a:pos x="7" y="9"/>
              </a:cxn>
              <a:cxn ang="0">
                <a:pos x="6" y="11"/>
              </a:cxn>
              <a:cxn ang="0">
                <a:pos x="4" y="9"/>
              </a:cxn>
              <a:cxn ang="0">
                <a:pos x="4" y="6"/>
              </a:cxn>
              <a:cxn ang="0">
                <a:pos x="2" y="5"/>
              </a:cxn>
              <a:cxn ang="0">
                <a:pos x="0" y="3"/>
              </a:cxn>
            </a:cxnLst>
            <a:rect l="0" t="0" r="r" b="b"/>
            <a:pathLst>
              <a:path w="7" h="11">
                <a:moveTo>
                  <a:pt x="0" y="3"/>
                </a:moveTo>
                <a:lnTo>
                  <a:pt x="0" y="0"/>
                </a:lnTo>
                <a:lnTo>
                  <a:pt x="3" y="0"/>
                </a:lnTo>
                <a:lnTo>
                  <a:pt x="6" y="6"/>
                </a:lnTo>
                <a:lnTo>
                  <a:pt x="7" y="8"/>
                </a:lnTo>
                <a:lnTo>
                  <a:pt x="7" y="9"/>
                </a:lnTo>
                <a:lnTo>
                  <a:pt x="6" y="11"/>
                </a:lnTo>
                <a:lnTo>
                  <a:pt x="4" y="9"/>
                </a:lnTo>
                <a:lnTo>
                  <a:pt x="4" y="6"/>
                </a:lnTo>
                <a:lnTo>
                  <a:pt x="2" y="5"/>
                </a:lnTo>
                <a:lnTo>
                  <a:pt x="0" y="3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42" name="Freeform 1169"/>
          <p:cNvSpPr>
            <a:spLocks/>
          </p:cNvSpPr>
          <p:nvPr/>
        </p:nvSpPr>
        <p:spPr bwMode="auto">
          <a:xfrm>
            <a:off x="3503447" y="6038723"/>
            <a:ext cx="11693" cy="21476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0"/>
              </a:cxn>
              <a:cxn ang="0">
                <a:pos x="3" y="0"/>
              </a:cxn>
              <a:cxn ang="0">
                <a:pos x="6" y="6"/>
              </a:cxn>
              <a:cxn ang="0">
                <a:pos x="7" y="8"/>
              </a:cxn>
              <a:cxn ang="0">
                <a:pos x="7" y="9"/>
              </a:cxn>
              <a:cxn ang="0">
                <a:pos x="6" y="11"/>
              </a:cxn>
              <a:cxn ang="0">
                <a:pos x="4" y="9"/>
              </a:cxn>
              <a:cxn ang="0">
                <a:pos x="4" y="6"/>
              </a:cxn>
              <a:cxn ang="0">
                <a:pos x="2" y="5"/>
              </a:cxn>
              <a:cxn ang="0">
                <a:pos x="0" y="3"/>
              </a:cxn>
            </a:cxnLst>
            <a:rect l="0" t="0" r="r" b="b"/>
            <a:pathLst>
              <a:path w="7" h="11">
                <a:moveTo>
                  <a:pt x="0" y="3"/>
                </a:moveTo>
                <a:lnTo>
                  <a:pt x="0" y="0"/>
                </a:lnTo>
                <a:lnTo>
                  <a:pt x="3" y="0"/>
                </a:lnTo>
                <a:lnTo>
                  <a:pt x="6" y="6"/>
                </a:lnTo>
                <a:lnTo>
                  <a:pt x="7" y="8"/>
                </a:lnTo>
                <a:lnTo>
                  <a:pt x="7" y="9"/>
                </a:lnTo>
                <a:lnTo>
                  <a:pt x="6" y="11"/>
                </a:lnTo>
                <a:lnTo>
                  <a:pt x="4" y="9"/>
                </a:lnTo>
                <a:lnTo>
                  <a:pt x="4" y="6"/>
                </a:lnTo>
                <a:lnTo>
                  <a:pt x="2" y="5"/>
                </a:lnTo>
                <a:lnTo>
                  <a:pt x="0" y="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43" name="Freeform 1170"/>
          <p:cNvSpPr>
            <a:spLocks/>
          </p:cNvSpPr>
          <p:nvPr/>
        </p:nvSpPr>
        <p:spPr bwMode="auto">
          <a:xfrm>
            <a:off x="3519036" y="6049462"/>
            <a:ext cx="11693" cy="10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" y="2"/>
              </a:cxn>
              <a:cxn ang="0">
                <a:pos x="4" y="3"/>
              </a:cxn>
              <a:cxn ang="0">
                <a:pos x="7" y="3"/>
              </a:cxn>
              <a:cxn ang="0">
                <a:pos x="7" y="5"/>
              </a:cxn>
              <a:cxn ang="0">
                <a:pos x="3" y="3"/>
              </a:cxn>
              <a:cxn ang="0">
                <a:pos x="2" y="3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7" h="5">
                <a:moveTo>
                  <a:pt x="0" y="0"/>
                </a:moveTo>
                <a:lnTo>
                  <a:pt x="4" y="2"/>
                </a:lnTo>
                <a:lnTo>
                  <a:pt x="4" y="3"/>
                </a:lnTo>
                <a:lnTo>
                  <a:pt x="7" y="3"/>
                </a:lnTo>
                <a:lnTo>
                  <a:pt x="7" y="5"/>
                </a:lnTo>
                <a:lnTo>
                  <a:pt x="3" y="3"/>
                </a:lnTo>
                <a:lnTo>
                  <a:pt x="2" y="3"/>
                </a:ln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44" name="Freeform 1171"/>
          <p:cNvSpPr>
            <a:spLocks/>
          </p:cNvSpPr>
          <p:nvPr/>
        </p:nvSpPr>
        <p:spPr bwMode="auto">
          <a:xfrm>
            <a:off x="3519036" y="6049462"/>
            <a:ext cx="11693" cy="10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" y="2"/>
              </a:cxn>
              <a:cxn ang="0">
                <a:pos x="4" y="3"/>
              </a:cxn>
              <a:cxn ang="0">
                <a:pos x="7" y="3"/>
              </a:cxn>
              <a:cxn ang="0">
                <a:pos x="7" y="5"/>
              </a:cxn>
              <a:cxn ang="0">
                <a:pos x="3" y="3"/>
              </a:cxn>
              <a:cxn ang="0">
                <a:pos x="2" y="3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7" h="5">
                <a:moveTo>
                  <a:pt x="0" y="0"/>
                </a:moveTo>
                <a:lnTo>
                  <a:pt x="4" y="2"/>
                </a:lnTo>
                <a:lnTo>
                  <a:pt x="4" y="3"/>
                </a:lnTo>
                <a:lnTo>
                  <a:pt x="7" y="3"/>
                </a:lnTo>
                <a:lnTo>
                  <a:pt x="7" y="5"/>
                </a:lnTo>
                <a:lnTo>
                  <a:pt x="3" y="3"/>
                </a:lnTo>
                <a:lnTo>
                  <a:pt x="2" y="3"/>
                </a:lnTo>
                <a:lnTo>
                  <a:pt x="0" y="2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45" name="Freeform 1172"/>
          <p:cNvSpPr>
            <a:spLocks/>
          </p:cNvSpPr>
          <p:nvPr/>
        </p:nvSpPr>
        <p:spPr bwMode="auto">
          <a:xfrm>
            <a:off x="3503445" y="6055903"/>
            <a:ext cx="5846" cy="6444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0"/>
              </a:cxn>
              <a:cxn ang="0">
                <a:pos x="2" y="0"/>
              </a:cxn>
              <a:cxn ang="0">
                <a:pos x="3" y="0"/>
              </a:cxn>
              <a:cxn ang="0">
                <a:pos x="3" y="3"/>
              </a:cxn>
              <a:cxn ang="0">
                <a:pos x="2" y="4"/>
              </a:cxn>
              <a:cxn ang="0">
                <a:pos x="0" y="4"/>
              </a:cxn>
              <a:cxn ang="0">
                <a:pos x="0" y="3"/>
              </a:cxn>
            </a:cxnLst>
            <a:rect l="0" t="0" r="r" b="b"/>
            <a:pathLst>
              <a:path w="3" h="4">
                <a:moveTo>
                  <a:pt x="0" y="3"/>
                </a:moveTo>
                <a:lnTo>
                  <a:pt x="0" y="0"/>
                </a:lnTo>
                <a:lnTo>
                  <a:pt x="2" y="0"/>
                </a:lnTo>
                <a:lnTo>
                  <a:pt x="3" y="0"/>
                </a:lnTo>
                <a:lnTo>
                  <a:pt x="3" y="3"/>
                </a:lnTo>
                <a:lnTo>
                  <a:pt x="2" y="4"/>
                </a:lnTo>
                <a:lnTo>
                  <a:pt x="0" y="4"/>
                </a:lnTo>
                <a:lnTo>
                  <a:pt x="0" y="3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46" name="Freeform 1173"/>
          <p:cNvSpPr>
            <a:spLocks/>
          </p:cNvSpPr>
          <p:nvPr/>
        </p:nvSpPr>
        <p:spPr bwMode="auto">
          <a:xfrm>
            <a:off x="3503445" y="6055903"/>
            <a:ext cx="5846" cy="6444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0"/>
              </a:cxn>
              <a:cxn ang="0">
                <a:pos x="2" y="0"/>
              </a:cxn>
              <a:cxn ang="0">
                <a:pos x="3" y="0"/>
              </a:cxn>
              <a:cxn ang="0">
                <a:pos x="3" y="3"/>
              </a:cxn>
              <a:cxn ang="0">
                <a:pos x="2" y="4"/>
              </a:cxn>
              <a:cxn ang="0">
                <a:pos x="0" y="4"/>
              </a:cxn>
              <a:cxn ang="0">
                <a:pos x="0" y="3"/>
              </a:cxn>
            </a:cxnLst>
            <a:rect l="0" t="0" r="r" b="b"/>
            <a:pathLst>
              <a:path w="3" h="4">
                <a:moveTo>
                  <a:pt x="0" y="3"/>
                </a:moveTo>
                <a:lnTo>
                  <a:pt x="0" y="0"/>
                </a:lnTo>
                <a:lnTo>
                  <a:pt x="2" y="0"/>
                </a:lnTo>
                <a:lnTo>
                  <a:pt x="3" y="0"/>
                </a:lnTo>
                <a:lnTo>
                  <a:pt x="3" y="3"/>
                </a:lnTo>
                <a:lnTo>
                  <a:pt x="2" y="4"/>
                </a:lnTo>
                <a:lnTo>
                  <a:pt x="0" y="4"/>
                </a:lnTo>
                <a:lnTo>
                  <a:pt x="0" y="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47" name="Freeform 1174"/>
          <p:cNvSpPr>
            <a:spLocks/>
          </p:cNvSpPr>
          <p:nvPr/>
        </p:nvSpPr>
        <p:spPr bwMode="auto">
          <a:xfrm>
            <a:off x="3509291" y="6060197"/>
            <a:ext cx="23386" cy="51542"/>
          </a:xfrm>
          <a:custGeom>
            <a:avLst/>
            <a:gdLst/>
            <a:ahLst/>
            <a:cxnLst>
              <a:cxn ang="0">
                <a:pos x="3" y="6"/>
              </a:cxn>
              <a:cxn ang="0">
                <a:pos x="4" y="6"/>
              </a:cxn>
              <a:cxn ang="0">
                <a:pos x="3" y="5"/>
              </a:cxn>
              <a:cxn ang="0">
                <a:pos x="3" y="3"/>
              </a:cxn>
              <a:cxn ang="0">
                <a:pos x="6" y="1"/>
              </a:cxn>
              <a:cxn ang="0">
                <a:pos x="7" y="0"/>
              </a:cxn>
              <a:cxn ang="0">
                <a:pos x="8" y="1"/>
              </a:cxn>
              <a:cxn ang="0">
                <a:pos x="10" y="3"/>
              </a:cxn>
              <a:cxn ang="0">
                <a:pos x="11" y="5"/>
              </a:cxn>
              <a:cxn ang="0">
                <a:pos x="11" y="8"/>
              </a:cxn>
              <a:cxn ang="0">
                <a:pos x="12" y="12"/>
              </a:cxn>
              <a:cxn ang="0">
                <a:pos x="12" y="20"/>
              </a:cxn>
              <a:cxn ang="0">
                <a:pos x="12" y="22"/>
              </a:cxn>
              <a:cxn ang="0">
                <a:pos x="10" y="25"/>
              </a:cxn>
              <a:cxn ang="0">
                <a:pos x="7" y="25"/>
              </a:cxn>
              <a:cxn ang="0">
                <a:pos x="6" y="23"/>
              </a:cxn>
              <a:cxn ang="0">
                <a:pos x="6" y="17"/>
              </a:cxn>
              <a:cxn ang="0">
                <a:pos x="7" y="16"/>
              </a:cxn>
              <a:cxn ang="0">
                <a:pos x="6" y="16"/>
              </a:cxn>
              <a:cxn ang="0">
                <a:pos x="2" y="14"/>
              </a:cxn>
              <a:cxn ang="0">
                <a:pos x="0" y="11"/>
              </a:cxn>
              <a:cxn ang="0">
                <a:pos x="2" y="11"/>
              </a:cxn>
              <a:cxn ang="0">
                <a:pos x="4" y="12"/>
              </a:cxn>
              <a:cxn ang="0">
                <a:pos x="4" y="9"/>
              </a:cxn>
              <a:cxn ang="0">
                <a:pos x="3" y="9"/>
              </a:cxn>
              <a:cxn ang="0">
                <a:pos x="0" y="8"/>
              </a:cxn>
              <a:cxn ang="0">
                <a:pos x="2" y="8"/>
              </a:cxn>
              <a:cxn ang="0">
                <a:pos x="3" y="6"/>
              </a:cxn>
            </a:cxnLst>
            <a:rect l="0" t="0" r="r" b="b"/>
            <a:pathLst>
              <a:path w="12" h="25">
                <a:moveTo>
                  <a:pt x="3" y="6"/>
                </a:moveTo>
                <a:lnTo>
                  <a:pt x="4" y="6"/>
                </a:lnTo>
                <a:lnTo>
                  <a:pt x="3" y="5"/>
                </a:lnTo>
                <a:lnTo>
                  <a:pt x="3" y="3"/>
                </a:lnTo>
                <a:lnTo>
                  <a:pt x="6" y="1"/>
                </a:lnTo>
                <a:lnTo>
                  <a:pt x="7" y="0"/>
                </a:lnTo>
                <a:lnTo>
                  <a:pt x="8" y="1"/>
                </a:lnTo>
                <a:lnTo>
                  <a:pt x="10" y="3"/>
                </a:lnTo>
                <a:lnTo>
                  <a:pt x="11" y="5"/>
                </a:lnTo>
                <a:lnTo>
                  <a:pt x="11" y="8"/>
                </a:lnTo>
                <a:lnTo>
                  <a:pt x="12" y="12"/>
                </a:lnTo>
                <a:lnTo>
                  <a:pt x="12" y="20"/>
                </a:lnTo>
                <a:lnTo>
                  <a:pt x="12" y="22"/>
                </a:lnTo>
                <a:lnTo>
                  <a:pt x="10" y="25"/>
                </a:lnTo>
                <a:lnTo>
                  <a:pt x="7" y="25"/>
                </a:lnTo>
                <a:lnTo>
                  <a:pt x="6" y="23"/>
                </a:lnTo>
                <a:lnTo>
                  <a:pt x="6" y="17"/>
                </a:lnTo>
                <a:lnTo>
                  <a:pt x="7" y="16"/>
                </a:lnTo>
                <a:lnTo>
                  <a:pt x="6" y="16"/>
                </a:lnTo>
                <a:lnTo>
                  <a:pt x="2" y="14"/>
                </a:lnTo>
                <a:lnTo>
                  <a:pt x="0" y="11"/>
                </a:lnTo>
                <a:lnTo>
                  <a:pt x="2" y="11"/>
                </a:lnTo>
                <a:lnTo>
                  <a:pt x="4" y="12"/>
                </a:lnTo>
                <a:lnTo>
                  <a:pt x="4" y="9"/>
                </a:lnTo>
                <a:lnTo>
                  <a:pt x="3" y="9"/>
                </a:lnTo>
                <a:lnTo>
                  <a:pt x="0" y="8"/>
                </a:lnTo>
                <a:lnTo>
                  <a:pt x="2" y="8"/>
                </a:lnTo>
                <a:lnTo>
                  <a:pt x="3" y="6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48" name="Freeform 1175"/>
          <p:cNvSpPr>
            <a:spLocks/>
          </p:cNvSpPr>
          <p:nvPr/>
        </p:nvSpPr>
        <p:spPr bwMode="auto">
          <a:xfrm>
            <a:off x="3509291" y="6060197"/>
            <a:ext cx="23386" cy="51542"/>
          </a:xfrm>
          <a:custGeom>
            <a:avLst/>
            <a:gdLst/>
            <a:ahLst/>
            <a:cxnLst>
              <a:cxn ang="0">
                <a:pos x="3" y="6"/>
              </a:cxn>
              <a:cxn ang="0">
                <a:pos x="4" y="6"/>
              </a:cxn>
              <a:cxn ang="0">
                <a:pos x="3" y="5"/>
              </a:cxn>
              <a:cxn ang="0">
                <a:pos x="3" y="3"/>
              </a:cxn>
              <a:cxn ang="0">
                <a:pos x="6" y="1"/>
              </a:cxn>
              <a:cxn ang="0">
                <a:pos x="7" y="0"/>
              </a:cxn>
              <a:cxn ang="0">
                <a:pos x="8" y="1"/>
              </a:cxn>
              <a:cxn ang="0">
                <a:pos x="10" y="3"/>
              </a:cxn>
              <a:cxn ang="0">
                <a:pos x="11" y="5"/>
              </a:cxn>
              <a:cxn ang="0">
                <a:pos x="11" y="8"/>
              </a:cxn>
              <a:cxn ang="0">
                <a:pos x="12" y="12"/>
              </a:cxn>
              <a:cxn ang="0">
                <a:pos x="12" y="20"/>
              </a:cxn>
              <a:cxn ang="0">
                <a:pos x="12" y="22"/>
              </a:cxn>
              <a:cxn ang="0">
                <a:pos x="10" y="25"/>
              </a:cxn>
              <a:cxn ang="0">
                <a:pos x="7" y="25"/>
              </a:cxn>
              <a:cxn ang="0">
                <a:pos x="6" y="23"/>
              </a:cxn>
              <a:cxn ang="0">
                <a:pos x="6" y="17"/>
              </a:cxn>
              <a:cxn ang="0">
                <a:pos x="7" y="16"/>
              </a:cxn>
              <a:cxn ang="0">
                <a:pos x="6" y="16"/>
              </a:cxn>
              <a:cxn ang="0">
                <a:pos x="2" y="14"/>
              </a:cxn>
              <a:cxn ang="0">
                <a:pos x="0" y="11"/>
              </a:cxn>
              <a:cxn ang="0">
                <a:pos x="2" y="11"/>
              </a:cxn>
              <a:cxn ang="0">
                <a:pos x="4" y="12"/>
              </a:cxn>
              <a:cxn ang="0">
                <a:pos x="4" y="9"/>
              </a:cxn>
              <a:cxn ang="0">
                <a:pos x="3" y="9"/>
              </a:cxn>
              <a:cxn ang="0">
                <a:pos x="0" y="8"/>
              </a:cxn>
              <a:cxn ang="0">
                <a:pos x="2" y="8"/>
              </a:cxn>
              <a:cxn ang="0">
                <a:pos x="3" y="6"/>
              </a:cxn>
            </a:cxnLst>
            <a:rect l="0" t="0" r="r" b="b"/>
            <a:pathLst>
              <a:path w="12" h="25">
                <a:moveTo>
                  <a:pt x="3" y="6"/>
                </a:moveTo>
                <a:lnTo>
                  <a:pt x="4" y="6"/>
                </a:lnTo>
                <a:lnTo>
                  <a:pt x="3" y="5"/>
                </a:lnTo>
                <a:lnTo>
                  <a:pt x="3" y="3"/>
                </a:lnTo>
                <a:lnTo>
                  <a:pt x="6" y="1"/>
                </a:lnTo>
                <a:lnTo>
                  <a:pt x="7" y="0"/>
                </a:lnTo>
                <a:lnTo>
                  <a:pt x="8" y="1"/>
                </a:lnTo>
                <a:lnTo>
                  <a:pt x="10" y="3"/>
                </a:lnTo>
                <a:lnTo>
                  <a:pt x="11" y="5"/>
                </a:lnTo>
                <a:lnTo>
                  <a:pt x="11" y="8"/>
                </a:lnTo>
                <a:lnTo>
                  <a:pt x="12" y="12"/>
                </a:lnTo>
                <a:lnTo>
                  <a:pt x="12" y="20"/>
                </a:lnTo>
                <a:lnTo>
                  <a:pt x="12" y="22"/>
                </a:lnTo>
                <a:lnTo>
                  <a:pt x="10" y="25"/>
                </a:lnTo>
                <a:lnTo>
                  <a:pt x="7" y="25"/>
                </a:lnTo>
                <a:lnTo>
                  <a:pt x="6" y="23"/>
                </a:lnTo>
                <a:lnTo>
                  <a:pt x="6" y="17"/>
                </a:lnTo>
                <a:lnTo>
                  <a:pt x="7" y="16"/>
                </a:lnTo>
                <a:lnTo>
                  <a:pt x="6" y="16"/>
                </a:lnTo>
                <a:lnTo>
                  <a:pt x="2" y="14"/>
                </a:lnTo>
                <a:lnTo>
                  <a:pt x="0" y="11"/>
                </a:lnTo>
                <a:lnTo>
                  <a:pt x="2" y="11"/>
                </a:lnTo>
                <a:lnTo>
                  <a:pt x="4" y="12"/>
                </a:lnTo>
                <a:lnTo>
                  <a:pt x="4" y="9"/>
                </a:lnTo>
                <a:lnTo>
                  <a:pt x="3" y="9"/>
                </a:lnTo>
                <a:lnTo>
                  <a:pt x="0" y="8"/>
                </a:lnTo>
                <a:lnTo>
                  <a:pt x="2" y="8"/>
                </a:lnTo>
                <a:lnTo>
                  <a:pt x="3" y="6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49" name="Freeform 1176"/>
          <p:cNvSpPr>
            <a:spLocks/>
          </p:cNvSpPr>
          <p:nvPr/>
        </p:nvSpPr>
        <p:spPr bwMode="auto">
          <a:xfrm>
            <a:off x="3501496" y="6094560"/>
            <a:ext cx="7795" cy="10739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1" y="0"/>
              </a:cxn>
              <a:cxn ang="0">
                <a:pos x="3" y="0"/>
              </a:cxn>
              <a:cxn ang="0">
                <a:pos x="4" y="2"/>
              </a:cxn>
              <a:cxn ang="0">
                <a:pos x="5" y="5"/>
              </a:cxn>
              <a:cxn ang="0">
                <a:pos x="4" y="5"/>
              </a:cxn>
              <a:cxn ang="0">
                <a:pos x="3" y="5"/>
              </a:cxn>
              <a:cxn ang="0">
                <a:pos x="0" y="3"/>
              </a:cxn>
              <a:cxn ang="0">
                <a:pos x="0" y="2"/>
              </a:cxn>
            </a:cxnLst>
            <a:rect l="0" t="0" r="r" b="b"/>
            <a:pathLst>
              <a:path w="5" h="5">
                <a:moveTo>
                  <a:pt x="0" y="2"/>
                </a:moveTo>
                <a:lnTo>
                  <a:pt x="0" y="0"/>
                </a:lnTo>
                <a:lnTo>
                  <a:pt x="1" y="0"/>
                </a:lnTo>
                <a:lnTo>
                  <a:pt x="3" y="0"/>
                </a:lnTo>
                <a:lnTo>
                  <a:pt x="4" y="2"/>
                </a:lnTo>
                <a:lnTo>
                  <a:pt x="5" y="5"/>
                </a:lnTo>
                <a:lnTo>
                  <a:pt x="4" y="5"/>
                </a:lnTo>
                <a:lnTo>
                  <a:pt x="3" y="5"/>
                </a:lnTo>
                <a:lnTo>
                  <a:pt x="0" y="3"/>
                </a:lnTo>
                <a:lnTo>
                  <a:pt x="0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50" name="Freeform 1177"/>
          <p:cNvSpPr>
            <a:spLocks/>
          </p:cNvSpPr>
          <p:nvPr/>
        </p:nvSpPr>
        <p:spPr bwMode="auto">
          <a:xfrm>
            <a:off x="3501496" y="6094560"/>
            <a:ext cx="7795" cy="10739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1" y="0"/>
              </a:cxn>
              <a:cxn ang="0">
                <a:pos x="3" y="0"/>
              </a:cxn>
              <a:cxn ang="0">
                <a:pos x="4" y="2"/>
              </a:cxn>
              <a:cxn ang="0">
                <a:pos x="5" y="5"/>
              </a:cxn>
              <a:cxn ang="0">
                <a:pos x="4" y="5"/>
              </a:cxn>
              <a:cxn ang="0">
                <a:pos x="3" y="5"/>
              </a:cxn>
              <a:cxn ang="0">
                <a:pos x="0" y="3"/>
              </a:cxn>
              <a:cxn ang="0">
                <a:pos x="0" y="2"/>
              </a:cxn>
            </a:cxnLst>
            <a:rect l="0" t="0" r="r" b="b"/>
            <a:pathLst>
              <a:path w="5" h="5">
                <a:moveTo>
                  <a:pt x="0" y="2"/>
                </a:moveTo>
                <a:lnTo>
                  <a:pt x="0" y="0"/>
                </a:lnTo>
                <a:lnTo>
                  <a:pt x="1" y="0"/>
                </a:lnTo>
                <a:lnTo>
                  <a:pt x="3" y="0"/>
                </a:lnTo>
                <a:lnTo>
                  <a:pt x="4" y="2"/>
                </a:lnTo>
                <a:lnTo>
                  <a:pt x="5" y="5"/>
                </a:lnTo>
                <a:lnTo>
                  <a:pt x="4" y="5"/>
                </a:lnTo>
                <a:lnTo>
                  <a:pt x="3" y="5"/>
                </a:lnTo>
                <a:lnTo>
                  <a:pt x="0" y="3"/>
                </a:lnTo>
                <a:lnTo>
                  <a:pt x="0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51" name="Freeform 1178"/>
          <p:cNvSpPr>
            <a:spLocks/>
          </p:cNvSpPr>
          <p:nvPr/>
        </p:nvSpPr>
        <p:spPr bwMode="auto">
          <a:xfrm>
            <a:off x="3505394" y="6113889"/>
            <a:ext cx="17540" cy="12885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1"/>
              </a:cxn>
              <a:cxn ang="0">
                <a:pos x="0" y="0"/>
              </a:cxn>
              <a:cxn ang="0">
                <a:pos x="2" y="1"/>
              </a:cxn>
              <a:cxn ang="0">
                <a:pos x="5" y="0"/>
              </a:cxn>
              <a:cxn ang="0">
                <a:pos x="8" y="0"/>
              </a:cxn>
              <a:cxn ang="0">
                <a:pos x="8" y="1"/>
              </a:cxn>
              <a:cxn ang="0">
                <a:pos x="6" y="3"/>
              </a:cxn>
              <a:cxn ang="0">
                <a:pos x="6" y="6"/>
              </a:cxn>
              <a:cxn ang="0">
                <a:pos x="4" y="4"/>
              </a:cxn>
              <a:cxn ang="0">
                <a:pos x="2" y="3"/>
              </a:cxn>
              <a:cxn ang="0">
                <a:pos x="1" y="4"/>
              </a:cxn>
              <a:cxn ang="0">
                <a:pos x="0" y="3"/>
              </a:cxn>
            </a:cxnLst>
            <a:rect l="0" t="0" r="r" b="b"/>
            <a:pathLst>
              <a:path w="8" h="6">
                <a:moveTo>
                  <a:pt x="0" y="3"/>
                </a:moveTo>
                <a:lnTo>
                  <a:pt x="0" y="1"/>
                </a:lnTo>
                <a:lnTo>
                  <a:pt x="0" y="0"/>
                </a:lnTo>
                <a:lnTo>
                  <a:pt x="2" y="1"/>
                </a:lnTo>
                <a:lnTo>
                  <a:pt x="5" y="0"/>
                </a:lnTo>
                <a:lnTo>
                  <a:pt x="8" y="0"/>
                </a:lnTo>
                <a:lnTo>
                  <a:pt x="8" y="1"/>
                </a:lnTo>
                <a:lnTo>
                  <a:pt x="6" y="3"/>
                </a:lnTo>
                <a:lnTo>
                  <a:pt x="6" y="6"/>
                </a:lnTo>
                <a:lnTo>
                  <a:pt x="4" y="4"/>
                </a:lnTo>
                <a:lnTo>
                  <a:pt x="2" y="3"/>
                </a:lnTo>
                <a:lnTo>
                  <a:pt x="1" y="4"/>
                </a:lnTo>
                <a:lnTo>
                  <a:pt x="0" y="3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52" name="Freeform 1179"/>
          <p:cNvSpPr>
            <a:spLocks/>
          </p:cNvSpPr>
          <p:nvPr/>
        </p:nvSpPr>
        <p:spPr bwMode="auto">
          <a:xfrm>
            <a:off x="3505394" y="6113889"/>
            <a:ext cx="17540" cy="12885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1"/>
              </a:cxn>
              <a:cxn ang="0">
                <a:pos x="0" y="0"/>
              </a:cxn>
              <a:cxn ang="0">
                <a:pos x="2" y="1"/>
              </a:cxn>
              <a:cxn ang="0">
                <a:pos x="5" y="0"/>
              </a:cxn>
              <a:cxn ang="0">
                <a:pos x="8" y="0"/>
              </a:cxn>
              <a:cxn ang="0">
                <a:pos x="8" y="1"/>
              </a:cxn>
              <a:cxn ang="0">
                <a:pos x="6" y="3"/>
              </a:cxn>
              <a:cxn ang="0">
                <a:pos x="6" y="6"/>
              </a:cxn>
              <a:cxn ang="0">
                <a:pos x="4" y="4"/>
              </a:cxn>
              <a:cxn ang="0">
                <a:pos x="2" y="3"/>
              </a:cxn>
              <a:cxn ang="0">
                <a:pos x="1" y="4"/>
              </a:cxn>
              <a:cxn ang="0">
                <a:pos x="0" y="3"/>
              </a:cxn>
            </a:cxnLst>
            <a:rect l="0" t="0" r="r" b="b"/>
            <a:pathLst>
              <a:path w="8" h="6">
                <a:moveTo>
                  <a:pt x="0" y="3"/>
                </a:moveTo>
                <a:lnTo>
                  <a:pt x="0" y="1"/>
                </a:lnTo>
                <a:lnTo>
                  <a:pt x="0" y="0"/>
                </a:lnTo>
                <a:lnTo>
                  <a:pt x="2" y="1"/>
                </a:lnTo>
                <a:lnTo>
                  <a:pt x="5" y="0"/>
                </a:lnTo>
                <a:lnTo>
                  <a:pt x="8" y="0"/>
                </a:lnTo>
                <a:lnTo>
                  <a:pt x="8" y="1"/>
                </a:lnTo>
                <a:lnTo>
                  <a:pt x="6" y="3"/>
                </a:lnTo>
                <a:lnTo>
                  <a:pt x="6" y="6"/>
                </a:lnTo>
                <a:lnTo>
                  <a:pt x="4" y="4"/>
                </a:lnTo>
                <a:lnTo>
                  <a:pt x="2" y="3"/>
                </a:lnTo>
                <a:lnTo>
                  <a:pt x="1" y="4"/>
                </a:lnTo>
                <a:lnTo>
                  <a:pt x="0" y="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53" name="Freeform 1180"/>
          <p:cNvSpPr>
            <a:spLocks/>
          </p:cNvSpPr>
          <p:nvPr/>
        </p:nvSpPr>
        <p:spPr bwMode="auto">
          <a:xfrm>
            <a:off x="3524882" y="6124626"/>
            <a:ext cx="15591" cy="12885"/>
          </a:xfrm>
          <a:custGeom>
            <a:avLst/>
            <a:gdLst/>
            <a:ahLst/>
            <a:cxnLst>
              <a:cxn ang="0">
                <a:pos x="4" y="5"/>
              </a:cxn>
              <a:cxn ang="0">
                <a:pos x="2" y="5"/>
              </a:cxn>
              <a:cxn ang="0">
                <a:pos x="2" y="3"/>
              </a:cxn>
              <a:cxn ang="0">
                <a:pos x="0" y="0"/>
              </a:cxn>
              <a:cxn ang="0">
                <a:pos x="2" y="0"/>
              </a:cxn>
              <a:cxn ang="0">
                <a:pos x="3" y="2"/>
              </a:cxn>
              <a:cxn ang="0">
                <a:pos x="6" y="3"/>
              </a:cxn>
              <a:cxn ang="0">
                <a:pos x="7" y="5"/>
              </a:cxn>
              <a:cxn ang="0">
                <a:pos x="8" y="8"/>
              </a:cxn>
              <a:cxn ang="0">
                <a:pos x="4" y="5"/>
              </a:cxn>
            </a:cxnLst>
            <a:rect l="0" t="0" r="r" b="b"/>
            <a:pathLst>
              <a:path w="8" h="8">
                <a:moveTo>
                  <a:pt x="4" y="5"/>
                </a:moveTo>
                <a:lnTo>
                  <a:pt x="2" y="5"/>
                </a:lnTo>
                <a:lnTo>
                  <a:pt x="2" y="3"/>
                </a:lnTo>
                <a:lnTo>
                  <a:pt x="0" y="0"/>
                </a:lnTo>
                <a:lnTo>
                  <a:pt x="2" y="0"/>
                </a:lnTo>
                <a:lnTo>
                  <a:pt x="3" y="2"/>
                </a:lnTo>
                <a:lnTo>
                  <a:pt x="6" y="3"/>
                </a:lnTo>
                <a:lnTo>
                  <a:pt x="7" y="5"/>
                </a:lnTo>
                <a:lnTo>
                  <a:pt x="8" y="8"/>
                </a:lnTo>
                <a:lnTo>
                  <a:pt x="4" y="5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54" name="Freeform 1181"/>
          <p:cNvSpPr>
            <a:spLocks/>
          </p:cNvSpPr>
          <p:nvPr/>
        </p:nvSpPr>
        <p:spPr bwMode="auto">
          <a:xfrm>
            <a:off x="3524882" y="6124626"/>
            <a:ext cx="15591" cy="12885"/>
          </a:xfrm>
          <a:custGeom>
            <a:avLst/>
            <a:gdLst/>
            <a:ahLst/>
            <a:cxnLst>
              <a:cxn ang="0">
                <a:pos x="4" y="5"/>
              </a:cxn>
              <a:cxn ang="0">
                <a:pos x="2" y="5"/>
              </a:cxn>
              <a:cxn ang="0">
                <a:pos x="2" y="3"/>
              </a:cxn>
              <a:cxn ang="0">
                <a:pos x="0" y="0"/>
              </a:cxn>
              <a:cxn ang="0">
                <a:pos x="2" y="0"/>
              </a:cxn>
              <a:cxn ang="0">
                <a:pos x="3" y="2"/>
              </a:cxn>
              <a:cxn ang="0">
                <a:pos x="6" y="3"/>
              </a:cxn>
              <a:cxn ang="0">
                <a:pos x="7" y="5"/>
              </a:cxn>
              <a:cxn ang="0">
                <a:pos x="8" y="8"/>
              </a:cxn>
              <a:cxn ang="0">
                <a:pos x="4" y="5"/>
              </a:cxn>
            </a:cxnLst>
            <a:rect l="0" t="0" r="r" b="b"/>
            <a:pathLst>
              <a:path w="8" h="8">
                <a:moveTo>
                  <a:pt x="4" y="5"/>
                </a:moveTo>
                <a:lnTo>
                  <a:pt x="2" y="5"/>
                </a:lnTo>
                <a:lnTo>
                  <a:pt x="2" y="3"/>
                </a:lnTo>
                <a:lnTo>
                  <a:pt x="0" y="0"/>
                </a:lnTo>
                <a:lnTo>
                  <a:pt x="2" y="0"/>
                </a:lnTo>
                <a:lnTo>
                  <a:pt x="3" y="2"/>
                </a:lnTo>
                <a:lnTo>
                  <a:pt x="6" y="3"/>
                </a:lnTo>
                <a:lnTo>
                  <a:pt x="7" y="5"/>
                </a:lnTo>
                <a:lnTo>
                  <a:pt x="8" y="8"/>
                </a:lnTo>
                <a:lnTo>
                  <a:pt x="4" y="5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55" name="Freeform 1182"/>
          <p:cNvSpPr>
            <a:spLocks/>
          </p:cNvSpPr>
          <p:nvPr/>
        </p:nvSpPr>
        <p:spPr bwMode="auto">
          <a:xfrm>
            <a:off x="3522934" y="6133216"/>
            <a:ext cx="9744" cy="17181"/>
          </a:xfrm>
          <a:custGeom>
            <a:avLst/>
            <a:gdLst/>
            <a:ahLst/>
            <a:cxnLst>
              <a:cxn ang="0">
                <a:pos x="6" y="5"/>
              </a:cxn>
              <a:cxn ang="0">
                <a:pos x="5" y="8"/>
              </a:cxn>
              <a:cxn ang="0">
                <a:pos x="5" y="9"/>
              </a:cxn>
              <a:cxn ang="0">
                <a:pos x="4" y="8"/>
              </a:cxn>
              <a:cxn ang="0">
                <a:pos x="0" y="3"/>
              </a:cxn>
              <a:cxn ang="0">
                <a:pos x="0" y="0"/>
              </a:cxn>
              <a:cxn ang="0">
                <a:pos x="5" y="2"/>
              </a:cxn>
              <a:cxn ang="0">
                <a:pos x="6" y="5"/>
              </a:cxn>
            </a:cxnLst>
            <a:rect l="0" t="0" r="r" b="b"/>
            <a:pathLst>
              <a:path w="6" h="9">
                <a:moveTo>
                  <a:pt x="6" y="5"/>
                </a:moveTo>
                <a:lnTo>
                  <a:pt x="5" y="8"/>
                </a:lnTo>
                <a:lnTo>
                  <a:pt x="5" y="9"/>
                </a:lnTo>
                <a:lnTo>
                  <a:pt x="4" y="8"/>
                </a:lnTo>
                <a:lnTo>
                  <a:pt x="0" y="3"/>
                </a:lnTo>
                <a:lnTo>
                  <a:pt x="0" y="0"/>
                </a:lnTo>
                <a:lnTo>
                  <a:pt x="5" y="2"/>
                </a:lnTo>
                <a:lnTo>
                  <a:pt x="6" y="5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56" name="Freeform 1183"/>
          <p:cNvSpPr>
            <a:spLocks/>
          </p:cNvSpPr>
          <p:nvPr/>
        </p:nvSpPr>
        <p:spPr bwMode="auto">
          <a:xfrm>
            <a:off x="3522934" y="6133216"/>
            <a:ext cx="9744" cy="17181"/>
          </a:xfrm>
          <a:custGeom>
            <a:avLst/>
            <a:gdLst/>
            <a:ahLst/>
            <a:cxnLst>
              <a:cxn ang="0">
                <a:pos x="6" y="5"/>
              </a:cxn>
              <a:cxn ang="0">
                <a:pos x="5" y="8"/>
              </a:cxn>
              <a:cxn ang="0">
                <a:pos x="5" y="9"/>
              </a:cxn>
              <a:cxn ang="0">
                <a:pos x="4" y="8"/>
              </a:cxn>
              <a:cxn ang="0">
                <a:pos x="0" y="3"/>
              </a:cxn>
              <a:cxn ang="0">
                <a:pos x="0" y="0"/>
              </a:cxn>
              <a:cxn ang="0">
                <a:pos x="5" y="2"/>
              </a:cxn>
              <a:cxn ang="0">
                <a:pos x="6" y="5"/>
              </a:cxn>
            </a:cxnLst>
            <a:rect l="0" t="0" r="r" b="b"/>
            <a:pathLst>
              <a:path w="6" h="9">
                <a:moveTo>
                  <a:pt x="6" y="5"/>
                </a:moveTo>
                <a:lnTo>
                  <a:pt x="5" y="8"/>
                </a:lnTo>
                <a:lnTo>
                  <a:pt x="5" y="9"/>
                </a:lnTo>
                <a:lnTo>
                  <a:pt x="4" y="8"/>
                </a:lnTo>
                <a:lnTo>
                  <a:pt x="0" y="3"/>
                </a:lnTo>
                <a:lnTo>
                  <a:pt x="0" y="0"/>
                </a:lnTo>
                <a:lnTo>
                  <a:pt x="5" y="2"/>
                </a:lnTo>
                <a:lnTo>
                  <a:pt x="6" y="5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57" name="Freeform 1184"/>
          <p:cNvSpPr>
            <a:spLocks/>
          </p:cNvSpPr>
          <p:nvPr/>
        </p:nvSpPr>
        <p:spPr bwMode="auto">
          <a:xfrm>
            <a:off x="3522934" y="6150397"/>
            <a:ext cx="5846" cy="8591"/>
          </a:xfrm>
          <a:custGeom>
            <a:avLst/>
            <a:gdLst/>
            <a:ahLst/>
            <a:cxnLst>
              <a:cxn ang="0">
                <a:pos x="0" y="5"/>
              </a:cxn>
              <a:cxn ang="0">
                <a:pos x="0" y="2"/>
              </a:cxn>
              <a:cxn ang="0">
                <a:pos x="2" y="0"/>
              </a:cxn>
              <a:cxn ang="0">
                <a:pos x="4" y="0"/>
              </a:cxn>
              <a:cxn ang="0">
                <a:pos x="4" y="3"/>
              </a:cxn>
              <a:cxn ang="0">
                <a:pos x="1" y="5"/>
              </a:cxn>
              <a:cxn ang="0">
                <a:pos x="0" y="3"/>
              </a:cxn>
              <a:cxn ang="0">
                <a:pos x="0" y="5"/>
              </a:cxn>
            </a:cxnLst>
            <a:rect l="0" t="0" r="r" b="b"/>
            <a:pathLst>
              <a:path w="4" h="5">
                <a:moveTo>
                  <a:pt x="0" y="5"/>
                </a:moveTo>
                <a:lnTo>
                  <a:pt x="0" y="2"/>
                </a:lnTo>
                <a:lnTo>
                  <a:pt x="2" y="0"/>
                </a:lnTo>
                <a:lnTo>
                  <a:pt x="4" y="0"/>
                </a:lnTo>
                <a:lnTo>
                  <a:pt x="4" y="3"/>
                </a:lnTo>
                <a:lnTo>
                  <a:pt x="1" y="5"/>
                </a:lnTo>
                <a:lnTo>
                  <a:pt x="0" y="3"/>
                </a:lnTo>
                <a:lnTo>
                  <a:pt x="0" y="5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58" name="Freeform 1185"/>
          <p:cNvSpPr>
            <a:spLocks/>
          </p:cNvSpPr>
          <p:nvPr/>
        </p:nvSpPr>
        <p:spPr bwMode="auto">
          <a:xfrm>
            <a:off x="3522934" y="6150397"/>
            <a:ext cx="5846" cy="8591"/>
          </a:xfrm>
          <a:custGeom>
            <a:avLst/>
            <a:gdLst/>
            <a:ahLst/>
            <a:cxnLst>
              <a:cxn ang="0">
                <a:pos x="0" y="5"/>
              </a:cxn>
              <a:cxn ang="0">
                <a:pos x="0" y="2"/>
              </a:cxn>
              <a:cxn ang="0">
                <a:pos x="2" y="0"/>
              </a:cxn>
              <a:cxn ang="0">
                <a:pos x="4" y="0"/>
              </a:cxn>
              <a:cxn ang="0">
                <a:pos x="4" y="3"/>
              </a:cxn>
              <a:cxn ang="0">
                <a:pos x="1" y="5"/>
              </a:cxn>
              <a:cxn ang="0">
                <a:pos x="0" y="3"/>
              </a:cxn>
              <a:cxn ang="0">
                <a:pos x="0" y="5"/>
              </a:cxn>
            </a:cxnLst>
            <a:rect l="0" t="0" r="r" b="b"/>
            <a:pathLst>
              <a:path w="4" h="5">
                <a:moveTo>
                  <a:pt x="0" y="5"/>
                </a:moveTo>
                <a:lnTo>
                  <a:pt x="0" y="2"/>
                </a:lnTo>
                <a:lnTo>
                  <a:pt x="2" y="0"/>
                </a:lnTo>
                <a:lnTo>
                  <a:pt x="4" y="0"/>
                </a:lnTo>
                <a:lnTo>
                  <a:pt x="4" y="3"/>
                </a:lnTo>
                <a:lnTo>
                  <a:pt x="1" y="5"/>
                </a:lnTo>
                <a:lnTo>
                  <a:pt x="0" y="3"/>
                </a:lnTo>
                <a:lnTo>
                  <a:pt x="0" y="5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59" name="Freeform 1186"/>
          <p:cNvSpPr>
            <a:spLocks/>
          </p:cNvSpPr>
          <p:nvPr/>
        </p:nvSpPr>
        <p:spPr bwMode="auto">
          <a:xfrm>
            <a:off x="3519036" y="6167578"/>
            <a:ext cx="5846" cy="19329"/>
          </a:xfrm>
          <a:custGeom>
            <a:avLst/>
            <a:gdLst/>
            <a:ahLst/>
            <a:cxnLst>
              <a:cxn ang="0">
                <a:pos x="2" y="10"/>
              </a:cxn>
              <a:cxn ang="0">
                <a:pos x="0" y="8"/>
              </a:cxn>
              <a:cxn ang="0">
                <a:pos x="0" y="6"/>
              </a:cxn>
              <a:cxn ang="0">
                <a:pos x="0" y="3"/>
              </a:cxn>
              <a:cxn ang="0">
                <a:pos x="2" y="3"/>
              </a:cxn>
              <a:cxn ang="0">
                <a:pos x="2" y="0"/>
              </a:cxn>
              <a:cxn ang="0">
                <a:pos x="3" y="2"/>
              </a:cxn>
              <a:cxn ang="0">
                <a:pos x="3" y="5"/>
              </a:cxn>
              <a:cxn ang="0">
                <a:pos x="2" y="10"/>
              </a:cxn>
            </a:cxnLst>
            <a:rect l="0" t="0" r="r" b="b"/>
            <a:pathLst>
              <a:path w="3" h="10">
                <a:moveTo>
                  <a:pt x="2" y="10"/>
                </a:moveTo>
                <a:lnTo>
                  <a:pt x="0" y="8"/>
                </a:lnTo>
                <a:lnTo>
                  <a:pt x="0" y="6"/>
                </a:lnTo>
                <a:lnTo>
                  <a:pt x="0" y="3"/>
                </a:lnTo>
                <a:lnTo>
                  <a:pt x="2" y="3"/>
                </a:lnTo>
                <a:lnTo>
                  <a:pt x="2" y="0"/>
                </a:lnTo>
                <a:lnTo>
                  <a:pt x="3" y="2"/>
                </a:lnTo>
                <a:lnTo>
                  <a:pt x="3" y="5"/>
                </a:lnTo>
                <a:lnTo>
                  <a:pt x="2" y="1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60" name="Freeform 1187"/>
          <p:cNvSpPr>
            <a:spLocks/>
          </p:cNvSpPr>
          <p:nvPr/>
        </p:nvSpPr>
        <p:spPr bwMode="auto">
          <a:xfrm>
            <a:off x="3519036" y="6167578"/>
            <a:ext cx="5846" cy="19329"/>
          </a:xfrm>
          <a:custGeom>
            <a:avLst/>
            <a:gdLst/>
            <a:ahLst/>
            <a:cxnLst>
              <a:cxn ang="0">
                <a:pos x="2" y="10"/>
              </a:cxn>
              <a:cxn ang="0">
                <a:pos x="0" y="8"/>
              </a:cxn>
              <a:cxn ang="0">
                <a:pos x="0" y="6"/>
              </a:cxn>
              <a:cxn ang="0">
                <a:pos x="0" y="3"/>
              </a:cxn>
              <a:cxn ang="0">
                <a:pos x="2" y="3"/>
              </a:cxn>
              <a:cxn ang="0">
                <a:pos x="2" y="0"/>
              </a:cxn>
              <a:cxn ang="0">
                <a:pos x="3" y="2"/>
              </a:cxn>
              <a:cxn ang="0">
                <a:pos x="3" y="5"/>
              </a:cxn>
              <a:cxn ang="0">
                <a:pos x="2" y="10"/>
              </a:cxn>
            </a:cxnLst>
            <a:rect l="0" t="0" r="r" b="b"/>
            <a:pathLst>
              <a:path w="3" h="10">
                <a:moveTo>
                  <a:pt x="2" y="10"/>
                </a:moveTo>
                <a:lnTo>
                  <a:pt x="0" y="8"/>
                </a:lnTo>
                <a:lnTo>
                  <a:pt x="0" y="6"/>
                </a:lnTo>
                <a:lnTo>
                  <a:pt x="0" y="3"/>
                </a:lnTo>
                <a:lnTo>
                  <a:pt x="2" y="3"/>
                </a:lnTo>
                <a:lnTo>
                  <a:pt x="2" y="0"/>
                </a:lnTo>
                <a:lnTo>
                  <a:pt x="3" y="2"/>
                </a:lnTo>
                <a:lnTo>
                  <a:pt x="3" y="5"/>
                </a:lnTo>
                <a:lnTo>
                  <a:pt x="2" y="1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61" name="Freeform 1188"/>
          <p:cNvSpPr>
            <a:spLocks/>
          </p:cNvSpPr>
          <p:nvPr/>
        </p:nvSpPr>
        <p:spPr bwMode="auto">
          <a:xfrm>
            <a:off x="3540473" y="6163284"/>
            <a:ext cx="7795" cy="12885"/>
          </a:xfrm>
          <a:custGeom>
            <a:avLst/>
            <a:gdLst/>
            <a:ahLst/>
            <a:cxnLst>
              <a:cxn ang="0">
                <a:pos x="2" y="1"/>
              </a:cxn>
              <a:cxn ang="0">
                <a:pos x="4" y="6"/>
              </a:cxn>
              <a:cxn ang="0">
                <a:pos x="3" y="4"/>
              </a:cxn>
              <a:cxn ang="0">
                <a:pos x="0" y="4"/>
              </a:cxn>
              <a:cxn ang="0">
                <a:pos x="0" y="3"/>
              </a:cxn>
              <a:cxn ang="0">
                <a:pos x="0" y="0"/>
              </a:cxn>
              <a:cxn ang="0">
                <a:pos x="2" y="1"/>
              </a:cxn>
            </a:cxnLst>
            <a:rect l="0" t="0" r="r" b="b"/>
            <a:pathLst>
              <a:path w="4" h="6">
                <a:moveTo>
                  <a:pt x="2" y="1"/>
                </a:moveTo>
                <a:lnTo>
                  <a:pt x="4" y="6"/>
                </a:lnTo>
                <a:lnTo>
                  <a:pt x="3" y="4"/>
                </a:lnTo>
                <a:lnTo>
                  <a:pt x="0" y="4"/>
                </a:lnTo>
                <a:lnTo>
                  <a:pt x="0" y="3"/>
                </a:lnTo>
                <a:lnTo>
                  <a:pt x="0" y="0"/>
                </a:lnTo>
                <a:lnTo>
                  <a:pt x="2" y="1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62" name="Freeform 1189"/>
          <p:cNvSpPr>
            <a:spLocks/>
          </p:cNvSpPr>
          <p:nvPr/>
        </p:nvSpPr>
        <p:spPr bwMode="auto">
          <a:xfrm>
            <a:off x="3540473" y="6163284"/>
            <a:ext cx="7795" cy="12885"/>
          </a:xfrm>
          <a:custGeom>
            <a:avLst/>
            <a:gdLst/>
            <a:ahLst/>
            <a:cxnLst>
              <a:cxn ang="0">
                <a:pos x="2" y="1"/>
              </a:cxn>
              <a:cxn ang="0">
                <a:pos x="4" y="6"/>
              </a:cxn>
              <a:cxn ang="0">
                <a:pos x="3" y="4"/>
              </a:cxn>
              <a:cxn ang="0">
                <a:pos x="0" y="4"/>
              </a:cxn>
              <a:cxn ang="0">
                <a:pos x="0" y="3"/>
              </a:cxn>
              <a:cxn ang="0">
                <a:pos x="0" y="0"/>
              </a:cxn>
              <a:cxn ang="0">
                <a:pos x="2" y="1"/>
              </a:cxn>
            </a:cxnLst>
            <a:rect l="0" t="0" r="r" b="b"/>
            <a:pathLst>
              <a:path w="4" h="6">
                <a:moveTo>
                  <a:pt x="2" y="1"/>
                </a:moveTo>
                <a:lnTo>
                  <a:pt x="4" y="6"/>
                </a:lnTo>
                <a:lnTo>
                  <a:pt x="3" y="4"/>
                </a:lnTo>
                <a:lnTo>
                  <a:pt x="0" y="4"/>
                </a:lnTo>
                <a:lnTo>
                  <a:pt x="0" y="3"/>
                </a:lnTo>
                <a:lnTo>
                  <a:pt x="0" y="0"/>
                </a:lnTo>
                <a:lnTo>
                  <a:pt x="2" y="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63" name="Freeform 1190"/>
          <p:cNvSpPr>
            <a:spLocks/>
          </p:cNvSpPr>
          <p:nvPr/>
        </p:nvSpPr>
        <p:spPr bwMode="auto">
          <a:xfrm>
            <a:off x="3548268" y="6156841"/>
            <a:ext cx="7795" cy="12885"/>
          </a:xfrm>
          <a:custGeom>
            <a:avLst/>
            <a:gdLst/>
            <a:ahLst/>
            <a:cxnLst>
              <a:cxn ang="0">
                <a:pos x="3" y="4"/>
              </a:cxn>
              <a:cxn ang="0">
                <a:pos x="4" y="7"/>
              </a:cxn>
              <a:cxn ang="0">
                <a:pos x="2" y="4"/>
              </a:cxn>
              <a:cxn ang="0">
                <a:pos x="0" y="2"/>
              </a:cxn>
              <a:cxn ang="0">
                <a:pos x="0" y="0"/>
              </a:cxn>
              <a:cxn ang="0">
                <a:pos x="2" y="4"/>
              </a:cxn>
              <a:cxn ang="0">
                <a:pos x="3" y="4"/>
              </a:cxn>
            </a:cxnLst>
            <a:rect l="0" t="0" r="r" b="b"/>
            <a:pathLst>
              <a:path w="4" h="7">
                <a:moveTo>
                  <a:pt x="3" y="4"/>
                </a:moveTo>
                <a:lnTo>
                  <a:pt x="4" y="7"/>
                </a:lnTo>
                <a:lnTo>
                  <a:pt x="2" y="4"/>
                </a:lnTo>
                <a:lnTo>
                  <a:pt x="0" y="2"/>
                </a:lnTo>
                <a:lnTo>
                  <a:pt x="0" y="0"/>
                </a:lnTo>
                <a:lnTo>
                  <a:pt x="2" y="4"/>
                </a:lnTo>
                <a:lnTo>
                  <a:pt x="3" y="4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64" name="Freeform 1191"/>
          <p:cNvSpPr>
            <a:spLocks/>
          </p:cNvSpPr>
          <p:nvPr/>
        </p:nvSpPr>
        <p:spPr bwMode="auto">
          <a:xfrm>
            <a:off x="3548268" y="6156841"/>
            <a:ext cx="7795" cy="12885"/>
          </a:xfrm>
          <a:custGeom>
            <a:avLst/>
            <a:gdLst/>
            <a:ahLst/>
            <a:cxnLst>
              <a:cxn ang="0">
                <a:pos x="3" y="4"/>
              </a:cxn>
              <a:cxn ang="0">
                <a:pos x="4" y="7"/>
              </a:cxn>
              <a:cxn ang="0">
                <a:pos x="2" y="4"/>
              </a:cxn>
              <a:cxn ang="0">
                <a:pos x="0" y="2"/>
              </a:cxn>
              <a:cxn ang="0">
                <a:pos x="0" y="0"/>
              </a:cxn>
              <a:cxn ang="0">
                <a:pos x="2" y="4"/>
              </a:cxn>
              <a:cxn ang="0">
                <a:pos x="3" y="4"/>
              </a:cxn>
            </a:cxnLst>
            <a:rect l="0" t="0" r="r" b="b"/>
            <a:pathLst>
              <a:path w="4" h="7">
                <a:moveTo>
                  <a:pt x="3" y="4"/>
                </a:moveTo>
                <a:lnTo>
                  <a:pt x="4" y="7"/>
                </a:lnTo>
                <a:lnTo>
                  <a:pt x="2" y="4"/>
                </a:lnTo>
                <a:lnTo>
                  <a:pt x="0" y="2"/>
                </a:lnTo>
                <a:lnTo>
                  <a:pt x="0" y="0"/>
                </a:lnTo>
                <a:lnTo>
                  <a:pt x="2" y="4"/>
                </a:lnTo>
                <a:lnTo>
                  <a:pt x="3" y="4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65" name="Freeform 1192"/>
          <p:cNvSpPr>
            <a:spLocks/>
          </p:cNvSpPr>
          <p:nvPr/>
        </p:nvSpPr>
        <p:spPr bwMode="auto">
          <a:xfrm>
            <a:off x="3556064" y="6178318"/>
            <a:ext cx="60414" cy="53689"/>
          </a:xfrm>
          <a:custGeom>
            <a:avLst/>
            <a:gdLst/>
            <a:ahLst/>
            <a:cxnLst>
              <a:cxn ang="0">
                <a:pos x="2" y="4"/>
              </a:cxn>
              <a:cxn ang="0">
                <a:pos x="3" y="4"/>
              </a:cxn>
              <a:cxn ang="0">
                <a:pos x="4" y="4"/>
              </a:cxn>
              <a:cxn ang="0">
                <a:pos x="6" y="4"/>
              </a:cxn>
              <a:cxn ang="0">
                <a:pos x="7" y="4"/>
              </a:cxn>
              <a:cxn ang="0">
                <a:pos x="8" y="4"/>
              </a:cxn>
              <a:cxn ang="0">
                <a:pos x="10" y="4"/>
              </a:cxn>
              <a:cxn ang="0">
                <a:pos x="10" y="5"/>
              </a:cxn>
              <a:cxn ang="0">
                <a:pos x="11" y="7"/>
              </a:cxn>
              <a:cxn ang="0">
                <a:pos x="12" y="5"/>
              </a:cxn>
              <a:cxn ang="0">
                <a:pos x="12" y="4"/>
              </a:cxn>
              <a:cxn ang="0">
                <a:pos x="12" y="2"/>
              </a:cxn>
              <a:cxn ang="0">
                <a:pos x="12" y="0"/>
              </a:cxn>
              <a:cxn ang="0">
                <a:pos x="15" y="2"/>
              </a:cxn>
              <a:cxn ang="0">
                <a:pos x="15" y="4"/>
              </a:cxn>
              <a:cxn ang="0">
                <a:pos x="15" y="7"/>
              </a:cxn>
              <a:cxn ang="0">
                <a:pos x="12" y="8"/>
              </a:cxn>
              <a:cxn ang="0">
                <a:pos x="11" y="11"/>
              </a:cxn>
              <a:cxn ang="0">
                <a:pos x="14" y="13"/>
              </a:cxn>
              <a:cxn ang="0">
                <a:pos x="15" y="15"/>
              </a:cxn>
              <a:cxn ang="0">
                <a:pos x="18" y="16"/>
              </a:cxn>
              <a:cxn ang="0">
                <a:pos x="23" y="13"/>
              </a:cxn>
              <a:cxn ang="0">
                <a:pos x="24" y="13"/>
              </a:cxn>
              <a:cxn ang="0">
                <a:pos x="28" y="13"/>
              </a:cxn>
              <a:cxn ang="0">
                <a:pos x="31" y="13"/>
              </a:cxn>
              <a:cxn ang="0">
                <a:pos x="32" y="15"/>
              </a:cxn>
              <a:cxn ang="0">
                <a:pos x="32" y="16"/>
              </a:cxn>
              <a:cxn ang="0">
                <a:pos x="26" y="21"/>
              </a:cxn>
              <a:cxn ang="0">
                <a:pos x="24" y="21"/>
              </a:cxn>
              <a:cxn ang="0">
                <a:pos x="22" y="21"/>
              </a:cxn>
              <a:cxn ang="0">
                <a:pos x="20" y="21"/>
              </a:cxn>
              <a:cxn ang="0">
                <a:pos x="22" y="22"/>
              </a:cxn>
              <a:cxn ang="0">
                <a:pos x="20" y="22"/>
              </a:cxn>
              <a:cxn ang="0">
                <a:pos x="19" y="22"/>
              </a:cxn>
              <a:cxn ang="0">
                <a:pos x="18" y="22"/>
              </a:cxn>
              <a:cxn ang="0">
                <a:pos x="18" y="24"/>
              </a:cxn>
              <a:cxn ang="0">
                <a:pos x="16" y="24"/>
              </a:cxn>
              <a:cxn ang="0">
                <a:pos x="16" y="26"/>
              </a:cxn>
              <a:cxn ang="0">
                <a:pos x="18" y="27"/>
              </a:cxn>
              <a:cxn ang="0">
                <a:pos x="15" y="27"/>
              </a:cxn>
              <a:cxn ang="0">
                <a:pos x="8" y="22"/>
              </a:cxn>
              <a:cxn ang="0">
                <a:pos x="8" y="21"/>
              </a:cxn>
              <a:cxn ang="0">
                <a:pos x="10" y="21"/>
              </a:cxn>
              <a:cxn ang="0">
                <a:pos x="12" y="22"/>
              </a:cxn>
              <a:cxn ang="0">
                <a:pos x="14" y="21"/>
              </a:cxn>
              <a:cxn ang="0">
                <a:pos x="15" y="21"/>
              </a:cxn>
              <a:cxn ang="0">
                <a:pos x="12" y="19"/>
              </a:cxn>
              <a:cxn ang="0">
                <a:pos x="11" y="18"/>
              </a:cxn>
              <a:cxn ang="0">
                <a:pos x="10" y="19"/>
              </a:cxn>
              <a:cxn ang="0">
                <a:pos x="6" y="19"/>
              </a:cxn>
              <a:cxn ang="0">
                <a:pos x="6" y="18"/>
              </a:cxn>
              <a:cxn ang="0">
                <a:pos x="3" y="16"/>
              </a:cxn>
              <a:cxn ang="0">
                <a:pos x="3" y="15"/>
              </a:cxn>
              <a:cxn ang="0">
                <a:pos x="3" y="13"/>
              </a:cxn>
              <a:cxn ang="0">
                <a:pos x="0" y="15"/>
              </a:cxn>
              <a:cxn ang="0">
                <a:pos x="2" y="13"/>
              </a:cxn>
              <a:cxn ang="0">
                <a:pos x="2" y="11"/>
              </a:cxn>
              <a:cxn ang="0">
                <a:pos x="2" y="8"/>
              </a:cxn>
              <a:cxn ang="0">
                <a:pos x="2" y="7"/>
              </a:cxn>
              <a:cxn ang="0">
                <a:pos x="2" y="4"/>
              </a:cxn>
            </a:cxnLst>
            <a:rect l="0" t="0" r="r" b="b"/>
            <a:pathLst>
              <a:path w="32" h="27">
                <a:moveTo>
                  <a:pt x="2" y="4"/>
                </a:moveTo>
                <a:lnTo>
                  <a:pt x="3" y="4"/>
                </a:lnTo>
                <a:lnTo>
                  <a:pt x="4" y="4"/>
                </a:lnTo>
                <a:lnTo>
                  <a:pt x="6" y="4"/>
                </a:lnTo>
                <a:lnTo>
                  <a:pt x="7" y="4"/>
                </a:lnTo>
                <a:lnTo>
                  <a:pt x="8" y="4"/>
                </a:lnTo>
                <a:lnTo>
                  <a:pt x="10" y="4"/>
                </a:lnTo>
                <a:lnTo>
                  <a:pt x="10" y="5"/>
                </a:lnTo>
                <a:lnTo>
                  <a:pt x="11" y="7"/>
                </a:lnTo>
                <a:lnTo>
                  <a:pt x="12" y="5"/>
                </a:lnTo>
                <a:lnTo>
                  <a:pt x="12" y="4"/>
                </a:lnTo>
                <a:lnTo>
                  <a:pt x="12" y="2"/>
                </a:lnTo>
                <a:lnTo>
                  <a:pt x="12" y="0"/>
                </a:lnTo>
                <a:lnTo>
                  <a:pt x="15" y="2"/>
                </a:lnTo>
                <a:lnTo>
                  <a:pt x="15" y="4"/>
                </a:lnTo>
                <a:lnTo>
                  <a:pt x="15" y="7"/>
                </a:lnTo>
                <a:lnTo>
                  <a:pt x="12" y="8"/>
                </a:lnTo>
                <a:lnTo>
                  <a:pt x="11" y="11"/>
                </a:lnTo>
                <a:lnTo>
                  <a:pt x="14" y="13"/>
                </a:lnTo>
                <a:lnTo>
                  <a:pt x="15" y="15"/>
                </a:lnTo>
                <a:lnTo>
                  <a:pt x="18" y="16"/>
                </a:lnTo>
                <a:lnTo>
                  <a:pt x="23" y="13"/>
                </a:lnTo>
                <a:lnTo>
                  <a:pt x="24" y="13"/>
                </a:lnTo>
                <a:lnTo>
                  <a:pt x="28" y="13"/>
                </a:lnTo>
                <a:lnTo>
                  <a:pt x="31" y="13"/>
                </a:lnTo>
                <a:lnTo>
                  <a:pt x="32" y="15"/>
                </a:lnTo>
                <a:lnTo>
                  <a:pt x="32" y="16"/>
                </a:lnTo>
                <a:lnTo>
                  <a:pt x="26" y="21"/>
                </a:lnTo>
                <a:lnTo>
                  <a:pt x="24" y="21"/>
                </a:lnTo>
                <a:lnTo>
                  <a:pt x="22" y="21"/>
                </a:lnTo>
                <a:lnTo>
                  <a:pt x="20" y="21"/>
                </a:lnTo>
                <a:lnTo>
                  <a:pt x="22" y="22"/>
                </a:lnTo>
                <a:lnTo>
                  <a:pt x="20" y="22"/>
                </a:lnTo>
                <a:lnTo>
                  <a:pt x="19" y="22"/>
                </a:lnTo>
                <a:lnTo>
                  <a:pt x="18" y="22"/>
                </a:lnTo>
                <a:lnTo>
                  <a:pt x="18" y="24"/>
                </a:lnTo>
                <a:lnTo>
                  <a:pt x="16" y="24"/>
                </a:lnTo>
                <a:lnTo>
                  <a:pt x="16" y="26"/>
                </a:lnTo>
                <a:lnTo>
                  <a:pt x="18" y="27"/>
                </a:lnTo>
                <a:lnTo>
                  <a:pt x="15" y="27"/>
                </a:lnTo>
                <a:lnTo>
                  <a:pt x="8" y="22"/>
                </a:lnTo>
                <a:lnTo>
                  <a:pt x="8" y="21"/>
                </a:lnTo>
                <a:lnTo>
                  <a:pt x="10" y="21"/>
                </a:lnTo>
                <a:lnTo>
                  <a:pt x="12" y="22"/>
                </a:lnTo>
                <a:lnTo>
                  <a:pt x="14" y="21"/>
                </a:lnTo>
                <a:lnTo>
                  <a:pt x="15" y="21"/>
                </a:lnTo>
                <a:lnTo>
                  <a:pt x="12" y="19"/>
                </a:lnTo>
                <a:lnTo>
                  <a:pt x="11" y="18"/>
                </a:lnTo>
                <a:lnTo>
                  <a:pt x="10" y="19"/>
                </a:lnTo>
                <a:lnTo>
                  <a:pt x="6" y="19"/>
                </a:lnTo>
                <a:lnTo>
                  <a:pt x="6" y="18"/>
                </a:lnTo>
                <a:lnTo>
                  <a:pt x="3" y="16"/>
                </a:lnTo>
                <a:lnTo>
                  <a:pt x="3" y="15"/>
                </a:lnTo>
                <a:lnTo>
                  <a:pt x="3" y="13"/>
                </a:lnTo>
                <a:lnTo>
                  <a:pt x="0" y="15"/>
                </a:lnTo>
                <a:lnTo>
                  <a:pt x="2" y="13"/>
                </a:lnTo>
                <a:lnTo>
                  <a:pt x="2" y="11"/>
                </a:lnTo>
                <a:lnTo>
                  <a:pt x="2" y="8"/>
                </a:lnTo>
                <a:lnTo>
                  <a:pt x="2" y="7"/>
                </a:lnTo>
                <a:lnTo>
                  <a:pt x="2" y="4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66" name="Freeform 1193"/>
          <p:cNvSpPr>
            <a:spLocks/>
          </p:cNvSpPr>
          <p:nvPr/>
        </p:nvSpPr>
        <p:spPr bwMode="auto">
          <a:xfrm>
            <a:off x="3556064" y="6178318"/>
            <a:ext cx="60414" cy="53689"/>
          </a:xfrm>
          <a:custGeom>
            <a:avLst/>
            <a:gdLst/>
            <a:ahLst/>
            <a:cxnLst>
              <a:cxn ang="0">
                <a:pos x="2" y="4"/>
              </a:cxn>
              <a:cxn ang="0">
                <a:pos x="3" y="4"/>
              </a:cxn>
              <a:cxn ang="0">
                <a:pos x="4" y="4"/>
              </a:cxn>
              <a:cxn ang="0">
                <a:pos x="6" y="4"/>
              </a:cxn>
              <a:cxn ang="0">
                <a:pos x="7" y="4"/>
              </a:cxn>
              <a:cxn ang="0">
                <a:pos x="8" y="4"/>
              </a:cxn>
              <a:cxn ang="0">
                <a:pos x="10" y="4"/>
              </a:cxn>
              <a:cxn ang="0">
                <a:pos x="10" y="5"/>
              </a:cxn>
              <a:cxn ang="0">
                <a:pos x="11" y="7"/>
              </a:cxn>
              <a:cxn ang="0">
                <a:pos x="12" y="5"/>
              </a:cxn>
              <a:cxn ang="0">
                <a:pos x="12" y="4"/>
              </a:cxn>
              <a:cxn ang="0">
                <a:pos x="12" y="2"/>
              </a:cxn>
              <a:cxn ang="0">
                <a:pos x="12" y="0"/>
              </a:cxn>
              <a:cxn ang="0">
                <a:pos x="15" y="2"/>
              </a:cxn>
              <a:cxn ang="0">
                <a:pos x="15" y="4"/>
              </a:cxn>
              <a:cxn ang="0">
                <a:pos x="15" y="7"/>
              </a:cxn>
              <a:cxn ang="0">
                <a:pos x="12" y="8"/>
              </a:cxn>
              <a:cxn ang="0">
                <a:pos x="11" y="11"/>
              </a:cxn>
              <a:cxn ang="0">
                <a:pos x="14" y="13"/>
              </a:cxn>
              <a:cxn ang="0">
                <a:pos x="15" y="15"/>
              </a:cxn>
              <a:cxn ang="0">
                <a:pos x="18" y="16"/>
              </a:cxn>
              <a:cxn ang="0">
                <a:pos x="23" y="13"/>
              </a:cxn>
              <a:cxn ang="0">
                <a:pos x="24" y="13"/>
              </a:cxn>
              <a:cxn ang="0">
                <a:pos x="28" y="13"/>
              </a:cxn>
              <a:cxn ang="0">
                <a:pos x="31" y="13"/>
              </a:cxn>
              <a:cxn ang="0">
                <a:pos x="32" y="15"/>
              </a:cxn>
              <a:cxn ang="0">
                <a:pos x="32" y="16"/>
              </a:cxn>
              <a:cxn ang="0">
                <a:pos x="26" y="21"/>
              </a:cxn>
              <a:cxn ang="0">
                <a:pos x="24" y="21"/>
              </a:cxn>
              <a:cxn ang="0">
                <a:pos x="22" y="21"/>
              </a:cxn>
              <a:cxn ang="0">
                <a:pos x="20" y="21"/>
              </a:cxn>
              <a:cxn ang="0">
                <a:pos x="22" y="22"/>
              </a:cxn>
              <a:cxn ang="0">
                <a:pos x="20" y="22"/>
              </a:cxn>
              <a:cxn ang="0">
                <a:pos x="19" y="22"/>
              </a:cxn>
              <a:cxn ang="0">
                <a:pos x="18" y="22"/>
              </a:cxn>
              <a:cxn ang="0">
                <a:pos x="18" y="24"/>
              </a:cxn>
              <a:cxn ang="0">
                <a:pos x="16" y="24"/>
              </a:cxn>
              <a:cxn ang="0">
                <a:pos x="16" y="26"/>
              </a:cxn>
              <a:cxn ang="0">
                <a:pos x="18" y="27"/>
              </a:cxn>
              <a:cxn ang="0">
                <a:pos x="15" y="27"/>
              </a:cxn>
              <a:cxn ang="0">
                <a:pos x="8" y="22"/>
              </a:cxn>
              <a:cxn ang="0">
                <a:pos x="8" y="21"/>
              </a:cxn>
              <a:cxn ang="0">
                <a:pos x="10" y="21"/>
              </a:cxn>
              <a:cxn ang="0">
                <a:pos x="12" y="22"/>
              </a:cxn>
              <a:cxn ang="0">
                <a:pos x="14" y="21"/>
              </a:cxn>
              <a:cxn ang="0">
                <a:pos x="15" y="21"/>
              </a:cxn>
              <a:cxn ang="0">
                <a:pos x="12" y="19"/>
              </a:cxn>
              <a:cxn ang="0">
                <a:pos x="11" y="18"/>
              </a:cxn>
              <a:cxn ang="0">
                <a:pos x="10" y="19"/>
              </a:cxn>
              <a:cxn ang="0">
                <a:pos x="6" y="19"/>
              </a:cxn>
              <a:cxn ang="0">
                <a:pos x="6" y="18"/>
              </a:cxn>
              <a:cxn ang="0">
                <a:pos x="3" y="16"/>
              </a:cxn>
              <a:cxn ang="0">
                <a:pos x="3" y="15"/>
              </a:cxn>
              <a:cxn ang="0">
                <a:pos x="3" y="13"/>
              </a:cxn>
              <a:cxn ang="0">
                <a:pos x="0" y="15"/>
              </a:cxn>
              <a:cxn ang="0">
                <a:pos x="2" y="13"/>
              </a:cxn>
              <a:cxn ang="0">
                <a:pos x="2" y="11"/>
              </a:cxn>
              <a:cxn ang="0">
                <a:pos x="2" y="8"/>
              </a:cxn>
              <a:cxn ang="0">
                <a:pos x="2" y="7"/>
              </a:cxn>
              <a:cxn ang="0">
                <a:pos x="2" y="4"/>
              </a:cxn>
            </a:cxnLst>
            <a:rect l="0" t="0" r="r" b="b"/>
            <a:pathLst>
              <a:path w="32" h="27">
                <a:moveTo>
                  <a:pt x="2" y="4"/>
                </a:moveTo>
                <a:lnTo>
                  <a:pt x="3" y="4"/>
                </a:lnTo>
                <a:lnTo>
                  <a:pt x="4" y="4"/>
                </a:lnTo>
                <a:lnTo>
                  <a:pt x="6" y="4"/>
                </a:lnTo>
                <a:lnTo>
                  <a:pt x="7" y="4"/>
                </a:lnTo>
                <a:lnTo>
                  <a:pt x="8" y="4"/>
                </a:lnTo>
                <a:lnTo>
                  <a:pt x="10" y="4"/>
                </a:lnTo>
                <a:lnTo>
                  <a:pt x="10" y="5"/>
                </a:lnTo>
                <a:lnTo>
                  <a:pt x="11" y="7"/>
                </a:lnTo>
                <a:lnTo>
                  <a:pt x="12" y="5"/>
                </a:lnTo>
                <a:lnTo>
                  <a:pt x="12" y="4"/>
                </a:lnTo>
                <a:lnTo>
                  <a:pt x="12" y="2"/>
                </a:lnTo>
                <a:lnTo>
                  <a:pt x="12" y="0"/>
                </a:lnTo>
                <a:lnTo>
                  <a:pt x="15" y="2"/>
                </a:lnTo>
                <a:lnTo>
                  <a:pt x="15" y="4"/>
                </a:lnTo>
                <a:lnTo>
                  <a:pt x="15" y="7"/>
                </a:lnTo>
                <a:lnTo>
                  <a:pt x="12" y="8"/>
                </a:lnTo>
                <a:lnTo>
                  <a:pt x="11" y="11"/>
                </a:lnTo>
                <a:lnTo>
                  <a:pt x="14" y="13"/>
                </a:lnTo>
                <a:lnTo>
                  <a:pt x="15" y="15"/>
                </a:lnTo>
                <a:lnTo>
                  <a:pt x="18" y="16"/>
                </a:lnTo>
                <a:lnTo>
                  <a:pt x="23" y="13"/>
                </a:lnTo>
                <a:lnTo>
                  <a:pt x="24" y="13"/>
                </a:lnTo>
                <a:lnTo>
                  <a:pt x="28" y="13"/>
                </a:lnTo>
                <a:lnTo>
                  <a:pt x="31" y="13"/>
                </a:lnTo>
                <a:lnTo>
                  <a:pt x="32" y="15"/>
                </a:lnTo>
                <a:lnTo>
                  <a:pt x="32" y="16"/>
                </a:lnTo>
                <a:lnTo>
                  <a:pt x="26" y="21"/>
                </a:lnTo>
                <a:lnTo>
                  <a:pt x="24" y="21"/>
                </a:lnTo>
                <a:lnTo>
                  <a:pt x="22" y="21"/>
                </a:lnTo>
                <a:lnTo>
                  <a:pt x="20" y="21"/>
                </a:lnTo>
                <a:lnTo>
                  <a:pt x="22" y="22"/>
                </a:lnTo>
                <a:lnTo>
                  <a:pt x="20" y="22"/>
                </a:lnTo>
                <a:lnTo>
                  <a:pt x="19" y="22"/>
                </a:lnTo>
                <a:lnTo>
                  <a:pt x="18" y="22"/>
                </a:lnTo>
                <a:lnTo>
                  <a:pt x="18" y="24"/>
                </a:lnTo>
                <a:lnTo>
                  <a:pt x="16" y="24"/>
                </a:lnTo>
                <a:lnTo>
                  <a:pt x="16" y="26"/>
                </a:lnTo>
                <a:lnTo>
                  <a:pt x="18" y="27"/>
                </a:lnTo>
                <a:lnTo>
                  <a:pt x="15" y="27"/>
                </a:lnTo>
                <a:lnTo>
                  <a:pt x="8" y="22"/>
                </a:lnTo>
                <a:lnTo>
                  <a:pt x="8" y="21"/>
                </a:lnTo>
                <a:lnTo>
                  <a:pt x="10" y="21"/>
                </a:lnTo>
                <a:lnTo>
                  <a:pt x="12" y="22"/>
                </a:lnTo>
                <a:lnTo>
                  <a:pt x="14" y="21"/>
                </a:lnTo>
                <a:lnTo>
                  <a:pt x="15" y="21"/>
                </a:lnTo>
                <a:lnTo>
                  <a:pt x="12" y="19"/>
                </a:lnTo>
                <a:lnTo>
                  <a:pt x="11" y="18"/>
                </a:lnTo>
                <a:lnTo>
                  <a:pt x="10" y="19"/>
                </a:lnTo>
                <a:lnTo>
                  <a:pt x="6" y="19"/>
                </a:lnTo>
                <a:lnTo>
                  <a:pt x="6" y="18"/>
                </a:lnTo>
                <a:lnTo>
                  <a:pt x="3" y="16"/>
                </a:lnTo>
                <a:lnTo>
                  <a:pt x="3" y="15"/>
                </a:lnTo>
                <a:lnTo>
                  <a:pt x="3" y="13"/>
                </a:lnTo>
                <a:lnTo>
                  <a:pt x="0" y="15"/>
                </a:lnTo>
                <a:lnTo>
                  <a:pt x="2" y="13"/>
                </a:lnTo>
                <a:lnTo>
                  <a:pt x="2" y="11"/>
                </a:lnTo>
                <a:lnTo>
                  <a:pt x="2" y="8"/>
                </a:lnTo>
                <a:lnTo>
                  <a:pt x="2" y="7"/>
                </a:lnTo>
                <a:lnTo>
                  <a:pt x="2" y="4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67" name="Freeform 1194"/>
          <p:cNvSpPr>
            <a:spLocks/>
          </p:cNvSpPr>
          <p:nvPr/>
        </p:nvSpPr>
        <p:spPr bwMode="auto">
          <a:xfrm>
            <a:off x="3546320" y="6193349"/>
            <a:ext cx="9744" cy="10739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5" y="0"/>
              </a:cxn>
              <a:cxn ang="0">
                <a:pos x="4" y="3"/>
              </a:cxn>
              <a:cxn ang="0">
                <a:pos x="3" y="5"/>
              </a:cxn>
              <a:cxn ang="0">
                <a:pos x="1" y="5"/>
              </a:cxn>
              <a:cxn ang="0">
                <a:pos x="3" y="3"/>
              </a:cxn>
              <a:cxn ang="0">
                <a:pos x="1" y="3"/>
              </a:cxn>
              <a:cxn ang="0">
                <a:pos x="0" y="2"/>
              </a:cxn>
              <a:cxn ang="0">
                <a:pos x="4" y="0"/>
              </a:cxn>
            </a:cxnLst>
            <a:rect l="0" t="0" r="r" b="b"/>
            <a:pathLst>
              <a:path w="5" h="5">
                <a:moveTo>
                  <a:pt x="4" y="0"/>
                </a:moveTo>
                <a:lnTo>
                  <a:pt x="5" y="0"/>
                </a:lnTo>
                <a:lnTo>
                  <a:pt x="4" y="3"/>
                </a:lnTo>
                <a:lnTo>
                  <a:pt x="3" y="5"/>
                </a:lnTo>
                <a:lnTo>
                  <a:pt x="1" y="5"/>
                </a:lnTo>
                <a:lnTo>
                  <a:pt x="3" y="3"/>
                </a:lnTo>
                <a:lnTo>
                  <a:pt x="1" y="3"/>
                </a:lnTo>
                <a:lnTo>
                  <a:pt x="0" y="2"/>
                </a:lnTo>
                <a:lnTo>
                  <a:pt x="4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68" name="Freeform 1195"/>
          <p:cNvSpPr>
            <a:spLocks/>
          </p:cNvSpPr>
          <p:nvPr/>
        </p:nvSpPr>
        <p:spPr bwMode="auto">
          <a:xfrm>
            <a:off x="3546320" y="6193349"/>
            <a:ext cx="9744" cy="10739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5" y="0"/>
              </a:cxn>
              <a:cxn ang="0">
                <a:pos x="4" y="3"/>
              </a:cxn>
              <a:cxn ang="0">
                <a:pos x="3" y="5"/>
              </a:cxn>
              <a:cxn ang="0">
                <a:pos x="1" y="5"/>
              </a:cxn>
              <a:cxn ang="0">
                <a:pos x="3" y="3"/>
              </a:cxn>
              <a:cxn ang="0">
                <a:pos x="1" y="3"/>
              </a:cxn>
              <a:cxn ang="0">
                <a:pos x="0" y="2"/>
              </a:cxn>
              <a:cxn ang="0">
                <a:pos x="4" y="0"/>
              </a:cxn>
            </a:cxnLst>
            <a:rect l="0" t="0" r="r" b="b"/>
            <a:pathLst>
              <a:path w="5" h="5">
                <a:moveTo>
                  <a:pt x="4" y="0"/>
                </a:moveTo>
                <a:lnTo>
                  <a:pt x="5" y="0"/>
                </a:lnTo>
                <a:lnTo>
                  <a:pt x="4" y="3"/>
                </a:lnTo>
                <a:lnTo>
                  <a:pt x="3" y="5"/>
                </a:lnTo>
                <a:lnTo>
                  <a:pt x="1" y="5"/>
                </a:lnTo>
                <a:lnTo>
                  <a:pt x="3" y="3"/>
                </a:lnTo>
                <a:lnTo>
                  <a:pt x="1" y="3"/>
                </a:lnTo>
                <a:lnTo>
                  <a:pt x="0" y="2"/>
                </a:lnTo>
                <a:lnTo>
                  <a:pt x="4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69" name="Freeform 1196"/>
          <p:cNvSpPr>
            <a:spLocks/>
          </p:cNvSpPr>
          <p:nvPr/>
        </p:nvSpPr>
        <p:spPr bwMode="auto">
          <a:xfrm>
            <a:off x="3524882" y="6208383"/>
            <a:ext cx="46772" cy="21476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4" y="1"/>
              </a:cxn>
              <a:cxn ang="0">
                <a:pos x="18" y="6"/>
              </a:cxn>
              <a:cxn ang="0">
                <a:pos x="18" y="7"/>
              </a:cxn>
              <a:cxn ang="0">
                <a:pos x="19" y="7"/>
              </a:cxn>
              <a:cxn ang="0">
                <a:pos x="20" y="7"/>
              </a:cxn>
              <a:cxn ang="0">
                <a:pos x="22" y="7"/>
              </a:cxn>
              <a:cxn ang="0">
                <a:pos x="24" y="9"/>
              </a:cxn>
              <a:cxn ang="0">
                <a:pos x="24" y="11"/>
              </a:cxn>
              <a:cxn ang="0">
                <a:pos x="22" y="11"/>
              </a:cxn>
              <a:cxn ang="0">
                <a:pos x="18" y="9"/>
              </a:cxn>
              <a:cxn ang="0">
                <a:pos x="18" y="7"/>
              </a:cxn>
              <a:cxn ang="0">
                <a:pos x="14" y="6"/>
              </a:cxn>
              <a:cxn ang="0">
                <a:pos x="14" y="7"/>
              </a:cxn>
              <a:cxn ang="0">
                <a:pos x="12" y="7"/>
              </a:cxn>
              <a:cxn ang="0">
                <a:pos x="10" y="6"/>
              </a:cxn>
              <a:cxn ang="0">
                <a:pos x="3" y="4"/>
              </a:cxn>
              <a:cxn ang="0">
                <a:pos x="2" y="3"/>
              </a:cxn>
              <a:cxn ang="0">
                <a:pos x="0" y="0"/>
              </a:cxn>
            </a:cxnLst>
            <a:rect l="0" t="0" r="r" b="b"/>
            <a:pathLst>
              <a:path w="24" h="11">
                <a:moveTo>
                  <a:pt x="0" y="0"/>
                </a:moveTo>
                <a:lnTo>
                  <a:pt x="2" y="0"/>
                </a:lnTo>
                <a:lnTo>
                  <a:pt x="4" y="1"/>
                </a:lnTo>
                <a:lnTo>
                  <a:pt x="18" y="6"/>
                </a:lnTo>
                <a:lnTo>
                  <a:pt x="18" y="7"/>
                </a:lnTo>
                <a:lnTo>
                  <a:pt x="19" y="7"/>
                </a:lnTo>
                <a:lnTo>
                  <a:pt x="20" y="7"/>
                </a:lnTo>
                <a:lnTo>
                  <a:pt x="22" y="7"/>
                </a:lnTo>
                <a:lnTo>
                  <a:pt x="24" y="9"/>
                </a:lnTo>
                <a:lnTo>
                  <a:pt x="24" y="11"/>
                </a:lnTo>
                <a:lnTo>
                  <a:pt x="22" y="11"/>
                </a:lnTo>
                <a:lnTo>
                  <a:pt x="18" y="9"/>
                </a:lnTo>
                <a:lnTo>
                  <a:pt x="18" y="7"/>
                </a:lnTo>
                <a:lnTo>
                  <a:pt x="14" y="6"/>
                </a:lnTo>
                <a:lnTo>
                  <a:pt x="14" y="7"/>
                </a:lnTo>
                <a:lnTo>
                  <a:pt x="12" y="7"/>
                </a:lnTo>
                <a:lnTo>
                  <a:pt x="10" y="6"/>
                </a:lnTo>
                <a:lnTo>
                  <a:pt x="3" y="4"/>
                </a:lnTo>
                <a:lnTo>
                  <a:pt x="2" y="3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70" name="Freeform 1197"/>
          <p:cNvSpPr>
            <a:spLocks/>
          </p:cNvSpPr>
          <p:nvPr/>
        </p:nvSpPr>
        <p:spPr bwMode="auto">
          <a:xfrm>
            <a:off x="3524882" y="6208383"/>
            <a:ext cx="46772" cy="21476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4" y="1"/>
              </a:cxn>
              <a:cxn ang="0">
                <a:pos x="18" y="6"/>
              </a:cxn>
              <a:cxn ang="0">
                <a:pos x="18" y="7"/>
              </a:cxn>
              <a:cxn ang="0">
                <a:pos x="19" y="7"/>
              </a:cxn>
              <a:cxn ang="0">
                <a:pos x="20" y="7"/>
              </a:cxn>
              <a:cxn ang="0">
                <a:pos x="22" y="7"/>
              </a:cxn>
              <a:cxn ang="0">
                <a:pos x="24" y="9"/>
              </a:cxn>
              <a:cxn ang="0">
                <a:pos x="24" y="11"/>
              </a:cxn>
              <a:cxn ang="0">
                <a:pos x="22" y="11"/>
              </a:cxn>
              <a:cxn ang="0">
                <a:pos x="18" y="9"/>
              </a:cxn>
              <a:cxn ang="0">
                <a:pos x="18" y="7"/>
              </a:cxn>
              <a:cxn ang="0">
                <a:pos x="14" y="6"/>
              </a:cxn>
              <a:cxn ang="0">
                <a:pos x="14" y="7"/>
              </a:cxn>
              <a:cxn ang="0">
                <a:pos x="12" y="7"/>
              </a:cxn>
              <a:cxn ang="0">
                <a:pos x="10" y="6"/>
              </a:cxn>
              <a:cxn ang="0">
                <a:pos x="3" y="4"/>
              </a:cxn>
              <a:cxn ang="0">
                <a:pos x="2" y="3"/>
              </a:cxn>
              <a:cxn ang="0">
                <a:pos x="0" y="0"/>
              </a:cxn>
            </a:cxnLst>
            <a:rect l="0" t="0" r="r" b="b"/>
            <a:pathLst>
              <a:path w="24" h="11">
                <a:moveTo>
                  <a:pt x="0" y="0"/>
                </a:moveTo>
                <a:lnTo>
                  <a:pt x="2" y="0"/>
                </a:lnTo>
                <a:lnTo>
                  <a:pt x="4" y="1"/>
                </a:lnTo>
                <a:lnTo>
                  <a:pt x="18" y="6"/>
                </a:lnTo>
                <a:lnTo>
                  <a:pt x="18" y="7"/>
                </a:lnTo>
                <a:lnTo>
                  <a:pt x="19" y="7"/>
                </a:lnTo>
                <a:lnTo>
                  <a:pt x="20" y="7"/>
                </a:lnTo>
                <a:lnTo>
                  <a:pt x="22" y="7"/>
                </a:lnTo>
                <a:lnTo>
                  <a:pt x="24" y="9"/>
                </a:lnTo>
                <a:lnTo>
                  <a:pt x="24" y="11"/>
                </a:lnTo>
                <a:lnTo>
                  <a:pt x="22" y="11"/>
                </a:lnTo>
                <a:lnTo>
                  <a:pt x="18" y="9"/>
                </a:lnTo>
                <a:lnTo>
                  <a:pt x="18" y="7"/>
                </a:lnTo>
                <a:lnTo>
                  <a:pt x="14" y="6"/>
                </a:lnTo>
                <a:lnTo>
                  <a:pt x="14" y="7"/>
                </a:lnTo>
                <a:lnTo>
                  <a:pt x="12" y="7"/>
                </a:lnTo>
                <a:lnTo>
                  <a:pt x="10" y="6"/>
                </a:lnTo>
                <a:lnTo>
                  <a:pt x="3" y="4"/>
                </a:lnTo>
                <a:lnTo>
                  <a:pt x="2" y="3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71" name="Freeform 1198"/>
          <p:cNvSpPr>
            <a:spLocks/>
          </p:cNvSpPr>
          <p:nvPr/>
        </p:nvSpPr>
        <p:spPr bwMode="auto">
          <a:xfrm>
            <a:off x="3524882" y="6169728"/>
            <a:ext cx="3898" cy="10737"/>
          </a:xfrm>
          <a:custGeom>
            <a:avLst/>
            <a:gdLst/>
            <a:ahLst/>
            <a:cxnLst>
              <a:cxn ang="0">
                <a:pos x="3" y="0"/>
              </a:cxn>
              <a:cxn ang="0">
                <a:pos x="3" y="1"/>
              </a:cxn>
              <a:cxn ang="0">
                <a:pos x="3" y="4"/>
              </a:cxn>
              <a:cxn ang="0">
                <a:pos x="3" y="6"/>
              </a:cxn>
              <a:cxn ang="0">
                <a:pos x="1" y="6"/>
              </a:cxn>
              <a:cxn ang="0">
                <a:pos x="0" y="6"/>
              </a:cxn>
              <a:cxn ang="0">
                <a:pos x="0" y="4"/>
              </a:cxn>
              <a:cxn ang="0">
                <a:pos x="0" y="3"/>
              </a:cxn>
              <a:cxn ang="0">
                <a:pos x="1" y="1"/>
              </a:cxn>
              <a:cxn ang="0">
                <a:pos x="1" y="0"/>
              </a:cxn>
              <a:cxn ang="0">
                <a:pos x="3" y="0"/>
              </a:cxn>
            </a:cxnLst>
            <a:rect l="0" t="0" r="r" b="b"/>
            <a:pathLst>
              <a:path w="3" h="6">
                <a:moveTo>
                  <a:pt x="3" y="0"/>
                </a:moveTo>
                <a:lnTo>
                  <a:pt x="3" y="1"/>
                </a:lnTo>
                <a:lnTo>
                  <a:pt x="3" y="4"/>
                </a:lnTo>
                <a:lnTo>
                  <a:pt x="3" y="6"/>
                </a:lnTo>
                <a:lnTo>
                  <a:pt x="1" y="6"/>
                </a:lnTo>
                <a:lnTo>
                  <a:pt x="0" y="6"/>
                </a:lnTo>
                <a:lnTo>
                  <a:pt x="0" y="4"/>
                </a:lnTo>
                <a:lnTo>
                  <a:pt x="0" y="3"/>
                </a:lnTo>
                <a:lnTo>
                  <a:pt x="1" y="1"/>
                </a:lnTo>
                <a:lnTo>
                  <a:pt x="1" y="0"/>
                </a:lnTo>
                <a:lnTo>
                  <a:pt x="3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72" name="Freeform 1199"/>
          <p:cNvSpPr>
            <a:spLocks/>
          </p:cNvSpPr>
          <p:nvPr/>
        </p:nvSpPr>
        <p:spPr bwMode="auto">
          <a:xfrm>
            <a:off x="3524882" y="6169728"/>
            <a:ext cx="3898" cy="10737"/>
          </a:xfrm>
          <a:custGeom>
            <a:avLst/>
            <a:gdLst/>
            <a:ahLst/>
            <a:cxnLst>
              <a:cxn ang="0">
                <a:pos x="3" y="0"/>
              </a:cxn>
              <a:cxn ang="0">
                <a:pos x="3" y="1"/>
              </a:cxn>
              <a:cxn ang="0">
                <a:pos x="3" y="4"/>
              </a:cxn>
              <a:cxn ang="0">
                <a:pos x="3" y="6"/>
              </a:cxn>
              <a:cxn ang="0">
                <a:pos x="1" y="6"/>
              </a:cxn>
              <a:cxn ang="0">
                <a:pos x="0" y="6"/>
              </a:cxn>
              <a:cxn ang="0">
                <a:pos x="0" y="4"/>
              </a:cxn>
              <a:cxn ang="0">
                <a:pos x="0" y="3"/>
              </a:cxn>
              <a:cxn ang="0">
                <a:pos x="1" y="1"/>
              </a:cxn>
              <a:cxn ang="0">
                <a:pos x="1" y="0"/>
              </a:cxn>
              <a:cxn ang="0">
                <a:pos x="3" y="0"/>
              </a:cxn>
            </a:cxnLst>
            <a:rect l="0" t="0" r="r" b="b"/>
            <a:pathLst>
              <a:path w="3" h="6">
                <a:moveTo>
                  <a:pt x="3" y="0"/>
                </a:moveTo>
                <a:lnTo>
                  <a:pt x="3" y="1"/>
                </a:lnTo>
                <a:lnTo>
                  <a:pt x="3" y="4"/>
                </a:lnTo>
                <a:lnTo>
                  <a:pt x="3" y="6"/>
                </a:lnTo>
                <a:lnTo>
                  <a:pt x="1" y="6"/>
                </a:lnTo>
                <a:lnTo>
                  <a:pt x="0" y="6"/>
                </a:lnTo>
                <a:lnTo>
                  <a:pt x="0" y="4"/>
                </a:lnTo>
                <a:lnTo>
                  <a:pt x="0" y="3"/>
                </a:lnTo>
                <a:lnTo>
                  <a:pt x="1" y="1"/>
                </a:lnTo>
                <a:lnTo>
                  <a:pt x="1" y="0"/>
                </a:lnTo>
                <a:lnTo>
                  <a:pt x="3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73" name="Freeform 1200"/>
          <p:cNvSpPr>
            <a:spLocks/>
          </p:cNvSpPr>
          <p:nvPr/>
        </p:nvSpPr>
        <p:spPr bwMode="auto">
          <a:xfrm>
            <a:off x="3554115" y="6229859"/>
            <a:ext cx="42874" cy="23622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3" y="0"/>
              </a:cxn>
              <a:cxn ang="0">
                <a:pos x="4" y="0"/>
              </a:cxn>
              <a:cxn ang="0">
                <a:pos x="4" y="1"/>
              </a:cxn>
              <a:cxn ang="0">
                <a:pos x="7" y="1"/>
              </a:cxn>
              <a:cxn ang="0">
                <a:pos x="8" y="1"/>
              </a:cxn>
              <a:cxn ang="0">
                <a:pos x="9" y="1"/>
              </a:cxn>
              <a:cxn ang="0">
                <a:pos x="9" y="0"/>
              </a:cxn>
              <a:cxn ang="0">
                <a:pos x="11" y="0"/>
              </a:cxn>
              <a:cxn ang="0">
                <a:pos x="13" y="1"/>
              </a:cxn>
              <a:cxn ang="0">
                <a:pos x="16" y="3"/>
              </a:cxn>
              <a:cxn ang="0">
                <a:pos x="17" y="3"/>
              </a:cxn>
              <a:cxn ang="0">
                <a:pos x="19" y="3"/>
              </a:cxn>
              <a:cxn ang="0">
                <a:pos x="19" y="4"/>
              </a:cxn>
              <a:cxn ang="0">
                <a:pos x="23" y="6"/>
              </a:cxn>
              <a:cxn ang="0">
                <a:pos x="23" y="7"/>
              </a:cxn>
              <a:cxn ang="0">
                <a:pos x="20" y="7"/>
              </a:cxn>
              <a:cxn ang="0">
                <a:pos x="20" y="11"/>
              </a:cxn>
              <a:cxn ang="0">
                <a:pos x="20" y="12"/>
              </a:cxn>
              <a:cxn ang="0">
                <a:pos x="17" y="11"/>
              </a:cxn>
              <a:cxn ang="0">
                <a:pos x="16" y="11"/>
              </a:cxn>
              <a:cxn ang="0">
                <a:pos x="17" y="12"/>
              </a:cxn>
              <a:cxn ang="0">
                <a:pos x="16" y="12"/>
              </a:cxn>
              <a:cxn ang="0">
                <a:pos x="13" y="12"/>
              </a:cxn>
              <a:cxn ang="0">
                <a:pos x="12" y="12"/>
              </a:cxn>
              <a:cxn ang="0">
                <a:pos x="11" y="12"/>
              </a:cxn>
              <a:cxn ang="0">
                <a:pos x="13" y="11"/>
              </a:cxn>
              <a:cxn ang="0">
                <a:pos x="11" y="11"/>
              </a:cxn>
              <a:cxn ang="0">
                <a:pos x="7" y="11"/>
              </a:cxn>
              <a:cxn ang="0">
                <a:pos x="7" y="9"/>
              </a:cxn>
              <a:cxn ang="0">
                <a:pos x="7" y="7"/>
              </a:cxn>
              <a:cxn ang="0">
                <a:pos x="7" y="6"/>
              </a:cxn>
              <a:cxn ang="0">
                <a:pos x="4" y="6"/>
              </a:cxn>
              <a:cxn ang="0">
                <a:pos x="3" y="3"/>
              </a:cxn>
              <a:cxn ang="0">
                <a:pos x="0" y="0"/>
              </a:cxn>
              <a:cxn ang="0">
                <a:pos x="1" y="0"/>
              </a:cxn>
            </a:cxnLst>
            <a:rect l="0" t="0" r="r" b="b"/>
            <a:pathLst>
              <a:path w="23" h="12">
                <a:moveTo>
                  <a:pt x="1" y="0"/>
                </a:moveTo>
                <a:lnTo>
                  <a:pt x="3" y="0"/>
                </a:lnTo>
                <a:lnTo>
                  <a:pt x="4" y="0"/>
                </a:lnTo>
                <a:lnTo>
                  <a:pt x="4" y="1"/>
                </a:lnTo>
                <a:lnTo>
                  <a:pt x="7" y="1"/>
                </a:lnTo>
                <a:lnTo>
                  <a:pt x="8" y="1"/>
                </a:lnTo>
                <a:lnTo>
                  <a:pt x="9" y="1"/>
                </a:lnTo>
                <a:lnTo>
                  <a:pt x="9" y="0"/>
                </a:lnTo>
                <a:lnTo>
                  <a:pt x="11" y="0"/>
                </a:lnTo>
                <a:lnTo>
                  <a:pt x="13" y="1"/>
                </a:lnTo>
                <a:lnTo>
                  <a:pt x="16" y="3"/>
                </a:lnTo>
                <a:lnTo>
                  <a:pt x="17" y="3"/>
                </a:lnTo>
                <a:lnTo>
                  <a:pt x="19" y="3"/>
                </a:lnTo>
                <a:lnTo>
                  <a:pt x="19" y="4"/>
                </a:lnTo>
                <a:lnTo>
                  <a:pt x="23" y="6"/>
                </a:lnTo>
                <a:lnTo>
                  <a:pt x="23" y="7"/>
                </a:lnTo>
                <a:lnTo>
                  <a:pt x="20" y="7"/>
                </a:lnTo>
                <a:lnTo>
                  <a:pt x="20" y="11"/>
                </a:lnTo>
                <a:lnTo>
                  <a:pt x="20" y="12"/>
                </a:lnTo>
                <a:lnTo>
                  <a:pt x="17" y="11"/>
                </a:lnTo>
                <a:lnTo>
                  <a:pt x="16" y="11"/>
                </a:lnTo>
                <a:lnTo>
                  <a:pt x="17" y="12"/>
                </a:lnTo>
                <a:lnTo>
                  <a:pt x="16" y="12"/>
                </a:lnTo>
                <a:lnTo>
                  <a:pt x="13" y="12"/>
                </a:lnTo>
                <a:lnTo>
                  <a:pt x="12" y="12"/>
                </a:lnTo>
                <a:lnTo>
                  <a:pt x="11" y="12"/>
                </a:lnTo>
                <a:lnTo>
                  <a:pt x="13" y="11"/>
                </a:lnTo>
                <a:lnTo>
                  <a:pt x="11" y="11"/>
                </a:lnTo>
                <a:lnTo>
                  <a:pt x="7" y="11"/>
                </a:lnTo>
                <a:lnTo>
                  <a:pt x="7" y="9"/>
                </a:lnTo>
                <a:lnTo>
                  <a:pt x="7" y="7"/>
                </a:lnTo>
                <a:lnTo>
                  <a:pt x="7" y="6"/>
                </a:lnTo>
                <a:lnTo>
                  <a:pt x="4" y="6"/>
                </a:lnTo>
                <a:lnTo>
                  <a:pt x="3" y="3"/>
                </a:ln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74" name="Freeform 1201"/>
          <p:cNvSpPr>
            <a:spLocks/>
          </p:cNvSpPr>
          <p:nvPr/>
        </p:nvSpPr>
        <p:spPr bwMode="auto">
          <a:xfrm>
            <a:off x="3554115" y="6229859"/>
            <a:ext cx="42874" cy="23622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3" y="0"/>
              </a:cxn>
              <a:cxn ang="0">
                <a:pos x="4" y="0"/>
              </a:cxn>
              <a:cxn ang="0">
                <a:pos x="4" y="1"/>
              </a:cxn>
              <a:cxn ang="0">
                <a:pos x="7" y="1"/>
              </a:cxn>
              <a:cxn ang="0">
                <a:pos x="8" y="1"/>
              </a:cxn>
              <a:cxn ang="0">
                <a:pos x="9" y="1"/>
              </a:cxn>
              <a:cxn ang="0">
                <a:pos x="9" y="0"/>
              </a:cxn>
              <a:cxn ang="0">
                <a:pos x="11" y="0"/>
              </a:cxn>
              <a:cxn ang="0">
                <a:pos x="13" y="1"/>
              </a:cxn>
              <a:cxn ang="0">
                <a:pos x="16" y="3"/>
              </a:cxn>
              <a:cxn ang="0">
                <a:pos x="17" y="3"/>
              </a:cxn>
              <a:cxn ang="0">
                <a:pos x="19" y="3"/>
              </a:cxn>
              <a:cxn ang="0">
                <a:pos x="19" y="4"/>
              </a:cxn>
              <a:cxn ang="0">
                <a:pos x="23" y="6"/>
              </a:cxn>
              <a:cxn ang="0">
                <a:pos x="23" y="7"/>
              </a:cxn>
              <a:cxn ang="0">
                <a:pos x="20" y="7"/>
              </a:cxn>
              <a:cxn ang="0">
                <a:pos x="20" y="11"/>
              </a:cxn>
              <a:cxn ang="0">
                <a:pos x="20" y="12"/>
              </a:cxn>
              <a:cxn ang="0">
                <a:pos x="17" y="11"/>
              </a:cxn>
              <a:cxn ang="0">
                <a:pos x="16" y="11"/>
              </a:cxn>
              <a:cxn ang="0">
                <a:pos x="17" y="12"/>
              </a:cxn>
              <a:cxn ang="0">
                <a:pos x="16" y="12"/>
              </a:cxn>
              <a:cxn ang="0">
                <a:pos x="13" y="12"/>
              </a:cxn>
              <a:cxn ang="0">
                <a:pos x="12" y="12"/>
              </a:cxn>
              <a:cxn ang="0">
                <a:pos x="11" y="12"/>
              </a:cxn>
              <a:cxn ang="0">
                <a:pos x="13" y="11"/>
              </a:cxn>
              <a:cxn ang="0">
                <a:pos x="11" y="11"/>
              </a:cxn>
              <a:cxn ang="0">
                <a:pos x="7" y="11"/>
              </a:cxn>
              <a:cxn ang="0">
                <a:pos x="7" y="9"/>
              </a:cxn>
              <a:cxn ang="0">
                <a:pos x="7" y="7"/>
              </a:cxn>
              <a:cxn ang="0">
                <a:pos x="7" y="6"/>
              </a:cxn>
              <a:cxn ang="0">
                <a:pos x="4" y="6"/>
              </a:cxn>
              <a:cxn ang="0">
                <a:pos x="3" y="3"/>
              </a:cxn>
              <a:cxn ang="0">
                <a:pos x="0" y="0"/>
              </a:cxn>
              <a:cxn ang="0">
                <a:pos x="1" y="0"/>
              </a:cxn>
            </a:cxnLst>
            <a:rect l="0" t="0" r="r" b="b"/>
            <a:pathLst>
              <a:path w="23" h="12">
                <a:moveTo>
                  <a:pt x="1" y="0"/>
                </a:moveTo>
                <a:lnTo>
                  <a:pt x="3" y="0"/>
                </a:lnTo>
                <a:lnTo>
                  <a:pt x="4" y="0"/>
                </a:lnTo>
                <a:lnTo>
                  <a:pt x="4" y="1"/>
                </a:lnTo>
                <a:lnTo>
                  <a:pt x="7" y="1"/>
                </a:lnTo>
                <a:lnTo>
                  <a:pt x="8" y="1"/>
                </a:lnTo>
                <a:lnTo>
                  <a:pt x="9" y="1"/>
                </a:lnTo>
                <a:lnTo>
                  <a:pt x="9" y="0"/>
                </a:lnTo>
                <a:lnTo>
                  <a:pt x="11" y="0"/>
                </a:lnTo>
                <a:lnTo>
                  <a:pt x="13" y="1"/>
                </a:lnTo>
                <a:lnTo>
                  <a:pt x="16" y="3"/>
                </a:lnTo>
                <a:lnTo>
                  <a:pt x="17" y="3"/>
                </a:lnTo>
                <a:lnTo>
                  <a:pt x="19" y="3"/>
                </a:lnTo>
                <a:lnTo>
                  <a:pt x="19" y="4"/>
                </a:lnTo>
                <a:lnTo>
                  <a:pt x="23" y="6"/>
                </a:lnTo>
                <a:lnTo>
                  <a:pt x="23" y="7"/>
                </a:lnTo>
                <a:lnTo>
                  <a:pt x="20" y="7"/>
                </a:lnTo>
                <a:lnTo>
                  <a:pt x="20" y="11"/>
                </a:lnTo>
                <a:lnTo>
                  <a:pt x="20" y="12"/>
                </a:lnTo>
                <a:lnTo>
                  <a:pt x="17" y="11"/>
                </a:lnTo>
                <a:lnTo>
                  <a:pt x="16" y="11"/>
                </a:lnTo>
                <a:lnTo>
                  <a:pt x="17" y="12"/>
                </a:lnTo>
                <a:lnTo>
                  <a:pt x="16" y="12"/>
                </a:lnTo>
                <a:lnTo>
                  <a:pt x="13" y="12"/>
                </a:lnTo>
                <a:lnTo>
                  <a:pt x="12" y="12"/>
                </a:lnTo>
                <a:lnTo>
                  <a:pt x="11" y="12"/>
                </a:lnTo>
                <a:lnTo>
                  <a:pt x="13" y="11"/>
                </a:lnTo>
                <a:lnTo>
                  <a:pt x="11" y="11"/>
                </a:lnTo>
                <a:lnTo>
                  <a:pt x="7" y="11"/>
                </a:lnTo>
                <a:lnTo>
                  <a:pt x="7" y="9"/>
                </a:lnTo>
                <a:lnTo>
                  <a:pt x="7" y="7"/>
                </a:lnTo>
                <a:lnTo>
                  <a:pt x="7" y="6"/>
                </a:lnTo>
                <a:lnTo>
                  <a:pt x="4" y="6"/>
                </a:lnTo>
                <a:lnTo>
                  <a:pt x="3" y="3"/>
                </a:lnTo>
                <a:lnTo>
                  <a:pt x="0" y="0"/>
                </a:lnTo>
                <a:lnTo>
                  <a:pt x="1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75" name="Freeform 1202"/>
          <p:cNvSpPr>
            <a:spLocks/>
          </p:cNvSpPr>
          <p:nvPr/>
        </p:nvSpPr>
        <p:spPr bwMode="auto">
          <a:xfrm>
            <a:off x="3596989" y="6242746"/>
            <a:ext cx="35079" cy="21476"/>
          </a:xfrm>
          <a:custGeom>
            <a:avLst/>
            <a:gdLst/>
            <a:ahLst/>
            <a:cxnLst>
              <a:cxn ang="0">
                <a:pos x="5" y="0"/>
              </a:cxn>
              <a:cxn ang="0">
                <a:pos x="6" y="2"/>
              </a:cxn>
              <a:cxn ang="0">
                <a:pos x="8" y="2"/>
              </a:cxn>
              <a:cxn ang="0">
                <a:pos x="8" y="4"/>
              </a:cxn>
              <a:cxn ang="0">
                <a:pos x="8" y="5"/>
              </a:cxn>
              <a:cxn ang="0">
                <a:pos x="9" y="4"/>
              </a:cxn>
              <a:cxn ang="0">
                <a:pos x="11" y="4"/>
              </a:cxn>
              <a:cxn ang="0">
                <a:pos x="13" y="4"/>
              </a:cxn>
              <a:cxn ang="0">
                <a:pos x="14" y="7"/>
              </a:cxn>
              <a:cxn ang="0">
                <a:pos x="15" y="5"/>
              </a:cxn>
              <a:cxn ang="0">
                <a:pos x="17" y="7"/>
              </a:cxn>
              <a:cxn ang="0">
                <a:pos x="18" y="8"/>
              </a:cxn>
              <a:cxn ang="0">
                <a:pos x="17" y="10"/>
              </a:cxn>
              <a:cxn ang="0">
                <a:pos x="14" y="10"/>
              </a:cxn>
              <a:cxn ang="0">
                <a:pos x="13" y="8"/>
              </a:cxn>
              <a:cxn ang="0">
                <a:pos x="8" y="7"/>
              </a:cxn>
              <a:cxn ang="0">
                <a:pos x="8" y="8"/>
              </a:cxn>
              <a:cxn ang="0">
                <a:pos x="5" y="8"/>
              </a:cxn>
              <a:cxn ang="0">
                <a:pos x="5" y="7"/>
              </a:cxn>
              <a:cxn ang="0">
                <a:pos x="2" y="7"/>
              </a:cxn>
              <a:cxn ang="0">
                <a:pos x="1" y="7"/>
              </a:cxn>
              <a:cxn ang="0">
                <a:pos x="1" y="5"/>
              </a:cxn>
              <a:cxn ang="0">
                <a:pos x="0" y="2"/>
              </a:cxn>
              <a:cxn ang="0">
                <a:pos x="1" y="2"/>
              </a:cxn>
              <a:cxn ang="0">
                <a:pos x="2" y="2"/>
              </a:cxn>
              <a:cxn ang="0">
                <a:pos x="4" y="0"/>
              </a:cxn>
              <a:cxn ang="0">
                <a:pos x="5" y="0"/>
              </a:cxn>
            </a:cxnLst>
            <a:rect l="0" t="0" r="r" b="b"/>
            <a:pathLst>
              <a:path w="18" h="10">
                <a:moveTo>
                  <a:pt x="5" y="0"/>
                </a:moveTo>
                <a:lnTo>
                  <a:pt x="6" y="2"/>
                </a:lnTo>
                <a:lnTo>
                  <a:pt x="8" y="2"/>
                </a:lnTo>
                <a:lnTo>
                  <a:pt x="8" y="4"/>
                </a:lnTo>
                <a:lnTo>
                  <a:pt x="8" y="5"/>
                </a:lnTo>
                <a:lnTo>
                  <a:pt x="9" y="4"/>
                </a:lnTo>
                <a:lnTo>
                  <a:pt x="11" y="4"/>
                </a:lnTo>
                <a:lnTo>
                  <a:pt x="13" y="4"/>
                </a:lnTo>
                <a:lnTo>
                  <a:pt x="14" y="7"/>
                </a:lnTo>
                <a:lnTo>
                  <a:pt x="15" y="5"/>
                </a:lnTo>
                <a:lnTo>
                  <a:pt x="17" y="7"/>
                </a:lnTo>
                <a:lnTo>
                  <a:pt x="18" y="8"/>
                </a:lnTo>
                <a:lnTo>
                  <a:pt x="17" y="10"/>
                </a:lnTo>
                <a:lnTo>
                  <a:pt x="14" y="10"/>
                </a:lnTo>
                <a:lnTo>
                  <a:pt x="13" y="8"/>
                </a:lnTo>
                <a:lnTo>
                  <a:pt x="8" y="7"/>
                </a:lnTo>
                <a:lnTo>
                  <a:pt x="8" y="8"/>
                </a:lnTo>
                <a:lnTo>
                  <a:pt x="5" y="8"/>
                </a:lnTo>
                <a:lnTo>
                  <a:pt x="5" y="7"/>
                </a:lnTo>
                <a:lnTo>
                  <a:pt x="2" y="7"/>
                </a:lnTo>
                <a:lnTo>
                  <a:pt x="1" y="7"/>
                </a:lnTo>
                <a:lnTo>
                  <a:pt x="1" y="5"/>
                </a:lnTo>
                <a:lnTo>
                  <a:pt x="0" y="2"/>
                </a:lnTo>
                <a:lnTo>
                  <a:pt x="1" y="2"/>
                </a:lnTo>
                <a:lnTo>
                  <a:pt x="2" y="2"/>
                </a:lnTo>
                <a:lnTo>
                  <a:pt x="4" y="0"/>
                </a:lnTo>
                <a:lnTo>
                  <a:pt x="5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76" name="Freeform 1203"/>
          <p:cNvSpPr>
            <a:spLocks/>
          </p:cNvSpPr>
          <p:nvPr/>
        </p:nvSpPr>
        <p:spPr bwMode="auto">
          <a:xfrm>
            <a:off x="3596989" y="6242746"/>
            <a:ext cx="35079" cy="21476"/>
          </a:xfrm>
          <a:custGeom>
            <a:avLst/>
            <a:gdLst/>
            <a:ahLst/>
            <a:cxnLst>
              <a:cxn ang="0">
                <a:pos x="5" y="0"/>
              </a:cxn>
              <a:cxn ang="0">
                <a:pos x="6" y="2"/>
              </a:cxn>
              <a:cxn ang="0">
                <a:pos x="8" y="2"/>
              </a:cxn>
              <a:cxn ang="0">
                <a:pos x="8" y="4"/>
              </a:cxn>
              <a:cxn ang="0">
                <a:pos x="8" y="5"/>
              </a:cxn>
              <a:cxn ang="0">
                <a:pos x="9" y="4"/>
              </a:cxn>
              <a:cxn ang="0">
                <a:pos x="11" y="4"/>
              </a:cxn>
              <a:cxn ang="0">
                <a:pos x="13" y="4"/>
              </a:cxn>
              <a:cxn ang="0">
                <a:pos x="14" y="7"/>
              </a:cxn>
              <a:cxn ang="0">
                <a:pos x="15" y="5"/>
              </a:cxn>
              <a:cxn ang="0">
                <a:pos x="17" y="7"/>
              </a:cxn>
              <a:cxn ang="0">
                <a:pos x="18" y="8"/>
              </a:cxn>
              <a:cxn ang="0">
                <a:pos x="17" y="10"/>
              </a:cxn>
              <a:cxn ang="0">
                <a:pos x="14" y="10"/>
              </a:cxn>
              <a:cxn ang="0">
                <a:pos x="13" y="8"/>
              </a:cxn>
              <a:cxn ang="0">
                <a:pos x="8" y="7"/>
              </a:cxn>
              <a:cxn ang="0">
                <a:pos x="8" y="8"/>
              </a:cxn>
              <a:cxn ang="0">
                <a:pos x="5" y="8"/>
              </a:cxn>
              <a:cxn ang="0">
                <a:pos x="5" y="7"/>
              </a:cxn>
              <a:cxn ang="0">
                <a:pos x="2" y="7"/>
              </a:cxn>
              <a:cxn ang="0">
                <a:pos x="1" y="7"/>
              </a:cxn>
              <a:cxn ang="0">
                <a:pos x="1" y="5"/>
              </a:cxn>
              <a:cxn ang="0">
                <a:pos x="0" y="2"/>
              </a:cxn>
              <a:cxn ang="0">
                <a:pos x="1" y="2"/>
              </a:cxn>
              <a:cxn ang="0">
                <a:pos x="2" y="2"/>
              </a:cxn>
              <a:cxn ang="0">
                <a:pos x="4" y="0"/>
              </a:cxn>
              <a:cxn ang="0">
                <a:pos x="5" y="0"/>
              </a:cxn>
            </a:cxnLst>
            <a:rect l="0" t="0" r="r" b="b"/>
            <a:pathLst>
              <a:path w="18" h="10">
                <a:moveTo>
                  <a:pt x="5" y="0"/>
                </a:moveTo>
                <a:lnTo>
                  <a:pt x="6" y="2"/>
                </a:lnTo>
                <a:lnTo>
                  <a:pt x="8" y="2"/>
                </a:lnTo>
                <a:lnTo>
                  <a:pt x="8" y="4"/>
                </a:lnTo>
                <a:lnTo>
                  <a:pt x="8" y="5"/>
                </a:lnTo>
                <a:lnTo>
                  <a:pt x="9" y="4"/>
                </a:lnTo>
                <a:lnTo>
                  <a:pt x="11" y="4"/>
                </a:lnTo>
                <a:lnTo>
                  <a:pt x="13" y="4"/>
                </a:lnTo>
                <a:lnTo>
                  <a:pt x="14" y="7"/>
                </a:lnTo>
                <a:lnTo>
                  <a:pt x="15" y="5"/>
                </a:lnTo>
                <a:lnTo>
                  <a:pt x="17" y="7"/>
                </a:lnTo>
                <a:lnTo>
                  <a:pt x="18" y="8"/>
                </a:lnTo>
                <a:lnTo>
                  <a:pt x="17" y="10"/>
                </a:lnTo>
                <a:lnTo>
                  <a:pt x="14" y="10"/>
                </a:lnTo>
                <a:lnTo>
                  <a:pt x="13" y="8"/>
                </a:lnTo>
                <a:lnTo>
                  <a:pt x="8" y="7"/>
                </a:lnTo>
                <a:lnTo>
                  <a:pt x="8" y="8"/>
                </a:lnTo>
                <a:lnTo>
                  <a:pt x="5" y="8"/>
                </a:lnTo>
                <a:lnTo>
                  <a:pt x="5" y="7"/>
                </a:lnTo>
                <a:lnTo>
                  <a:pt x="2" y="7"/>
                </a:lnTo>
                <a:lnTo>
                  <a:pt x="1" y="7"/>
                </a:lnTo>
                <a:lnTo>
                  <a:pt x="1" y="5"/>
                </a:lnTo>
                <a:lnTo>
                  <a:pt x="0" y="2"/>
                </a:lnTo>
                <a:lnTo>
                  <a:pt x="1" y="2"/>
                </a:lnTo>
                <a:lnTo>
                  <a:pt x="2" y="2"/>
                </a:lnTo>
                <a:lnTo>
                  <a:pt x="4" y="0"/>
                </a:lnTo>
                <a:lnTo>
                  <a:pt x="5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77" name="Freeform 1204"/>
          <p:cNvSpPr>
            <a:spLocks/>
          </p:cNvSpPr>
          <p:nvPr/>
        </p:nvSpPr>
        <p:spPr bwMode="auto">
          <a:xfrm>
            <a:off x="3634015" y="6236302"/>
            <a:ext cx="15591" cy="23624"/>
          </a:xfrm>
          <a:custGeom>
            <a:avLst/>
            <a:gdLst/>
            <a:ahLst/>
            <a:cxnLst>
              <a:cxn ang="0">
                <a:pos x="6" y="0"/>
              </a:cxn>
              <a:cxn ang="0">
                <a:pos x="7" y="0"/>
              </a:cxn>
              <a:cxn ang="0">
                <a:pos x="7" y="3"/>
              </a:cxn>
              <a:cxn ang="0">
                <a:pos x="7" y="6"/>
              </a:cxn>
              <a:cxn ang="0">
                <a:pos x="8" y="8"/>
              </a:cxn>
              <a:cxn ang="0">
                <a:pos x="8" y="9"/>
              </a:cxn>
              <a:cxn ang="0">
                <a:pos x="7" y="9"/>
              </a:cxn>
              <a:cxn ang="0">
                <a:pos x="6" y="8"/>
              </a:cxn>
              <a:cxn ang="0">
                <a:pos x="4" y="6"/>
              </a:cxn>
              <a:cxn ang="0">
                <a:pos x="4" y="9"/>
              </a:cxn>
              <a:cxn ang="0">
                <a:pos x="6" y="11"/>
              </a:cxn>
              <a:cxn ang="0">
                <a:pos x="8" y="11"/>
              </a:cxn>
              <a:cxn ang="0">
                <a:pos x="8" y="12"/>
              </a:cxn>
              <a:cxn ang="0">
                <a:pos x="7" y="12"/>
              </a:cxn>
              <a:cxn ang="0">
                <a:pos x="6" y="11"/>
              </a:cxn>
              <a:cxn ang="0">
                <a:pos x="3" y="9"/>
              </a:cxn>
              <a:cxn ang="0">
                <a:pos x="2" y="8"/>
              </a:cxn>
              <a:cxn ang="0">
                <a:pos x="0" y="6"/>
              </a:cxn>
              <a:cxn ang="0">
                <a:pos x="2" y="6"/>
              </a:cxn>
              <a:cxn ang="0">
                <a:pos x="2" y="4"/>
              </a:cxn>
              <a:cxn ang="0">
                <a:pos x="4" y="4"/>
              </a:cxn>
              <a:cxn ang="0">
                <a:pos x="4" y="3"/>
              </a:cxn>
              <a:cxn ang="0">
                <a:pos x="3" y="3"/>
              </a:cxn>
              <a:cxn ang="0">
                <a:pos x="6" y="0"/>
              </a:cxn>
            </a:cxnLst>
            <a:rect l="0" t="0" r="r" b="b"/>
            <a:pathLst>
              <a:path w="8" h="12">
                <a:moveTo>
                  <a:pt x="6" y="0"/>
                </a:moveTo>
                <a:lnTo>
                  <a:pt x="7" y="0"/>
                </a:lnTo>
                <a:lnTo>
                  <a:pt x="7" y="3"/>
                </a:lnTo>
                <a:lnTo>
                  <a:pt x="7" y="6"/>
                </a:lnTo>
                <a:lnTo>
                  <a:pt x="8" y="8"/>
                </a:lnTo>
                <a:lnTo>
                  <a:pt x="8" y="9"/>
                </a:lnTo>
                <a:lnTo>
                  <a:pt x="7" y="9"/>
                </a:lnTo>
                <a:lnTo>
                  <a:pt x="6" y="8"/>
                </a:lnTo>
                <a:lnTo>
                  <a:pt x="4" y="6"/>
                </a:lnTo>
                <a:lnTo>
                  <a:pt x="4" y="9"/>
                </a:lnTo>
                <a:lnTo>
                  <a:pt x="6" y="11"/>
                </a:lnTo>
                <a:lnTo>
                  <a:pt x="8" y="11"/>
                </a:lnTo>
                <a:lnTo>
                  <a:pt x="8" y="12"/>
                </a:lnTo>
                <a:lnTo>
                  <a:pt x="7" y="12"/>
                </a:lnTo>
                <a:lnTo>
                  <a:pt x="6" y="11"/>
                </a:lnTo>
                <a:lnTo>
                  <a:pt x="3" y="9"/>
                </a:lnTo>
                <a:lnTo>
                  <a:pt x="2" y="8"/>
                </a:lnTo>
                <a:lnTo>
                  <a:pt x="0" y="6"/>
                </a:lnTo>
                <a:lnTo>
                  <a:pt x="2" y="6"/>
                </a:lnTo>
                <a:lnTo>
                  <a:pt x="2" y="4"/>
                </a:lnTo>
                <a:lnTo>
                  <a:pt x="4" y="4"/>
                </a:lnTo>
                <a:lnTo>
                  <a:pt x="4" y="3"/>
                </a:lnTo>
                <a:lnTo>
                  <a:pt x="3" y="3"/>
                </a:lnTo>
                <a:lnTo>
                  <a:pt x="6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78" name="Freeform 1205"/>
          <p:cNvSpPr>
            <a:spLocks/>
          </p:cNvSpPr>
          <p:nvPr/>
        </p:nvSpPr>
        <p:spPr bwMode="auto">
          <a:xfrm>
            <a:off x="3634015" y="6236302"/>
            <a:ext cx="15591" cy="23624"/>
          </a:xfrm>
          <a:custGeom>
            <a:avLst/>
            <a:gdLst/>
            <a:ahLst/>
            <a:cxnLst>
              <a:cxn ang="0">
                <a:pos x="6" y="0"/>
              </a:cxn>
              <a:cxn ang="0">
                <a:pos x="7" y="0"/>
              </a:cxn>
              <a:cxn ang="0">
                <a:pos x="7" y="3"/>
              </a:cxn>
              <a:cxn ang="0">
                <a:pos x="7" y="6"/>
              </a:cxn>
              <a:cxn ang="0">
                <a:pos x="8" y="8"/>
              </a:cxn>
              <a:cxn ang="0">
                <a:pos x="8" y="9"/>
              </a:cxn>
              <a:cxn ang="0">
                <a:pos x="7" y="9"/>
              </a:cxn>
              <a:cxn ang="0">
                <a:pos x="6" y="8"/>
              </a:cxn>
              <a:cxn ang="0">
                <a:pos x="4" y="6"/>
              </a:cxn>
              <a:cxn ang="0">
                <a:pos x="4" y="9"/>
              </a:cxn>
              <a:cxn ang="0">
                <a:pos x="6" y="11"/>
              </a:cxn>
              <a:cxn ang="0">
                <a:pos x="8" y="11"/>
              </a:cxn>
              <a:cxn ang="0">
                <a:pos x="8" y="12"/>
              </a:cxn>
              <a:cxn ang="0">
                <a:pos x="7" y="12"/>
              </a:cxn>
              <a:cxn ang="0">
                <a:pos x="6" y="11"/>
              </a:cxn>
              <a:cxn ang="0">
                <a:pos x="3" y="9"/>
              </a:cxn>
              <a:cxn ang="0">
                <a:pos x="2" y="8"/>
              </a:cxn>
              <a:cxn ang="0">
                <a:pos x="0" y="6"/>
              </a:cxn>
              <a:cxn ang="0">
                <a:pos x="2" y="6"/>
              </a:cxn>
              <a:cxn ang="0">
                <a:pos x="2" y="4"/>
              </a:cxn>
              <a:cxn ang="0">
                <a:pos x="4" y="4"/>
              </a:cxn>
              <a:cxn ang="0">
                <a:pos x="4" y="3"/>
              </a:cxn>
              <a:cxn ang="0">
                <a:pos x="3" y="3"/>
              </a:cxn>
              <a:cxn ang="0">
                <a:pos x="6" y="0"/>
              </a:cxn>
            </a:cxnLst>
            <a:rect l="0" t="0" r="r" b="b"/>
            <a:pathLst>
              <a:path w="8" h="12">
                <a:moveTo>
                  <a:pt x="6" y="0"/>
                </a:moveTo>
                <a:lnTo>
                  <a:pt x="7" y="0"/>
                </a:lnTo>
                <a:lnTo>
                  <a:pt x="7" y="3"/>
                </a:lnTo>
                <a:lnTo>
                  <a:pt x="7" y="6"/>
                </a:lnTo>
                <a:lnTo>
                  <a:pt x="8" y="8"/>
                </a:lnTo>
                <a:lnTo>
                  <a:pt x="8" y="9"/>
                </a:lnTo>
                <a:lnTo>
                  <a:pt x="7" y="9"/>
                </a:lnTo>
                <a:lnTo>
                  <a:pt x="6" y="8"/>
                </a:lnTo>
                <a:lnTo>
                  <a:pt x="4" y="6"/>
                </a:lnTo>
                <a:lnTo>
                  <a:pt x="4" y="9"/>
                </a:lnTo>
                <a:lnTo>
                  <a:pt x="6" y="11"/>
                </a:lnTo>
                <a:lnTo>
                  <a:pt x="8" y="11"/>
                </a:lnTo>
                <a:lnTo>
                  <a:pt x="8" y="12"/>
                </a:lnTo>
                <a:lnTo>
                  <a:pt x="7" y="12"/>
                </a:lnTo>
                <a:lnTo>
                  <a:pt x="6" y="11"/>
                </a:lnTo>
                <a:lnTo>
                  <a:pt x="3" y="9"/>
                </a:lnTo>
                <a:lnTo>
                  <a:pt x="2" y="8"/>
                </a:lnTo>
                <a:lnTo>
                  <a:pt x="0" y="6"/>
                </a:lnTo>
                <a:lnTo>
                  <a:pt x="2" y="6"/>
                </a:lnTo>
                <a:lnTo>
                  <a:pt x="2" y="4"/>
                </a:lnTo>
                <a:lnTo>
                  <a:pt x="4" y="4"/>
                </a:lnTo>
                <a:lnTo>
                  <a:pt x="4" y="3"/>
                </a:lnTo>
                <a:lnTo>
                  <a:pt x="3" y="3"/>
                </a:lnTo>
                <a:lnTo>
                  <a:pt x="6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79" name="Freeform 1206"/>
          <p:cNvSpPr>
            <a:spLocks/>
          </p:cNvSpPr>
          <p:nvPr/>
        </p:nvSpPr>
        <p:spPr bwMode="auto">
          <a:xfrm>
            <a:off x="3632068" y="6285698"/>
            <a:ext cx="7795" cy="4295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0" y="0"/>
              </a:cxn>
              <a:cxn ang="0">
                <a:pos x="1" y="0"/>
              </a:cxn>
              <a:cxn ang="0">
                <a:pos x="3" y="0"/>
              </a:cxn>
              <a:cxn ang="0">
                <a:pos x="4" y="1"/>
              </a:cxn>
              <a:cxn ang="0">
                <a:pos x="3" y="3"/>
              </a:cxn>
              <a:cxn ang="0">
                <a:pos x="0" y="1"/>
              </a:cxn>
            </a:cxnLst>
            <a:rect l="0" t="0" r="r" b="b"/>
            <a:pathLst>
              <a:path w="4" h="3">
                <a:moveTo>
                  <a:pt x="0" y="1"/>
                </a:moveTo>
                <a:lnTo>
                  <a:pt x="0" y="0"/>
                </a:lnTo>
                <a:lnTo>
                  <a:pt x="1" y="0"/>
                </a:lnTo>
                <a:lnTo>
                  <a:pt x="3" y="0"/>
                </a:lnTo>
                <a:lnTo>
                  <a:pt x="4" y="1"/>
                </a:lnTo>
                <a:lnTo>
                  <a:pt x="3" y="3"/>
                </a:lnTo>
                <a:lnTo>
                  <a:pt x="0" y="1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80" name="Freeform 1207"/>
          <p:cNvSpPr>
            <a:spLocks/>
          </p:cNvSpPr>
          <p:nvPr/>
        </p:nvSpPr>
        <p:spPr bwMode="auto">
          <a:xfrm>
            <a:off x="3632068" y="6285698"/>
            <a:ext cx="7795" cy="4295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0" y="0"/>
              </a:cxn>
              <a:cxn ang="0">
                <a:pos x="1" y="0"/>
              </a:cxn>
              <a:cxn ang="0">
                <a:pos x="3" y="0"/>
              </a:cxn>
              <a:cxn ang="0">
                <a:pos x="4" y="1"/>
              </a:cxn>
              <a:cxn ang="0">
                <a:pos x="3" y="3"/>
              </a:cxn>
              <a:cxn ang="0">
                <a:pos x="0" y="1"/>
              </a:cxn>
            </a:cxnLst>
            <a:rect l="0" t="0" r="r" b="b"/>
            <a:pathLst>
              <a:path w="4" h="3">
                <a:moveTo>
                  <a:pt x="0" y="1"/>
                </a:moveTo>
                <a:lnTo>
                  <a:pt x="0" y="0"/>
                </a:lnTo>
                <a:lnTo>
                  <a:pt x="1" y="0"/>
                </a:lnTo>
                <a:lnTo>
                  <a:pt x="3" y="0"/>
                </a:lnTo>
                <a:lnTo>
                  <a:pt x="4" y="1"/>
                </a:lnTo>
                <a:lnTo>
                  <a:pt x="3" y="3"/>
                </a:lnTo>
                <a:lnTo>
                  <a:pt x="0" y="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81" name="Freeform 1208"/>
          <p:cNvSpPr>
            <a:spLocks/>
          </p:cNvSpPr>
          <p:nvPr/>
        </p:nvSpPr>
        <p:spPr bwMode="auto">
          <a:xfrm>
            <a:off x="3641811" y="6287844"/>
            <a:ext cx="7795" cy="6444"/>
          </a:xfrm>
          <a:custGeom>
            <a:avLst/>
            <a:gdLst/>
            <a:ahLst/>
            <a:cxnLst>
              <a:cxn ang="0">
                <a:pos x="4" y="4"/>
              </a:cxn>
              <a:cxn ang="0">
                <a:pos x="3" y="4"/>
              </a:cxn>
              <a:cxn ang="0">
                <a:pos x="2" y="4"/>
              </a:cxn>
              <a:cxn ang="0">
                <a:pos x="0" y="2"/>
              </a:cxn>
              <a:cxn ang="0">
                <a:pos x="0" y="0"/>
              </a:cxn>
              <a:cxn ang="0">
                <a:pos x="2" y="0"/>
              </a:cxn>
              <a:cxn ang="0">
                <a:pos x="3" y="2"/>
              </a:cxn>
              <a:cxn ang="0">
                <a:pos x="4" y="2"/>
              </a:cxn>
              <a:cxn ang="0">
                <a:pos x="4" y="4"/>
              </a:cxn>
            </a:cxnLst>
            <a:rect l="0" t="0" r="r" b="b"/>
            <a:pathLst>
              <a:path w="4" h="4">
                <a:moveTo>
                  <a:pt x="4" y="4"/>
                </a:moveTo>
                <a:lnTo>
                  <a:pt x="3" y="4"/>
                </a:lnTo>
                <a:lnTo>
                  <a:pt x="2" y="4"/>
                </a:lnTo>
                <a:lnTo>
                  <a:pt x="0" y="2"/>
                </a:lnTo>
                <a:lnTo>
                  <a:pt x="0" y="0"/>
                </a:lnTo>
                <a:lnTo>
                  <a:pt x="2" y="0"/>
                </a:lnTo>
                <a:lnTo>
                  <a:pt x="3" y="2"/>
                </a:lnTo>
                <a:lnTo>
                  <a:pt x="4" y="2"/>
                </a:lnTo>
                <a:lnTo>
                  <a:pt x="4" y="4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82" name="Freeform 1209"/>
          <p:cNvSpPr>
            <a:spLocks/>
          </p:cNvSpPr>
          <p:nvPr/>
        </p:nvSpPr>
        <p:spPr bwMode="auto">
          <a:xfrm>
            <a:off x="3641811" y="6287844"/>
            <a:ext cx="7795" cy="6444"/>
          </a:xfrm>
          <a:custGeom>
            <a:avLst/>
            <a:gdLst/>
            <a:ahLst/>
            <a:cxnLst>
              <a:cxn ang="0">
                <a:pos x="4" y="4"/>
              </a:cxn>
              <a:cxn ang="0">
                <a:pos x="3" y="4"/>
              </a:cxn>
              <a:cxn ang="0">
                <a:pos x="2" y="4"/>
              </a:cxn>
              <a:cxn ang="0">
                <a:pos x="0" y="2"/>
              </a:cxn>
              <a:cxn ang="0">
                <a:pos x="0" y="0"/>
              </a:cxn>
              <a:cxn ang="0">
                <a:pos x="2" y="0"/>
              </a:cxn>
              <a:cxn ang="0">
                <a:pos x="3" y="2"/>
              </a:cxn>
              <a:cxn ang="0">
                <a:pos x="4" y="2"/>
              </a:cxn>
              <a:cxn ang="0">
                <a:pos x="4" y="4"/>
              </a:cxn>
            </a:cxnLst>
            <a:rect l="0" t="0" r="r" b="b"/>
            <a:pathLst>
              <a:path w="4" h="4">
                <a:moveTo>
                  <a:pt x="4" y="4"/>
                </a:moveTo>
                <a:lnTo>
                  <a:pt x="3" y="4"/>
                </a:lnTo>
                <a:lnTo>
                  <a:pt x="2" y="4"/>
                </a:lnTo>
                <a:lnTo>
                  <a:pt x="0" y="2"/>
                </a:lnTo>
                <a:lnTo>
                  <a:pt x="0" y="0"/>
                </a:lnTo>
                <a:lnTo>
                  <a:pt x="2" y="0"/>
                </a:lnTo>
                <a:lnTo>
                  <a:pt x="3" y="2"/>
                </a:lnTo>
                <a:lnTo>
                  <a:pt x="4" y="2"/>
                </a:lnTo>
                <a:lnTo>
                  <a:pt x="4" y="4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83" name="Freeform 1210"/>
          <p:cNvSpPr>
            <a:spLocks/>
          </p:cNvSpPr>
          <p:nvPr/>
        </p:nvSpPr>
        <p:spPr bwMode="auto">
          <a:xfrm>
            <a:off x="3665197" y="6281402"/>
            <a:ext cx="21438" cy="6443"/>
          </a:xfrm>
          <a:custGeom>
            <a:avLst/>
            <a:gdLst/>
            <a:ahLst/>
            <a:cxnLst>
              <a:cxn ang="0">
                <a:pos x="11" y="2"/>
              </a:cxn>
              <a:cxn ang="0">
                <a:pos x="6" y="3"/>
              </a:cxn>
              <a:cxn ang="0">
                <a:pos x="2" y="3"/>
              </a:cxn>
              <a:cxn ang="0">
                <a:pos x="0" y="3"/>
              </a:cxn>
              <a:cxn ang="0">
                <a:pos x="0" y="2"/>
              </a:cxn>
              <a:cxn ang="0">
                <a:pos x="0" y="0"/>
              </a:cxn>
              <a:cxn ang="0">
                <a:pos x="2" y="0"/>
              </a:cxn>
              <a:cxn ang="0">
                <a:pos x="6" y="0"/>
              </a:cxn>
              <a:cxn ang="0">
                <a:pos x="10" y="2"/>
              </a:cxn>
              <a:cxn ang="0">
                <a:pos x="11" y="2"/>
              </a:cxn>
            </a:cxnLst>
            <a:rect l="0" t="0" r="r" b="b"/>
            <a:pathLst>
              <a:path w="11" h="3">
                <a:moveTo>
                  <a:pt x="11" y="2"/>
                </a:moveTo>
                <a:lnTo>
                  <a:pt x="6" y="3"/>
                </a:lnTo>
                <a:lnTo>
                  <a:pt x="2" y="3"/>
                </a:lnTo>
                <a:lnTo>
                  <a:pt x="0" y="3"/>
                </a:lnTo>
                <a:lnTo>
                  <a:pt x="0" y="2"/>
                </a:lnTo>
                <a:lnTo>
                  <a:pt x="0" y="0"/>
                </a:lnTo>
                <a:lnTo>
                  <a:pt x="2" y="0"/>
                </a:lnTo>
                <a:lnTo>
                  <a:pt x="6" y="0"/>
                </a:lnTo>
                <a:lnTo>
                  <a:pt x="10" y="2"/>
                </a:lnTo>
                <a:lnTo>
                  <a:pt x="11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84" name="Freeform 1211"/>
          <p:cNvSpPr>
            <a:spLocks/>
          </p:cNvSpPr>
          <p:nvPr/>
        </p:nvSpPr>
        <p:spPr bwMode="auto">
          <a:xfrm>
            <a:off x="3665197" y="6281402"/>
            <a:ext cx="21438" cy="6443"/>
          </a:xfrm>
          <a:custGeom>
            <a:avLst/>
            <a:gdLst/>
            <a:ahLst/>
            <a:cxnLst>
              <a:cxn ang="0">
                <a:pos x="11" y="2"/>
              </a:cxn>
              <a:cxn ang="0">
                <a:pos x="6" y="3"/>
              </a:cxn>
              <a:cxn ang="0">
                <a:pos x="2" y="3"/>
              </a:cxn>
              <a:cxn ang="0">
                <a:pos x="0" y="3"/>
              </a:cxn>
              <a:cxn ang="0">
                <a:pos x="0" y="2"/>
              </a:cxn>
              <a:cxn ang="0">
                <a:pos x="0" y="0"/>
              </a:cxn>
              <a:cxn ang="0">
                <a:pos x="2" y="0"/>
              </a:cxn>
              <a:cxn ang="0">
                <a:pos x="6" y="0"/>
              </a:cxn>
              <a:cxn ang="0">
                <a:pos x="10" y="2"/>
              </a:cxn>
              <a:cxn ang="0">
                <a:pos x="11" y="2"/>
              </a:cxn>
            </a:cxnLst>
            <a:rect l="0" t="0" r="r" b="b"/>
            <a:pathLst>
              <a:path w="11" h="3">
                <a:moveTo>
                  <a:pt x="11" y="2"/>
                </a:moveTo>
                <a:lnTo>
                  <a:pt x="6" y="3"/>
                </a:lnTo>
                <a:lnTo>
                  <a:pt x="2" y="3"/>
                </a:lnTo>
                <a:lnTo>
                  <a:pt x="0" y="3"/>
                </a:lnTo>
                <a:lnTo>
                  <a:pt x="0" y="2"/>
                </a:lnTo>
                <a:lnTo>
                  <a:pt x="0" y="0"/>
                </a:lnTo>
                <a:lnTo>
                  <a:pt x="2" y="0"/>
                </a:lnTo>
                <a:lnTo>
                  <a:pt x="6" y="0"/>
                </a:lnTo>
                <a:lnTo>
                  <a:pt x="10" y="2"/>
                </a:lnTo>
                <a:lnTo>
                  <a:pt x="11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85" name="Freeform 1212"/>
          <p:cNvSpPr>
            <a:spLocks/>
          </p:cNvSpPr>
          <p:nvPr/>
        </p:nvSpPr>
        <p:spPr bwMode="auto">
          <a:xfrm>
            <a:off x="3659350" y="6285698"/>
            <a:ext cx="62363" cy="23622"/>
          </a:xfrm>
          <a:custGeom>
            <a:avLst/>
            <a:gdLst/>
            <a:ahLst/>
            <a:cxnLst>
              <a:cxn ang="0">
                <a:pos x="1" y="3"/>
              </a:cxn>
              <a:cxn ang="0">
                <a:pos x="5" y="1"/>
              </a:cxn>
              <a:cxn ang="0">
                <a:pos x="13" y="0"/>
              </a:cxn>
              <a:cxn ang="0">
                <a:pos x="17" y="0"/>
              </a:cxn>
              <a:cxn ang="0">
                <a:pos x="22" y="0"/>
              </a:cxn>
              <a:cxn ang="0">
                <a:pos x="24" y="0"/>
              </a:cxn>
              <a:cxn ang="0">
                <a:pos x="25" y="1"/>
              </a:cxn>
              <a:cxn ang="0">
                <a:pos x="26" y="1"/>
              </a:cxn>
              <a:cxn ang="0">
                <a:pos x="22" y="3"/>
              </a:cxn>
              <a:cxn ang="0">
                <a:pos x="21" y="3"/>
              </a:cxn>
              <a:cxn ang="0">
                <a:pos x="17" y="1"/>
              </a:cxn>
              <a:cxn ang="0">
                <a:pos x="20" y="3"/>
              </a:cxn>
              <a:cxn ang="0">
                <a:pos x="26" y="3"/>
              </a:cxn>
              <a:cxn ang="0">
                <a:pos x="26" y="5"/>
              </a:cxn>
              <a:cxn ang="0">
                <a:pos x="28" y="5"/>
              </a:cxn>
              <a:cxn ang="0">
                <a:pos x="24" y="5"/>
              </a:cxn>
              <a:cxn ang="0">
                <a:pos x="22" y="6"/>
              </a:cxn>
              <a:cxn ang="0">
                <a:pos x="26" y="6"/>
              </a:cxn>
              <a:cxn ang="0">
                <a:pos x="29" y="8"/>
              </a:cxn>
              <a:cxn ang="0">
                <a:pos x="29" y="9"/>
              </a:cxn>
              <a:cxn ang="0">
                <a:pos x="30" y="9"/>
              </a:cxn>
              <a:cxn ang="0">
                <a:pos x="30" y="11"/>
              </a:cxn>
              <a:cxn ang="0">
                <a:pos x="32" y="12"/>
              </a:cxn>
              <a:cxn ang="0">
                <a:pos x="30" y="12"/>
              </a:cxn>
              <a:cxn ang="0">
                <a:pos x="29" y="11"/>
              </a:cxn>
              <a:cxn ang="0">
                <a:pos x="28" y="11"/>
              </a:cxn>
              <a:cxn ang="0">
                <a:pos x="28" y="9"/>
              </a:cxn>
              <a:cxn ang="0">
                <a:pos x="26" y="9"/>
              </a:cxn>
              <a:cxn ang="0">
                <a:pos x="25" y="8"/>
              </a:cxn>
              <a:cxn ang="0">
                <a:pos x="20" y="9"/>
              </a:cxn>
              <a:cxn ang="0">
                <a:pos x="18" y="8"/>
              </a:cxn>
              <a:cxn ang="0">
                <a:pos x="18" y="6"/>
              </a:cxn>
              <a:cxn ang="0">
                <a:pos x="17" y="6"/>
              </a:cxn>
              <a:cxn ang="0">
                <a:pos x="16" y="5"/>
              </a:cxn>
              <a:cxn ang="0">
                <a:pos x="14" y="5"/>
              </a:cxn>
              <a:cxn ang="0">
                <a:pos x="12" y="5"/>
              </a:cxn>
              <a:cxn ang="0">
                <a:pos x="10" y="6"/>
              </a:cxn>
              <a:cxn ang="0">
                <a:pos x="12" y="6"/>
              </a:cxn>
              <a:cxn ang="0">
                <a:pos x="14" y="9"/>
              </a:cxn>
              <a:cxn ang="0">
                <a:pos x="9" y="9"/>
              </a:cxn>
              <a:cxn ang="0">
                <a:pos x="9" y="8"/>
              </a:cxn>
              <a:cxn ang="0">
                <a:pos x="5" y="6"/>
              </a:cxn>
              <a:cxn ang="0">
                <a:pos x="6" y="6"/>
              </a:cxn>
              <a:cxn ang="0">
                <a:pos x="9" y="5"/>
              </a:cxn>
              <a:cxn ang="0">
                <a:pos x="10" y="5"/>
              </a:cxn>
              <a:cxn ang="0">
                <a:pos x="9" y="3"/>
              </a:cxn>
              <a:cxn ang="0">
                <a:pos x="8" y="5"/>
              </a:cxn>
              <a:cxn ang="0">
                <a:pos x="6" y="5"/>
              </a:cxn>
              <a:cxn ang="0">
                <a:pos x="2" y="5"/>
              </a:cxn>
              <a:cxn ang="0">
                <a:pos x="1" y="5"/>
              </a:cxn>
              <a:cxn ang="0">
                <a:pos x="0" y="3"/>
              </a:cxn>
              <a:cxn ang="0">
                <a:pos x="1" y="3"/>
              </a:cxn>
            </a:cxnLst>
            <a:rect l="0" t="0" r="r" b="b"/>
            <a:pathLst>
              <a:path w="32" h="12">
                <a:moveTo>
                  <a:pt x="1" y="3"/>
                </a:moveTo>
                <a:lnTo>
                  <a:pt x="5" y="1"/>
                </a:lnTo>
                <a:lnTo>
                  <a:pt x="13" y="0"/>
                </a:lnTo>
                <a:lnTo>
                  <a:pt x="17" y="0"/>
                </a:lnTo>
                <a:lnTo>
                  <a:pt x="22" y="0"/>
                </a:lnTo>
                <a:lnTo>
                  <a:pt x="24" y="0"/>
                </a:lnTo>
                <a:lnTo>
                  <a:pt x="25" y="1"/>
                </a:lnTo>
                <a:lnTo>
                  <a:pt x="26" y="1"/>
                </a:lnTo>
                <a:lnTo>
                  <a:pt x="22" y="3"/>
                </a:lnTo>
                <a:lnTo>
                  <a:pt x="21" y="3"/>
                </a:lnTo>
                <a:lnTo>
                  <a:pt x="17" y="1"/>
                </a:lnTo>
                <a:lnTo>
                  <a:pt x="20" y="3"/>
                </a:lnTo>
                <a:lnTo>
                  <a:pt x="26" y="3"/>
                </a:lnTo>
                <a:lnTo>
                  <a:pt x="26" y="5"/>
                </a:lnTo>
                <a:lnTo>
                  <a:pt x="28" y="5"/>
                </a:lnTo>
                <a:lnTo>
                  <a:pt x="24" y="5"/>
                </a:lnTo>
                <a:lnTo>
                  <a:pt x="22" y="6"/>
                </a:lnTo>
                <a:lnTo>
                  <a:pt x="26" y="6"/>
                </a:lnTo>
                <a:lnTo>
                  <a:pt x="29" y="8"/>
                </a:lnTo>
                <a:lnTo>
                  <a:pt x="29" y="9"/>
                </a:lnTo>
                <a:lnTo>
                  <a:pt x="30" y="9"/>
                </a:lnTo>
                <a:lnTo>
                  <a:pt x="30" y="11"/>
                </a:lnTo>
                <a:lnTo>
                  <a:pt x="32" y="12"/>
                </a:lnTo>
                <a:lnTo>
                  <a:pt x="30" y="12"/>
                </a:lnTo>
                <a:lnTo>
                  <a:pt x="29" y="11"/>
                </a:lnTo>
                <a:lnTo>
                  <a:pt x="28" y="11"/>
                </a:lnTo>
                <a:lnTo>
                  <a:pt x="28" y="9"/>
                </a:lnTo>
                <a:lnTo>
                  <a:pt x="26" y="9"/>
                </a:lnTo>
                <a:lnTo>
                  <a:pt x="25" y="8"/>
                </a:lnTo>
                <a:lnTo>
                  <a:pt x="20" y="9"/>
                </a:lnTo>
                <a:lnTo>
                  <a:pt x="18" y="8"/>
                </a:lnTo>
                <a:lnTo>
                  <a:pt x="18" y="6"/>
                </a:lnTo>
                <a:lnTo>
                  <a:pt x="17" y="6"/>
                </a:lnTo>
                <a:lnTo>
                  <a:pt x="16" y="5"/>
                </a:lnTo>
                <a:lnTo>
                  <a:pt x="14" y="5"/>
                </a:lnTo>
                <a:lnTo>
                  <a:pt x="12" y="5"/>
                </a:lnTo>
                <a:lnTo>
                  <a:pt x="10" y="6"/>
                </a:lnTo>
                <a:lnTo>
                  <a:pt x="12" y="6"/>
                </a:lnTo>
                <a:lnTo>
                  <a:pt x="14" y="9"/>
                </a:lnTo>
                <a:lnTo>
                  <a:pt x="9" y="9"/>
                </a:lnTo>
                <a:lnTo>
                  <a:pt x="9" y="8"/>
                </a:lnTo>
                <a:lnTo>
                  <a:pt x="5" y="6"/>
                </a:lnTo>
                <a:lnTo>
                  <a:pt x="6" y="6"/>
                </a:lnTo>
                <a:lnTo>
                  <a:pt x="9" y="5"/>
                </a:lnTo>
                <a:lnTo>
                  <a:pt x="10" y="5"/>
                </a:lnTo>
                <a:lnTo>
                  <a:pt x="9" y="3"/>
                </a:lnTo>
                <a:lnTo>
                  <a:pt x="8" y="5"/>
                </a:lnTo>
                <a:lnTo>
                  <a:pt x="6" y="5"/>
                </a:lnTo>
                <a:lnTo>
                  <a:pt x="2" y="5"/>
                </a:lnTo>
                <a:lnTo>
                  <a:pt x="1" y="5"/>
                </a:lnTo>
                <a:lnTo>
                  <a:pt x="0" y="3"/>
                </a:lnTo>
                <a:lnTo>
                  <a:pt x="1" y="3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86" name="Freeform 1213"/>
          <p:cNvSpPr>
            <a:spLocks/>
          </p:cNvSpPr>
          <p:nvPr/>
        </p:nvSpPr>
        <p:spPr bwMode="auto">
          <a:xfrm>
            <a:off x="3659350" y="6285698"/>
            <a:ext cx="62363" cy="23622"/>
          </a:xfrm>
          <a:custGeom>
            <a:avLst/>
            <a:gdLst/>
            <a:ahLst/>
            <a:cxnLst>
              <a:cxn ang="0">
                <a:pos x="1" y="3"/>
              </a:cxn>
              <a:cxn ang="0">
                <a:pos x="5" y="1"/>
              </a:cxn>
              <a:cxn ang="0">
                <a:pos x="13" y="0"/>
              </a:cxn>
              <a:cxn ang="0">
                <a:pos x="17" y="0"/>
              </a:cxn>
              <a:cxn ang="0">
                <a:pos x="22" y="0"/>
              </a:cxn>
              <a:cxn ang="0">
                <a:pos x="24" y="0"/>
              </a:cxn>
              <a:cxn ang="0">
                <a:pos x="25" y="1"/>
              </a:cxn>
              <a:cxn ang="0">
                <a:pos x="26" y="1"/>
              </a:cxn>
              <a:cxn ang="0">
                <a:pos x="22" y="3"/>
              </a:cxn>
              <a:cxn ang="0">
                <a:pos x="21" y="3"/>
              </a:cxn>
              <a:cxn ang="0">
                <a:pos x="17" y="1"/>
              </a:cxn>
              <a:cxn ang="0">
                <a:pos x="20" y="3"/>
              </a:cxn>
              <a:cxn ang="0">
                <a:pos x="26" y="3"/>
              </a:cxn>
              <a:cxn ang="0">
                <a:pos x="26" y="5"/>
              </a:cxn>
              <a:cxn ang="0">
                <a:pos x="28" y="5"/>
              </a:cxn>
              <a:cxn ang="0">
                <a:pos x="24" y="5"/>
              </a:cxn>
              <a:cxn ang="0">
                <a:pos x="22" y="6"/>
              </a:cxn>
              <a:cxn ang="0">
                <a:pos x="26" y="6"/>
              </a:cxn>
              <a:cxn ang="0">
                <a:pos x="29" y="8"/>
              </a:cxn>
              <a:cxn ang="0">
                <a:pos x="29" y="9"/>
              </a:cxn>
              <a:cxn ang="0">
                <a:pos x="30" y="9"/>
              </a:cxn>
              <a:cxn ang="0">
                <a:pos x="30" y="11"/>
              </a:cxn>
              <a:cxn ang="0">
                <a:pos x="32" y="12"/>
              </a:cxn>
              <a:cxn ang="0">
                <a:pos x="30" y="12"/>
              </a:cxn>
              <a:cxn ang="0">
                <a:pos x="29" y="11"/>
              </a:cxn>
              <a:cxn ang="0">
                <a:pos x="28" y="11"/>
              </a:cxn>
              <a:cxn ang="0">
                <a:pos x="28" y="9"/>
              </a:cxn>
              <a:cxn ang="0">
                <a:pos x="26" y="9"/>
              </a:cxn>
              <a:cxn ang="0">
                <a:pos x="25" y="8"/>
              </a:cxn>
              <a:cxn ang="0">
                <a:pos x="20" y="9"/>
              </a:cxn>
              <a:cxn ang="0">
                <a:pos x="18" y="8"/>
              </a:cxn>
              <a:cxn ang="0">
                <a:pos x="18" y="6"/>
              </a:cxn>
              <a:cxn ang="0">
                <a:pos x="17" y="6"/>
              </a:cxn>
              <a:cxn ang="0">
                <a:pos x="16" y="5"/>
              </a:cxn>
              <a:cxn ang="0">
                <a:pos x="14" y="5"/>
              </a:cxn>
              <a:cxn ang="0">
                <a:pos x="12" y="5"/>
              </a:cxn>
              <a:cxn ang="0">
                <a:pos x="10" y="6"/>
              </a:cxn>
              <a:cxn ang="0">
                <a:pos x="12" y="6"/>
              </a:cxn>
              <a:cxn ang="0">
                <a:pos x="14" y="9"/>
              </a:cxn>
              <a:cxn ang="0">
                <a:pos x="9" y="9"/>
              </a:cxn>
              <a:cxn ang="0">
                <a:pos x="9" y="8"/>
              </a:cxn>
              <a:cxn ang="0">
                <a:pos x="5" y="6"/>
              </a:cxn>
              <a:cxn ang="0">
                <a:pos x="6" y="6"/>
              </a:cxn>
              <a:cxn ang="0">
                <a:pos x="9" y="5"/>
              </a:cxn>
              <a:cxn ang="0">
                <a:pos x="10" y="5"/>
              </a:cxn>
              <a:cxn ang="0">
                <a:pos x="9" y="3"/>
              </a:cxn>
              <a:cxn ang="0">
                <a:pos x="8" y="5"/>
              </a:cxn>
              <a:cxn ang="0">
                <a:pos x="6" y="5"/>
              </a:cxn>
              <a:cxn ang="0">
                <a:pos x="2" y="5"/>
              </a:cxn>
              <a:cxn ang="0">
                <a:pos x="1" y="5"/>
              </a:cxn>
              <a:cxn ang="0">
                <a:pos x="0" y="3"/>
              </a:cxn>
              <a:cxn ang="0">
                <a:pos x="1" y="3"/>
              </a:cxn>
            </a:cxnLst>
            <a:rect l="0" t="0" r="r" b="b"/>
            <a:pathLst>
              <a:path w="32" h="12">
                <a:moveTo>
                  <a:pt x="1" y="3"/>
                </a:moveTo>
                <a:lnTo>
                  <a:pt x="5" y="1"/>
                </a:lnTo>
                <a:lnTo>
                  <a:pt x="13" y="0"/>
                </a:lnTo>
                <a:lnTo>
                  <a:pt x="17" y="0"/>
                </a:lnTo>
                <a:lnTo>
                  <a:pt x="22" y="0"/>
                </a:lnTo>
                <a:lnTo>
                  <a:pt x="24" y="0"/>
                </a:lnTo>
                <a:lnTo>
                  <a:pt x="25" y="1"/>
                </a:lnTo>
                <a:lnTo>
                  <a:pt x="26" y="1"/>
                </a:lnTo>
                <a:lnTo>
                  <a:pt x="22" y="3"/>
                </a:lnTo>
                <a:lnTo>
                  <a:pt x="21" y="3"/>
                </a:lnTo>
                <a:lnTo>
                  <a:pt x="17" y="1"/>
                </a:lnTo>
                <a:lnTo>
                  <a:pt x="20" y="3"/>
                </a:lnTo>
                <a:lnTo>
                  <a:pt x="26" y="3"/>
                </a:lnTo>
                <a:lnTo>
                  <a:pt x="26" y="5"/>
                </a:lnTo>
                <a:lnTo>
                  <a:pt x="28" y="5"/>
                </a:lnTo>
                <a:lnTo>
                  <a:pt x="24" y="5"/>
                </a:lnTo>
                <a:lnTo>
                  <a:pt x="22" y="6"/>
                </a:lnTo>
                <a:lnTo>
                  <a:pt x="26" y="6"/>
                </a:lnTo>
                <a:lnTo>
                  <a:pt x="29" y="8"/>
                </a:lnTo>
                <a:lnTo>
                  <a:pt x="29" y="9"/>
                </a:lnTo>
                <a:lnTo>
                  <a:pt x="30" y="9"/>
                </a:lnTo>
                <a:lnTo>
                  <a:pt x="30" y="11"/>
                </a:lnTo>
                <a:lnTo>
                  <a:pt x="32" y="12"/>
                </a:lnTo>
                <a:lnTo>
                  <a:pt x="30" y="12"/>
                </a:lnTo>
                <a:lnTo>
                  <a:pt x="29" y="11"/>
                </a:lnTo>
                <a:lnTo>
                  <a:pt x="28" y="11"/>
                </a:lnTo>
                <a:lnTo>
                  <a:pt x="28" y="9"/>
                </a:lnTo>
                <a:lnTo>
                  <a:pt x="26" y="9"/>
                </a:lnTo>
                <a:lnTo>
                  <a:pt x="25" y="8"/>
                </a:lnTo>
                <a:lnTo>
                  <a:pt x="20" y="9"/>
                </a:lnTo>
                <a:lnTo>
                  <a:pt x="18" y="8"/>
                </a:lnTo>
                <a:lnTo>
                  <a:pt x="18" y="6"/>
                </a:lnTo>
                <a:lnTo>
                  <a:pt x="17" y="6"/>
                </a:lnTo>
                <a:lnTo>
                  <a:pt x="16" y="5"/>
                </a:lnTo>
                <a:lnTo>
                  <a:pt x="14" y="5"/>
                </a:lnTo>
                <a:lnTo>
                  <a:pt x="12" y="5"/>
                </a:lnTo>
                <a:lnTo>
                  <a:pt x="10" y="6"/>
                </a:lnTo>
                <a:lnTo>
                  <a:pt x="12" y="6"/>
                </a:lnTo>
                <a:lnTo>
                  <a:pt x="14" y="9"/>
                </a:lnTo>
                <a:lnTo>
                  <a:pt x="9" y="9"/>
                </a:lnTo>
                <a:lnTo>
                  <a:pt x="9" y="8"/>
                </a:lnTo>
                <a:lnTo>
                  <a:pt x="5" y="6"/>
                </a:lnTo>
                <a:lnTo>
                  <a:pt x="6" y="6"/>
                </a:lnTo>
                <a:lnTo>
                  <a:pt x="9" y="5"/>
                </a:lnTo>
                <a:lnTo>
                  <a:pt x="10" y="5"/>
                </a:lnTo>
                <a:lnTo>
                  <a:pt x="9" y="3"/>
                </a:lnTo>
                <a:lnTo>
                  <a:pt x="8" y="5"/>
                </a:lnTo>
                <a:lnTo>
                  <a:pt x="6" y="5"/>
                </a:lnTo>
                <a:lnTo>
                  <a:pt x="2" y="5"/>
                </a:lnTo>
                <a:lnTo>
                  <a:pt x="1" y="5"/>
                </a:lnTo>
                <a:lnTo>
                  <a:pt x="0" y="3"/>
                </a:lnTo>
                <a:lnTo>
                  <a:pt x="1" y="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87" name="Freeform 1214"/>
          <p:cNvSpPr>
            <a:spLocks/>
          </p:cNvSpPr>
          <p:nvPr/>
        </p:nvSpPr>
        <p:spPr bwMode="auto">
          <a:xfrm>
            <a:off x="3710021" y="6281402"/>
            <a:ext cx="35079" cy="15033"/>
          </a:xfrm>
          <a:custGeom>
            <a:avLst/>
            <a:gdLst/>
            <a:ahLst/>
            <a:cxnLst>
              <a:cxn ang="0">
                <a:pos x="3" y="2"/>
              </a:cxn>
              <a:cxn ang="0">
                <a:pos x="2" y="2"/>
              </a:cxn>
              <a:cxn ang="0">
                <a:pos x="0" y="2"/>
              </a:cxn>
              <a:cxn ang="0">
                <a:pos x="7" y="0"/>
              </a:cxn>
              <a:cxn ang="0">
                <a:pos x="11" y="2"/>
              </a:cxn>
              <a:cxn ang="0">
                <a:pos x="16" y="2"/>
              </a:cxn>
              <a:cxn ang="0">
                <a:pos x="18" y="2"/>
              </a:cxn>
              <a:cxn ang="0">
                <a:pos x="18" y="5"/>
              </a:cxn>
              <a:cxn ang="0">
                <a:pos x="18" y="7"/>
              </a:cxn>
              <a:cxn ang="0">
                <a:pos x="16" y="7"/>
              </a:cxn>
              <a:cxn ang="0">
                <a:pos x="15" y="8"/>
              </a:cxn>
              <a:cxn ang="0">
                <a:pos x="14" y="8"/>
              </a:cxn>
              <a:cxn ang="0">
                <a:pos x="14" y="7"/>
              </a:cxn>
              <a:cxn ang="0">
                <a:pos x="11" y="7"/>
              </a:cxn>
              <a:cxn ang="0">
                <a:pos x="10" y="7"/>
              </a:cxn>
              <a:cxn ang="0">
                <a:pos x="8" y="7"/>
              </a:cxn>
              <a:cxn ang="0">
                <a:pos x="4" y="5"/>
              </a:cxn>
              <a:cxn ang="0">
                <a:pos x="3" y="3"/>
              </a:cxn>
              <a:cxn ang="0">
                <a:pos x="3" y="2"/>
              </a:cxn>
            </a:cxnLst>
            <a:rect l="0" t="0" r="r" b="b"/>
            <a:pathLst>
              <a:path w="18" h="8">
                <a:moveTo>
                  <a:pt x="3" y="2"/>
                </a:moveTo>
                <a:lnTo>
                  <a:pt x="2" y="2"/>
                </a:lnTo>
                <a:lnTo>
                  <a:pt x="0" y="2"/>
                </a:lnTo>
                <a:lnTo>
                  <a:pt x="7" y="0"/>
                </a:lnTo>
                <a:lnTo>
                  <a:pt x="11" y="2"/>
                </a:lnTo>
                <a:lnTo>
                  <a:pt x="16" y="2"/>
                </a:lnTo>
                <a:lnTo>
                  <a:pt x="18" y="2"/>
                </a:lnTo>
                <a:lnTo>
                  <a:pt x="18" y="5"/>
                </a:lnTo>
                <a:lnTo>
                  <a:pt x="18" y="7"/>
                </a:lnTo>
                <a:lnTo>
                  <a:pt x="16" y="7"/>
                </a:lnTo>
                <a:lnTo>
                  <a:pt x="15" y="8"/>
                </a:lnTo>
                <a:lnTo>
                  <a:pt x="14" y="8"/>
                </a:lnTo>
                <a:lnTo>
                  <a:pt x="14" y="7"/>
                </a:lnTo>
                <a:lnTo>
                  <a:pt x="11" y="7"/>
                </a:lnTo>
                <a:lnTo>
                  <a:pt x="10" y="7"/>
                </a:lnTo>
                <a:lnTo>
                  <a:pt x="8" y="7"/>
                </a:lnTo>
                <a:lnTo>
                  <a:pt x="4" y="5"/>
                </a:lnTo>
                <a:lnTo>
                  <a:pt x="3" y="3"/>
                </a:lnTo>
                <a:lnTo>
                  <a:pt x="3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88" name="Freeform 1215"/>
          <p:cNvSpPr>
            <a:spLocks/>
          </p:cNvSpPr>
          <p:nvPr/>
        </p:nvSpPr>
        <p:spPr bwMode="auto">
          <a:xfrm>
            <a:off x="3710021" y="6281402"/>
            <a:ext cx="35079" cy="15033"/>
          </a:xfrm>
          <a:custGeom>
            <a:avLst/>
            <a:gdLst/>
            <a:ahLst/>
            <a:cxnLst>
              <a:cxn ang="0">
                <a:pos x="3" y="2"/>
              </a:cxn>
              <a:cxn ang="0">
                <a:pos x="2" y="2"/>
              </a:cxn>
              <a:cxn ang="0">
                <a:pos x="0" y="2"/>
              </a:cxn>
              <a:cxn ang="0">
                <a:pos x="7" y="0"/>
              </a:cxn>
              <a:cxn ang="0">
                <a:pos x="11" y="2"/>
              </a:cxn>
              <a:cxn ang="0">
                <a:pos x="16" y="2"/>
              </a:cxn>
              <a:cxn ang="0">
                <a:pos x="18" y="2"/>
              </a:cxn>
              <a:cxn ang="0">
                <a:pos x="18" y="5"/>
              </a:cxn>
              <a:cxn ang="0">
                <a:pos x="18" y="7"/>
              </a:cxn>
              <a:cxn ang="0">
                <a:pos x="16" y="7"/>
              </a:cxn>
              <a:cxn ang="0">
                <a:pos x="15" y="8"/>
              </a:cxn>
              <a:cxn ang="0">
                <a:pos x="14" y="8"/>
              </a:cxn>
              <a:cxn ang="0">
                <a:pos x="14" y="7"/>
              </a:cxn>
              <a:cxn ang="0">
                <a:pos x="11" y="7"/>
              </a:cxn>
              <a:cxn ang="0">
                <a:pos x="10" y="7"/>
              </a:cxn>
              <a:cxn ang="0">
                <a:pos x="8" y="7"/>
              </a:cxn>
              <a:cxn ang="0">
                <a:pos x="4" y="5"/>
              </a:cxn>
              <a:cxn ang="0">
                <a:pos x="3" y="3"/>
              </a:cxn>
              <a:cxn ang="0">
                <a:pos x="3" y="2"/>
              </a:cxn>
            </a:cxnLst>
            <a:rect l="0" t="0" r="r" b="b"/>
            <a:pathLst>
              <a:path w="18" h="8">
                <a:moveTo>
                  <a:pt x="3" y="2"/>
                </a:moveTo>
                <a:lnTo>
                  <a:pt x="2" y="2"/>
                </a:lnTo>
                <a:lnTo>
                  <a:pt x="0" y="2"/>
                </a:lnTo>
                <a:lnTo>
                  <a:pt x="7" y="0"/>
                </a:lnTo>
                <a:lnTo>
                  <a:pt x="11" y="2"/>
                </a:lnTo>
                <a:lnTo>
                  <a:pt x="16" y="2"/>
                </a:lnTo>
                <a:lnTo>
                  <a:pt x="18" y="2"/>
                </a:lnTo>
                <a:lnTo>
                  <a:pt x="18" y="5"/>
                </a:lnTo>
                <a:lnTo>
                  <a:pt x="18" y="7"/>
                </a:lnTo>
                <a:lnTo>
                  <a:pt x="16" y="7"/>
                </a:lnTo>
                <a:lnTo>
                  <a:pt x="15" y="8"/>
                </a:lnTo>
                <a:lnTo>
                  <a:pt x="14" y="8"/>
                </a:lnTo>
                <a:lnTo>
                  <a:pt x="14" y="7"/>
                </a:lnTo>
                <a:lnTo>
                  <a:pt x="11" y="7"/>
                </a:lnTo>
                <a:lnTo>
                  <a:pt x="10" y="7"/>
                </a:lnTo>
                <a:lnTo>
                  <a:pt x="8" y="7"/>
                </a:lnTo>
                <a:lnTo>
                  <a:pt x="4" y="5"/>
                </a:lnTo>
                <a:lnTo>
                  <a:pt x="3" y="3"/>
                </a:lnTo>
                <a:lnTo>
                  <a:pt x="3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89" name="Freeform 1216"/>
          <p:cNvSpPr>
            <a:spLocks/>
          </p:cNvSpPr>
          <p:nvPr/>
        </p:nvSpPr>
        <p:spPr bwMode="auto">
          <a:xfrm>
            <a:off x="3756792" y="6289994"/>
            <a:ext cx="5846" cy="429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3" y="0"/>
              </a:cxn>
              <a:cxn ang="0">
                <a:pos x="3" y="2"/>
              </a:cxn>
              <a:cxn ang="0">
                <a:pos x="2" y="2"/>
              </a:cxn>
              <a:cxn ang="0">
                <a:pos x="0" y="2"/>
              </a:cxn>
            </a:cxnLst>
            <a:rect l="0" t="0" r="r" b="b"/>
            <a:pathLst>
              <a:path w="3" h="2">
                <a:moveTo>
                  <a:pt x="0" y="2"/>
                </a:moveTo>
                <a:lnTo>
                  <a:pt x="3" y="0"/>
                </a:lnTo>
                <a:lnTo>
                  <a:pt x="3" y="2"/>
                </a:lnTo>
                <a:lnTo>
                  <a:pt x="2" y="2"/>
                </a:lnTo>
                <a:lnTo>
                  <a:pt x="0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90" name="Freeform 1217"/>
          <p:cNvSpPr>
            <a:spLocks/>
          </p:cNvSpPr>
          <p:nvPr/>
        </p:nvSpPr>
        <p:spPr bwMode="auto">
          <a:xfrm>
            <a:off x="3756792" y="6289994"/>
            <a:ext cx="5846" cy="429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3" y="0"/>
              </a:cxn>
              <a:cxn ang="0">
                <a:pos x="3" y="2"/>
              </a:cxn>
              <a:cxn ang="0">
                <a:pos x="2" y="2"/>
              </a:cxn>
              <a:cxn ang="0">
                <a:pos x="0" y="2"/>
              </a:cxn>
            </a:cxnLst>
            <a:rect l="0" t="0" r="r" b="b"/>
            <a:pathLst>
              <a:path w="3" h="2">
                <a:moveTo>
                  <a:pt x="0" y="2"/>
                </a:moveTo>
                <a:lnTo>
                  <a:pt x="3" y="0"/>
                </a:lnTo>
                <a:lnTo>
                  <a:pt x="3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91" name="Freeform 1218"/>
          <p:cNvSpPr>
            <a:spLocks/>
          </p:cNvSpPr>
          <p:nvPr/>
        </p:nvSpPr>
        <p:spPr bwMode="auto">
          <a:xfrm>
            <a:off x="3747048" y="6285698"/>
            <a:ext cx="7795" cy="2146"/>
          </a:xfrm>
          <a:custGeom>
            <a:avLst/>
            <a:gdLst/>
            <a:ahLst/>
            <a:cxnLst>
              <a:cxn ang="0">
                <a:pos x="4" y="1"/>
              </a:cxn>
              <a:cxn ang="0">
                <a:pos x="3" y="1"/>
              </a:cxn>
              <a:cxn ang="0">
                <a:pos x="0" y="1"/>
              </a:cxn>
              <a:cxn ang="0">
                <a:pos x="0" y="0"/>
              </a:cxn>
              <a:cxn ang="0">
                <a:pos x="3" y="0"/>
              </a:cxn>
              <a:cxn ang="0">
                <a:pos x="4" y="1"/>
              </a:cxn>
            </a:cxnLst>
            <a:rect l="0" t="0" r="r" b="b"/>
            <a:pathLst>
              <a:path w="4" h="1">
                <a:moveTo>
                  <a:pt x="4" y="1"/>
                </a:moveTo>
                <a:lnTo>
                  <a:pt x="3" y="1"/>
                </a:lnTo>
                <a:lnTo>
                  <a:pt x="0" y="1"/>
                </a:lnTo>
                <a:lnTo>
                  <a:pt x="0" y="0"/>
                </a:lnTo>
                <a:lnTo>
                  <a:pt x="3" y="0"/>
                </a:lnTo>
                <a:lnTo>
                  <a:pt x="4" y="1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92" name="Freeform 1219"/>
          <p:cNvSpPr>
            <a:spLocks/>
          </p:cNvSpPr>
          <p:nvPr/>
        </p:nvSpPr>
        <p:spPr bwMode="auto">
          <a:xfrm>
            <a:off x="3747048" y="6285698"/>
            <a:ext cx="7795" cy="2146"/>
          </a:xfrm>
          <a:custGeom>
            <a:avLst/>
            <a:gdLst/>
            <a:ahLst/>
            <a:cxnLst>
              <a:cxn ang="0">
                <a:pos x="4" y="1"/>
              </a:cxn>
              <a:cxn ang="0">
                <a:pos x="3" y="1"/>
              </a:cxn>
              <a:cxn ang="0">
                <a:pos x="0" y="1"/>
              </a:cxn>
              <a:cxn ang="0">
                <a:pos x="0" y="0"/>
              </a:cxn>
              <a:cxn ang="0">
                <a:pos x="3" y="0"/>
              </a:cxn>
              <a:cxn ang="0">
                <a:pos x="4" y="1"/>
              </a:cxn>
            </a:cxnLst>
            <a:rect l="0" t="0" r="r" b="b"/>
            <a:pathLst>
              <a:path w="4" h="1">
                <a:moveTo>
                  <a:pt x="4" y="1"/>
                </a:moveTo>
                <a:lnTo>
                  <a:pt x="3" y="1"/>
                </a:lnTo>
                <a:lnTo>
                  <a:pt x="0" y="1"/>
                </a:lnTo>
                <a:lnTo>
                  <a:pt x="0" y="0"/>
                </a:lnTo>
                <a:lnTo>
                  <a:pt x="3" y="0"/>
                </a:lnTo>
                <a:lnTo>
                  <a:pt x="4" y="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93" name="Rectangle 1220"/>
          <p:cNvSpPr>
            <a:spLocks noChangeArrowheads="1"/>
          </p:cNvSpPr>
          <p:nvPr/>
        </p:nvSpPr>
        <p:spPr bwMode="auto">
          <a:xfrm>
            <a:off x="4021831" y="5587724"/>
            <a:ext cx="5846" cy="2148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 w="3175">
            <a:solidFill>
              <a:sysClr val="window" lastClr="FFFFFF">
                <a:lumMod val="95000"/>
              </a:sysClr>
            </a:solidFill>
            <a:miter lim="800000"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94" name="Rectangle 1221"/>
          <p:cNvSpPr>
            <a:spLocks noChangeArrowheads="1"/>
          </p:cNvSpPr>
          <p:nvPr/>
        </p:nvSpPr>
        <p:spPr bwMode="auto">
          <a:xfrm>
            <a:off x="3747048" y="6294288"/>
            <a:ext cx="5847" cy="2146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 w="3175">
            <a:solidFill>
              <a:sysClr val="window" lastClr="FFFFFF">
                <a:lumMod val="95000"/>
              </a:sysClr>
            </a:solidFill>
            <a:miter lim="800000"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95" name="Freeform 1222"/>
          <p:cNvSpPr>
            <a:spLocks/>
          </p:cNvSpPr>
          <p:nvPr/>
        </p:nvSpPr>
        <p:spPr bwMode="auto">
          <a:xfrm>
            <a:off x="6294149" y="2222424"/>
            <a:ext cx="5846" cy="0"/>
          </a:xfrm>
          <a:custGeom>
            <a:avLst/>
            <a:gdLst/>
            <a:ahLst/>
            <a:cxnLst>
              <a:cxn ang="0">
                <a:pos x="3" y="0"/>
              </a:cxn>
              <a:cxn ang="0">
                <a:pos x="2" y="0"/>
              </a:cxn>
              <a:cxn ang="0">
                <a:pos x="0" y="0"/>
              </a:cxn>
              <a:cxn ang="0">
                <a:pos x="2" y="1"/>
              </a:cxn>
              <a:cxn ang="0">
                <a:pos x="3" y="1"/>
              </a:cxn>
              <a:cxn ang="0">
                <a:pos x="3" y="0"/>
              </a:cxn>
            </a:cxnLst>
            <a:rect l="0" t="0" r="r" b="b"/>
            <a:pathLst>
              <a:path w="3" h="1">
                <a:moveTo>
                  <a:pt x="3" y="0"/>
                </a:moveTo>
                <a:lnTo>
                  <a:pt x="2" y="0"/>
                </a:lnTo>
                <a:lnTo>
                  <a:pt x="0" y="0"/>
                </a:lnTo>
                <a:lnTo>
                  <a:pt x="2" y="1"/>
                </a:lnTo>
                <a:lnTo>
                  <a:pt x="3" y="1"/>
                </a:lnTo>
                <a:lnTo>
                  <a:pt x="3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96" name="Freeform 1223"/>
          <p:cNvSpPr>
            <a:spLocks/>
          </p:cNvSpPr>
          <p:nvPr/>
        </p:nvSpPr>
        <p:spPr bwMode="auto">
          <a:xfrm>
            <a:off x="6294149" y="2222424"/>
            <a:ext cx="5846" cy="0"/>
          </a:xfrm>
          <a:custGeom>
            <a:avLst/>
            <a:gdLst/>
            <a:ahLst/>
            <a:cxnLst>
              <a:cxn ang="0">
                <a:pos x="3" y="0"/>
              </a:cxn>
              <a:cxn ang="0">
                <a:pos x="2" y="0"/>
              </a:cxn>
              <a:cxn ang="0">
                <a:pos x="0" y="0"/>
              </a:cxn>
              <a:cxn ang="0">
                <a:pos x="2" y="1"/>
              </a:cxn>
              <a:cxn ang="0">
                <a:pos x="3" y="1"/>
              </a:cxn>
              <a:cxn ang="0">
                <a:pos x="3" y="0"/>
              </a:cxn>
            </a:cxnLst>
            <a:rect l="0" t="0" r="r" b="b"/>
            <a:pathLst>
              <a:path w="3" h="1">
                <a:moveTo>
                  <a:pt x="3" y="0"/>
                </a:moveTo>
                <a:lnTo>
                  <a:pt x="2" y="0"/>
                </a:lnTo>
                <a:lnTo>
                  <a:pt x="0" y="0"/>
                </a:lnTo>
                <a:lnTo>
                  <a:pt x="2" y="1"/>
                </a:lnTo>
                <a:lnTo>
                  <a:pt x="3" y="1"/>
                </a:lnTo>
                <a:lnTo>
                  <a:pt x="3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97" name="Freeform 1224"/>
          <p:cNvSpPr>
            <a:spLocks/>
          </p:cNvSpPr>
          <p:nvPr/>
        </p:nvSpPr>
        <p:spPr bwMode="auto">
          <a:xfrm>
            <a:off x="6031059" y="2993414"/>
            <a:ext cx="91594" cy="53690"/>
          </a:xfrm>
          <a:custGeom>
            <a:avLst/>
            <a:gdLst/>
            <a:ahLst/>
            <a:cxnLst>
              <a:cxn ang="0">
                <a:pos x="47" y="0"/>
              </a:cxn>
              <a:cxn ang="0">
                <a:pos x="46" y="3"/>
              </a:cxn>
              <a:cxn ang="0">
                <a:pos x="43" y="9"/>
              </a:cxn>
              <a:cxn ang="0">
                <a:pos x="39" y="16"/>
              </a:cxn>
              <a:cxn ang="0">
                <a:pos x="39" y="17"/>
              </a:cxn>
              <a:cxn ang="0">
                <a:pos x="40" y="19"/>
              </a:cxn>
              <a:cxn ang="0">
                <a:pos x="42" y="22"/>
              </a:cxn>
              <a:cxn ang="0">
                <a:pos x="40" y="27"/>
              </a:cxn>
              <a:cxn ang="0">
                <a:pos x="40" y="28"/>
              </a:cxn>
              <a:cxn ang="0">
                <a:pos x="36" y="28"/>
              </a:cxn>
              <a:cxn ang="0">
                <a:pos x="32" y="28"/>
              </a:cxn>
              <a:cxn ang="0">
                <a:pos x="30" y="25"/>
              </a:cxn>
              <a:cxn ang="0">
                <a:pos x="27" y="24"/>
              </a:cxn>
              <a:cxn ang="0">
                <a:pos x="23" y="22"/>
              </a:cxn>
              <a:cxn ang="0">
                <a:pos x="22" y="22"/>
              </a:cxn>
              <a:cxn ang="0">
                <a:pos x="19" y="20"/>
              </a:cxn>
              <a:cxn ang="0">
                <a:pos x="16" y="19"/>
              </a:cxn>
              <a:cxn ang="0">
                <a:pos x="14" y="17"/>
              </a:cxn>
              <a:cxn ang="0">
                <a:pos x="11" y="14"/>
              </a:cxn>
              <a:cxn ang="0">
                <a:pos x="7" y="14"/>
              </a:cxn>
              <a:cxn ang="0">
                <a:pos x="3" y="13"/>
              </a:cxn>
              <a:cxn ang="0">
                <a:pos x="0" y="11"/>
              </a:cxn>
              <a:cxn ang="0">
                <a:pos x="0" y="6"/>
              </a:cxn>
              <a:cxn ang="0">
                <a:pos x="0" y="5"/>
              </a:cxn>
              <a:cxn ang="0">
                <a:pos x="2" y="3"/>
              </a:cxn>
              <a:cxn ang="0">
                <a:pos x="3" y="2"/>
              </a:cxn>
              <a:cxn ang="0">
                <a:pos x="6" y="5"/>
              </a:cxn>
              <a:cxn ang="0">
                <a:pos x="7" y="3"/>
              </a:cxn>
              <a:cxn ang="0">
                <a:pos x="11" y="2"/>
              </a:cxn>
              <a:cxn ang="0">
                <a:pos x="18" y="5"/>
              </a:cxn>
              <a:cxn ang="0">
                <a:pos x="19" y="6"/>
              </a:cxn>
              <a:cxn ang="0">
                <a:pos x="20" y="6"/>
              </a:cxn>
              <a:cxn ang="0">
                <a:pos x="22" y="5"/>
              </a:cxn>
              <a:cxn ang="0">
                <a:pos x="31" y="5"/>
              </a:cxn>
              <a:cxn ang="0">
                <a:pos x="32" y="3"/>
              </a:cxn>
              <a:cxn ang="0">
                <a:pos x="35" y="3"/>
              </a:cxn>
              <a:cxn ang="0">
                <a:pos x="40" y="3"/>
              </a:cxn>
              <a:cxn ang="0">
                <a:pos x="42" y="2"/>
              </a:cxn>
              <a:cxn ang="0">
                <a:pos x="46" y="2"/>
              </a:cxn>
              <a:cxn ang="0">
                <a:pos x="47" y="0"/>
              </a:cxn>
            </a:cxnLst>
            <a:rect l="0" t="0" r="r" b="b"/>
            <a:pathLst>
              <a:path w="47" h="28">
                <a:moveTo>
                  <a:pt x="47" y="0"/>
                </a:moveTo>
                <a:lnTo>
                  <a:pt x="46" y="3"/>
                </a:lnTo>
                <a:lnTo>
                  <a:pt x="43" y="9"/>
                </a:lnTo>
                <a:lnTo>
                  <a:pt x="39" y="16"/>
                </a:lnTo>
                <a:lnTo>
                  <a:pt x="39" y="17"/>
                </a:lnTo>
                <a:lnTo>
                  <a:pt x="40" y="19"/>
                </a:lnTo>
                <a:lnTo>
                  <a:pt x="42" y="22"/>
                </a:lnTo>
                <a:lnTo>
                  <a:pt x="40" y="27"/>
                </a:lnTo>
                <a:lnTo>
                  <a:pt x="40" y="28"/>
                </a:lnTo>
                <a:lnTo>
                  <a:pt x="36" y="28"/>
                </a:lnTo>
                <a:lnTo>
                  <a:pt x="32" y="28"/>
                </a:lnTo>
                <a:lnTo>
                  <a:pt x="30" y="25"/>
                </a:lnTo>
                <a:lnTo>
                  <a:pt x="27" y="24"/>
                </a:lnTo>
                <a:lnTo>
                  <a:pt x="23" y="22"/>
                </a:lnTo>
                <a:lnTo>
                  <a:pt x="22" y="22"/>
                </a:lnTo>
                <a:lnTo>
                  <a:pt x="19" y="20"/>
                </a:lnTo>
                <a:lnTo>
                  <a:pt x="16" y="19"/>
                </a:lnTo>
                <a:lnTo>
                  <a:pt x="14" y="17"/>
                </a:lnTo>
                <a:lnTo>
                  <a:pt x="11" y="14"/>
                </a:lnTo>
                <a:lnTo>
                  <a:pt x="7" y="14"/>
                </a:lnTo>
                <a:lnTo>
                  <a:pt x="3" y="13"/>
                </a:lnTo>
                <a:lnTo>
                  <a:pt x="0" y="11"/>
                </a:lnTo>
                <a:lnTo>
                  <a:pt x="0" y="6"/>
                </a:lnTo>
                <a:lnTo>
                  <a:pt x="0" y="5"/>
                </a:lnTo>
                <a:lnTo>
                  <a:pt x="2" y="3"/>
                </a:lnTo>
                <a:lnTo>
                  <a:pt x="3" y="2"/>
                </a:lnTo>
                <a:lnTo>
                  <a:pt x="6" y="5"/>
                </a:lnTo>
                <a:lnTo>
                  <a:pt x="7" y="3"/>
                </a:lnTo>
                <a:lnTo>
                  <a:pt x="11" y="2"/>
                </a:lnTo>
                <a:lnTo>
                  <a:pt x="18" y="5"/>
                </a:lnTo>
                <a:lnTo>
                  <a:pt x="19" y="6"/>
                </a:lnTo>
                <a:lnTo>
                  <a:pt x="20" y="6"/>
                </a:lnTo>
                <a:lnTo>
                  <a:pt x="22" y="5"/>
                </a:lnTo>
                <a:lnTo>
                  <a:pt x="31" y="5"/>
                </a:lnTo>
                <a:lnTo>
                  <a:pt x="32" y="3"/>
                </a:lnTo>
                <a:lnTo>
                  <a:pt x="35" y="3"/>
                </a:lnTo>
                <a:lnTo>
                  <a:pt x="40" y="3"/>
                </a:lnTo>
                <a:lnTo>
                  <a:pt x="42" y="2"/>
                </a:lnTo>
                <a:lnTo>
                  <a:pt x="46" y="2"/>
                </a:lnTo>
                <a:lnTo>
                  <a:pt x="47" y="0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98" name="Freeform 1225"/>
          <p:cNvSpPr>
            <a:spLocks/>
          </p:cNvSpPr>
          <p:nvPr/>
        </p:nvSpPr>
        <p:spPr bwMode="auto">
          <a:xfrm>
            <a:off x="6031059" y="2993414"/>
            <a:ext cx="91594" cy="53690"/>
          </a:xfrm>
          <a:custGeom>
            <a:avLst/>
            <a:gdLst/>
            <a:ahLst/>
            <a:cxnLst>
              <a:cxn ang="0">
                <a:pos x="47" y="0"/>
              </a:cxn>
              <a:cxn ang="0">
                <a:pos x="46" y="3"/>
              </a:cxn>
              <a:cxn ang="0">
                <a:pos x="43" y="9"/>
              </a:cxn>
              <a:cxn ang="0">
                <a:pos x="39" y="16"/>
              </a:cxn>
              <a:cxn ang="0">
                <a:pos x="39" y="17"/>
              </a:cxn>
              <a:cxn ang="0">
                <a:pos x="40" y="19"/>
              </a:cxn>
              <a:cxn ang="0">
                <a:pos x="42" y="22"/>
              </a:cxn>
              <a:cxn ang="0">
                <a:pos x="40" y="27"/>
              </a:cxn>
              <a:cxn ang="0">
                <a:pos x="40" y="28"/>
              </a:cxn>
              <a:cxn ang="0">
                <a:pos x="36" y="28"/>
              </a:cxn>
              <a:cxn ang="0">
                <a:pos x="32" y="28"/>
              </a:cxn>
              <a:cxn ang="0">
                <a:pos x="30" y="25"/>
              </a:cxn>
              <a:cxn ang="0">
                <a:pos x="27" y="24"/>
              </a:cxn>
              <a:cxn ang="0">
                <a:pos x="23" y="22"/>
              </a:cxn>
              <a:cxn ang="0">
                <a:pos x="22" y="22"/>
              </a:cxn>
              <a:cxn ang="0">
                <a:pos x="19" y="20"/>
              </a:cxn>
              <a:cxn ang="0">
                <a:pos x="16" y="19"/>
              </a:cxn>
              <a:cxn ang="0">
                <a:pos x="14" y="17"/>
              </a:cxn>
              <a:cxn ang="0">
                <a:pos x="11" y="14"/>
              </a:cxn>
              <a:cxn ang="0">
                <a:pos x="7" y="14"/>
              </a:cxn>
              <a:cxn ang="0">
                <a:pos x="3" y="13"/>
              </a:cxn>
              <a:cxn ang="0">
                <a:pos x="0" y="11"/>
              </a:cxn>
              <a:cxn ang="0">
                <a:pos x="0" y="6"/>
              </a:cxn>
              <a:cxn ang="0">
                <a:pos x="0" y="5"/>
              </a:cxn>
              <a:cxn ang="0">
                <a:pos x="2" y="3"/>
              </a:cxn>
              <a:cxn ang="0">
                <a:pos x="3" y="2"/>
              </a:cxn>
              <a:cxn ang="0">
                <a:pos x="6" y="5"/>
              </a:cxn>
              <a:cxn ang="0">
                <a:pos x="7" y="3"/>
              </a:cxn>
              <a:cxn ang="0">
                <a:pos x="11" y="2"/>
              </a:cxn>
              <a:cxn ang="0">
                <a:pos x="18" y="5"/>
              </a:cxn>
              <a:cxn ang="0">
                <a:pos x="19" y="6"/>
              </a:cxn>
              <a:cxn ang="0">
                <a:pos x="20" y="6"/>
              </a:cxn>
              <a:cxn ang="0">
                <a:pos x="22" y="5"/>
              </a:cxn>
              <a:cxn ang="0">
                <a:pos x="31" y="5"/>
              </a:cxn>
              <a:cxn ang="0">
                <a:pos x="32" y="3"/>
              </a:cxn>
              <a:cxn ang="0">
                <a:pos x="35" y="3"/>
              </a:cxn>
              <a:cxn ang="0">
                <a:pos x="40" y="3"/>
              </a:cxn>
              <a:cxn ang="0">
                <a:pos x="42" y="2"/>
              </a:cxn>
              <a:cxn ang="0">
                <a:pos x="46" y="2"/>
              </a:cxn>
              <a:cxn ang="0">
                <a:pos x="47" y="0"/>
              </a:cxn>
            </a:cxnLst>
            <a:rect l="0" t="0" r="r" b="b"/>
            <a:pathLst>
              <a:path w="47" h="28">
                <a:moveTo>
                  <a:pt x="47" y="0"/>
                </a:moveTo>
                <a:lnTo>
                  <a:pt x="46" y="3"/>
                </a:lnTo>
                <a:lnTo>
                  <a:pt x="43" y="9"/>
                </a:lnTo>
                <a:lnTo>
                  <a:pt x="39" y="16"/>
                </a:lnTo>
                <a:lnTo>
                  <a:pt x="39" y="17"/>
                </a:lnTo>
                <a:lnTo>
                  <a:pt x="40" y="19"/>
                </a:lnTo>
                <a:lnTo>
                  <a:pt x="42" y="22"/>
                </a:lnTo>
                <a:lnTo>
                  <a:pt x="40" y="27"/>
                </a:lnTo>
                <a:lnTo>
                  <a:pt x="40" y="28"/>
                </a:lnTo>
                <a:lnTo>
                  <a:pt x="36" y="28"/>
                </a:lnTo>
                <a:lnTo>
                  <a:pt x="32" y="28"/>
                </a:lnTo>
                <a:lnTo>
                  <a:pt x="30" y="25"/>
                </a:lnTo>
                <a:lnTo>
                  <a:pt x="27" y="24"/>
                </a:lnTo>
                <a:lnTo>
                  <a:pt x="23" y="22"/>
                </a:lnTo>
                <a:lnTo>
                  <a:pt x="22" y="22"/>
                </a:lnTo>
                <a:lnTo>
                  <a:pt x="19" y="20"/>
                </a:lnTo>
                <a:lnTo>
                  <a:pt x="16" y="19"/>
                </a:lnTo>
                <a:lnTo>
                  <a:pt x="14" y="17"/>
                </a:lnTo>
                <a:lnTo>
                  <a:pt x="11" y="14"/>
                </a:lnTo>
                <a:lnTo>
                  <a:pt x="7" y="14"/>
                </a:lnTo>
                <a:lnTo>
                  <a:pt x="3" y="13"/>
                </a:lnTo>
                <a:lnTo>
                  <a:pt x="0" y="11"/>
                </a:lnTo>
                <a:lnTo>
                  <a:pt x="0" y="6"/>
                </a:lnTo>
                <a:lnTo>
                  <a:pt x="0" y="5"/>
                </a:lnTo>
                <a:lnTo>
                  <a:pt x="2" y="3"/>
                </a:lnTo>
                <a:lnTo>
                  <a:pt x="3" y="2"/>
                </a:lnTo>
                <a:lnTo>
                  <a:pt x="6" y="5"/>
                </a:lnTo>
                <a:lnTo>
                  <a:pt x="7" y="3"/>
                </a:lnTo>
                <a:lnTo>
                  <a:pt x="11" y="2"/>
                </a:lnTo>
                <a:lnTo>
                  <a:pt x="18" y="5"/>
                </a:lnTo>
                <a:lnTo>
                  <a:pt x="19" y="6"/>
                </a:lnTo>
                <a:lnTo>
                  <a:pt x="20" y="6"/>
                </a:lnTo>
                <a:lnTo>
                  <a:pt x="22" y="5"/>
                </a:lnTo>
                <a:lnTo>
                  <a:pt x="31" y="5"/>
                </a:lnTo>
                <a:lnTo>
                  <a:pt x="32" y="3"/>
                </a:lnTo>
                <a:lnTo>
                  <a:pt x="35" y="3"/>
                </a:lnTo>
                <a:lnTo>
                  <a:pt x="40" y="3"/>
                </a:lnTo>
                <a:lnTo>
                  <a:pt x="42" y="2"/>
                </a:lnTo>
                <a:lnTo>
                  <a:pt x="46" y="2"/>
                </a:lnTo>
                <a:lnTo>
                  <a:pt x="47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299" name="Freeform 1226"/>
          <p:cNvSpPr>
            <a:spLocks/>
          </p:cNvSpPr>
          <p:nvPr/>
        </p:nvSpPr>
        <p:spPr bwMode="auto">
          <a:xfrm>
            <a:off x="5908282" y="2888183"/>
            <a:ext cx="44823" cy="88051"/>
          </a:xfrm>
          <a:custGeom>
            <a:avLst/>
            <a:gdLst/>
            <a:ahLst/>
            <a:cxnLst>
              <a:cxn ang="0">
                <a:pos x="15" y="0"/>
              </a:cxn>
              <a:cxn ang="0">
                <a:pos x="18" y="1"/>
              </a:cxn>
              <a:cxn ang="0">
                <a:pos x="19" y="1"/>
              </a:cxn>
              <a:cxn ang="0">
                <a:pos x="20" y="3"/>
              </a:cxn>
              <a:cxn ang="0">
                <a:pos x="22" y="6"/>
              </a:cxn>
              <a:cxn ang="0">
                <a:pos x="23" y="11"/>
              </a:cxn>
              <a:cxn ang="0">
                <a:pos x="23" y="15"/>
              </a:cxn>
              <a:cxn ang="0">
                <a:pos x="23" y="20"/>
              </a:cxn>
              <a:cxn ang="0">
                <a:pos x="23" y="26"/>
              </a:cxn>
              <a:cxn ang="0">
                <a:pos x="23" y="34"/>
              </a:cxn>
              <a:cxn ang="0">
                <a:pos x="22" y="36"/>
              </a:cxn>
              <a:cxn ang="0">
                <a:pos x="22" y="37"/>
              </a:cxn>
              <a:cxn ang="0">
                <a:pos x="20" y="37"/>
              </a:cxn>
              <a:cxn ang="0">
                <a:pos x="16" y="37"/>
              </a:cxn>
              <a:cxn ang="0">
                <a:pos x="15" y="39"/>
              </a:cxn>
              <a:cxn ang="0">
                <a:pos x="14" y="40"/>
              </a:cxn>
              <a:cxn ang="0">
                <a:pos x="12" y="42"/>
              </a:cxn>
              <a:cxn ang="0">
                <a:pos x="10" y="44"/>
              </a:cxn>
              <a:cxn ang="0">
                <a:pos x="8" y="42"/>
              </a:cxn>
              <a:cxn ang="0">
                <a:pos x="6" y="37"/>
              </a:cxn>
              <a:cxn ang="0">
                <a:pos x="4" y="36"/>
              </a:cxn>
              <a:cxn ang="0">
                <a:pos x="4" y="34"/>
              </a:cxn>
              <a:cxn ang="0">
                <a:pos x="4" y="33"/>
              </a:cxn>
              <a:cxn ang="0">
                <a:pos x="4" y="26"/>
              </a:cxn>
              <a:cxn ang="0">
                <a:pos x="6" y="26"/>
              </a:cxn>
              <a:cxn ang="0">
                <a:pos x="6" y="25"/>
              </a:cxn>
              <a:cxn ang="0">
                <a:pos x="6" y="23"/>
              </a:cxn>
              <a:cxn ang="0">
                <a:pos x="4" y="22"/>
              </a:cxn>
              <a:cxn ang="0">
                <a:pos x="6" y="20"/>
              </a:cxn>
              <a:cxn ang="0">
                <a:pos x="4" y="17"/>
              </a:cxn>
              <a:cxn ang="0">
                <a:pos x="4" y="15"/>
              </a:cxn>
              <a:cxn ang="0">
                <a:pos x="3" y="14"/>
              </a:cxn>
              <a:cxn ang="0">
                <a:pos x="3" y="12"/>
              </a:cxn>
              <a:cxn ang="0">
                <a:pos x="2" y="12"/>
              </a:cxn>
              <a:cxn ang="0">
                <a:pos x="0" y="11"/>
              </a:cxn>
              <a:cxn ang="0">
                <a:pos x="0" y="6"/>
              </a:cxn>
              <a:cxn ang="0">
                <a:pos x="2" y="6"/>
              </a:cxn>
              <a:cxn ang="0">
                <a:pos x="3" y="8"/>
              </a:cxn>
              <a:cxn ang="0">
                <a:pos x="6" y="8"/>
              </a:cxn>
              <a:cxn ang="0">
                <a:pos x="12" y="3"/>
              </a:cxn>
              <a:cxn ang="0">
                <a:pos x="14" y="3"/>
              </a:cxn>
              <a:cxn ang="0">
                <a:pos x="15" y="0"/>
              </a:cxn>
            </a:cxnLst>
            <a:rect l="0" t="0" r="r" b="b"/>
            <a:pathLst>
              <a:path w="23" h="44">
                <a:moveTo>
                  <a:pt x="15" y="0"/>
                </a:moveTo>
                <a:lnTo>
                  <a:pt x="18" y="1"/>
                </a:lnTo>
                <a:lnTo>
                  <a:pt x="19" y="1"/>
                </a:lnTo>
                <a:lnTo>
                  <a:pt x="20" y="3"/>
                </a:lnTo>
                <a:lnTo>
                  <a:pt x="22" y="6"/>
                </a:lnTo>
                <a:lnTo>
                  <a:pt x="23" y="11"/>
                </a:lnTo>
                <a:lnTo>
                  <a:pt x="23" y="15"/>
                </a:lnTo>
                <a:lnTo>
                  <a:pt x="23" y="20"/>
                </a:lnTo>
                <a:lnTo>
                  <a:pt x="23" y="26"/>
                </a:lnTo>
                <a:lnTo>
                  <a:pt x="23" y="34"/>
                </a:lnTo>
                <a:lnTo>
                  <a:pt x="22" y="36"/>
                </a:lnTo>
                <a:lnTo>
                  <a:pt x="22" y="37"/>
                </a:lnTo>
                <a:lnTo>
                  <a:pt x="20" y="37"/>
                </a:lnTo>
                <a:lnTo>
                  <a:pt x="16" y="37"/>
                </a:lnTo>
                <a:lnTo>
                  <a:pt x="15" y="39"/>
                </a:lnTo>
                <a:lnTo>
                  <a:pt x="14" y="40"/>
                </a:lnTo>
                <a:lnTo>
                  <a:pt x="12" y="42"/>
                </a:lnTo>
                <a:lnTo>
                  <a:pt x="10" y="44"/>
                </a:lnTo>
                <a:lnTo>
                  <a:pt x="8" y="42"/>
                </a:lnTo>
                <a:lnTo>
                  <a:pt x="6" y="37"/>
                </a:lnTo>
                <a:lnTo>
                  <a:pt x="4" y="36"/>
                </a:lnTo>
                <a:lnTo>
                  <a:pt x="4" y="34"/>
                </a:lnTo>
                <a:lnTo>
                  <a:pt x="4" y="33"/>
                </a:lnTo>
                <a:lnTo>
                  <a:pt x="4" y="26"/>
                </a:lnTo>
                <a:lnTo>
                  <a:pt x="6" y="26"/>
                </a:lnTo>
                <a:lnTo>
                  <a:pt x="6" y="25"/>
                </a:lnTo>
                <a:lnTo>
                  <a:pt x="6" y="23"/>
                </a:lnTo>
                <a:lnTo>
                  <a:pt x="4" y="22"/>
                </a:lnTo>
                <a:lnTo>
                  <a:pt x="6" y="20"/>
                </a:lnTo>
                <a:lnTo>
                  <a:pt x="4" y="17"/>
                </a:lnTo>
                <a:lnTo>
                  <a:pt x="4" y="15"/>
                </a:lnTo>
                <a:lnTo>
                  <a:pt x="3" y="14"/>
                </a:lnTo>
                <a:lnTo>
                  <a:pt x="3" y="12"/>
                </a:lnTo>
                <a:lnTo>
                  <a:pt x="2" y="12"/>
                </a:lnTo>
                <a:lnTo>
                  <a:pt x="0" y="11"/>
                </a:lnTo>
                <a:lnTo>
                  <a:pt x="0" y="6"/>
                </a:lnTo>
                <a:lnTo>
                  <a:pt x="2" y="6"/>
                </a:lnTo>
                <a:lnTo>
                  <a:pt x="3" y="8"/>
                </a:lnTo>
                <a:lnTo>
                  <a:pt x="6" y="8"/>
                </a:lnTo>
                <a:lnTo>
                  <a:pt x="12" y="3"/>
                </a:lnTo>
                <a:lnTo>
                  <a:pt x="14" y="3"/>
                </a:lnTo>
                <a:lnTo>
                  <a:pt x="15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00" name="Freeform 1227"/>
          <p:cNvSpPr>
            <a:spLocks/>
          </p:cNvSpPr>
          <p:nvPr/>
        </p:nvSpPr>
        <p:spPr bwMode="auto">
          <a:xfrm>
            <a:off x="5908282" y="2888183"/>
            <a:ext cx="44823" cy="88051"/>
          </a:xfrm>
          <a:custGeom>
            <a:avLst/>
            <a:gdLst/>
            <a:ahLst/>
            <a:cxnLst>
              <a:cxn ang="0">
                <a:pos x="15" y="0"/>
              </a:cxn>
              <a:cxn ang="0">
                <a:pos x="18" y="1"/>
              </a:cxn>
              <a:cxn ang="0">
                <a:pos x="19" y="1"/>
              </a:cxn>
              <a:cxn ang="0">
                <a:pos x="20" y="3"/>
              </a:cxn>
              <a:cxn ang="0">
                <a:pos x="22" y="6"/>
              </a:cxn>
              <a:cxn ang="0">
                <a:pos x="23" y="11"/>
              </a:cxn>
              <a:cxn ang="0">
                <a:pos x="23" y="15"/>
              </a:cxn>
              <a:cxn ang="0">
                <a:pos x="23" y="20"/>
              </a:cxn>
              <a:cxn ang="0">
                <a:pos x="23" y="26"/>
              </a:cxn>
              <a:cxn ang="0">
                <a:pos x="23" y="34"/>
              </a:cxn>
              <a:cxn ang="0">
                <a:pos x="22" y="36"/>
              </a:cxn>
              <a:cxn ang="0">
                <a:pos x="22" y="37"/>
              </a:cxn>
              <a:cxn ang="0">
                <a:pos x="20" y="37"/>
              </a:cxn>
              <a:cxn ang="0">
                <a:pos x="16" y="37"/>
              </a:cxn>
              <a:cxn ang="0">
                <a:pos x="15" y="39"/>
              </a:cxn>
              <a:cxn ang="0">
                <a:pos x="14" y="40"/>
              </a:cxn>
              <a:cxn ang="0">
                <a:pos x="12" y="42"/>
              </a:cxn>
              <a:cxn ang="0">
                <a:pos x="10" y="44"/>
              </a:cxn>
              <a:cxn ang="0">
                <a:pos x="8" y="42"/>
              </a:cxn>
              <a:cxn ang="0">
                <a:pos x="6" y="37"/>
              </a:cxn>
              <a:cxn ang="0">
                <a:pos x="4" y="36"/>
              </a:cxn>
              <a:cxn ang="0">
                <a:pos x="4" y="34"/>
              </a:cxn>
              <a:cxn ang="0">
                <a:pos x="4" y="33"/>
              </a:cxn>
              <a:cxn ang="0">
                <a:pos x="4" y="26"/>
              </a:cxn>
              <a:cxn ang="0">
                <a:pos x="6" y="26"/>
              </a:cxn>
              <a:cxn ang="0">
                <a:pos x="6" y="25"/>
              </a:cxn>
              <a:cxn ang="0">
                <a:pos x="6" y="23"/>
              </a:cxn>
              <a:cxn ang="0">
                <a:pos x="4" y="22"/>
              </a:cxn>
              <a:cxn ang="0">
                <a:pos x="6" y="20"/>
              </a:cxn>
              <a:cxn ang="0">
                <a:pos x="4" y="17"/>
              </a:cxn>
              <a:cxn ang="0">
                <a:pos x="4" y="15"/>
              </a:cxn>
              <a:cxn ang="0">
                <a:pos x="3" y="14"/>
              </a:cxn>
              <a:cxn ang="0">
                <a:pos x="3" y="12"/>
              </a:cxn>
              <a:cxn ang="0">
                <a:pos x="2" y="12"/>
              </a:cxn>
              <a:cxn ang="0">
                <a:pos x="0" y="11"/>
              </a:cxn>
              <a:cxn ang="0">
                <a:pos x="0" y="6"/>
              </a:cxn>
              <a:cxn ang="0">
                <a:pos x="2" y="6"/>
              </a:cxn>
              <a:cxn ang="0">
                <a:pos x="3" y="8"/>
              </a:cxn>
              <a:cxn ang="0">
                <a:pos x="6" y="8"/>
              </a:cxn>
              <a:cxn ang="0">
                <a:pos x="12" y="3"/>
              </a:cxn>
              <a:cxn ang="0">
                <a:pos x="14" y="3"/>
              </a:cxn>
              <a:cxn ang="0">
                <a:pos x="15" y="0"/>
              </a:cxn>
            </a:cxnLst>
            <a:rect l="0" t="0" r="r" b="b"/>
            <a:pathLst>
              <a:path w="23" h="44">
                <a:moveTo>
                  <a:pt x="15" y="0"/>
                </a:moveTo>
                <a:lnTo>
                  <a:pt x="18" y="1"/>
                </a:lnTo>
                <a:lnTo>
                  <a:pt x="19" y="1"/>
                </a:lnTo>
                <a:lnTo>
                  <a:pt x="20" y="3"/>
                </a:lnTo>
                <a:lnTo>
                  <a:pt x="22" y="6"/>
                </a:lnTo>
                <a:lnTo>
                  <a:pt x="23" y="11"/>
                </a:lnTo>
                <a:lnTo>
                  <a:pt x="23" y="15"/>
                </a:lnTo>
                <a:lnTo>
                  <a:pt x="23" y="20"/>
                </a:lnTo>
                <a:lnTo>
                  <a:pt x="23" y="26"/>
                </a:lnTo>
                <a:lnTo>
                  <a:pt x="23" y="34"/>
                </a:lnTo>
                <a:lnTo>
                  <a:pt x="22" y="36"/>
                </a:lnTo>
                <a:lnTo>
                  <a:pt x="22" y="37"/>
                </a:lnTo>
                <a:lnTo>
                  <a:pt x="20" y="37"/>
                </a:lnTo>
                <a:lnTo>
                  <a:pt x="16" y="37"/>
                </a:lnTo>
                <a:lnTo>
                  <a:pt x="15" y="39"/>
                </a:lnTo>
                <a:lnTo>
                  <a:pt x="14" y="40"/>
                </a:lnTo>
                <a:lnTo>
                  <a:pt x="12" y="42"/>
                </a:lnTo>
                <a:lnTo>
                  <a:pt x="10" y="44"/>
                </a:lnTo>
                <a:lnTo>
                  <a:pt x="8" y="42"/>
                </a:lnTo>
                <a:lnTo>
                  <a:pt x="6" y="37"/>
                </a:lnTo>
                <a:lnTo>
                  <a:pt x="4" y="36"/>
                </a:lnTo>
                <a:lnTo>
                  <a:pt x="4" y="34"/>
                </a:lnTo>
                <a:lnTo>
                  <a:pt x="4" y="33"/>
                </a:lnTo>
                <a:lnTo>
                  <a:pt x="4" y="26"/>
                </a:lnTo>
                <a:lnTo>
                  <a:pt x="6" y="26"/>
                </a:lnTo>
                <a:lnTo>
                  <a:pt x="6" y="25"/>
                </a:lnTo>
                <a:lnTo>
                  <a:pt x="6" y="23"/>
                </a:lnTo>
                <a:lnTo>
                  <a:pt x="4" y="22"/>
                </a:lnTo>
                <a:lnTo>
                  <a:pt x="6" y="20"/>
                </a:lnTo>
                <a:lnTo>
                  <a:pt x="4" y="17"/>
                </a:lnTo>
                <a:lnTo>
                  <a:pt x="4" y="15"/>
                </a:lnTo>
                <a:lnTo>
                  <a:pt x="3" y="14"/>
                </a:lnTo>
                <a:lnTo>
                  <a:pt x="3" y="12"/>
                </a:lnTo>
                <a:lnTo>
                  <a:pt x="2" y="12"/>
                </a:lnTo>
                <a:lnTo>
                  <a:pt x="0" y="11"/>
                </a:lnTo>
                <a:lnTo>
                  <a:pt x="0" y="6"/>
                </a:lnTo>
                <a:lnTo>
                  <a:pt x="2" y="6"/>
                </a:lnTo>
                <a:lnTo>
                  <a:pt x="3" y="8"/>
                </a:lnTo>
                <a:lnTo>
                  <a:pt x="6" y="8"/>
                </a:lnTo>
                <a:lnTo>
                  <a:pt x="12" y="3"/>
                </a:lnTo>
                <a:lnTo>
                  <a:pt x="14" y="3"/>
                </a:lnTo>
                <a:lnTo>
                  <a:pt x="15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01" name="Freeform 1228"/>
          <p:cNvSpPr>
            <a:spLocks/>
          </p:cNvSpPr>
          <p:nvPr/>
        </p:nvSpPr>
        <p:spPr bwMode="auto">
          <a:xfrm>
            <a:off x="6377947" y="2905362"/>
            <a:ext cx="7795" cy="6443"/>
          </a:xfrm>
          <a:custGeom>
            <a:avLst/>
            <a:gdLst/>
            <a:ahLst/>
            <a:cxnLst>
              <a:cxn ang="0">
                <a:pos x="3" y="3"/>
              </a:cxn>
              <a:cxn ang="0">
                <a:pos x="4" y="3"/>
              </a:cxn>
              <a:cxn ang="0">
                <a:pos x="4" y="2"/>
              </a:cxn>
              <a:cxn ang="0">
                <a:pos x="4" y="0"/>
              </a:cxn>
              <a:cxn ang="0">
                <a:pos x="3" y="0"/>
              </a:cxn>
              <a:cxn ang="0">
                <a:pos x="0" y="2"/>
              </a:cxn>
              <a:cxn ang="0">
                <a:pos x="0" y="3"/>
              </a:cxn>
              <a:cxn ang="0">
                <a:pos x="2" y="3"/>
              </a:cxn>
              <a:cxn ang="0">
                <a:pos x="3" y="3"/>
              </a:cxn>
            </a:cxnLst>
            <a:rect l="0" t="0" r="r" b="b"/>
            <a:pathLst>
              <a:path w="4" h="3">
                <a:moveTo>
                  <a:pt x="3" y="3"/>
                </a:moveTo>
                <a:lnTo>
                  <a:pt x="4" y="3"/>
                </a:lnTo>
                <a:lnTo>
                  <a:pt x="4" y="2"/>
                </a:lnTo>
                <a:lnTo>
                  <a:pt x="4" y="0"/>
                </a:lnTo>
                <a:lnTo>
                  <a:pt x="3" y="0"/>
                </a:lnTo>
                <a:lnTo>
                  <a:pt x="0" y="2"/>
                </a:lnTo>
                <a:lnTo>
                  <a:pt x="0" y="3"/>
                </a:lnTo>
                <a:lnTo>
                  <a:pt x="2" y="3"/>
                </a:lnTo>
                <a:lnTo>
                  <a:pt x="3" y="3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02" name="Freeform 1229"/>
          <p:cNvSpPr>
            <a:spLocks/>
          </p:cNvSpPr>
          <p:nvPr/>
        </p:nvSpPr>
        <p:spPr bwMode="auto">
          <a:xfrm>
            <a:off x="6377947" y="2905362"/>
            <a:ext cx="7795" cy="6443"/>
          </a:xfrm>
          <a:custGeom>
            <a:avLst/>
            <a:gdLst/>
            <a:ahLst/>
            <a:cxnLst>
              <a:cxn ang="0">
                <a:pos x="3" y="3"/>
              </a:cxn>
              <a:cxn ang="0">
                <a:pos x="4" y="3"/>
              </a:cxn>
              <a:cxn ang="0">
                <a:pos x="4" y="2"/>
              </a:cxn>
              <a:cxn ang="0">
                <a:pos x="4" y="0"/>
              </a:cxn>
              <a:cxn ang="0">
                <a:pos x="3" y="0"/>
              </a:cxn>
              <a:cxn ang="0">
                <a:pos x="0" y="2"/>
              </a:cxn>
              <a:cxn ang="0">
                <a:pos x="0" y="3"/>
              </a:cxn>
              <a:cxn ang="0">
                <a:pos x="2" y="3"/>
              </a:cxn>
              <a:cxn ang="0">
                <a:pos x="3" y="3"/>
              </a:cxn>
            </a:cxnLst>
            <a:rect l="0" t="0" r="r" b="b"/>
            <a:pathLst>
              <a:path w="4" h="3">
                <a:moveTo>
                  <a:pt x="3" y="3"/>
                </a:moveTo>
                <a:lnTo>
                  <a:pt x="4" y="3"/>
                </a:lnTo>
                <a:lnTo>
                  <a:pt x="4" y="2"/>
                </a:lnTo>
                <a:lnTo>
                  <a:pt x="4" y="0"/>
                </a:lnTo>
                <a:lnTo>
                  <a:pt x="3" y="0"/>
                </a:lnTo>
                <a:lnTo>
                  <a:pt x="0" y="2"/>
                </a:lnTo>
                <a:lnTo>
                  <a:pt x="0" y="3"/>
                </a:lnTo>
                <a:lnTo>
                  <a:pt x="2" y="3"/>
                </a:lnTo>
                <a:lnTo>
                  <a:pt x="3" y="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03" name="Freeform 1230"/>
          <p:cNvSpPr>
            <a:spLocks/>
          </p:cNvSpPr>
          <p:nvPr/>
        </p:nvSpPr>
        <p:spPr bwMode="auto">
          <a:xfrm>
            <a:off x="6393537" y="2933282"/>
            <a:ext cx="9745" cy="4295"/>
          </a:xfrm>
          <a:custGeom>
            <a:avLst/>
            <a:gdLst/>
            <a:ahLst/>
            <a:cxnLst>
              <a:cxn ang="0">
                <a:pos x="6" y="2"/>
              </a:cxn>
              <a:cxn ang="0">
                <a:pos x="4" y="2"/>
              </a:cxn>
              <a:cxn ang="0">
                <a:pos x="4" y="0"/>
              </a:cxn>
              <a:cxn ang="0">
                <a:pos x="3" y="0"/>
              </a:cxn>
              <a:cxn ang="0">
                <a:pos x="0" y="0"/>
              </a:cxn>
              <a:cxn ang="0">
                <a:pos x="0" y="3"/>
              </a:cxn>
              <a:cxn ang="0">
                <a:pos x="2" y="3"/>
              </a:cxn>
              <a:cxn ang="0">
                <a:pos x="4" y="3"/>
              </a:cxn>
              <a:cxn ang="0">
                <a:pos x="6" y="2"/>
              </a:cxn>
            </a:cxnLst>
            <a:rect l="0" t="0" r="r" b="b"/>
            <a:pathLst>
              <a:path w="6" h="3">
                <a:moveTo>
                  <a:pt x="6" y="2"/>
                </a:moveTo>
                <a:lnTo>
                  <a:pt x="4" y="2"/>
                </a:lnTo>
                <a:lnTo>
                  <a:pt x="4" y="0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2" y="3"/>
                </a:lnTo>
                <a:lnTo>
                  <a:pt x="4" y="3"/>
                </a:lnTo>
                <a:lnTo>
                  <a:pt x="6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04" name="Freeform 1231"/>
          <p:cNvSpPr>
            <a:spLocks/>
          </p:cNvSpPr>
          <p:nvPr/>
        </p:nvSpPr>
        <p:spPr bwMode="auto">
          <a:xfrm>
            <a:off x="6393537" y="2933282"/>
            <a:ext cx="9745" cy="4295"/>
          </a:xfrm>
          <a:custGeom>
            <a:avLst/>
            <a:gdLst/>
            <a:ahLst/>
            <a:cxnLst>
              <a:cxn ang="0">
                <a:pos x="6" y="2"/>
              </a:cxn>
              <a:cxn ang="0">
                <a:pos x="4" y="2"/>
              </a:cxn>
              <a:cxn ang="0">
                <a:pos x="4" y="0"/>
              </a:cxn>
              <a:cxn ang="0">
                <a:pos x="3" y="0"/>
              </a:cxn>
              <a:cxn ang="0">
                <a:pos x="0" y="0"/>
              </a:cxn>
              <a:cxn ang="0">
                <a:pos x="0" y="3"/>
              </a:cxn>
              <a:cxn ang="0">
                <a:pos x="2" y="3"/>
              </a:cxn>
              <a:cxn ang="0">
                <a:pos x="4" y="3"/>
              </a:cxn>
              <a:cxn ang="0">
                <a:pos x="6" y="2"/>
              </a:cxn>
            </a:cxnLst>
            <a:rect l="0" t="0" r="r" b="b"/>
            <a:pathLst>
              <a:path w="6" h="3">
                <a:moveTo>
                  <a:pt x="6" y="2"/>
                </a:moveTo>
                <a:lnTo>
                  <a:pt x="4" y="2"/>
                </a:lnTo>
                <a:lnTo>
                  <a:pt x="4" y="0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2" y="3"/>
                </a:lnTo>
                <a:lnTo>
                  <a:pt x="4" y="3"/>
                </a:lnTo>
                <a:lnTo>
                  <a:pt x="6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05" name="Freeform 1232"/>
          <p:cNvSpPr>
            <a:spLocks/>
          </p:cNvSpPr>
          <p:nvPr/>
        </p:nvSpPr>
        <p:spPr bwMode="auto">
          <a:xfrm>
            <a:off x="6416923" y="2952612"/>
            <a:ext cx="23386" cy="12885"/>
          </a:xfrm>
          <a:custGeom>
            <a:avLst/>
            <a:gdLst/>
            <a:ahLst/>
            <a:cxnLst>
              <a:cxn ang="0">
                <a:pos x="11" y="7"/>
              </a:cxn>
              <a:cxn ang="0">
                <a:pos x="12" y="7"/>
              </a:cxn>
              <a:cxn ang="0">
                <a:pos x="11" y="4"/>
              </a:cxn>
              <a:cxn ang="0">
                <a:pos x="8" y="0"/>
              </a:cxn>
              <a:cxn ang="0">
                <a:pos x="2" y="3"/>
              </a:cxn>
              <a:cxn ang="0">
                <a:pos x="0" y="6"/>
              </a:cxn>
              <a:cxn ang="0">
                <a:pos x="3" y="6"/>
              </a:cxn>
              <a:cxn ang="0">
                <a:pos x="4" y="4"/>
              </a:cxn>
              <a:cxn ang="0">
                <a:pos x="7" y="4"/>
              </a:cxn>
              <a:cxn ang="0">
                <a:pos x="5" y="7"/>
              </a:cxn>
              <a:cxn ang="0">
                <a:pos x="7" y="7"/>
              </a:cxn>
              <a:cxn ang="0">
                <a:pos x="9" y="7"/>
              </a:cxn>
              <a:cxn ang="0">
                <a:pos x="9" y="6"/>
              </a:cxn>
              <a:cxn ang="0">
                <a:pos x="11" y="7"/>
              </a:cxn>
            </a:cxnLst>
            <a:rect l="0" t="0" r="r" b="b"/>
            <a:pathLst>
              <a:path w="12" h="7">
                <a:moveTo>
                  <a:pt x="11" y="7"/>
                </a:moveTo>
                <a:lnTo>
                  <a:pt x="12" y="7"/>
                </a:lnTo>
                <a:lnTo>
                  <a:pt x="11" y="4"/>
                </a:lnTo>
                <a:lnTo>
                  <a:pt x="8" y="0"/>
                </a:lnTo>
                <a:lnTo>
                  <a:pt x="2" y="3"/>
                </a:lnTo>
                <a:lnTo>
                  <a:pt x="0" y="6"/>
                </a:lnTo>
                <a:lnTo>
                  <a:pt x="3" y="6"/>
                </a:lnTo>
                <a:lnTo>
                  <a:pt x="4" y="4"/>
                </a:lnTo>
                <a:lnTo>
                  <a:pt x="7" y="4"/>
                </a:lnTo>
                <a:lnTo>
                  <a:pt x="5" y="7"/>
                </a:lnTo>
                <a:lnTo>
                  <a:pt x="7" y="7"/>
                </a:lnTo>
                <a:lnTo>
                  <a:pt x="9" y="7"/>
                </a:lnTo>
                <a:lnTo>
                  <a:pt x="9" y="6"/>
                </a:lnTo>
                <a:lnTo>
                  <a:pt x="11" y="7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06" name="Freeform 1233"/>
          <p:cNvSpPr>
            <a:spLocks/>
          </p:cNvSpPr>
          <p:nvPr/>
        </p:nvSpPr>
        <p:spPr bwMode="auto">
          <a:xfrm>
            <a:off x="6416923" y="2952612"/>
            <a:ext cx="23386" cy="12885"/>
          </a:xfrm>
          <a:custGeom>
            <a:avLst/>
            <a:gdLst/>
            <a:ahLst/>
            <a:cxnLst>
              <a:cxn ang="0">
                <a:pos x="11" y="7"/>
              </a:cxn>
              <a:cxn ang="0">
                <a:pos x="12" y="7"/>
              </a:cxn>
              <a:cxn ang="0">
                <a:pos x="11" y="4"/>
              </a:cxn>
              <a:cxn ang="0">
                <a:pos x="8" y="0"/>
              </a:cxn>
              <a:cxn ang="0">
                <a:pos x="2" y="3"/>
              </a:cxn>
              <a:cxn ang="0">
                <a:pos x="0" y="6"/>
              </a:cxn>
              <a:cxn ang="0">
                <a:pos x="3" y="6"/>
              </a:cxn>
              <a:cxn ang="0">
                <a:pos x="4" y="4"/>
              </a:cxn>
              <a:cxn ang="0">
                <a:pos x="7" y="4"/>
              </a:cxn>
              <a:cxn ang="0">
                <a:pos x="5" y="7"/>
              </a:cxn>
              <a:cxn ang="0">
                <a:pos x="7" y="7"/>
              </a:cxn>
              <a:cxn ang="0">
                <a:pos x="9" y="7"/>
              </a:cxn>
              <a:cxn ang="0">
                <a:pos x="9" y="6"/>
              </a:cxn>
              <a:cxn ang="0">
                <a:pos x="11" y="7"/>
              </a:cxn>
            </a:cxnLst>
            <a:rect l="0" t="0" r="r" b="b"/>
            <a:pathLst>
              <a:path w="12" h="7">
                <a:moveTo>
                  <a:pt x="11" y="7"/>
                </a:moveTo>
                <a:lnTo>
                  <a:pt x="12" y="7"/>
                </a:lnTo>
                <a:lnTo>
                  <a:pt x="11" y="4"/>
                </a:lnTo>
                <a:lnTo>
                  <a:pt x="8" y="0"/>
                </a:lnTo>
                <a:lnTo>
                  <a:pt x="2" y="3"/>
                </a:lnTo>
                <a:lnTo>
                  <a:pt x="0" y="6"/>
                </a:lnTo>
                <a:lnTo>
                  <a:pt x="3" y="6"/>
                </a:lnTo>
                <a:lnTo>
                  <a:pt x="4" y="4"/>
                </a:lnTo>
                <a:lnTo>
                  <a:pt x="7" y="4"/>
                </a:lnTo>
                <a:lnTo>
                  <a:pt x="5" y="7"/>
                </a:lnTo>
                <a:lnTo>
                  <a:pt x="7" y="7"/>
                </a:lnTo>
                <a:lnTo>
                  <a:pt x="9" y="7"/>
                </a:lnTo>
                <a:lnTo>
                  <a:pt x="9" y="6"/>
                </a:lnTo>
                <a:lnTo>
                  <a:pt x="11" y="7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07" name="Freeform 1234"/>
          <p:cNvSpPr>
            <a:spLocks/>
          </p:cNvSpPr>
          <p:nvPr/>
        </p:nvSpPr>
        <p:spPr bwMode="auto">
          <a:xfrm>
            <a:off x="6418873" y="2982677"/>
            <a:ext cx="5846" cy="15033"/>
          </a:xfrm>
          <a:custGeom>
            <a:avLst/>
            <a:gdLst/>
            <a:ahLst/>
            <a:cxnLst>
              <a:cxn ang="0">
                <a:pos x="1" y="7"/>
              </a:cxn>
              <a:cxn ang="0">
                <a:pos x="2" y="5"/>
              </a:cxn>
              <a:cxn ang="0">
                <a:pos x="2" y="0"/>
              </a:cxn>
              <a:cxn ang="0">
                <a:pos x="0" y="0"/>
              </a:cxn>
              <a:cxn ang="0">
                <a:pos x="0" y="2"/>
              </a:cxn>
              <a:cxn ang="0">
                <a:pos x="1" y="3"/>
              </a:cxn>
              <a:cxn ang="0">
                <a:pos x="0" y="5"/>
              </a:cxn>
              <a:cxn ang="0">
                <a:pos x="0" y="7"/>
              </a:cxn>
              <a:cxn ang="0">
                <a:pos x="1" y="7"/>
              </a:cxn>
            </a:cxnLst>
            <a:rect l="0" t="0" r="r" b="b"/>
            <a:pathLst>
              <a:path w="2" h="7">
                <a:moveTo>
                  <a:pt x="1" y="7"/>
                </a:moveTo>
                <a:lnTo>
                  <a:pt x="2" y="5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1" y="3"/>
                </a:lnTo>
                <a:lnTo>
                  <a:pt x="0" y="5"/>
                </a:lnTo>
                <a:lnTo>
                  <a:pt x="0" y="7"/>
                </a:lnTo>
                <a:lnTo>
                  <a:pt x="1" y="7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08" name="Freeform 1235"/>
          <p:cNvSpPr>
            <a:spLocks/>
          </p:cNvSpPr>
          <p:nvPr/>
        </p:nvSpPr>
        <p:spPr bwMode="auto">
          <a:xfrm>
            <a:off x="6418873" y="2982677"/>
            <a:ext cx="5846" cy="15033"/>
          </a:xfrm>
          <a:custGeom>
            <a:avLst/>
            <a:gdLst/>
            <a:ahLst/>
            <a:cxnLst>
              <a:cxn ang="0">
                <a:pos x="1" y="7"/>
              </a:cxn>
              <a:cxn ang="0">
                <a:pos x="2" y="5"/>
              </a:cxn>
              <a:cxn ang="0">
                <a:pos x="2" y="0"/>
              </a:cxn>
              <a:cxn ang="0">
                <a:pos x="0" y="0"/>
              </a:cxn>
              <a:cxn ang="0">
                <a:pos x="0" y="2"/>
              </a:cxn>
              <a:cxn ang="0">
                <a:pos x="1" y="3"/>
              </a:cxn>
              <a:cxn ang="0">
                <a:pos x="0" y="5"/>
              </a:cxn>
              <a:cxn ang="0">
                <a:pos x="0" y="7"/>
              </a:cxn>
              <a:cxn ang="0">
                <a:pos x="1" y="7"/>
              </a:cxn>
            </a:cxnLst>
            <a:rect l="0" t="0" r="r" b="b"/>
            <a:pathLst>
              <a:path w="2" h="7">
                <a:moveTo>
                  <a:pt x="1" y="7"/>
                </a:moveTo>
                <a:lnTo>
                  <a:pt x="2" y="5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1" y="3"/>
                </a:lnTo>
                <a:lnTo>
                  <a:pt x="0" y="5"/>
                </a:lnTo>
                <a:lnTo>
                  <a:pt x="0" y="7"/>
                </a:lnTo>
                <a:lnTo>
                  <a:pt x="1" y="7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09" name="Freeform 1236"/>
          <p:cNvSpPr>
            <a:spLocks/>
          </p:cNvSpPr>
          <p:nvPr/>
        </p:nvSpPr>
        <p:spPr bwMode="auto">
          <a:xfrm>
            <a:off x="6350663" y="3090058"/>
            <a:ext cx="79901" cy="23622"/>
          </a:xfrm>
          <a:custGeom>
            <a:avLst/>
            <a:gdLst/>
            <a:ahLst/>
            <a:cxnLst>
              <a:cxn ang="0">
                <a:pos x="22" y="3"/>
              </a:cxn>
              <a:cxn ang="0">
                <a:pos x="21" y="3"/>
              </a:cxn>
              <a:cxn ang="0">
                <a:pos x="12" y="4"/>
              </a:cxn>
              <a:cxn ang="0">
                <a:pos x="10" y="3"/>
              </a:cxn>
              <a:cxn ang="0">
                <a:pos x="9" y="3"/>
              </a:cxn>
              <a:cxn ang="0">
                <a:pos x="9" y="1"/>
              </a:cxn>
              <a:cxn ang="0">
                <a:pos x="9" y="0"/>
              </a:cxn>
              <a:cxn ang="0">
                <a:pos x="6" y="1"/>
              </a:cxn>
              <a:cxn ang="0">
                <a:pos x="4" y="0"/>
              </a:cxn>
              <a:cxn ang="0">
                <a:pos x="2" y="0"/>
              </a:cxn>
              <a:cxn ang="0">
                <a:pos x="2" y="1"/>
              </a:cxn>
              <a:cxn ang="0">
                <a:pos x="1" y="1"/>
              </a:cxn>
              <a:cxn ang="0">
                <a:pos x="0" y="8"/>
              </a:cxn>
              <a:cxn ang="0">
                <a:pos x="1" y="6"/>
              </a:cxn>
              <a:cxn ang="0">
                <a:pos x="4" y="6"/>
              </a:cxn>
              <a:cxn ang="0">
                <a:pos x="6" y="6"/>
              </a:cxn>
              <a:cxn ang="0">
                <a:pos x="9" y="6"/>
              </a:cxn>
              <a:cxn ang="0">
                <a:pos x="14" y="8"/>
              </a:cxn>
              <a:cxn ang="0">
                <a:pos x="16" y="9"/>
              </a:cxn>
              <a:cxn ang="0">
                <a:pos x="17" y="9"/>
              </a:cxn>
              <a:cxn ang="0">
                <a:pos x="18" y="12"/>
              </a:cxn>
              <a:cxn ang="0">
                <a:pos x="24" y="12"/>
              </a:cxn>
              <a:cxn ang="0">
                <a:pos x="26" y="11"/>
              </a:cxn>
              <a:cxn ang="0">
                <a:pos x="29" y="11"/>
              </a:cxn>
              <a:cxn ang="0">
                <a:pos x="30" y="11"/>
              </a:cxn>
              <a:cxn ang="0">
                <a:pos x="34" y="11"/>
              </a:cxn>
              <a:cxn ang="0">
                <a:pos x="37" y="9"/>
              </a:cxn>
              <a:cxn ang="0">
                <a:pos x="39" y="11"/>
              </a:cxn>
              <a:cxn ang="0">
                <a:pos x="42" y="8"/>
              </a:cxn>
              <a:cxn ang="0">
                <a:pos x="41" y="6"/>
              </a:cxn>
              <a:cxn ang="0">
                <a:pos x="39" y="6"/>
              </a:cxn>
              <a:cxn ang="0">
                <a:pos x="38" y="8"/>
              </a:cxn>
              <a:cxn ang="0">
                <a:pos x="36" y="8"/>
              </a:cxn>
              <a:cxn ang="0">
                <a:pos x="33" y="8"/>
              </a:cxn>
              <a:cxn ang="0">
                <a:pos x="32" y="4"/>
              </a:cxn>
              <a:cxn ang="0">
                <a:pos x="29" y="4"/>
              </a:cxn>
              <a:cxn ang="0">
                <a:pos x="25" y="4"/>
              </a:cxn>
              <a:cxn ang="0">
                <a:pos x="22" y="4"/>
              </a:cxn>
              <a:cxn ang="0">
                <a:pos x="22" y="3"/>
              </a:cxn>
            </a:cxnLst>
            <a:rect l="0" t="0" r="r" b="b"/>
            <a:pathLst>
              <a:path w="42" h="12">
                <a:moveTo>
                  <a:pt x="22" y="3"/>
                </a:moveTo>
                <a:lnTo>
                  <a:pt x="21" y="3"/>
                </a:lnTo>
                <a:lnTo>
                  <a:pt x="12" y="4"/>
                </a:lnTo>
                <a:lnTo>
                  <a:pt x="10" y="3"/>
                </a:lnTo>
                <a:lnTo>
                  <a:pt x="9" y="3"/>
                </a:lnTo>
                <a:lnTo>
                  <a:pt x="9" y="1"/>
                </a:lnTo>
                <a:lnTo>
                  <a:pt x="9" y="0"/>
                </a:lnTo>
                <a:lnTo>
                  <a:pt x="6" y="1"/>
                </a:lnTo>
                <a:lnTo>
                  <a:pt x="4" y="0"/>
                </a:lnTo>
                <a:lnTo>
                  <a:pt x="2" y="0"/>
                </a:lnTo>
                <a:lnTo>
                  <a:pt x="2" y="1"/>
                </a:lnTo>
                <a:lnTo>
                  <a:pt x="1" y="1"/>
                </a:lnTo>
                <a:lnTo>
                  <a:pt x="0" y="8"/>
                </a:lnTo>
                <a:lnTo>
                  <a:pt x="1" y="6"/>
                </a:lnTo>
                <a:lnTo>
                  <a:pt x="4" y="6"/>
                </a:lnTo>
                <a:lnTo>
                  <a:pt x="6" y="6"/>
                </a:lnTo>
                <a:lnTo>
                  <a:pt x="9" y="6"/>
                </a:lnTo>
                <a:lnTo>
                  <a:pt x="14" y="8"/>
                </a:lnTo>
                <a:lnTo>
                  <a:pt x="16" y="9"/>
                </a:lnTo>
                <a:lnTo>
                  <a:pt x="17" y="9"/>
                </a:lnTo>
                <a:lnTo>
                  <a:pt x="18" y="12"/>
                </a:lnTo>
                <a:lnTo>
                  <a:pt x="24" y="12"/>
                </a:lnTo>
                <a:lnTo>
                  <a:pt x="26" y="11"/>
                </a:lnTo>
                <a:lnTo>
                  <a:pt x="29" y="11"/>
                </a:lnTo>
                <a:lnTo>
                  <a:pt x="30" y="11"/>
                </a:lnTo>
                <a:lnTo>
                  <a:pt x="34" y="11"/>
                </a:lnTo>
                <a:lnTo>
                  <a:pt x="37" y="9"/>
                </a:lnTo>
                <a:lnTo>
                  <a:pt x="39" y="11"/>
                </a:lnTo>
                <a:lnTo>
                  <a:pt x="42" y="8"/>
                </a:lnTo>
                <a:lnTo>
                  <a:pt x="41" y="6"/>
                </a:lnTo>
                <a:lnTo>
                  <a:pt x="39" y="6"/>
                </a:lnTo>
                <a:lnTo>
                  <a:pt x="38" y="8"/>
                </a:lnTo>
                <a:lnTo>
                  <a:pt x="36" y="8"/>
                </a:lnTo>
                <a:lnTo>
                  <a:pt x="33" y="8"/>
                </a:lnTo>
                <a:lnTo>
                  <a:pt x="32" y="4"/>
                </a:lnTo>
                <a:lnTo>
                  <a:pt x="29" y="4"/>
                </a:lnTo>
                <a:lnTo>
                  <a:pt x="25" y="4"/>
                </a:lnTo>
                <a:lnTo>
                  <a:pt x="22" y="4"/>
                </a:lnTo>
                <a:lnTo>
                  <a:pt x="22" y="3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10" name="Freeform 1237"/>
          <p:cNvSpPr>
            <a:spLocks/>
          </p:cNvSpPr>
          <p:nvPr/>
        </p:nvSpPr>
        <p:spPr bwMode="auto">
          <a:xfrm>
            <a:off x="6350663" y="3090058"/>
            <a:ext cx="79901" cy="23622"/>
          </a:xfrm>
          <a:custGeom>
            <a:avLst/>
            <a:gdLst/>
            <a:ahLst/>
            <a:cxnLst>
              <a:cxn ang="0">
                <a:pos x="22" y="3"/>
              </a:cxn>
              <a:cxn ang="0">
                <a:pos x="21" y="3"/>
              </a:cxn>
              <a:cxn ang="0">
                <a:pos x="12" y="4"/>
              </a:cxn>
              <a:cxn ang="0">
                <a:pos x="10" y="3"/>
              </a:cxn>
              <a:cxn ang="0">
                <a:pos x="9" y="3"/>
              </a:cxn>
              <a:cxn ang="0">
                <a:pos x="9" y="1"/>
              </a:cxn>
              <a:cxn ang="0">
                <a:pos x="9" y="0"/>
              </a:cxn>
              <a:cxn ang="0">
                <a:pos x="6" y="1"/>
              </a:cxn>
              <a:cxn ang="0">
                <a:pos x="4" y="0"/>
              </a:cxn>
              <a:cxn ang="0">
                <a:pos x="2" y="0"/>
              </a:cxn>
              <a:cxn ang="0">
                <a:pos x="2" y="1"/>
              </a:cxn>
              <a:cxn ang="0">
                <a:pos x="1" y="1"/>
              </a:cxn>
              <a:cxn ang="0">
                <a:pos x="0" y="8"/>
              </a:cxn>
              <a:cxn ang="0">
                <a:pos x="1" y="6"/>
              </a:cxn>
              <a:cxn ang="0">
                <a:pos x="4" y="6"/>
              </a:cxn>
              <a:cxn ang="0">
                <a:pos x="6" y="6"/>
              </a:cxn>
              <a:cxn ang="0">
                <a:pos x="9" y="6"/>
              </a:cxn>
              <a:cxn ang="0">
                <a:pos x="14" y="8"/>
              </a:cxn>
              <a:cxn ang="0">
                <a:pos x="16" y="9"/>
              </a:cxn>
              <a:cxn ang="0">
                <a:pos x="17" y="9"/>
              </a:cxn>
              <a:cxn ang="0">
                <a:pos x="18" y="12"/>
              </a:cxn>
              <a:cxn ang="0">
                <a:pos x="24" y="12"/>
              </a:cxn>
              <a:cxn ang="0">
                <a:pos x="26" y="11"/>
              </a:cxn>
              <a:cxn ang="0">
                <a:pos x="29" y="11"/>
              </a:cxn>
              <a:cxn ang="0">
                <a:pos x="30" y="11"/>
              </a:cxn>
              <a:cxn ang="0">
                <a:pos x="34" y="11"/>
              </a:cxn>
              <a:cxn ang="0">
                <a:pos x="37" y="9"/>
              </a:cxn>
              <a:cxn ang="0">
                <a:pos x="39" y="11"/>
              </a:cxn>
              <a:cxn ang="0">
                <a:pos x="42" y="8"/>
              </a:cxn>
              <a:cxn ang="0">
                <a:pos x="41" y="6"/>
              </a:cxn>
              <a:cxn ang="0">
                <a:pos x="39" y="6"/>
              </a:cxn>
              <a:cxn ang="0">
                <a:pos x="38" y="8"/>
              </a:cxn>
              <a:cxn ang="0">
                <a:pos x="36" y="8"/>
              </a:cxn>
              <a:cxn ang="0">
                <a:pos x="33" y="8"/>
              </a:cxn>
              <a:cxn ang="0">
                <a:pos x="32" y="4"/>
              </a:cxn>
              <a:cxn ang="0">
                <a:pos x="29" y="4"/>
              </a:cxn>
              <a:cxn ang="0">
                <a:pos x="25" y="4"/>
              </a:cxn>
              <a:cxn ang="0">
                <a:pos x="22" y="4"/>
              </a:cxn>
              <a:cxn ang="0">
                <a:pos x="22" y="3"/>
              </a:cxn>
            </a:cxnLst>
            <a:rect l="0" t="0" r="r" b="b"/>
            <a:pathLst>
              <a:path w="42" h="12">
                <a:moveTo>
                  <a:pt x="22" y="3"/>
                </a:moveTo>
                <a:lnTo>
                  <a:pt x="21" y="3"/>
                </a:lnTo>
                <a:lnTo>
                  <a:pt x="12" y="4"/>
                </a:lnTo>
                <a:lnTo>
                  <a:pt x="10" y="3"/>
                </a:lnTo>
                <a:lnTo>
                  <a:pt x="9" y="3"/>
                </a:lnTo>
                <a:lnTo>
                  <a:pt x="9" y="1"/>
                </a:lnTo>
                <a:lnTo>
                  <a:pt x="9" y="0"/>
                </a:lnTo>
                <a:lnTo>
                  <a:pt x="6" y="1"/>
                </a:lnTo>
                <a:lnTo>
                  <a:pt x="4" y="0"/>
                </a:lnTo>
                <a:lnTo>
                  <a:pt x="2" y="0"/>
                </a:lnTo>
                <a:lnTo>
                  <a:pt x="2" y="1"/>
                </a:lnTo>
                <a:lnTo>
                  <a:pt x="1" y="1"/>
                </a:lnTo>
                <a:lnTo>
                  <a:pt x="0" y="8"/>
                </a:lnTo>
                <a:lnTo>
                  <a:pt x="1" y="6"/>
                </a:lnTo>
                <a:lnTo>
                  <a:pt x="4" y="6"/>
                </a:lnTo>
                <a:lnTo>
                  <a:pt x="6" y="6"/>
                </a:lnTo>
                <a:lnTo>
                  <a:pt x="9" y="6"/>
                </a:lnTo>
                <a:lnTo>
                  <a:pt x="14" y="8"/>
                </a:lnTo>
                <a:lnTo>
                  <a:pt x="16" y="9"/>
                </a:lnTo>
                <a:lnTo>
                  <a:pt x="17" y="9"/>
                </a:lnTo>
                <a:lnTo>
                  <a:pt x="18" y="12"/>
                </a:lnTo>
                <a:lnTo>
                  <a:pt x="24" y="12"/>
                </a:lnTo>
                <a:lnTo>
                  <a:pt x="26" y="11"/>
                </a:lnTo>
                <a:lnTo>
                  <a:pt x="29" y="11"/>
                </a:lnTo>
                <a:lnTo>
                  <a:pt x="30" y="11"/>
                </a:lnTo>
                <a:lnTo>
                  <a:pt x="34" y="11"/>
                </a:lnTo>
                <a:lnTo>
                  <a:pt x="37" y="9"/>
                </a:lnTo>
                <a:lnTo>
                  <a:pt x="39" y="11"/>
                </a:lnTo>
                <a:lnTo>
                  <a:pt x="42" y="8"/>
                </a:lnTo>
                <a:lnTo>
                  <a:pt x="41" y="6"/>
                </a:lnTo>
                <a:lnTo>
                  <a:pt x="39" y="6"/>
                </a:lnTo>
                <a:lnTo>
                  <a:pt x="38" y="8"/>
                </a:lnTo>
                <a:lnTo>
                  <a:pt x="36" y="8"/>
                </a:lnTo>
                <a:lnTo>
                  <a:pt x="33" y="8"/>
                </a:lnTo>
                <a:lnTo>
                  <a:pt x="32" y="4"/>
                </a:lnTo>
                <a:lnTo>
                  <a:pt x="29" y="4"/>
                </a:lnTo>
                <a:lnTo>
                  <a:pt x="25" y="4"/>
                </a:lnTo>
                <a:lnTo>
                  <a:pt x="22" y="4"/>
                </a:lnTo>
                <a:lnTo>
                  <a:pt x="22" y="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11" name="Freeform 1238"/>
          <p:cNvSpPr>
            <a:spLocks/>
          </p:cNvSpPr>
          <p:nvPr/>
        </p:nvSpPr>
        <p:spPr bwMode="auto">
          <a:xfrm>
            <a:off x="6381845" y="3004153"/>
            <a:ext cx="11693" cy="15033"/>
          </a:xfrm>
          <a:custGeom>
            <a:avLst/>
            <a:gdLst/>
            <a:ahLst/>
            <a:cxnLst>
              <a:cxn ang="0">
                <a:pos x="4" y="7"/>
              </a:cxn>
              <a:cxn ang="0">
                <a:pos x="5" y="5"/>
              </a:cxn>
              <a:cxn ang="0">
                <a:pos x="5" y="3"/>
              </a:cxn>
              <a:cxn ang="0">
                <a:pos x="4" y="2"/>
              </a:cxn>
              <a:cxn ang="0">
                <a:pos x="3" y="0"/>
              </a:cxn>
              <a:cxn ang="0">
                <a:pos x="0" y="0"/>
              </a:cxn>
              <a:cxn ang="0">
                <a:pos x="0" y="2"/>
              </a:cxn>
              <a:cxn ang="0">
                <a:pos x="1" y="3"/>
              </a:cxn>
              <a:cxn ang="0">
                <a:pos x="3" y="7"/>
              </a:cxn>
              <a:cxn ang="0">
                <a:pos x="4" y="7"/>
              </a:cxn>
            </a:cxnLst>
            <a:rect l="0" t="0" r="r" b="b"/>
            <a:pathLst>
              <a:path w="5" h="7">
                <a:moveTo>
                  <a:pt x="4" y="7"/>
                </a:moveTo>
                <a:lnTo>
                  <a:pt x="5" y="5"/>
                </a:lnTo>
                <a:lnTo>
                  <a:pt x="5" y="3"/>
                </a:lnTo>
                <a:lnTo>
                  <a:pt x="4" y="2"/>
                </a:lnTo>
                <a:lnTo>
                  <a:pt x="3" y="0"/>
                </a:lnTo>
                <a:lnTo>
                  <a:pt x="0" y="0"/>
                </a:lnTo>
                <a:lnTo>
                  <a:pt x="0" y="2"/>
                </a:lnTo>
                <a:lnTo>
                  <a:pt x="1" y="3"/>
                </a:lnTo>
                <a:lnTo>
                  <a:pt x="3" y="7"/>
                </a:lnTo>
                <a:lnTo>
                  <a:pt x="4" y="7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12" name="Freeform 1239"/>
          <p:cNvSpPr>
            <a:spLocks/>
          </p:cNvSpPr>
          <p:nvPr/>
        </p:nvSpPr>
        <p:spPr bwMode="auto">
          <a:xfrm>
            <a:off x="6381845" y="3004153"/>
            <a:ext cx="11693" cy="15033"/>
          </a:xfrm>
          <a:custGeom>
            <a:avLst/>
            <a:gdLst/>
            <a:ahLst/>
            <a:cxnLst>
              <a:cxn ang="0">
                <a:pos x="4" y="7"/>
              </a:cxn>
              <a:cxn ang="0">
                <a:pos x="5" y="5"/>
              </a:cxn>
              <a:cxn ang="0">
                <a:pos x="5" y="3"/>
              </a:cxn>
              <a:cxn ang="0">
                <a:pos x="4" y="2"/>
              </a:cxn>
              <a:cxn ang="0">
                <a:pos x="3" y="0"/>
              </a:cxn>
              <a:cxn ang="0">
                <a:pos x="0" y="0"/>
              </a:cxn>
              <a:cxn ang="0">
                <a:pos x="0" y="2"/>
              </a:cxn>
              <a:cxn ang="0">
                <a:pos x="1" y="3"/>
              </a:cxn>
              <a:cxn ang="0">
                <a:pos x="3" y="7"/>
              </a:cxn>
              <a:cxn ang="0">
                <a:pos x="4" y="7"/>
              </a:cxn>
            </a:cxnLst>
            <a:rect l="0" t="0" r="r" b="b"/>
            <a:pathLst>
              <a:path w="5" h="7">
                <a:moveTo>
                  <a:pt x="4" y="7"/>
                </a:moveTo>
                <a:lnTo>
                  <a:pt x="5" y="5"/>
                </a:lnTo>
                <a:lnTo>
                  <a:pt x="5" y="3"/>
                </a:lnTo>
                <a:lnTo>
                  <a:pt x="4" y="2"/>
                </a:lnTo>
                <a:lnTo>
                  <a:pt x="3" y="0"/>
                </a:lnTo>
                <a:lnTo>
                  <a:pt x="0" y="0"/>
                </a:lnTo>
                <a:lnTo>
                  <a:pt x="0" y="2"/>
                </a:lnTo>
                <a:lnTo>
                  <a:pt x="1" y="3"/>
                </a:lnTo>
                <a:lnTo>
                  <a:pt x="3" y="7"/>
                </a:lnTo>
                <a:lnTo>
                  <a:pt x="4" y="7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13" name="Freeform 1240"/>
          <p:cNvSpPr>
            <a:spLocks/>
          </p:cNvSpPr>
          <p:nvPr/>
        </p:nvSpPr>
        <p:spPr bwMode="auto">
          <a:xfrm>
            <a:off x="6403282" y="3032071"/>
            <a:ext cx="5846" cy="10739"/>
          </a:xfrm>
          <a:custGeom>
            <a:avLst/>
            <a:gdLst/>
            <a:ahLst/>
            <a:cxnLst>
              <a:cxn ang="0">
                <a:pos x="0" y="5"/>
              </a:cxn>
              <a:cxn ang="0">
                <a:pos x="2" y="5"/>
              </a:cxn>
              <a:cxn ang="0">
                <a:pos x="2" y="0"/>
              </a:cxn>
              <a:cxn ang="0">
                <a:pos x="1" y="0"/>
              </a:cxn>
              <a:cxn ang="0">
                <a:pos x="0" y="2"/>
              </a:cxn>
              <a:cxn ang="0">
                <a:pos x="0" y="5"/>
              </a:cxn>
            </a:cxnLst>
            <a:rect l="0" t="0" r="r" b="b"/>
            <a:pathLst>
              <a:path w="2" h="5">
                <a:moveTo>
                  <a:pt x="0" y="5"/>
                </a:moveTo>
                <a:lnTo>
                  <a:pt x="2" y="5"/>
                </a:lnTo>
                <a:lnTo>
                  <a:pt x="2" y="0"/>
                </a:lnTo>
                <a:lnTo>
                  <a:pt x="1" y="0"/>
                </a:lnTo>
                <a:lnTo>
                  <a:pt x="0" y="2"/>
                </a:lnTo>
                <a:lnTo>
                  <a:pt x="0" y="5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14" name="Freeform 1241"/>
          <p:cNvSpPr>
            <a:spLocks/>
          </p:cNvSpPr>
          <p:nvPr/>
        </p:nvSpPr>
        <p:spPr bwMode="auto">
          <a:xfrm>
            <a:off x="6403282" y="3032071"/>
            <a:ext cx="5846" cy="10739"/>
          </a:xfrm>
          <a:custGeom>
            <a:avLst/>
            <a:gdLst/>
            <a:ahLst/>
            <a:cxnLst>
              <a:cxn ang="0">
                <a:pos x="0" y="5"/>
              </a:cxn>
              <a:cxn ang="0">
                <a:pos x="2" y="5"/>
              </a:cxn>
              <a:cxn ang="0">
                <a:pos x="2" y="0"/>
              </a:cxn>
              <a:cxn ang="0">
                <a:pos x="1" y="0"/>
              </a:cxn>
              <a:cxn ang="0">
                <a:pos x="0" y="2"/>
              </a:cxn>
              <a:cxn ang="0">
                <a:pos x="0" y="5"/>
              </a:cxn>
            </a:cxnLst>
            <a:rect l="0" t="0" r="r" b="b"/>
            <a:pathLst>
              <a:path w="2" h="5">
                <a:moveTo>
                  <a:pt x="0" y="5"/>
                </a:moveTo>
                <a:lnTo>
                  <a:pt x="2" y="5"/>
                </a:lnTo>
                <a:lnTo>
                  <a:pt x="2" y="0"/>
                </a:lnTo>
                <a:lnTo>
                  <a:pt x="1" y="0"/>
                </a:lnTo>
                <a:lnTo>
                  <a:pt x="0" y="2"/>
                </a:lnTo>
                <a:lnTo>
                  <a:pt x="0" y="5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15" name="Freeform 1242"/>
          <p:cNvSpPr>
            <a:spLocks/>
          </p:cNvSpPr>
          <p:nvPr/>
        </p:nvSpPr>
        <p:spPr bwMode="auto">
          <a:xfrm>
            <a:off x="6282456" y="2993414"/>
            <a:ext cx="64310" cy="68724"/>
          </a:xfrm>
          <a:custGeom>
            <a:avLst/>
            <a:gdLst/>
            <a:ahLst/>
            <a:cxnLst>
              <a:cxn ang="0">
                <a:pos x="13" y="0"/>
              </a:cxn>
              <a:cxn ang="0">
                <a:pos x="9" y="2"/>
              </a:cxn>
              <a:cxn ang="0">
                <a:pos x="5" y="3"/>
              </a:cxn>
              <a:cxn ang="0">
                <a:pos x="4" y="3"/>
              </a:cxn>
              <a:cxn ang="0">
                <a:pos x="0" y="8"/>
              </a:cxn>
              <a:cxn ang="0">
                <a:pos x="0" y="9"/>
              </a:cxn>
              <a:cxn ang="0">
                <a:pos x="1" y="13"/>
              </a:cxn>
              <a:cxn ang="0">
                <a:pos x="5" y="16"/>
              </a:cxn>
              <a:cxn ang="0">
                <a:pos x="8" y="19"/>
              </a:cxn>
              <a:cxn ang="0">
                <a:pos x="6" y="22"/>
              </a:cxn>
              <a:cxn ang="0">
                <a:pos x="6" y="25"/>
              </a:cxn>
              <a:cxn ang="0">
                <a:pos x="8" y="27"/>
              </a:cxn>
              <a:cxn ang="0">
                <a:pos x="10" y="28"/>
              </a:cxn>
              <a:cxn ang="0">
                <a:pos x="10" y="25"/>
              </a:cxn>
              <a:cxn ang="0">
                <a:pos x="13" y="24"/>
              </a:cxn>
              <a:cxn ang="0">
                <a:pos x="14" y="25"/>
              </a:cxn>
              <a:cxn ang="0">
                <a:pos x="16" y="27"/>
              </a:cxn>
              <a:cxn ang="0">
                <a:pos x="17" y="31"/>
              </a:cxn>
              <a:cxn ang="0">
                <a:pos x="18" y="35"/>
              </a:cxn>
              <a:cxn ang="0">
                <a:pos x="20" y="35"/>
              </a:cxn>
              <a:cxn ang="0">
                <a:pos x="20" y="28"/>
              </a:cxn>
              <a:cxn ang="0">
                <a:pos x="22" y="28"/>
              </a:cxn>
              <a:cxn ang="0">
                <a:pos x="25" y="30"/>
              </a:cxn>
              <a:cxn ang="0">
                <a:pos x="26" y="33"/>
              </a:cxn>
              <a:cxn ang="0">
                <a:pos x="29" y="33"/>
              </a:cxn>
              <a:cxn ang="0">
                <a:pos x="29" y="28"/>
              </a:cxn>
              <a:cxn ang="0">
                <a:pos x="26" y="20"/>
              </a:cxn>
              <a:cxn ang="0">
                <a:pos x="25" y="17"/>
              </a:cxn>
              <a:cxn ang="0">
                <a:pos x="24" y="14"/>
              </a:cxn>
              <a:cxn ang="0">
                <a:pos x="29" y="17"/>
              </a:cxn>
              <a:cxn ang="0">
                <a:pos x="29" y="19"/>
              </a:cxn>
              <a:cxn ang="0">
                <a:pos x="30" y="19"/>
              </a:cxn>
              <a:cxn ang="0">
                <a:pos x="32" y="17"/>
              </a:cxn>
              <a:cxn ang="0">
                <a:pos x="34" y="17"/>
              </a:cxn>
              <a:cxn ang="0">
                <a:pos x="34" y="14"/>
              </a:cxn>
              <a:cxn ang="0">
                <a:pos x="30" y="13"/>
              </a:cxn>
              <a:cxn ang="0">
                <a:pos x="29" y="9"/>
              </a:cxn>
              <a:cxn ang="0">
                <a:pos x="29" y="6"/>
              </a:cxn>
              <a:cxn ang="0">
                <a:pos x="26" y="5"/>
              </a:cxn>
              <a:cxn ang="0">
                <a:pos x="20" y="3"/>
              </a:cxn>
              <a:cxn ang="0">
                <a:pos x="16" y="2"/>
              </a:cxn>
              <a:cxn ang="0">
                <a:pos x="14" y="2"/>
              </a:cxn>
              <a:cxn ang="0">
                <a:pos x="13" y="0"/>
              </a:cxn>
            </a:cxnLst>
            <a:rect l="0" t="0" r="r" b="b"/>
            <a:pathLst>
              <a:path w="34" h="35">
                <a:moveTo>
                  <a:pt x="13" y="0"/>
                </a:moveTo>
                <a:lnTo>
                  <a:pt x="9" y="2"/>
                </a:lnTo>
                <a:lnTo>
                  <a:pt x="5" y="3"/>
                </a:lnTo>
                <a:lnTo>
                  <a:pt x="4" y="3"/>
                </a:lnTo>
                <a:lnTo>
                  <a:pt x="0" y="8"/>
                </a:lnTo>
                <a:lnTo>
                  <a:pt x="0" y="9"/>
                </a:lnTo>
                <a:lnTo>
                  <a:pt x="1" y="13"/>
                </a:lnTo>
                <a:lnTo>
                  <a:pt x="5" y="16"/>
                </a:lnTo>
                <a:lnTo>
                  <a:pt x="8" y="19"/>
                </a:lnTo>
                <a:lnTo>
                  <a:pt x="6" y="22"/>
                </a:lnTo>
                <a:lnTo>
                  <a:pt x="6" y="25"/>
                </a:lnTo>
                <a:lnTo>
                  <a:pt x="8" y="27"/>
                </a:lnTo>
                <a:lnTo>
                  <a:pt x="10" y="28"/>
                </a:lnTo>
                <a:lnTo>
                  <a:pt x="10" y="25"/>
                </a:lnTo>
                <a:lnTo>
                  <a:pt x="13" y="24"/>
                </a:lnTo>
                <a:lnTo>
                  <a:pt x="14" y="25"/>
                </a:lnTo>
                <a:lnTo>
                  <a:pt x="16" y="27"/>
                </a:lnTo>
                <a:lnTo>
                  <a:pt x="17" y="31"/>
                </a:lnTo>
                <a:lnTo>
                  <a:pt x="18" y="35"/>
                </a:lnTo>
                <a:lnTo>
                  <a:pt x="20" y="35"/>
                </a:lnTo>
                <a:lnTo>
                  <a:pt x="20" y="28"/>
                </a:lnTo>
                <a:lnTo>
                  <a:pt x="22" y="28"/>
                </a:lnTo>
                <a:lnTo>
                  <a:pt x="25" y="30"/>
                </a:lnTo>
                <a:lnTo>
                  <a:pt x="26" y="33"/>
                </a:lnTo>
                <a:lnTo>
                  <a:pt x="29" y="33"/>
                </a:lnTo>
                <a:lnTo>
                  <a:pt x="29" y="28"/>
                </a:lnTo>
                <a:lnTo>
                  <a:pt x="26" y="20"/>
                </a:lnTo>
                <a:lnTo>
                  <a:pt x="25" y="17"/>
                </a:lnTo>
                <a:lnTo>
                  <a:pt x="24" y="14"/>
                </a:lnTo>
                <a:lnTo>
                  <a:pt x="29" y="17"/>
                </a:lnTo>
                <a:lnTo>
                  <a:pt x="29" y="19"/>
                </a:lnTo>
                <a:lnTo>
                  <a:pt x="30" y="19"/>
                </a:lnTo>
                <a:lnTo>
                  <a:pt x="32" y="17"/>
                </a:lnTo>
                <a:lnTo>
                  <a:pt x="34" y="17"/>
                </a:lnTo>
                <a:lnTo>
                  <a:pt x="34" y="14"/>
                </a:lnTo>
                <a:lnTo>
                  <a:pt x="30" y="13"/>
                </a:lnTo>
                <a:lnTo>
                  <a:pt x="29" y="9"/>
                </a:lnTo>
                <a:lnTo>
                  <a:pt x="29" y="6"/>
                </a:lnTo>
                <a:lnTo>
                  <a:pt x="26" y="5"/>
                </a:lnTo>
                <a:lnTo>
                  <a:pt x="20" y="3"/>
                </a:lnTo>
                <a:lnTo>
                  <a:pt x="16" y="2"/>
                </a:lnTo>
                <a:lnTo>
                  <a:pt x="14" y="2"/>
                </a:lnTo>
                <a:lnTo>
                  <a:pt x="13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16" name="Freeform 1243"/>
          <p:cNvSpPr>
            <a:spLocks/>
          </p:cNvSpPr>
          <p:nvPr/>
        </p:nvSpPr>
        <p:spPr bwMode="auto">
          <a:xfrm>
            <a:off x="6282456" y="2993414"/>
            <a:ext cx="64310" cy="68724"/>
          </a:xfrm>
          <a:custGeom>
            <a:avLst/>
            <a:gdLst/>
            <a:ahLst/>
            <a:cxnLst>
              <a:cxn ang="0">
                <a:pos x="13" y="0"/>
              </a:cxn>
              <a:cxn ang="0">
                <a:pos x="9" y="2"/>
              </a:cxn>
              <a:cxn ang="0">
                <a:pos x="5" y="3"/>
              </a:cxn>
              <a:cxn ang="0">
                <a:pos x="4" y="3"/>
              </a:cxn>
              <a:cxn ang="0">
                <a:pos x="0" y="8"/>
              </a:cxn>
              <a:cxn ang="0">
                <a:pos x="0" y="9"/>
              </a:cxn>
              <a:cxn ang="0">
                <a:pos x="1" y="13"/>
              </a:cxn>
              <a:cxn ang="0">
                <a:pos x="5" y="16"/>
              </a:cxn>
              <a:cxn ang="0">
                <a:pos x="8" y="19"/>
              </a:cxn>
              <a:cxn ang="0">
                <a:pos x="6" y="22"/>
              </a:cxn>
              <a:cxn ang="0">
                <a:pos x="6" y="25"/>
              </a:cxn>
              <a:cxn ang="0">
                <a:pos x="8" y="27"/>
              </a:cxn>
              <a:cxn ang="0">
                <a:pos x="10" y="28"/>
              </a:cxn>
              <a:cxn ang="0">
                <a:pos x="10" y="25"/>
              </a:cxn>
              <a:cxn ang="0">
                <a:pos x="13" y="24"/>
              </a:cxn>
              <a:cxn ang="0">
                <a:pos x="14" y="25"/>
              </a:cxn>
              <a:cxn ang="0">
                <a:pos x="16" y="27"/>
              </a:cxn>
              <a:cxn ang="0">
                <a:pos x="17" y="31"/>
              </a:cxn>
              <a:cxn ang="0">
                <a:pos x="18" y="35"/>
              </a:cxn>
              <a:cxn ang="0">
                <a:pos x="20" y="35"/>
              </a:cxn>
              <a:cxn ang="0">
                <a:pos x="20" y="28"/>
              </a:cxn>
              <a:cxn ang="0">
                <a:pos x="22" y="28"/>
              </a:cxn>
              <a:cxn ang="0">
                <a:pos x="25" y="30"/>
              </a:cxn>
              <a:cxn ang="0">
                <a:pos x="26" y="33"/>
              </a:cxn>
              <a:cxn ang="0">
                <a:pos x="29" y="33"/>
              </a:cxn>
              <a:cxn ang="0">
                <a:pos x="29" y="28"/>
              </a:cxn>
              <a:cxn ang="0">
                <a:pos x="26" y="20"/>
              </a:cxn>
              <a:cxn ang="0">
                <a:pos x="25" y="17"/>
              </a:cxn>
              <a:cxn ang="0">
                <a:pos x="24" y="14"/>
              </a:cxn>
              <a:cxn ang="0">
                <a:pos x="29" y="17"/>
              </a:cxn>
              <a:cxn ang="0">
                <a:pos x="29" y="19"/>
              </a:cxn>
              <a:cxn ang="0">
                <a:pos x="30" y="19"/>
              </a:cxn>
              <a:cxn ang="0">
                <a:pos x="32" y="17"/>
              </a:cxn>
              <a:cxn ang="0">
                <a:pos x="34" y="17"/>
              </a:cxn>
              <a:cxn ang="0">
                <a:pos x="34" y="14"/>
              </a:cxn>
              <a:cxn ang="0">
                <a:pos x="30" y="13"/>
              </a:cxn>
              <a:cxn ang="0">
                <a:pos x="29" y="9"/>
              </a:cxn>
              <a:cxn ang="0">
                <a:pos x="29" y="6"/>
              </a:cxn>
              <a:cxn ang="0">
                <a:pos x="26" y="5"/>
              </a:cxn>
              <a:cxn ang="0">
                <a:pos x="20" y="3"/>
              </a:cxn>
              <a:cxn ang="0">
                <a:pos x="16" y="2"/>
              </a:cxn>
              <a:cxn ang="0">
                <a:pos x="14" y="2"/>
              </a:cxn>
              <a:cxn ang="0">
                <a:pos x="13" y="0"/>
              </a:cxn>
            </a:cxnLst>
            <a:rect l="0" t="0" r="r" b="b"/>
            <a:pathLst>
              <a:path w="34" h="35">
                <a:moveTo>
                  <a:pt x="13" y="0"/>
                </a:moveTo>
                <a:lnTo>
                  <a:pt x="9" y="2"/>
                </a:lnTo>
                <a:lnTo>
                  <a:pt x="5" y="3"/>
                </a:lnTo>
                <a:lnTo>
                  <a:pt x="4" y="3"/>
                </a:lnTo>
                <a:lnTo>
                  <a:pt x="0" y="8"/>
                </a:lnTo>
                <a:lnTo>
                  <a:pt x="0" y="9"/>
                </a:lnTo>
                <a:lnTo>
                  <a:pt x="1" y="13"/>
                </a:lnTo>
                <a:lnTo>
                  <a:pt x="5" y="16"/>
                </a:lnTo>
                <a:lnTo>
                  <a:pt x="8" y="19"/>
                </a:lnTo>
                <a:lnTo>
                  <a:pt x="6" y="22"/>
                </a:lnTo>
                <a:lnTo>
                  <a:pt x="6" y="25"/>
                </a:lnTo>
                <a:lnTo>
                  <a:pt x="8" y="27"/>
                </a:lnTo>
                <a:lnTo>
                  <a:pt x="10" y="28"/>
                </a:lnTo>
                <a:lnTo>
                  <a:pt x="10" y="25"/>
                </a:lnTo>
                <a:lnTo>
                  <a:pt x="13" y="24"/>
                </a:lnTo>
                <a:lnTo>
                  <a:pt x="14" y="25"/>
                </a:lnTo>
                <a:lnTo>
                  <a:pt x="16" y="27"/>
                </a:lnTo>
                <a:lnTo>
                  <a:pt x="17" y="31"/>
                </a:lnTo>
                <a:lnTo>
                  <a:pt x="18" y="35"/>
                </a:lnTo>
                <a:lnTo>
                  <a:pt x="20" y="35"/>
                </a:lnTo>
                <a:lnTo>
                  <a:pt x="20" y="28"/>
                </a:lnTo>
                <a:lnTo>
                  <a:pt x="22" y="28"/>
                </a:lnTo>
                <a:lnTo>
                  <a:pt x="25" y="30"/>
                </a:lnTo>
                <a:lnTo>
                  <a:pt x="26" y="33"/>
                </a:lnTo>
                <a:lnTo>
                  <a:pt x="29" y="33"/>
                </a:lnTo>
                <a:lnTo>
                  <a:pt x="29" y="28"/>
                </a:lnTo>
                <a:lnTo>
                  <a:pt x="26" y="20"/>
                </a:lnTo>
                <a:lnTo>
                  <a:pt x="25" y="17"/>
                </a:lnTo>
                <a:lnTo>
                  <a:pt x="24" y="14"/>
                </a:lnTo>
                <a:lnTo>
                  <a:pt x="29" y="17"/>
                </a:lnTo>
                <a:lnTo>
                  <a:pt x="29" y="19"/>
                </a:lnTo>
                <a:lnTo>
                  <a:pt x="30" y="19"/>
                </a:lnTo>
                <a:lnTo>
                  <a:pt x="32" y="17"/>
                </a:lnTo>
                <a:lnTo>
                  <a:pt x="34" y="17"/>
                </a:lnTo>
                <a:lnTo>
                  <a:pt x="34" y="14"/>
                </a:lnTo>
                <a:lnTo>
                  <a:pt x="30" y="13"/>
                </a:lnTo>
                <a:lnTo>
                  <a:pt x="29" y="9"/>
                </a:lnTo>
                <a:lnTo>
                  <a:pt x="29" y="6"/>
                </a:lnTo>
                <a:lnTo>
                  <a:pt x="26" y="5"/>
                </a:lnTo>
                <a:lnTo>
                  <a:pt x="20" y="3"/>
                </a:lnTo>
                <a:lnTo>
                  <a:pt x="16" y="2"/>
                </a:lnTo>
                <a:lnTo>
                  <a:pt x="14" y="2"/>
                </a:lnTo>
                <a:lnTo>
                  <a:pt x="13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17" name="Freeform 1244"/>
          <p:cNvSpPr>
            <a:spLocks/>
          </p:cNvSpPr>
          <p:nvPr/>
        </p:nvSpPr>
        <p:spPr bwMode="auto">
          <a:xfrm>
            <a:off x="6259070" y="2986971"/>
            <a:ext cx="11693" cy="15033"/>
          </a:xfrm>
          <a:custGeom>
            <a:avLst/>
            <a:gdLst/>
            <a:ahLst/>
            <a:cxnLst>
              <a:cxn ang="0">
                <a:pos x="5" y="7"/>
              </a:cxn>
              <a:cxn ang="0">
                <a:pos x="6" y="5"/>
              </a:cxn>
              <a:cxn ang="0">
                <a:pos x="4" y="4"/>
              </a:cxn>
              <a:cxn ang="0">
                <a:pos x="4" y="0"/>
              </a:cxn>
              <a:cxn ang="0">
                <a:pos x="2" y="2"/>
              </a:cxn>
              <a:cxn ang="0">
                <a:pos x="0" y="4"/>
              </a:cxn>
              <a:cxn ang="0">
                <a:pos x="2" y="5"/>
              </a:cxn>
              <a:cxn ang="0">
                <a:pos x="4" y="5"/>
              </a:cxn>
              <a:cxn ang="0">
                <a:pos x="5" y="7"/>
              </a:cxn>
            </a:cxnLst>
            <a:rect l="0" t="0" r="r" b="b"/>
            <a:pathLst>
              <a:path w="6" h="7">
                <a:moveTo>
                  <a:pt x="5" y="7"/>
                </a:moveTo>
                <a:lnTo>
                  <a:pt x="6" y="5"/>
                </a:lnTo>
                <a:lnTo>
                  <a:pt x="4" y="4"/>
                </a:lnTo>
                <a:lnTo>
                  <a:pt x="4" y="0"/>
                </a:lnTo>
                <a:lnTo>
                  <a:pt x="2" y="2"/>
                </a:lnTo>
                <a:lnTo>
                  <a:pt x="0" y="4"/>
                </a:lnTo>
                <a:lnTo>
                  <a:pt x="2" y="5"/>
                </a:lnTo>
                <a:lnTo>
                  <a:pt x="4" y="5"/>
                </a:lnTo>
                <a:lnTo>
                  <a:pt x="5" y="7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18" name="Freeform 1245"/>
          <p:cNvSpPr>
            <a:spLocks/>
          </p:cNvSpPr>
          <p:nvPr/>
        </p:nvSpPr>
        <p:spPr bwMode="auto">
          <a:xfrm>
            <a:off x="6259070" y="2986971"/>
            <a:ext cx="11693" cy="15033"/>
          </a:xfrm>
          <a:custGeom>
            <a:avLst/>
            <a:gdLst/>
            <a:ahLst/>
            <a:cxnLst>
              <a:cxn ang="0">
                <a:pos x="5" y="7"/>
              </a:cxn>
              <a:cxn ang="0">
                <a:pos x="6" y="5"/>
              </a:cxn>
              <a:cxn ang="0">
                <a:pos x="4" y="4"/>
              </a:cxn>
              <a:cxn ang="0">
                <a:pos x="4" y="0"/>
              </a:cxn>
              <a:cxn ang="0">
                <a:pos x="2" y="2"/>
              </a:cxn>
              <a:cxn ang="0">
                <a:pos x="0" y="4"/>
              </a:cxn>
              <a:cxn ang="0">
                <a:pos x="2" y="5"/>
              </a:cxn>
              <a:cxn ang="0">
                <a:pos x="4" y="5"/>
              </a:cxn>
              <a:cxn ang="0">
                <a:pos x="5" y="7"/>
              </a:cxn>
            </a:cxnLst>
            <a:rect l="0" t="0" r="r" b="b"/>
            <a:pathLst>
              <a:path w="6" h="7">
                <a:moveTo>
                  <a:pt x="5" y="7"/>
                </a:moveTo>
                <a:lnTo>
                  <a:pt x="6" y="5"/>
                </a:lnTo>
                <a:lnTo>
                  <a:pt x="4" y="4"/>
                </a:lnTo>
                <a:lnTo>
                  <a:pt x="4" y="0"/>
                </a:lnTo>
                <a:lnTo>
                  <a:pt x="2" y="2"/>
                </a:lnTo>
                <a:lnTo>
                  <a:pt x="0" y="4"/>
                </a:lnTo>
                <a:lnTo>
                  <a:pt x="2" y="5"/>
                </a:lnTo>
                <a:lnTo>
                  <a:pt x="4" y="5"/>
                </a:lnTo>
                <a:lnTo>
                  <a:pt x="5" y="7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19" name="Freeform 1246"/>
          <p:cNvSpPr>
            <a:spLocks/>
          </p:cNvSpPr>
          <p:nvPr/>
        </p:nvSpPr>
        <p:spPr bwMode="auto">
          <a:xfrm>
            <a:off x="6333126" y="2965497"/>
            <a:ext cx="48719" cy="38657"/>
          </a:xfrm>
          <a:custGeom>
            <a:avLst/>
            <a:gdLst/>
            <a:ahLst/>
            <a:cxnLst>
              <a:cxn ang="0">
                <a:pos x="26" y="18"/>
              </a:cxn>
              <a:cxn ang="0">
                <a:pos x="26" y="16"/>
              </a:cxn>
              <a:cxn ang="0">
                <a:pos x="22" y="15"/>
              </a:cxn>
              <a:cxn ang="0">
                <a:pos x="20" y="11"/>
              </a:cxn>
              <a:cxn ang="0">
                <a:pos x="20" y="8"/>
              </a:cxn>
              <a:cxn ang="0">
                <a:pos x="18" y="8"/>
              </a:cxn>
              <a:cxn ang="0">
                <a:pos x="14" y="7"/>
              </a:cxn>
              <a:cxn ang="0">
                <a:pos x="11" y="5"/>
              </a:cxn>
              <a:cxn ang="0">
                <a:pos x="7" y="2"/>
              </a:cxn>
              <a:cxn ang="0">
                <a:pos x="7" y="0"/>
              </a:cxn>
              <a:cxn ang="0">
                <a:pos x="4" y="0"/>
              </a:cxn>
              <a:cxn ang="0">
                <a:pos x="2" y="2"/>
              </a:cxn>
              <a:cxn ang="0">
                <a:pos x="0" y="4"/>
              </a:cxn>
              <a:cxn ang="0">
                <a:pos x="4" y="4"/>
              </a:cxn>
              <a:cxn ang="0">
                <a:pos x="7" y="7"/>
              </a:cxn>
              <a:cxn ang="0">
                <a:pos x="10" y="8"/>
              </a:cxn>
              <a:cxn ang="0">
                <a:pos x="10" y="10"/>
              </a:cxn>
              <a:cxn ang="0">
                <a:pos x="12" y="11"/>
              </a:cxn>
              <a:cxn ang="0">
                <a:pos x="15" y="11"/>
              </a:cxn>
              <a:cxn ang="0">
                <a:pos x="19" y="15"/>
              </a:cxn>
              <a:cxn ang="0">
                <a:pos x="19" y="16"/>
              </a:cxn>
              <a:cxn ang="0">
                <a:pos x="20" y="18"/>
              </a:cxn>
              <a:cxn ang="0">
                <a:pos x="22" y="19"/>
              </a:cxn>
              <a:cxn ang="0">
                <a:pos x="26" y="19"/>
              </a:cxn>
              <a:cxn ang="0">
                <a:pos x="26" y="18"/>
              </a:cxn>
            </a:cxnLst>
            <a:rect l="0" t="0" r="r" b="b"/>
            <a:pathLst>
              <a:path w="26" h="19">
                <a:moveTo>
                  <a:pt x="26" y="18"/>
                </a:moveTo>
                <a:lnTo>
                  <a:pt x="26" y="16"/>
                </a:lnTo>
                <a:lnTo>
                  <a:pt x="22" y="15"/>
                </a:lnTo>
                <a:lnTo>
                  <a:pt x="20" y="11"/>
                </a:lnTo>
                <a:lnTo>
                  <a:pt x="20" y="8"/>
                </a:lnTo>
                <a:lnTo>
                  <a:pt x="18" y="8"/>
                </a:lnTo>
                <a:lnTo>
                  <a:pt x="14" y="7"/>
                </a:lnTo>
                <a:lnTo>
                  <a:pt x="11" y="5"/>
                </a:lnTo>
                <a:lnTo>
                  <a:pt x="7" y="2"/>
                </a:lnTo>
                <a:lnTo>
                  <a:pt x="7" y="0"/>
                </a:lnTo>
                <a:lnTo>
                  <a:pt x="4" y="0"/>
                </a:lnTo>
                <a:lnTo>
                  <a:pt x="2" y="2"/>
                </a:lnTo>
                <a:lnTo>
                  <a:pt x="0" y="4"/>
                </a:lnTo>
                <a:lnTo>
                  <a:pt x="4" y="4"/>
                </a:lnTo>
                <a:lnTo>
                  <a:pt x="7" y="7"/>
                </a:lnTo>
                <a:lnTo>
                  <a:pt x="10" y="8"/>
                </a:lnTo>
                <a:lnTo>
                  <a:pt x="10" y="10"/>
                </a:lnTo>
                <a:lnTo>
                  <a:pt x="12" y="11"/>
                </a:lnTo>
                <a:lnTo>
                  <a:pt x="15" y="11"/>
                </a:lnTo>
                <a:lnTo>
                  <a:pt x="19" y="15"/>
                </a:lnTo>
                <a:lnTo>
                  <a:pt x="19" y="16"/>
                </a:lnTo>
                <a:lnTo>
                  <a:pt x="20" y="18"/>
                </a:lnTo>
                <a:lnTo>
                  <a:pt x="22" y="19"/>
                </a:lnTo>
                <a:lnTo>
                  <a:pt x="26" y="19"/>
                </a:lnTo>
                <a:lnTo>
                  <a:pt x="26" y="18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20" name="Freeform 1247"/>
          <p:cNvSpPr>
            <a:spLocks/>
          </p:cNvSpPr>
          <p:nvPr/>
        </p:nvSpPr>
        <p:spPr bwMode="auto">
          <a:xfrm>
            <a:off x="6333126" y="2965497"/>
            <a:ext cx="48719" cy="38657"/>
          </a:xfrm>
          <a:custGeom>
            <a:avLst/>
            <a:gdLst/>
            <a:ahLst/>
            <a:cxnLst>
              <a:cxn ang="0">
                <a:pos x="26" y="18"/>
              </a:cxn>
              <a:cxn ang="0">
                <a:pos x="26" y="16"/>
              </a:cxn>
              <a:cxn ang="0">
                <a:pos x="22" y="15"/>
              </a:cxn>
              <a:cxn ang="0">
                <a:pos x="20" y="11"/>
              </a:cxn>
              <a:cxn ang="0">
                <a:pos x="20" y="8"/>
              </a:cxn>
              <a:cxn ang="0">
                <a:pos x="18" y="8"/>
              </a:cxn>
              <a:cxn ang="0">
                <a:pos x="14" y="7"/>
              </a:cxn>
              <a:cxn ang="0">
                <a:pos x="11" y="5"/>
              </a:cxn>
              <a:cxn ang="0">
                <a:pos x="7" y="2"/>
              </a:cxn>
              <a:cxn ang="0">
                <a:pos x="7" y="0"/>
              </a:cxn>
              <a:cxn ang="0">
                <a:pos x="4" y="0"/>
              </a:cxn>
              <a:cxn ang="0">
                <a:pos x="2" y="2"/>
              </a:cxn>
              <a:cxn ang="0">
                <a:pos x="0" y="4"/>
              </a:cxn>
              <a:cxn ang="0">
                <a:pos x="4" y="4"/>
              </a:cxn>
              <a:cxn ang="0">
                <a:pos x="7" y="7"/>
              </a:cxn>
              <a:cxn ang="0">
                <a:pos x="10" y="8"/>
              </a:cxn>
              <a:cxn ang="0">
                <a:pos x="10" y="10"/>
              </a:cxn>
              <a:cxn ang="0">
                <a:pos x="12" y="11"/>
              </a:cxn>
              <a:cxn ang="0">
                <a:pos x="15" y="11"/>
              </a:cxn>
              <a:cxn ang="0">
                <a:pos x="19" y="15"/>
              </a:cxn>
              <a:cxn ang="0">
                <a:pos x="19" y="16"/>
              </a:cxn>
              <a:cxn ang="0">
                <a:pos x="20" y="18"/>
              </a:cxn>
              <a:cxn ang="0">
                <a:pos x="22" y="19"/>
              </a:cxn>
              <a:cxn ang="0">
                <a:pos x="26" y="19"/>
              </a:cxn>
              <a:cxn ang="0">
                <a:pos x="26" y="18"/>
              </a:cxn>
            </a:cxnLst>
            <a:rect l="0" t="0" r="r" b="b"/>
            <a:pathLst>
              <a:path w="26" h="19">
                <a:moveTo>
                  <a:pt x="26" y="18"/>
                </a:moveTo>
                <a:lnTo>
                  <a:pt x="26" y="16"/>
                </a:lnTo>
                <a:lnTo>
                  <a:pt x="22" y="15"/>
                </a:lnTo>
                <a:lnTo>
                  <a:pt x="20" y="11"/>
                </a:lnTo>
                <a:lnTo>
                  <a:pt x="20" y="8"/>
                </a:lnTo>
                <a:lnTo>
                  <a:pt x="18" y="8"/>
                </a:lnTo>
                <a:lnTo>
                  <a:pt x="14" y="7"/>
                </a:lnTo>
                <a:lnTo>
                  <a:pt x="11" y="5"/>
                </a:lnTo>
                <a:lnTo>
                  <a:pt x="7" y="2"/>
                </a:lnTo>
                <a:lnTo>
                  <a:pt x="7" y="0"/>
                </a:lnTo>
                <a:lnTo>
                  <a:pt x="4" y="0"/>
                </a:lnTo>
                <a:lnTo>
                  <a:pt x="2" y="2"/>
                </a:lnTo>
                <a:lnTo>
                  <a:pt x="0" y="4"/>
                </a:lnTo>
                <a:lnTo>
                  <a:pt x="4" y="4"/>
                </a:lnTo>
                <a:lnTo>
                  <a:pt x="7" y="7"/>
                </a:lnTo>
                <a:lnTo>
                  <a:pt x="10" y="8"/>
                </a:lnTo>
                <a:lnTo>
                  <a:pt x="10" y="10"/>
                </a:lnTo>
                <a:lnTo>
                  <a:pt x="12" y="11"/>
                </a:lnTo>
                <a:lnTo>
                  <a:pt x="15" y="11"/>
                </a:lnTo>
                <a:lnTo>
                  <a:pt x="19" y="15"/>
                </a:lnTo>
                <a:lnTo>
                  <a:pt x="19" y="16"/>
                </a:lnTo>
                <a:lnTo>
                  <a:pt x="20" y="18"/>
                </a:lnTo>
                <a:lnTo>
                  <a:pt x="22" y="19"/>
                </a:lnTo>
                <a:lnTo>
                  <a:pt x="26" y="19"/>
                </a:lnTo>
                <a:lnTo>
                  <a:pt x="26" y="18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21" name="Freeform 1248"/>
          <p:cNvSpPr>
            <a:spLocks/>
          </p:cNvSpPr>
          <p:nvPr/>
        </p:nvSpPr>
        <p:spPr bwMode="auto">
          <a:xfrm>
            <a:off x="6237632" y="2941873"/>
            <a:ext cx="15591" cy="12885"/>
          </a:xfrm>
          <a:custGeom>
            <a:avLst/>
            <a:gdLst/>
            <a:ahLst/>
            <a:cxnLst>
              <a:cxn ang="0">
                <a:pos x="7" y="6"/>
              </a:cxn>
              <a:cxn ang="0">
                <a:pos x="7" y="5"/>
              </a:cxn>
              <a:cxn ang="0">
                <a:pos x="4" y="0"/>
              </a:cxn>
              <a:cxn ang="0">
                <a:pos x="3" y="0"/>
              </a:cxn>
              <a:cxn ang="0">
                <a:pos x="0" y="0"/>
              </a:cxn>
              <a:cxn ang="0">
                <a:pos x="3" y="5"/>
              </a:cxn>
              <a:cxn ang="0">
                <a:pos x="4" y="6"/>
              </a:cxn>
              <a:cxn ang="0">
                <a:pos x="7" y="6"/>
              </a:cxn>
            </a:cxnLst>
            <a:rect l="0" t="0" r="r" b="b"/>
            <a:pathLst>
              <a:path w="7" h="6">
                <a:moveTo>
                  <a:pt x="7" y="6"/>
                </a:moveTo>
                <a:lnTo>
                  <a:pt x="7" y="5"/>
                </a:lnTo>
                <a:lnTo>
                  <a:pt x="4" y="0"/>
                </a:lnTo>
                <a:lnTo>
                  <a:pt x="3" y="0"/>
                </a:lnTo>
                <a:lnTo>
                  <a:pt x="0" y="0"/>
                </a:lnTo>
                <a:lnTo>
                  <a:pt x="3" y="5"/>
                </a:lnTo>
                <a:lnTo>
                  <a:pt x="4" y="6"/>
                </a:lnTo>
                <a:lnTo>
                  <a:pt x="7" y="6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22" name="Freeform 1249"/>
          <p:cNvSpPr>
            <a:spLocks/>
          </p:cNvSpPr>
          <p:nvPr/>
        </p:nvSpPr>
        <p:spPr bwMode="auto">
          <a:xfrm>
            <a:off x="6237632" y="2941873"/>
            <a:ext cx="15591" cy="12885"/>
          </a:xfrm>
          <a:custGeom>
            <a:avLst/>
            <a:gdLst/>
            <a:ahLst/>
            <a:cxnLst>
              <a:cxn ang="0">
                <a:pos x="7" y="6"/>
              </a:cxn>
              <a:cxn ang="0">
                <a:pos x="7" y="5"/>
              </a:cxn>
              <a:cxn ang="0">
                <a:pos x="4" y="0"/>
              </a:cxn>
              <a:cxn ang="0">
                <a:pos x="3" y="0"/>
              </a:cxn>
              <a:cxn ang="0">
                <a:pos x="0" y="0"/>
              </a:cxn>
              <a:cxn ang="0">
                <a:pos x="3" y="5"/>
              </a:cxn>
              <a:cxn ang="0">
                <a:pos x="4" y="6"/>
              </a:cxn>
              <a:cxn ang="0">
                <a:pos x="7" y="6"/>
              </a:cxn>
            </a:cxnLst>
            <a:rect l="0" t="0" r="r" b="b"/>
            <a:pathLst>
              <a:path w="7" h="6">
                <a:moveTo>
                  <a:pt x="7" y="6"/>
                </a:moveTo>
                <a:lnTo>
                  <a:pt x="7" y="5"/>
                </a:lnTo>
                <a:lnTo>
                  <a:pt x="4" y="0"/>
                </a:lnTo>
                <a:lnTo>
                  <a:pt x="3" y="0"/>
                </a:lnTo>
                <a:lnTo>
                  <a:pt x="0" y="0"/>
                </a:lnTo>
                <a:lnTo>
                  <a:pt x="3" y="5"/>
                </a:lnTo>
                <a:lnTo>
                  <a:pt x="4" y="6"/>
                </a:lnTo>
                <a:lnTo>
                  <a:pt x="7" y="6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23" name="Freeform 1250"/>
          <p:cNvSpPr>
            <a:spLocks/>
          </p:cNvSpPr>
          <p:nvPr/>
        </p:nvSpPr>
        <p:spPr bwMode="auto">
          <a:xfrm>
            <a:off x="7262709" y="3395019"/>
            <a:ext cx="25335" cy="12885"/>
          </a:xfrm>
          <a:custGeom>
            <a:avLst/>
            <a:gdLst/>
            <a:ahLst/>
            <a:cxnLst>
              <a:cxn ang="0">
                <a:pos x="13" y="0"/>
              </a:cxn>
              <a:cxn ang="0">
                <a:pos x="8" y="0"/>
              </a:cxn>
              <a:cxn ang="0">
                <a:pos x="7" y="3"/>
              </a:cxn>
              <a:cxn ang="0">
                <a:pos x="4" y="4"/>
              </a:cxn>
              <a:cxn ang="0">
                <a:pos x="0" y="6"/>
              </a:cxn>
              <a:cxn ang="0">
                <a:pos x="0" y="7"/>
              </a:cxn>
              <a:cxn ang="0">
                <a:pos x="8" y="4"/>
              </a:cxn>
              <a:cxn ang="0">
                <a:pos x="13" y="0"/>
              </a:cxn>
            </a:cxnLst>
            <a:rect l="0" t="0" r="r" b="b"/>
            <a:pathLst>
              <a:path w="13" h="7">
                <a:moveTo>
                  <a:pt x="13" y="0"/>
                </a:moveTo>
                <a:lnTo>
                  <a:pt x="8" y="0"/>
                </a:lnTo>
                <a:lnTo>
                  <a:pt x="7" y="3"/>
                </a:lnTo>
                <a:lnTo>
                  <a:pt x="4" y="4"/>
                </a:lnTo>
                <a:lnTo>
                  <a:pt x="0" y="6"/>
                </a:lnTo>
                <a:lnTo>
                  <a:pt x="0" y="7"/>
                </a:lnTo>
                <a:lnTo>
                  <a:pt x="8" y="4"/>
                </a:lnTo>
                <a:lnTo>
                  <a:pt x="13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24" name="Freeform 1251"/>
          <p:cNvSpPr>
            <a:spLocks/>
          </p:cNvSpPr>
          <p:nvPr/>
        </p:nvSpPr>
        <p:spPr bwMode="auto">
          <a:xfrm>
            <a:off x="7262709" y="3395019"/>
            <a:ext cx="25335" cy="12885"/>
          </a:xfrm>
          <a:custGeom>
            <a:avLst/>
            <a:gdLst/>
            <a:ahLst/>
            <a:cxnLst>
              <a:cxn ang="0">
                <a:pos x="13" y="0"/>
              </a:cxn>
              <a:cxn ang="0">
                <a:pos x="8" y="0"/>
              </a:cxn>
              <a:cxn ang="0">
                <a:pos x="7" y="3"/>
              </a:cxn>
              <a:cxn ang="0">
                <a:pos x="4" y="4"/>
              </a:cxn>
              <a:cxn ang="0">
                <a:pos x="0" y="6"/>
              </a:cxn>
              <a:cxn ang="0">
                <a:pos x="0" y="7"/>
              </a:cxn>
              <a:cxn ang="0">
                <a:pos x="8" y="4"/>
              </a:cxn>
              <a:cxn ang="0">
                <a:pos x="13" y="0"/>
              </a:cxn>
            </a:cxnLst>
            <a:rect l="0" t="0" r="r" b="b"/>
            <a:pathLst>
              <a:path w="13" h="7">
                <a:moveTo>
                  <a:pt x="13" y="0"/>
                </a:moveTo>
                <a:lnTo>
                  <a:pt x="8" y="0"/>
                </a:lnTo>
                <a:lnTo>
                  <a:pt x="7" y="3"/>
                </a:lnTo>
                <a:lnTo>
                  <a:pt x="4" y="4"/>
                </a:lnTo>
                <a:lnTo>
                  <a:pt x="0" y="6"/>
                </a:lnTo>
                <a:lnTo>
                  <a:pt x="0" y="7"/>
                </a:lnTo>
                <a:lnTo>
                  <a:pt x="8" y="4"/>
                </a:lnTo>
                <a:lnTo>
                  <a:pt x="13" y="0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25" name="Freeform 1252"/>
          <p:cNvSpPr>
            <a:spLocks/>
          </p:cNvSpPr>
          <p:nvPr/>
        </p:nvSpPr>
        <p:spPr bwMode="auto">
          <a:xfrm>
            <a:off x="7358202" y="3614073"/>
            <a:ext cx="5846" cy="17181"/>
          </a:xfrm>
          <a:custGeom>
            <a:avLst/>
            <a:gdLst/>
            <a:ahLst/>
            <a:cxnLst>
              <a:cxn ang="0">
                <a:pos x="0" y="8"/>
              </a:cxn>
              <a:cxn ang="0">
                <a:pos x="2" y="6"/>
              </a:cxn>
              <a:cxn ang="0">
                <a:pos x="2" y="5"/>
              </a:cxn>
              <a:cxn ang="0">
                <a:pos x="3" y="5"/>
              </a:cxn>
              <a:cxn ang="0">
                <a:pos x="4" y="3"/>
              </a:cxn>
              <a:cxn ang="0">
                <a:pos x="4" y="2"/>
              </a:cxn>
              <a:cxn ang="0">
                <a:pos x="4" y="0"/>
              </a:cxn>
              <a:cxn ang="0">
                <a:pos x="3" y="0"/>
              </a:cxn>
              <a:cxn ang="0">
                <a:pos x="2" y="2"/>
              </a:cxn>
              <a:cxn ang="0">
                <a:pos x="2" y="3"/>
              </a:cxn>
              <a:cxn ang="0">
                <a:pos x="0" y="5"/>
              </a:cxn>
              <a:cxn ang="0">
                <a:pos x="0" y="6"/>
              </a:cxn>
              <a:cxn ang="0">
                <a:pos x="0" y="8"/>
              </a:cxn>
            </a:cxnLst>
            <a:rect l="0" t="0" r="r" b="b"/>
            <a:pathLst>
              <a:path w="4" h="8">
                <a:moveTo>
                  <a:pt x="0" y="8"/>
                </a:moveTo>
                <a:lnTo>
                  <a:pt x="2" y="6"/>
                </a:lnTo>
                <a:lnTo>
                  <a:pt x="2" y="5"/>
                </a:lnTo>
                <a:lnTo>
                  <a:pt x="3" y="5"/>
                </a:lnTo>
                <a:lnTo>
                  <a:pt x="4" y="3"/>
                </a:lnTo>
                <a:lnTo>
                  <a:pt x="4" y="2"/>
                </a:lnTo>
                <a:lnTo>
                  <a:pt x="4" y="0"/>
                </a:lnTo>
                <a:lnTo>
                  <a:pt x="3" y="0"/>
                </a:lnTo>
                <a:lnTo>
                  <a:pt x="2" y="2"/>
                </a:lnTo>
                <a:lnTo>
                  <a:pt x="2" y="3"/>
                </a:lnTo>
                <a:lnTo>
                  <a:pt x="0" y="5"/>
                </a:lnTo>
                <a:lnTo>
                  <a:pt x="0" y="6"/>
                </a:lnTo>
                <a:lnTo>
                  <a:pt x="0" y="8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26" name="Freeform 1253"/>
          <p:cNvSpPr>
            <a:spLocks/>
          </p:cNvSpPr>
          <p:nvPr/>
        </p:nvSpPr>
        <p:spPr bwMode="auto">
          <a:xfrm>
            <a:off x="7358202" y="3614073"/>
            <a:ext cx="5846" cy="17181"/>
          </a:xfrm>
          <a:custGeom>
            <a:avLst/>
            <a:gdLst/>
            <a:ahLst/>
            <a:cxnLst>
              <a:cxn ang="0">
                <a:pos x="0" y="8"/>
              </a:cxn>
              <a:cxn ang="0">
                <a:pos x="2" y="6"/>
              </a:cxn>
              <a:cxn ang="0">
                <a:pos x="2" y="5"/>
              </a:cxn>
              <a:cxn ang="0">
                <a:pos x="3" y="5"/>
              </a:cxn>
              <a:cxn ang="0">
                <a:pos x="4" y="3"/>
              </a:cxn>
              <a:cxn ang="0">
                <a:pos x="4" y="2"/>
              </a:cxn>
              <a:cxn ang="0">
                <a:pos x="4" y="0"/>
              </a:cxn>
              <a:cxn ang="0">
                <a:pos x="3" y="0"/>
              </a:cxn>
              <a:cxn ang="0">
                <a:pos x="2" y="2"/>
              </a:cxn>
              <a:cxn ang="0">
                <a:pos x="2" y="3"/>
              </a:cxn>
              <a:cxn ang="0">
                <a:pos x="0" y="5"/>
              </a:cxn>
              <a:cxn ang="0">
                <a:pos x="0" y="6"/>
              </a:cxn>
              <a:cxn ang="0">
                <a:pos x="0" y="8"/>
              </a:cxn>
            </a:cxnLst>
            <a:rect l="0" t="0" r="r" b="b"/>
            <a:pathLst>
              <a:path w="4" h="8">
                <a:moveTo>
                  <a:pt x="0" y="8"/>
                </a:moveTo>
                <a:lnTo>
                  <a:pt x="2" y="6"/>
                </a:lnTo>
                <a:lnTo>
                  <a:pt x="2" y="5"/>
                </a:lnTo>
                <a:lnTo>
                  <a:pt x="3" y="5"/>
                </a:lnTo>
                <a:lnTo>
                  <a:pt x="4" y="3"/>
                </a:lnTo>
                <a:lnTo>
                  <a:pt x="4" y="2"/>
                </a:lnTo>
                <a:lnTo>
                  <a:pt x="4" y="0"/>
                </a:lnTo>
                <a:lnTo>
                  <a:pt x="3" y="0"/>
                </a:lnTo>
                <a:lnTo>
                  <a:pt x="2" y="2"/>
                </a:lnTo>
                <a:lnTo>
                  <a:pt x="2" y="3"/>
                </a:lnTo>
                <a:lnTo>
                  <a:pt x="0" y="5"/>
                </a:lnTo>
                <a:lnTo>
                  <a:pt x="0" y="6"/>
                </a:lnTo>
                <a:lnTo>
                  <a:pt x="0" y="8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27" name="Freeform 1254"/>
          <p:cNvSpPr>
            <a:spLocks/>
          </p:cNvSpPr>
          <p:nvPr/>
        </p:nvSpPr>
        <p:spPr bwMode="auto">
          <a:xfrm>
            <a:off x="8660009" y="3974871"/>
            <a:ext cx="5846" cy="17181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3" y="2"/>
              </a:cxn>
              <a:cxn ang="0">
                <a:pos x="3" y="3"/>
              </a:cxn>
              <a:cxn ang="0">
                <a:pos x="3" y="7"/>
              </a:cxn>
              <a:cxn ang="0">
                <a:pos x="2" y="3"/>
              </a:cxn>
              <a:cxn ang="0">
                <a:pos x="0" y="2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3" h="7">
                <a:moveTo>
                  <a:pt x="2" y="0"/>
                </a:moveTo>
                <a:lnTo>
                  <a:pt x="3" y="2"/>
                </a:lnTo>
                <a:lnTo>
                  <a:pt x="3" y="3"/>
                </a:lnTo>
                <a:lnTo>
                  <a:pt x="3" y="7"/>
                </a:lnTo>
                <a:lnTo>
                  <a:pt x="2" y="3"/>
                </a:lnTo>
                <a:lnTo>
                  <a:pt x="0" y="2"/>
                </a:lnTo>
                <a:lnTo>
                  <a:pt x="0" y="0"/>
                </a:lnTo>
                <a:lnTo>
                  <a:pt x="2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28" name="Freeform 1255"/>
          <p:cNvSpPr>
            <a:spLocks/>
          </p:cNvSpPr>
          <p:nvPr/>
        </p:nvSpPr>
        <p:spPr bwMode="auto">
          <a:xfrm>
            <a:off x="8660009" y="3974871"/>
            <a:ext cx="5846" cy="17181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3" y="2"/>
              </a:cxn>
              <a:cxn ang="0">
                <a:pos x="3" y="3"/>
              </a:cxn>
              <a:cxn ang="0">
                <a:pos x="3" y="7"/>
              </a:cxn>
              <a:cxn ang="0">
                <a:pos x="2" y="3"/>
              </a:cxn>
              <a:cxn ang="0">
                <a:pos x="0" y="2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3" h="7">
                <a:moveTo>
                  <a:pt x="2" y="0"/>
                </a:moveTo>
                <a:lnTo>
                  <a:pt x="3" y="2"/>
                </a:lnTo>
                <a:lnTo>
                  <a:pt x="3" y="3"/>
                </a:lnTo>
                <a:lnTo>
                  <a:pt x="3" y="7"/>
                </a:lnTo>
                <a:lnTo>
                  <a:pt x="2" y="3"/>
                </a:lnTo>
                <a:lnTo>
                  <a:pt x="0" y="2"/>
                </a:lnTo>
                <a:lnTo>
                  <a:pt x="0" y="0"/>
                </a:lnTo>
                <a:lnTo>
                  <a:pt x="2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29" name="Freeform 1256"/>
          <p:cNvSpPr>
            <a:spLocks/>
          </p:cNvSpPr>
          <p:nvPr/>
        </p:nvSpPr>
        <p:spPr bwMode="auto">
          <a:xfrm>
            <a:off x="9388866" y="3135157"/>
            <a:ext cx="1948" cy="6444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0" y="2"/>
              </a:cxn>
              <a:cxn ang="0">
                <a:pos x="1" y="3"/>
              </a:cxn>
              <a:cxn ang="0">
                <a:pos x="2" y="3"/>
              </a:cxn>
              <a:cxn ang="0">
                <a:pos x="1" y="0"/>
              </a:cxn>
            </a:cxnLst>
            <a:rect l="0" t="0" r="r" b="b"/>
            <a:pathLst>
              <a:path w="2" h="3">
                <a:moveTo>
                  <a:pt x="1" y="0"/>
                </a:moveTo>
                <a:lnTo>
                  <a:pt x="0" y="2"/>
                </a:lnTo>
                <a:lnTo>
                  <a:pt x="1" y="3"/>
                </a:lnTo>
                <a:lnTo>
                  <a:pt x="2" y="3"/>
                </a:lnTo>
                <a:lnTo>
                  <a:pt x="1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30" name="Freeform 1257"/>
          <p:cNvSpPr>
            <a:spLocks/>
          </p:cNvSpPr>
          <p:nvPr/>
        </p:nvSpPr>
        <p:spPr bwMode="auto">
          <a:xfrm>
            <a:off x="9388866" y="3135157"/>
            <a:ext cx="1948" cy="6444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0" y="2"/>
              </a:cxn>
              <a:cxn ang="0">
                <a:pos x="1" y="3"/>
              </a:cxn>
              <a:cxn ang="0">
                <a:pos x="2" y="3"/>
              </a:cxn>
              <a:cxn ang="0">
                <a:pos x="1" y="0"/>
              </a:cxn>
            </a:cxnLst>
            <a:rect l="0" t="0" r="r" b="b"/>
            <a:pathLst>
              <a:path w="2" h="3">
                <a:moveTo>
                  <a:pt x="1" y="0"/>
                </a:moveTo>
                <a:lnTo>
                  <a:pt x="0" y="2"/>
                </a:lnTo>
                <a:lnTo>
                  <a:pt x="1" y="3"/>
                </a:lnTo>
                <a:lnTo>
                  <a:pt x="2" y="3"/>
                </a:lnTo>
                <a:lnTo>
                  <a:pt x="1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31" name="Freeform 1258"/>
          <p:cNvSpPr>
            <a:spLocks/>
          </p:cNvSpPr>
          <p:nvPr/>
        </p:nvSpPr>
        <p:spPr bwMode="auto">
          <a:xfrm>
            <a:off x="9390815" y="3122272"/>
            <a:ext cx="5847" cy="1288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3" y="2"/>
              </a:cxn>
              <a:cxn ang="0">
                <a:pos x="3" y="3"/>
              </a:cxn>
              <a:cxn ang="0">
                <a:pos x="2" y="6"/>
              </a:cxn>
              <a:cxn ang="0">
                <a:pos x="0" y="5"/>
              </a:cxn>
              <a:cxn ang="0">
                <a:pos x="0" y="2"/>
              </a:cxn>
              <a:cxn ang="0">
                <a:pos x="2" y="0"/>
              </a:cxn>
            </a:cxnLst>
            <a:rect l="0" t="0" r="r" b="b"/>
            <a:pathLst>
              <a:path w="3" h="6">
                <a:moveTo>
                  <a:pt x="2" y="0"/>
                </a:moveTo>
                <a:lnTo>
                  <a:pt x="3" y="2"/>
                </a:lnTo>
                <a:lnTo>
                  <a:pt x="3" y="3"/>
                </a:lnTo>
                <a:lnTo>
                  <a:pt x="2" y="6"/>
                </a:lnTo>
                <a:lnTo>
                  <a:pt x="0" y="5"/>
                </a:lnTo>
                <a:lnTo>
                  <a:pt x="0" y="2"/>
                </a:lnTo>
                <a:lnTo>
                  <a:pt x="2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32" name="Freeform 1259"/>
          <p:cNvSpPr>
            <a:spLocks/>
          </p:cNvSpPr>
          <p:nvPr/>
        </p:nvSpPr>
        <p:spPr bwMode="auto">
          <a:xfrm>
            <a:off x="9390815" y="3122272"/>
            <a:ext cx="5847" cy="1288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3" y="2"/>
              </a:cxn>
              <a:cxn ang="0">
                <a:pos x="3" y="3"/>
              </a:cxn>
              <a:cxn ang="0">
                <a:pos x="2" y="6"/>
              </a:cxn>
              <a:cxn ang="0">
                <a:pos x="0" y="5"/>
              </a:cxn>
              <a:cxn ang="0">
                <a:pos x="0" y="2"/>
              </a:cxn>
              <a:cxn ang="0">
                <a:pos x="2" y="0"/>
              </a:cxn>
            </a:cxnLst>
            <a:rect l="0" t="0" r="r" b="b"/>
            <a:pathLst>
              <a:path w="3" h="6">
                <a:moveTo>
                  <a:pt x="2" y="0"/>
                </a:moveTo>
                <a:lnTo>
                  <a:pt x="3" y="2"/>
                </a:lnTo>
                <a:lnTo>
                  <a:pt x="3" y="3"/>
                </a:lnTo>
                <a:lnTo>
                  <a:pt x="2" y="6"/>
                </a:lnTo>
                <a:lnTo>
                  <a:pt x="0" y="5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33" name="Freeform 1260"/>
          <p:cNvSpPr>
            <a:spLocks/>
          </p:cNvSpPr>
          <p:nvPr/>
        </p:nvSpPr>
        <p:spPr bwMode="auto">
          <a:xfrm>
            <a:off x="9710420" y="2314771"/>
            <a:ext cx="1949" cy="214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1" y="0"/>
              </a:cxn>
              <a:cxn ang="0">
                <a:pos x="0" y="0"/>
              </a:cxn>
            </a:cxnLst>
            <a:rect l="0" t="0" r="r" b="b"/>
            <a:pathLst>
              <a:path w="1" h="2">
                <a:moveTo>
                  <a:pt x="0" y="0"/>
                </a:moveTo>
                <a:lnTo>
                  <a:pt x="0" y="2"/>
                </a:lnTo>
                <a:lnTo>
                  <a:pt x="1" y="0"/>
                </a:lnTo>
                <a:lnTo>
                  <a:pt x="0" y="0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34" name="Freeform 1261"/>
          <p:cNvSpPr>
            <a:spLocks/>
          </p:cNvSpPr>
          <p:nvPr/>
        </p:nvSpPr>
        <p:spPr bwMode="auto">
          <a:xfrm>
            <a:off x="9435638" y="3021334"/>
            <a:ext cx="1948" cy="2146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1" y="0"/>
              </a:cxn>
              <a:cxn ang="0">
                <a:pos x="0" y="0"/>
              </a:cxn>
            </a:cxnLst>
            <a:rect l="0" t="0" r="r" b="b"/>
            <a:pathLst>
              <a:path w="1" h="2">
                <a:moveTo>
                  <a:pt x="0" y="0"/>
                </a:moveTo>
                <a:lnTo>
                  <a:pt x="0" y="2"/>
                </a:lnTo>
                <a:lnTo>
                  <a:pt x="1" y="0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35" name="Freeform 1262"/>
          <p:cNvSpPr>
            <a:spLocks/>
          </p:cNvSpPr>
          <p:nvPr/>
        </p:nvSpPr>
        <p:spPr bwMode="auto">
          <a:xfrm>
            <a:off x="9412252" y="4745863"/>
            <a:ext cx="11693" cy="15033"/>
          </a:xfrm>
          <a:custGeom>
            <a:avLst/>
            <a:gdLst/>
            <a:ahLst/>
            <a:cxnLst>
              <a:cxn ang="0">
                <a:pos x="1" y="8"/>
              </a:cxn>
              <a:cxn ang="0">
                <a:pos x="0" y="8"/>
              </a:cxn>
              <a:cxn ang="0">
                <a:pos x="0" y="6"/>
              </a:cxn>
              <a:cxn ang="0">
                <a:pos x="0" y="5"/>
              </a:cxn>
              <a:cxn ang="0">
                <a:pos x="1" y="3"/>
              </a:cxn>
              <a:cxn ang="0">
                <a:pos x="2" y="0"/>
              </a:cxn>
              <a:cxn ang="0">
                <a:pos x="4" y="3"/>
              </a:cxn>
              <a:cxn ang="0">
                <a:pos x="5" y="5"/>
              </a:cxn>
              <a:cxn ang="0">
                <a:pos x="6" y="8"/>
              </a:cxn>
              <a:cxn ang="0">
                <a:pos x="1" y="8"/>
              </a:cxn>
            </a:cxnLst>
            <a:rect l="0" t="0" r="r" b="b"/>
            <a:pathLst>
              <a:path w="6" h="8">
                <a:moveTo>
                  <a:pt x="1" y="8"/>
                </a:moveTo>
                <a:lnTo>
                  <a:pt x="0" y="8"/>
                </a:lnTo>
                <a:lnTo>
                  <a:pt x="0" y="6"/>
                </a:lnTo>
                <a:lnTo>
                  <a:pt x="0" y="5"/>
                </a:lnTo>
                <a:lnTo>
                  <a:pt x="1" y="3"/>
                </a:lnTo>
                <a:lnTo>
                  <a:pt x="2" y="0"/>
                </a:lnTo>
                <a:lnTo>
                  <a:pt x="4" y="3"/>
                </a:lnTo>
                <a:lnTo>
                  <a:pt x="5" y="5"/>
                </a:lnTo>
                <a:lnTo>
                  <a:pt x="6" y="8"/>
                </a:lnTo>
                <a:lnTo>
                  <a:pt x="1" y="8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36" name="Freeform 1263"/>
          <p:cNvSpPr>
            <a:spLocks/>
          </p:cNvSpPr>
          <p:nvPr/>
        </p:nvSpPr>
        <p:spPr bwMode="auto">
          <a:xfrm>
            <a:off x="9412252" y="4745863"/>
            <a:ext cx="11693" cy="15033"/>
          </a:xfrm>
          <a:custGeom>
            <a:avLst/>
            <a:gdLst/>
            <a:ahLst/>
            <a:cxnLst>
              <a:cxn ang="0">
                <a:pos x="1" y="8"/>
              </a:cxn>
              <a:cxn ang="0">
                <a:pos x="0" y="8"/>
              </a:cxn>
              <a:cxn ang="0">
                <a:pos x="0" y="6"/>
              </a:cxn>
              <a:cxn ang="0">
                <a:pos x="0" y="5"/>
              </a:cxn>
              <a:cxn ang="0">
                <a:pos x="1" y="3"/>
              </a:cxn>
              <a:cxn ang="0">
                <a:pos x="2" y="0"/>
              </a:cxn>
              <a:cxn ang="0">
                <a:pos x="4" y="3"/>
              </a:cxn>
              <a:cxn ang="0">
                <a:pos x="5" y="5"/>
              </a:cxn>
              <a:cxn ang="0">
                <a:pos x="6" y="8"/>
              </a:cxn>
              <a:cxn ang="0">
                <a:pos x="1" y="8"/>
              </a:cxn>
            </a:cxnLst>
            <a:rect l="0" t="0" r="r" b="b"/>
            <a:pathLst>
              <a:path w="6" h="8">
                <a:moveTo>
                  <a:pt x="1" y="8"/>
                </a:moveTo>
                <a:lnTo>
                  <a:pt x="0" y="8"/>
                </a:lnTo>
                <a:lnTo>
                  <a:pt x="0" y="6"/>
                </a:lnTo>
                <a:lnTo>
                  <a:pt x="0" y="5"/>
                </a:lnTo>
                <a:lnTo>
                  <a:pt x="1" y="3"/>
                </a:lnTo>
                <a:lnTo>
                  <a:pt x="2" y="0"/>
                </a:lnTo>
                <a:lnTo>
                  <a:pt x="4" y="3"/>
                </a:lnTo>
                <a:lnTo>
                  <a:pt x="5" y="5"/>
                </a:lnTo>
                <a:lnTo>
                  <a:pt x="6" y="8"/>
                </a:lnTo>
                <a:lnTo>
                  <a:pt x="1" y="8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37" name="Freeform 1264"/>
          <p:cNvSpPr>
            <a:spLocks/>
          </p:cNvSpPr>
          <p:nvPr/>
        </p:nvSpPr>
        <p:spPr bwMode="auto">
          <a:xfrm>
            <a:off x="9418098" y="4743715"/>
            <a:ext cx="33130" cy="2362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0"/>
              </a:cxn>
              <a:cxn ang="0">
                <a:pos x="2" y="1"/>
              </a:cxn>
              <a:cxn ang="0">
                <a:pos x="4" y="1"/>
              </a:cxn>
              <a:cxn ang="0">
                <a:pos x="5" y="3"/>
              </a:cxn>
              <a:cxn ang="0">
                <a:pos x="9" y="1"/>
              </a:cxn>
              <a:cxn ang="0">
                <a:pos x="10" y="1"/>
              </a:cxn>
              <a:cxn ang="0">
                <a:pos x="14" y="0"/>
              </a:cxn>
              <a:cxn ang="0">
                <a:pos x="15" y="0"/>
              </a:cxn>
              <a:cxn ang="0">
                <a:pos x="17" y="1"/>
              </a:cxn>
              <a:cxn ang="0">
                <a:pos x="17" y="4"/>
              </a:cxn>
              <a:cxn ang="0">
                <a:pos x="14" y="7"/>
              </a:cxn>
              <a:cxn ang="0">
                <a:pos x="10" y="11"/>
              </a:cxn>
              <a:cxn ang="0">
                <a:pos x="9" y="11"/>
              </a:cxn>
              <a:cxn ang="0">
                <a:pos x="6" y="9"/>
              </a:cxn>
              <a:cxn ang="0">
                <a:pos x="2" y="6"/>
              </a:cxn>
              <a:cxn ang="0">
                <a:pos x="0" y="0"/>
              </a:cxn>
            </a:cxnLst>
            <a:rect l="0" t="0" r="r" b="b"/>
            <a:pathLst>
              <a:path w="17" h="11">
                <a:moveTo>
                  <a:pt x="0" y="0"/>
                </a:moveTo>
                <a:lnTo>
                  <a:pt x="1" y="0"/>
                </a:lnTo>
                <a:lnTo>
                  <a:pt x="2" y="1"/>
                </a:lnTo>
                <a:lnTo>
                  <a:pt x="4" y="1"/>
                </a:lnTo>
                <a:lnTo>
                  <a:pt x="5" y="3"/>
                </a:lnTo>
                <a:lnTo>
                  <a:pt x="9" y="1"/>
                </a:lnTo>
                <a:lnTo>
                  <a:pt x="10" y="1"/>
                </a:lnTo>
                <a:lnTo>
                  <a:pt x="14" y="0"/>
                </a:lnTo>
                <a:lnTo>
                  <a:pt x="15" y="0"/>
                </a:lnTo>
                <a:lnTo>
                  <a:pt x="17" y="1"/>
                </a:lnTo>
                <a:lnTo>
                  <a:pt x="17" y="4"/>
                </a:lnTo>
                <a:lnTo>
                  <a:pt x="14" y="7"/>
                </a:lnTo>
                <a:lnTo>
                  <a:pt x="10" y="11"/>
                </a:lnTo>
                <a:lnTo>
                  <a:pt x="9" y="11"/>
                </a:lnTo>
                <a:lnTo>
                  <a:pt x="6" y="9"/>
                </a:lnTo>
                <a:lnTo>
                  <a:pt x="2" y="6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38" name="Freeform 1265"/>
          <p:cNvSpPr>
            <a:spLocks/>
          </p:cNvSpPr>
          <p:nvPr/>
        </p:nvSpPr>
        <p:spPr bwMode="auto">
          <a:xfrm>
            <a:off x="9418098" y="4743715"/>
            <a:ext cx="33130" cy="2362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0"/>
              </a:cxn>
              <a:cxn ang="0">
                <a:pos x="2" y="1"/>
              </a:cxn>
              <a:cxn ang="0">
                <a:pos x="4" y="1"/>
              </a:cxn>
              <a:cxn ang="0">
                <a:pos x="5" y="3"/>
              </a:cxn>
              <a:cxn ang="0">
                <a:pos x="9" y="1"/>
              </a:cxn>
              <a:cxn ang="0">
                <a:pos x="10" y="1"/>
              </a:cxn>
              <a:cxn ang="0">
                <a:pos x="14" y="0"/>
              </a:cxn>
              <a:cxn ang="0">
                <a:pos x="15" y="0"/>
              </a:cxn>
              <a:cxn ang="0">
                <a:pos x="17" y="1"/>
              </a:cxn>
              <a:cxn ang="0">
                <a:pos x="17" y="4"/>
              </a:cxn>
              <a:cxn ang="0">
                <a:pos x="14" y="7"/>
              </a:cxn>
              <a:cxn ang="0">
                <a:pos x="10" y="11"/>
              </a:cxn>
              <a:cxn ang="0">
                <a:pos x="9" y="11"/>
              </a:cxn>
              <a:cxn ang="0">
                <a:pos x="6" y="9"/>
              </a:cxn>
              <a:cxn ang="0">
                <a:pos x="2" y="6"/>
              </a:cxn>
              <a:cxn ang="0">
                <a:pos x="0" y="0"/>
              </a:cxn>
            </a:cxnLst>
            <a:rect l="0" t="0" r="r" b="b"/>
            <a:pathLst>
              <a:path w="17" h="11">
                <a:moveTo>
                  <a:pt x="0" y="0"/>
                </a:moveTo>
                <a:lnTo>
                  <a:pt x="1" y="0"/>
                </a:lnTo>
                <a:lnTo>
                  <a:pt x="2" y="1"/>
                </a:lnTo>
                <a:lnTo>
                  <a:pt x="4" y="1"/>
                </a:lnTo>
                <a:lnTo>
                  <a:pt x="5" y="3"/>
                </a:lnTo>
                <a:lnTo>
                  <a:pt x="9" y="1"/>
                </a:lnTo>
                <a:lnTo>
                  <a:pt x="10" y="1"/>
                </a:lnTo>
                <a:lnTo>
                  <a:pt x="14" y="0"/>
                </a:lnTo>
                <a:lnTo>
                  <a:pt x="15" y="0"/>
                </a:lnTo>
                <a:lnTo>
                  <a:pt x="17" y="1"/>
                </a:lnTo>
                <a:lnTo>
                  <a:pt x="17" y="4"/>
                </a:lnTo>
                <a:lnTo>
                  <a:pt x="14" y="7"/>
                </a:lnTo>
                <a:lnTo>
                  <a:pt x="10" y="11"/>
                </a:lnTo>
                <a:lnTo>
                  <a:pt x="9" y="11"/>
                </a:lnTo>
                <a:lnTo>
                  <a:pt x="6" y="9"/>
                </a:lnTo>
                <a:lnTo>
                  <a:pt x="2" y="6"/>
                </a:lnTo>
                <a:lnTo>
                  <a:pt x="0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39" name="Freeform 1266"/>
          <p:cNvSpPr>
            <a:spLocks/>
          </p:cNvSpPr>
          <p:nvPr/>
        </p:nvSpPr>
        <p:spPr bwMode="auto">
          <a:xfrm>
            <a:off x="9597389" y="4831765"/>
            <a:ext cx="9745" cy="17181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1" y="1"/>
              </a:cxn>
              <a:cxn ang="0">
                <a:pos x="2" y="0"/>
              </a:cxn>
              <a:cxn ang="0">
                <a:pos x="2" y="1"/>
              </a:cxn>
              <a:cxn ang="0">
                <a:pos x="5" y="0"/>
              </a:cxn>
              <a:cxn ang="0">
                <a:pos x="5" y="7"/>
              </a:cxn>
              <a:cxn ang="0">
                <a:pos x="6" y="9"/>
              </a:cxn>
              <a:cxn ang="0">
                <a:pos x="4" y="9"/>
              </a:cxn>
              <a:cxn ang="0">
                <a:pos x="1" y="9"/>
              </a:cxn>
              <a:cxn ang="0">
                <a:pos x="0" y="7"/>
              </a:cxn>
              <a:cxn ang="0">
                <a:pos x="0" y="1"/>
              </a:cxn>
            </a:cxnLst>
            <a:rect l="0" t="0" r="r" b="b"/>
            <a:pathLst>
              <a:path w="6" h="9">
                <a:moveTo>
                  <a:pt x="0" y="1"/>
                </a:moveTo>
                <a:lnTo>
                  <a:pt x="1" y="1"/>
                </a:lnTo>
                <a:lnTo>
                  <a:pt x="2" y="0"/>
                </a:lnTo>
                <a:lnTo>
                  <a:pt x="2" y="1"/>
                </a:lnTo>
                <a:lnTo>
                  <a:pt x="5" y="0"/>
                </a:lnTo>
                <a:lnTo>
                  <a:pt x="5" y="7"/>
                </a:lnTo>
                <a:lnTo>
                  <a:pt x="6" y="9"/>
                </a:lnTo>
                <a:lnTo>
                  <a:pt x="4" y="9"/>
                </a:lnTo>
                <a:lnTo>
                  <a:pt x="1" y="9"/>
                </a:lnTo>
                <a:lnTo>
                  <a:pt x="0" y="7"/>
                </a:lnTo>
                <a:lnTo>
                  <a:pt x="0" y="1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40" name="Freeform 1267"/>
          <p:cNvSpPr>
            <a:spLocks/>
          </p:cNvSpPr>
          <p:nvPr/>
        </p:nvSpPr>
        <p:spPr bwMode="auto">
          <a:xfrm>
            <a:off x="9597389" y="4831765"/>
            <a:ext cx="9745" cy="17181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1" y="1"/>
              </a:cxn>
              <a:cxn ang="0">
                <a:pos x="2" y="0"/>
              </a:cxn>
              <a:cxn ang="0">
                <a:pos x="2" y="1"/>
              </a:cxn>
              <a:cxn ang="0">
                <a:pos x="5" y="0"/>
              </a:cxn>
              <a:cxn ang="0">
                <a:pos x="5" y="7"/>
              </a:cxn>
              <a:cxn ang="0">
                <a:pos x="6" y="9"/>
              </a:cxn>
              <a:cxn ang="0">
                <a:pos x="4" y="9"/>
              </a:cxn>
              <a:cxn ang="0">
                <a:pos x="1" y="9"/>
              </a:cxn>
              <a:cxn ang="0">
                <a:pos x="0" y="7"/>
              </a:cxn>
              <a:cxn ang="0">
                <a:pos x="0" y="1"/>
              </a:cxn>
            </a:cxnLst>
            <a:rect l="0" t="0" r="r" b="b"/>
            <a:pathLst>
              <a:path w="6" h="9">
                <a:moveTo>
                  <a:pt x="0" y="1"/>
                </a:moveTo>
                <a:lnTo>
                  <a:pt x="1" y="1"/>
                </a:lnTo>
                <a:lnTo>
                  <a:pt x="2" y="0"/>
                </a:lnTo>
                <a:lnTo>
                  <a:pt x="2" y="1"/>
                </a:lnTo>
                <a:lnTo>
                  <a:pt x="5" y="0"/>
                </a:lnTo>
                <a:lnTo>
                  <a:pt x="5" y="7"/>
                </a:lnTo>
                <a:lnTo>
                  <a:pt x="6" y="9"/>
                </a:lnTo>
                <a:lnTo>
                  <a:pt x="4" y="9"/>
                </a:lnTo>
                <a:lnTo>
                  <a:pt x="1" y="9"/>
                </a:lnTo>
                <a:lnTo>
                  <a:pt x="0" y="7"/>
                </a:lnTo>
                <a:lnTo>
                  <a:pt x="0" y="1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41" name="Freeform 1268"/>
          <p:cNvSpPr>
            <a:spLocks/>
          </p:cNvSpPr>
          <p:nvPr/>
        </p:nvSpPr>
        <p:spPr bwMode="auto">
          <a:xfrm>
            <a:off x="10069003" y="5216189"/>
            <a:ext cx="13642" cy="34361"/>
          </a:xfrm>
          <a:custGeom>
            <a:avLst/>
            <a:gdLst/>
            <a:ahLst/>
            <a:cxnLst>
              <a:cxn ang="0">
                <a:pos x="3" y="2"/>
              </a:cxn>
              <a:cxn ang="0">
                <a:pos x="3" y="0"/>
              </a:cxn>
              <a:cxn ang="0">
                <a:pos x="6" y="5"/>
              </a:cxn>
              <a:cxn ang="0">
                <a:pos x="6" y="10"/>
              </a:cxn>
              <a:cxn ang="0">
                <a:pos x="3" y="16"/>
              </a:cxn>
              <a:cxn ang="0">
                <a:pos x="2" y="18"/>
              </a:cxn>
              <a:cxn ang="0">
                <a:pos x="0" y="14"/>
              </a:cxn>
              <a:cxn ang="0">
                <a:pos x="0" y="10"/>
              </a:cxn>
              <a:cxn ang="0">
                <a:pos x="3" y="7"/>
              </a:cxn>
              <a:cxn ang="0">
                <a:pos x="3" y="3"/>
              </a:cxn>
              <a:cxn ang="0">
                <a:pos x="3" y="2"/>
              </a:cxn>
            </a:cxnLst>
            <a:rect l="0" t="0" r="r" b="b"/>
            <a:pathLst>
              <a:path w="6" h="18">
                <a:moveTo>
                  <a:pt x="3" y="2"/>
                </a:moveTo>
                <a:lnTo>
                  <a:pt x="3" y="0"/>
                </a:lnTo>
                <a:lnTo>
                  <a:pt x="6" y="5"/>
                </a:lnTo>
                <a:lnTo>
                  <a:pt x="6" y="10"/>
                </a:lnTo>
                <a:lnTo>
                  <a:pt x="3" y="16"/>
                </a:lnTo>
                <a:lnTo>
                  <a:pt x="2" y="18"/>
                </a:lnTo>
                <a:lnTo>
                  <a:pt x="0" y="14"/>
                </a:lnTo>
                <a:lnTo>
                  <a:pt x="0" y="10"/>
                </a:lnTo>
                <a:lnTo>
                  <a:pt x="3" y="7"/>
                </a:lnTo>
                <a:lnTo>
                  <a:pt x="3" y="3"/>
                </a:lnTo>
                <a:lnTo>
                  <a:pt x="3" y="2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42" name="Freeform 1269"/>
          <p:cNvSpPr>
            <a:spLocks/>
          </p:cNvSpPr>
          <p:nvPr/>
        </p:nvSpPr>
        <p:spPr bwMode="auto">
          <a:xfrm>
            <a:off x="10069003" y="5216189"/>
            <a:ext cx="13642" cy="34361"/>
          </a:xfrm>
          <a:custGeom>
            <a:avLst/>
            <a:gdLst/>
            <a:ahLst/>
            <a:cxnLst>
              <a:cxn ang="0">
                <a:pos x="3" y="2"/>
              </a:cxn>
              <a:cxn ang="0">
                <a:pos x="3" y="0"/>
              </a:cxn>
              <a:cxn ang="0">
                <a:pos x="6" y="5"/>
              </a:cxn>
              <a:cxn ang="0">
                <a:pos x="6" y="10"/>
              </a:cxn>
              <a:cxn ang="0">
                <a:pos x="3" y="16"/>
              </a:cxn>
              <a:cxn ang="0">
                <a:pos x="2" y="18"/>
              </a:cxn>
              <a:cxn ang="0">
                <a:pos x="0" y="14"/>
              </a:cxn>
              <a:cxn ang="0">
                <a:pos x="0" y="10"/>
              </a:cxn>
              <a:cxn ang="0">
                <a:pos x="3" y="7"/>
              </a:cxn>
              <a:cxn ang="0">
                <a:pos x="3" y="3"/>
              </a:cxn>
              <a:cxn ang="0">
                <a:pos x="3" y="2"/>
              </a:cxn>
            </a:cxnLst>
            <a:rect l="0" t="0" r="r" b="b"/>
            <a:pathLst>
              <a:path w="6" h="18">
                <a:moveTo>
                  <a:pt x="3" y="2"/>
                </a:moveTo>
                <a:lnTo>
                  <a:pt x="3" y="0"/>
                </a:lnTo>
                <a:lnTo>
                  <a:pt x="6" y="5"/>
                </a:lnTo>
                <a:lnTo>
                  <a:pt x="6" y="10"/>
                </a:lnTo>
                <a:lnTo>
                  <a:pt x="3" y="16"/>
                </a:lnTo>
                <a:lnTo>
                  <a:pt x="2" y="18"/>
                </a:lnTo>
                <a:lnTo>
                  <a:pt x="0" y="14"/>
                </a:lnTo>
                <a:lnTo>
                  <a:pt x="0" y="10"/>
                </a:lnTo>
                <a:lnTo>
                  <a:pt x="3" y="7"/>
                </a:lnTo>
                <a:lnTo>
                  <a:pt x="3" y="3"/>
                </a:lnTo>
                <a:lnTo>
                  <a:pt x="3" y="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43" name="Freeform 1270"/>
          <p:cNvSpPr>
            <a:spLocks/>
          </p:cNvSpPr>
          <p:nvPr/>
        </p:nvSpPr>
        <p:spPr bwMode="auto">
          <a:xfrm>
            <a:off x="10084592" y="5308535"/>
            <a:ext cx="5847" cy="10739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3" y="0"/>
              </a:cxn>
              <a:cxn ang="0">
                <a:pos x="3" y="4"/>
              </a:cxn>
              <a:cxn ang="0">
                <a:pos x="1" y="5"/>
              </a:cxn>
              <a:cxn ang="0">
                <a:pos x="0" y="2"/>
              </a:cxn>
              <a:cxn ang="0">
                <a:pos x="1" y="0"/>
              </a:cxn>
              <a:cxn ang="0">
                <a:pos x="0" y="2"/>
              </a:cxn>
              <a:cxn ang="0">
                <a:pos x="1" y="0"/>
              </a:cxn>
            </a:cxnLst>
            <a:rect l="0" t="0" r="r" b="b"/>
            <a:pathLst>
              <a:path w="3" h="5">
                <a:moveTo>
                  <a:pt x="1" y="0"/>
                </a:moveTo>
                <a:lnTo>
                  <a:pt x="3" y="0"/>
                </a:lnTo>
                <a:lnTo>
                  <a:pt x="3" y="4"/>
                </a:lnTo>
                <a:lnTo>
                  <a:pt x="1" y="5"/>
                </a:lnTo>
                <a:lnTo>
                  <a:pt x="0" y="2"/>
                </a:lnTo>
                <a:lnTo>
                  <a:pt x="1" y="0"/>
                </a:lnTo>
                <a:lnTo>
                  <a:pt x="0" y="2"/>
                </a:lnTo>
                <a:lnTo>
                  <a:pt x="1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44" name="Freeform 1271"/>
          <p:cNvSpPr>
            <a:spLocks/>
          </p:cNvSpPr>
          <p:nvPr/>
        </p:nvSpPr>
        <p:spPr bwMode="auto">
          <a:xfrm>
            <a:off x="10084592" y="5308535"/>
            <a:ext cx="5847" cy="10739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3" y="0"/>
              </a:cxn>
              <a:cxn ang="0">
                <a:pos x="3" y="4"/>
              </a:cxn>
              <a:cxn ang="0">
                <a:pos x="1" y="5"/>
              </a:cxn>
              <a:cxn ang="0">
                <a:pos x="0" y="2"/>
              </a:cxn>
              <a:cxn ang="0">
                <a:pos x="1" y="0"/>
              </a:cxn>
              <a:cxn ang="0">
                <a:pos x="0" y="2"/>
              </a:cxn>
              <a:cxn ang="0">
                <a:pos x="1" y="0"/>
              </a:cxn>
            </a:cxnLst>
            <a:rect l="0" t="0" r="r" b="b"/>
            <a:pathLst>
              <a:path w="3" h="5">
                <a:moveTo>
                  <a:pt x="1" y="0"/>
                </a:moveTo>
                <a:lnTo>
                  <a:pt x="3" y="0"/>
                </a:lnTo>
                <a:lnTo>
                  <a:pt x="3" y="4"/>
                </a:lnTo>
                <a:lnTo>
                  <a:pt x="1" y="5"/>
                </a:lnTo>
                <a:lnTo>
                  <a:pt x="0" y="2"/>
                </a:lnTo>
                <a:lnTo>
                  <a:pt x="1" y="0"/>
                </a:lnTo>
                <a:lnTo>
                  <a:pt x="0" y="2"/>
                </a:lnTo>
                <a:lnTo>
                  <a:pt x="1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45" name="Freeform 1272"/>
          <p:cNvSpPr>
            <a:spLocks/>
          </p:cNvSpPr>
          <p:nvPr/>
        </p:nvSpPr>
        <p:spPr bwMode="auto">
          <a:xfrm>
            <a:off x="9597389" y="5598464"/>
            <a:ext cx="46772" cy="21476"/>
          </a:xfrm>
          <a:custGeom>
            <a:avLst/>
            <a:gdLst/>
            <a:ahLst/>
            <a:cxnLst>
              <a:cxn ang="0">
                <a:pos x="1" y="5"/>
              </a:cxn>
              <a:cxn ang="0">
                <a:pos x="1" y="4"/>
              </a:cxn>
              <a:cxn ang="0">
                <a:pos x="4" y="2"/>
              </a:cxn>
              <a:cxn ang="0">
                <a:pos x="12" y="0"/>
              </a:cxn>
              <a:cxn ang="0">
                <a:pos x="16" y="2"/>
              </a:cxn>
              <a:cxn ang="0">
                <a:pos x="16" y="4"/>
              </a:cxn>
              <a:cxn ang="0">
                <a:pos x="20" y="4"/>
              </a:cxn>
              <a:cxn ang="0">
                <a:pos x="23" y="4"/>
              </a:cxn>
              <a:cxn ang="0">
                <a:pos x="24" y="7"/>
              </a:cxn>
              <a:cxn ang="0">
                <a:pos x="21" y="7"/>
              </a:cxn>
              <a:cxn ang="0">
                <a:pos x="17" y="7"/>
              </a:cxn>
              <a:cxn ang="0">
                <a:pos x="17" y="8"/>
              </a:cxn>
              <a:cxn ang="0">
                <a:pos x="15" y="10"/>
              </a:cxn>
              <a:cxn ang="0">
                <a:pos x="12" y="8"/>
              </a:cxn>
              <a:cxn ang="0">
                <a:pos x="5" y="8"/>
              </a:cxn>
              <a:cxn ang="0">
                <a:pos x="3" y="8"/>
              </a:cxn>
              <a:cxn ang="0">
                <a:pos x="0" y="5"/>
              </a:cxn>
              <a:cxn ang="0">
                <a:pos x="1" y="5"/>
              </a:cxn>
            </a:cxnLst>
            <a:rect l="0" t="0" r="r" b="b"/>
            <a:pathLst>
              <a:path w="24" h="10">
                <a:moveTo>
                  <a:pt x="1" y="5"/>
                </a:moveTo>
                <a:lnTo>
                  <a:pt x="1" y="4"/>
                </a:lnTo>
                <a:lnTo>
                  <a:pt x="4" y="2"/>
                </a:lnTo>
                <a:lnTo>
                  <a:pt x="12" y="0"/>
                </a:lnTo>
                <a:lnTo>
                  <a:pt x="16" y="2"/>
                </a:lnTo>
                <a:lnTo>
                  <a:pt x="16" y="4"/>
                </a:lnTo>
                <a:lnTo>
                  <a:pt x="20" y="4"/>
                </a:lnTo>
                <a:lnTo>
                  <a:pt x="23" y="4"/>
                </a:lnTo>
                <a:lnTo>
                  <a:pt x="24" y="7"/>
                </a:lnTo>
                <a:lnTo>
                  <a:pt x="21" y="7"/>
                </a:lnTo>
                <a:lnTo>
                  <a:pt x="17" y="7"/>
                </a:lnTo>
                <a:lnTo>
                  <a:pt x="17" y="8"/>
                </a:lnTo>
                <a:lnTo>
                  <a:pt x="15" y="10"/>
                </a:lnTo>
                <a:lnTo>
                  <a:pt x="12" y="8"/>
                </a:lnTo>
                <a:lnTo>
                  <a:pt x="5" y="8"/>
                </a:lnTo>
                <a:lnTo>
                  <a:pt x="3" y="8"/>
                </a:lnTo>
                <a:lnTo>
                  <a:pt x="0" y="5"/>
                </a:lnTo>
                <a:lnTo>
                  <a:pt x="1" y="5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46" name="Freeform 1273"/>
          <p:cNvSpPr>
            <a:spLocks/>
          </p:cNvSpPr>
          <p:nvPr/>
        </p:nvSpPr>
        <p:spPr bwMode="auto">
          <a:xfrm>
            <a:off x="9597389" y="5598464"/>
            <a:ext cx="46772" cy="21476"/>
          </a:xfrm>
          <a:custGeom>
            <a:avLst/>
            <a:gdLst/>
            <a:ahLst/>
            <a:cxnLst>
              <a:cxn ang="0">
                <a:pos x="1" y="5"/>
              </a:cxn>
              <a:cxn ang="0">
                <a:pos x="1" y="4"/>
              </a:cxn>
              <a:cxn ang="0">
                <a:pos x="4" y="2"/>
              </a:cxn>
              <a:cxn ang="0">
                <a:pos x="12" y="0"/>
              </a:cxn>
              <a:cxn ang="0">
                <a:pos x="16" y="2"/>
              </a:cxn>
              <a:cxn ang="0">
                <a:pos x="16" y="4"/>
              </a:cxn>
              <a:cxn ang="0">
                <a:pos x="20" y="4"/>
              </a:cxn>
              <a:cxn ang="0">
                <a:pos x="23" y="4"/>
              </a:cxn>
              <a:cxn ang="0">
                <a:pos x="24" y="7"/>
              </a:cxn>
              <a:cxn ang="0">
                <a:pos x="21" y="7"/>
              </a:cxn>
              <a:cxn ang="0">
                <a:pos x="17" y="7"/>
              </a:cxn>
              <a:cxn ang="0">
                <a:pos x="17" y="8"/>
              </a:cxn>
              <a:cxn ang="0">
                <a:pos x="15" y="10"/>
              </a:cxn>
              <a:cxn ang="0">
                <a:pos x="12" y="8"/>
              </a:cxn>
              <a:cxn ang="0">
                <a:pos x="5" y="8"/>
              </a:cxn>
              <a:cxn ang="0">
                <a:pos x="3" y="8"/>
              </a:cxn>
              <a:cxn ang="0">
                <a:pos x="0" y="5"/>
              </a:cxn>
              <a:cxn ang="0">
                <a:pos x="1" y="5"/>
              </a:cxn>
            </a:cxnLst>
            <a:rect l="0" t="0" r="r" b="b"/>
            <a:pathLst>
              <a:path w="24" h="10">
                <a:moveTo>
                  <a:pt x="1" y="5"/>
                </a:moveTo>
                <a:lnTo>
                  <a:pt x="1" y="4"/>
                </a:lnTo>
                <a:lnTo>
                  <a:pt x="4" y="2"/>
                </a:lnTo>
                <a:lnTo>
                  <a:pt x="12" y="0"/>
                </a:lnTo>
                <a:lnTo>
                  <a:pt x="16" y="2"/>
                </a:lnTo>
                <a:lnTo>
                  <a:pt x="16" y="4"/>
                </a:lnTo>
                <a:lnTo>
                  <a:pt x="20" y="4"/>
                </a:lnTo>
                <a:lnTo>
                  <a:pt x="23" y="4"/>
                </a:lnTo>
                <a:lnTo>
                  <a:pt x="24" y="7"/>
                </a:lnTo>
                <a:lnTo>
                  <a:pt x="21" y="7"/>
                </a:lnTo>
                <a:lnTo>
                  <a:pt x="17" y="7"/>
                </a:lnTo>
                <a:lnTo>
                  <a:pt x="17" y="8"/>
                </a:lnTo>
                <a:lnTo>
                  <a:pt x="15" y="10"/>
                </a:lnTo>
                <a:lnTo>
                  <a:pt x="12" y="8"/>
                </a:lnTo>
                <a:lnTo>
                  <a:pt x="5" y="8"/>
                </a:lnTo>
                <a:lnTo>
                  <a:pt x="3" y="8"/>
                </a:lnTo>
                <a:lnTo>
                  <a:pt x="0" y="5"/>
                </a:lnTo>
                <a:lnTo>
                  <a:pt x="1" y="5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47" name="Freeform 1274"/>
          <p:cNvSpPr>
            <a:spLocks/>
          </p:cNvSpPr>
          <p:nvPr/>
        </p:nvSpPr>
        <p:spPr bwMode="auto">
          <a:xfrm>
            <a:off x="9924791" y="5744501"/>
            <a:ext cx="13642" cy="19328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0"/>
              </a:cxn>
              <a:cxn ang="0">
                <a:pos x="6" y="5"/>
              </a:cxn>
              <a:cxn ang="0">
                <a:pos x="7" y="8"/>
              </a:cxn>
              <a:cxn ang="0">
                <a:pos x="7" y="10"/>
              </a:cxn>
              <a:cxn ang="0">
                <a:pos x="4" y="10"/>
              </a:cxn>
              <a:cxn ang="0">
                <a:pos x="3" y="6"/>
              </a:cxn>
              <a:cxn ang="0">
                <a:pos x="2" y="5"/>
              </a:cxn>
              <a:cxn ang="0">
                <a:pos x="0" y="3"/>
              </a:cxn>
              <a:cxn ang="0">
                <a:pos x="0" y="2"/>
              </a:cxn>
            </a:cxnLst>
            <a:rect l="0" t="0" r="r" b="b"/>
            <a:pathLst>
              <a:path w="7" h="10">
                <a:moveTo>
                  <a:pt x="0" y="2"/>
                </a:moveTo>
                <a:lnTo>
                  <a:pt x="2" y="0"/>
                </a:lnTo>
                <a:lnTo>
                  <a:pt x="6" y="5"/>
                </a:lnTo>
                <a:lnTo>
                  <a:pt x="7" y="8"/>
                </a:lnTo>
                <a:lnTo>
                  <a:pt x="7" y="10"/>
                </a:lnTo>
                <a:lnTo>
                  <a:pt x="4" y="10"/>
                </a:lnTo>
                <a:lnTo>
                  <a:pt x="3" y="6"/>
                </a:lnTo>
                <a:lnTo>
                  <a:pt x="2" y="5"/>
                </a:lnTo>
                <a:lnTo>
                  <a:pt x="0" y="3"/>
                </a:lnTo>
                <a:lnTo>
                  <a:pt x="0" y="2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48" name="Freeform 1275"/>
          <p:cNvSpPr>
            <a:spLocks/>
          </p:cNvSpPr>
          <p:nvPr/>
        </p:nvSpPr>
        <p:spPr bwMode="auto">
          <a:xfrm>
            <a:off x="9924791" y="5744501"/>
            <a:ext cx="13642" cy="19328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0"/>
              </a:cxn>
              <a:cxn ang="0">
                <a:pos x="6" y="5"/>
              </a:cxn>
              <a:cxn ang="0">
                <a:pos x="7" y="8"/>
              </a:cxn>
              <a:cxn ang="0">
                <a:pos x="7" y="10"/>
              </a:cxn>
              <a:cxn ang="0">
                <a:pos x="4" y="10"/>
              </a:cxn>
              <a:cxn ang="0">
                <a:pos x="3" y="6"/>
              </a:cxn>
              <a:cxn ang="0">
                <a:pos x="2" y="5"/>
              </a:cxn>
              <a:cxn ang="0">
                <a:pos x="0" y="3"/>
              </a:cxn>
              <a:cxn ang="0">
                <a:pos x="0" y="2"/>
              </a:cxn>
            </a:cxnLst>
            <a:rect l="0" t="0" r="r" b="b"/>
            <a:pathLst>
              <a:path w="7" h="10">
                <a:moveTo>
                  <a:pt x="0" y="2"/>
                </a:moveTo>
                <a:lnTo>
                  <a:pt x="2" y="0"/>
                </a:lnTo>
                <a:lnTo>
                  <a:pt x="6" y="5"/>
                </a:lnTo>
                <a:lnTo>
                  <a:pt x="7" y="8"/>
                </a:lnTo>
                <a:lnTo>
                  <a:pt x="7" y="10"/>
                </a:lnTo>
                <a:lnTo>
                  <a:pt x="4" y="10"/>
                </a:lnTo>
                <a:lnTo>
                  <a:pt x="3" y="6"/>
                </a:lnTo>
                <a:lnTo>
                  <a:pt x="2" y="5"/>
                </a:lnTo>
                <a:lnTo>
                  <a:pt x="0" y="3"/>
                </a:lnTo>
                <a:lnTo>
                  <a:pt x="0" y="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49" name="Freeform 1276"/>
          <p:cNvSpPr>
            <a:spLocks/>
          </p:cNvSpPr>
          <p:nvPr/>
        </p:nvSpPr>
        <p:spPr bwMode="auto">
          <a:xfrm>
            <a:off x="9930636" y="5765976"/>
            <a:ext cx="13640" cy="6443"/>
          </a:xfrm>
          <a:custGeom>
            <a:avLst/>
            <a:gdLst/>
            <a:ahLst/>
            <a:cxnLst>
              <a:cxn ang="0">
                <a:pos x="1" y="2"/>
              </a:cxn>
              <a:cxn ang="0">
                <a:pos x="0" y="0"/>
              </a:cxn>
              <a:cxn ang="0">
                <a:pos x="4" y="0"/>
              </a:cxn>
              <a:cxn ang="0">
                <a:pos x="5" y="0"/>
              </a:cxn>
              <a:cxn ang="0">
                <a:pos x="7" y="2"/>
              </a:cxn>
              <a:cxn ang="0">
                <a:pos x="4" y="2"/>
              </a:cxn>
              <a:cxn ang="0">
                <a:pos x="1" y="2"/>
              </a:cxn>
            </a:cxnLst>
            <a:rect l="0" t="0" r="r" b="b"/>
            <a:pathLst>
              <a:path w="7" h="2">
                <a:moveTo>
                  <a:pt x="1" y="2"/>
                </a:moveTo>
                <a:lnTo>
                  <a:pt x="0" y="0"/>
                </a:lnTo>
                <a:lnTo>
                  <a:pt x="4" y="0"/>
                </a:lnTo>
                <a:lnTo>
                  <a:pt x="5" y="0"/>
                </a:lnTo>
                <a:lnTo>
                  <a:pt x="7" y="2"/>
                </a:lnTo>
                <a:lnTo>
                  <a:pt x="4" y="2"/>
                </a:lnTo>
                <a:lnTo>
                  <a:pt x="1" y="2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50" name="Freeform 1277"/>
          <p:cNvSpPr>
            <a:spLocks/>
          </p:cNvSpPr>
          <p:nvPr/>
        </p:nvSpPr>
        <p:spPr bwMode="auto">
          <a:xfrm>
            <a:off x="9930636" y="5765976"/>
            <a:ext cx="13640" cy="6443"/>
          </a:xfrm>
          <a:custGeom>
            <a:avLst/>
            <a:gdLst/>
            <a:ahLst/>
            <a:cxnLst>
              <a:cxn ang="0">
                <a:pos x="1" y="2"/>
              </a:cxn>
              <a:cxn ang="0">
                <a:pos x="0" y="0"/>
              </a:cxn>
              <a:cxn ang="0">
                <a:pos x="4" y="0"/>
              </a:cxn>
              <a:cxn ang="0">
                <a:pos x="5" y="0"/>
              </a:cxn>
              <a:cxn ang="0">
                <a:pos x="7" y="2"/>
              </a:cxn>
              <a:cxn ang="0">
                <a:pos x="4" y="2"/>
              </a:cxn>
              <a:cxn ang="0">
                <a:pos x="1" y="2"/>
              </a:cxn>
            </a:cxnLst>
            <a:rect l="0" t="0" r="r" b="b"/>
            <a:pathLst>
              <a:path w="7" h="2">
                <a:moveTo>
                  <a:pt x="1" y="2"/>
                </a:moveTo>
                <a:lnTo>
                  <a:pt x="0" y="0"/>
                </a:lnTo>
                <a:lnTo>
                  <a:pt x="4" y="0"/>
                </a:lnTo>
                <a:lnTo>
                  <a:pt x="5" y="0"/>
                </a:lnTo>
                <a:lnTo>
                  <a:pt x="7" y="2"/>
                </a:lnTo>
                <a:lnTo>
                  <a:pt x="4" y="2"/>
                </a:lnTo>
                <a:lnTo>
                  <a:pt x="1" y="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52" name="Freeform 1279"/>
          <p:cNvSpPr>
            <a:spLocks/>
          </p:cNvSpPr>
          <p:nvPr/>
        </p:nvSpPr>
        <p:spPr bwMode="auto">
          <a:xfrm>
            <a:off x="9837095" y="5778862"/>
            <a:ext cx="103286" cy="105233"/>
          </a:xfrm>
          <a:custGeom>
            <a:avLst/>
            <a:gdLst/>
            <a:ahLst/>
            <a:cxnLst>
              <a:cxn ang="0">
                <a:pos x="3" y="2"/>
              </a:cxn>
              <a:cxn ang="0">
                <a:pos x="7" y="2"/>
              </a:cxn>
              <a:cxn ang="0">
                <a:pos x="11" y="4"/>
              </a:cxn>
              <a:cxn ang="0">
                <a:pos x="26" y="8"/>
              </a:cxn>
              <a:cxn ang="0">
                <a:pos x="30" y="7"/>
              </a:cxn>
              <a:cxn ang="0">
                <a:pos x="37" y="7"/>
              </a:cxn>
              <a:cxn ang="0">
                <a:pos x="42" y="2"/>
              </a:cxn>
              <a:cxn ang="0">
                <a:pos x="46" y="4"/>
              </a:cxn>
              <a:cxn ang="0">
                <a:pos x="50" y="2"/>
              </a:cxn>
              <a:cxn ang="0">
                <a:pos x="53" y="11"/>
              </a:cxn>
              <a:cxn ang="0">
                <a:pos x="53" y="16"/>
              </a:cxn>
              <a:cxn ang="0">
                <a:pos x="53" y="26"/>
              </a:cxn>
              <a:cxn ang="0">
                <a:pos x="53" y="30"/>
              </a:cxn>
              <a:cxn ang="0">
                <a:pos x="53" y="26"/>
              </a:cxn>
              <a:cxn ang="0">
                <a:pos x="52" y="24"/>
              </a:cxn>
              <a:cxn ang="0">
                <a:pos x="49" y="32"/>
              </a:cxn>
              <a:cxn ang="0">
                <a:pos x="48" y="37"/>
              </a:cxn>
              <a:cxn ang="0">
                <a:pos x="45" y="38"/>
              </a:cxn>
              <a:cxn ang="0">
                <a:pos x="41" y="38"/>
              </a:cxn>
              <a:cxn ang="0">
                <a:pos x="40" y="43"/>
              </a:cxn>
              <a:cxn ang="0">
                <a:pos x="38" y="46"/>
              </a:cxn>
              <a:cxn ang="0">
                <a:pos x="34" y="44"/>
              </a:cxn>
              <a:cxn ang="0">
                <a:pos x="33" y="48"/>
              </a:cxn>
              <a:cxn ang="0">
                <a:pos x="32" y="52"/>
              </a:cxn>
              <a:cxn ang="0">
                <a:pos x="28" y="51"/>
              </a:cxn>
              <a:cxn ang="0">
                <a:pos x="25" y="51"/>
              </a:cxn>
              <a:cxn ang="0">
                <a:pos x="20" y="51"/>
              </a:cxn>
              <a:cxn ang="0">
                <a:pos x="20" y="48"/>
              </a:cxn>
              <a:cxn ang="0">
                <a:pos x="19" y="46"/>
              </a:cxn>
              <a:cxn ang="0">
                <a:pos x="13" y="40"/>
              </a:cxn>
              <a:cxn ang="0">
                <a:pos x="9" y="37"/>
              </a:cxn>
              <a:cxn ang="0">
                <a:pos x="9" y="32"/>
              </a:cxn>
              <a:cxn ang="0">
                <a:pos x="9" y="27"/>
              </a:cxn>
              <a:cxn ang="0">
                <a:pos x="0" y="10"/>
              </a:cxn>
              <a:cxn ang="0">
                <a:pos x="0" y="0"/>
              </a:cxn>
            </a:cxnLst>
            <a:rect l="0" t="0" r="r" b="b"/>
            <a:pathLst>
              <a:path w="54" h="52">
                <a:moveTo>
                  <a:pt x="0" y="0"/>
                </a:moveTo>
                <a:lnTo>
                  <a:pt x="3" y="2"/>
                </a:lnTo>
                <a:lnTo>
                  <a:pt x="4" y="2"/>
                </a:lnTo>
                <a:lnTo>
                  <a:pt x="7" y="2"/>
                </a:lnTo>
                <a:lnTo>
                  <a:pt x="8" y="2"/>
                </a:lnTo>
                <a:lnTo>
                  <a:pt x="11" y="4"/>
                </a:lnTo>
                <a:lnTo>
                  <a:pt x="17" y="8"/>
                </a:lnTo>
                <a:lnTo>
                  <a:pt x="26" y="8"/>
                </a:lnTo>
                <a:lnTo>
                  <a:pt x="28" y="8"/>
                </a:lnTo>
                <a:lnTo>
                  <a:pt x="30" y="7"/>
                </a:lnTo>
                <a:lnTo>
                  <a:pt x="34" y="5"/>
                </a:lnTo>
                <a:lnTo>
                  <a:pt x="37" y="7"/>
                </a:lnTo>
                <a:lnTo>
                  <a:pt x="40" y="5"/>
                </a:lnTo>
                <a:lnTo>
                  <a:pt x="42" y="2"/>
                </a:lnTo>
                <a:lnTo>
                  <a:pt x="44" y="4"/>
                </a:lnTo>
                <a:lnTo>
                  <a:pt x="46" y="4"/>
                </a:lnTo>
                <a:lnTo>
                  <a:pt x="48" y="2"/>
                </a:lnTo>
                <a:lnTo>
                  <a:pt x="50" y="2"/>
                </a:lnTo>
                <a:lnTo>
                  <a:pt x="52" y="5"/>
                </a:lnTo>
                <a:lnTo>
                  <a:pt x="53" y="11"/>
                </a:lnTo>
                <a:lnTo>
                  <a:pt x="53" y="13"/>
                </a:lnTo>
                <a:lnTo>
                  <a:pt x="53" y="16"/>
                </a:lnTo>
                <a:lnTo>
                  <a:pt x="53" y="21"/>
                </a:lnTo>
                <a:lnTo>
                  <a:pt x="53" y="26"/>
                </a:lnTo>
                <a:lnTo>
                  <a:pt x="54" y="27"/>
                </a:lnTo>
                <a:lnTo>
                  <a:pt x="53" y="30"/>
                </a:lnTo>
                <a:lnTo>
                  <a:pt x="53" y="27"/>
                </a:lnTo>
                <a:lnTo>
                  <a:pt x="53" y="26"/>
                </a:lnTo>
                <a:lnTo>
                  <a:pt x="53" y="22"/>
                </a:lnTo>
                <a:lnTo>
                  <a:pt x="52" y="24"/>
                </a:lnTo>
                <a:lnTo>
                  <a:pt x="49" y="29"/>
                </a:lnTo>
                <a:lnTo>
                  <a:pt x="49" y="32"/>
                </a:lnTo>
                <a:lnTo>
                  <a:pt x="48" y="33"/>
                </a:lnTo>
                <a:lnTo>
                  <a:pt x="48" y="37"/>
                </a:lnTo>
                <a:lnTo>
                  <a:pt x="46" y="38"/>
                </a:lnTo>
                <a:lnTo>
                  <a:pt x="45" y="38"/>
                </a:lnTo>
                <a:lnTo>
                  <a:pt x="42" y="38"/>
                </a:lnTo>
                <a:lnTo>
                  <a:pt x="41" y="38"/>
                </a:lnTo>
                <a:lnTo>
                  <a:pt x="41" y="41"/>
                </a:lnTo>
                <a:lnTo>
                  <a:pt x="40" y="43"/>
                </a:lnTo>
                <a:lnTo>
                  <a:pt x="38" y="43"/>
                </a:lnTo>
                <a:lnTo>
                  <a:pt x="38" y="46"/>
                </a:lnTo>
                <a:lnTo>
                  <a:pt x="37" y="44"/>
                </a:lnTo>
                <a:lnTo>
                  <a:pt x="34" y="44"/>
                </a:lnTo>
                <a:lnTo>
                  <a:pt x="34" y="46"/>
                </a:lnTo>
                <a:lnTo>
                  <a:pt x="33" y="48"/>
                </a:lnTo>
                <a:lnTo>
                  <a:pt x="33" y="49"/>
                </a:lnTo>
                <a:lnTo>
                  <a:pt x="32" y="52"/>
                </a:lnTo>
                <a:lnTo>
                  <a:pt x="29" y="52"/>
                </a:lnTo>
                <a:lnTo>
                  <a:pt x="28" y="51"/>
                </a:lnTo>
                <a:lnTo>
                  <a:pt x="26" y="51"/>
                </a:lnTo>
                <a:lnTo>
                  <a:pt x="25" y="51"/>
                </a:lnTo>
                <a:lnTo>
                  <a:pt x="22" y="51"/>
                </a:lnTo>
                <a:lnTo>
                  <a:pt x="20" y="51"/>
                </a:lnTo>
                <a:lnTo>
                  <a:pt x="19" y="49"/>
                </a:lnTo>
                <a:lnTo>
                  <a:pt x="20" y="48"/>
                </a:lnTo>
                <a:lnTo>
                  <a:pt x="21" y="46"/>
                </a:lnTo>
                <a:lnTo>
                  <a:pt x="19" y="46"/>
                </a:lnTo>
                <a:lnTo>
                  <a:pt x="16" y="46"/>
                </a:lnTo>
                <a:lnTo>
                  <a:pt x="13" y="40"/>
                </a:lnTo>
                <a:lnTo>
                  <a:pt x="11" y="38"/>
                </a:lnTo>
                <a:lnTo>
                  <a:pt x="9" y="37"/>
                </a:lnTo>
                <a:lnTo>
                  <a:pt x="7" y="26"/>
                </a:lnTo>
                <a:lnTo>
                  <a:pt x="9" y="32"/>
                </a:lnTo>
                <a:lnTo>
                  <a:pt x="12" y="29"/>
                </a:lnTo>
                <a:lnTo>
                  <a:pt x="9" y="27"/>
                </a:lnTo>
                <a:lnTo>
                  <a:pt x="5" y="22"/>
                </a:lnTo>
                <a:lnTo>
                  <a:pt x="0" y="10"/>
                </a:lnTo>
                <a:lnTo>
                  <a:pt x="0" y="7"/>
                </a:lnTo>
                <a:lnTo>
                  <a:pt x="0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53" name="Freeform 1280"/>
          <p:cNvSpPr>
            <a:spLocks/>
          </p:cNvSpPr>
          <p:nvPr/>
        </p:nvSpPr>
        <p:spPr bwMode="auto">
          <a:xfrm>
            <a:off x="8926996" y="4722239"/>
            <a:ext cx="1163443" cy="1000785"/>
          </a:xfrm>
          <a:custGeom>
            <a:avLst/>
            <a:gdLst/>
            <a:ahLst/>
            <a:cxnLst>
              <a:cxn ang="0">
                <a:pos x="25" y="196"/>
              </a:cxn>
              <a:cxn ang="0">
                <a:pos x="62" y="177"/>
              </a:cxn>
              <a:cxn ang="0">
                <a:pos x="106" y="161"/>
              </a:cxn>
              <a:cxn ang="0">
                <a:pos x="133" y="120"/>
              </a:cxn>
              <a:cxn ang="0">
                <a:pos x="150" y="116"/>
              </a:cxn>
              <a:cxn ang="0">
                <a:pos x="161" y="99"/>
              </a:cxn>
              <a:cxn ang="0">
                <a:pos x="175" y="78"/>
              </a:cxn>
              <a:cxn ang="0">
                <a:pos x="193" y="62"/>
              </a:cxn>
              <a:cxn ang="0">
                <a:pos x="206" y="56"/>
              </a:cxn>
              <a:cxn ang="0">
                <a:pos x="229" y="75"/>
              </a:cxn>
              <a:cxn ang="0">
                <a:pos x="243" y="61"/>
              </a:cxn>
              <a:cxn ang="0">
                <a:pos x="258" y="36"/>
              </a:cxn>
              <a:cxn ang="0">
                <a:pos x="280" y="29"/>
              </a:cxn>
              <a:cxn ang="0">
                <a:pos x="282" y="11"/>
              </a:cxn>
              <a:cxn ang="0">
                <a:pos x="298" y="18"/>
              </a:cxn>
              <a:cxn ang="0">
                <a:pos x="323" y="23"/>
              </a:cxn>
              <a:cxn ang="0">
                <a:pos x="342" y="34"/>
              </a:cxn>
              <a:cxn ang="0">
                <a:pos x="352" y="37"/>
              </a:cxn>
              <a:cxn ang="0">
                <a:pos x="342" y="47"/>
              </a:cxn>
              <a:cxn ang="0">
                <a:pos x="342" y="80"/>
              </a:cxn>
              <a:cxn ang="0">
                <a:pos x="375" y="106"/>
              </a:cxn>
              <a:cxn ang="0">
                <a:pos x="421" y="106"/>
              </a:cxn>
              <a:cxn ang="0">
                <a:pos x="427" y="31"/>
              </a:cxn>
              <a:cxn ang="0">
                <a:pos x="445" y="6"/>
              </a:cxn>
              <a:cxn ang="0">
                <a:pos x="457" y="48"/>
              </a:cxn>
              <a:cxn ang="0">
                <a:pos x="484" y="77"/>
              </a:cxn>
              <a:cxn ang="0">
                <a:pos x="496" y="130"/>
              </a:cxn>
              <a:cxn ang="0">
                <a:pos x="508" y="153"/>
              </a:cxn>
              <a:cxn ang="0">
                <a:pos x="536" y="171"/>
              </a:cxn>
              <a:cxn ang="0">
                <a:pos x="546" y="202"/>
              </a:cxn>
              <a:cxn ang="0">
                <a:pos x="562" y="207"/>
              </a:cxn>
              <a:cxn ang="0">
                <a:pos x="585" y="246"/>
              </a:cxn>
              <a:cxn ang="0">
                <a:pos x="601" y="289"/>
              </a:cxn>
              <a:cxn ang="0">
                <a:pos x="602" y="347"/>
              </a:cxn>
              <a:cxn ang="0">
                <a:pos x="588" y="392"/>
              </a:cxn>
              <a:cxn ang="0">
                <a:pos x="573" y="416"/>
              </a:cxn>
              <a:cxn ang="0">
                <a:pos x="557" y="458"/>
              </a:cxn>
              <a:cxn ang="0">
                <a:pos x="526" y="483"/>
              </a:cxn>
              <a:cxn ang="0">
                <a:pos x="500" y="501"/>
              </a:cxn>
              <a:cxn ang="0">
                <a:pos x="485" y="490"/>
              </a:cxn>
              <a:cxn ang="0">
                <a:pos x="465" y="493"/>
              </a:cxn>
              <a:cxn ang="0">
                <a:pos x="413" y="486"/>
              </a:cxn>
              <a:cxn ang="0">
                <a:pos x="385" y="442"/>
              </a:cxn>
              <a:cxn ang="0">
                <a:pos x="370" y="435"/>
              </a:cxn>
              <a:cxn ang="0">
                <a:pos x="368" y="409"/>
              </a:cxn>
              <a:cxn ang="0">
                <a:pos x="366" y="400"/>
              </a:cxn>
              <a:cxn ang="0">
                <a:pos x="342" y="428"/>
              </a:cxn>
              <a:cxn ang="0">
                <a:pos x="332" y="414"/>
              </a:cxn>
              <a:cxn ang="0">
                <a:pos x="304" y="381"/>
              </a:cxn>
              <a:cxn ang="0">
                <a:pos x="246" y="372"/>
              </a:cxn>
              <a:cxn ang="0">
                <a:pos x="171" y="394"/>
              </a:cxn>
              <a:cxn ang="0">
                <a:pos x="133" y="411"/>
              </a:cxn>
              <a:cxn ang="0">
                <a:pos x="82" y="425"/>
              </a:cxn>
              <a:cxn ang="0">
                <a:pos x="44" y="428"/>
              </a:cxn>
              <a:cxn ang="0">
                <a:pos x="37" y="389"/>
              </a:cxn>
              <a:cxn ang="0">
                <a:pos x="21" y="321"/>
              </a:cxn>
              <a:cxn ang="0">
                <a:pos x="0" y="276"/>
              </a:cxn>
              <a:cxn ang="0">
                <a:pos x="5" y="270"/>
              </a:cxn>
              <a:cxn ang="0">
                <a:pos x="5" y="252"/>
              </a:cxn>
            </a:cxnLst>
            <a:rect l="0" t="0" r="r" b="b"/>
            <a:pathLst>
              <a:path w="608" h="505">
                <a:moveTo>
                  <a:pt x="11" y="199"/>
                </a:moveTo>
                <a:lnTo>
                  <a:pt x="12" y="197"/>
                </a:lnTo>
                <a:lnTo>
                  <a:pt x="12" y="202"/>
                </a:lnTo>
                <a:lnTo>
                  <a:pt x="12" y="204"/>
                </a:lnTo>
                <a:lnTo>
                  <a:pt x="12" y="205"/>
                </a:lnTo>
                <a:lnTo>
                  <a:pt x="12" y="208"/>
                </a:lnTo>
                <a:lnTo>
                  <a:pt x="12" y="210"/>
                </a:lnTo>
                <a:lnTo>
                  <a:pt x="13" y="210"/>
                </a:lnTo>
                <a:lnTo>
                  <a:pt x="15" y="208"/>
                </a:lnTo>
                <a:lnTo>
                  <a:pt x="16" y="204"/>
                </a:lnTo>
                <a:lnTo>
                  <a:pt x="19" y="199"/>
                </a:lnTo>
                <a:lnTo>
                  <a:pt x="21" y="197"/>
                </a:lnTo>
                <a:lnTo>
                  <a:pt x="23" y="197"/>
                </a:lnTo>
                <a:lnTo>
                  <a:pt x="25" y="196"/>
                </a:lnTo>
                <a:lnTo>
                  <a:pt x="27" y="194"/>
                </a:lnTo>
                <a:lnTo>
                  <a:pt x="32" y="193"/>
                </a:lnTo>
                <a:lnTo>
                  <a:pt x="33" y="191"/>
                </a:lnTo>
                <a:lnTo>
                  <a:pt x="36" y="188"/>
                </a:lnTo>
                <a:lnTo>
                  <a:pt x="37" y="186"/>
                </a:lnTo>
                <a:lnTo>
                  <a:pt x="40" y="183"/>
                </a:lnTo>
                <a:lnTo>
                  <a:pt x="44" y="182"/>
                </a:lnTo>
                <a:lnTo>
                  <a:pt x="45" y="180"/>
                </a:lnTo>
                <a:lnTo>
                  <a:pt x="46" y="179"/>
                </a:lnTo>
                <a:lnTo>
                  <a:pt x="52" y="175"/>
                </a:lnTo>
                <a:lnTo>
                  <a:pt x="53" y="175"/>
                </a:lnTo>
                <a:lnTo>
                  <a:pt x="58" y="177"/>
                </a:lnTo>
                <a:lnTo>
                  <a:pt x="60" y="177"/>
                </a:lnTo>
                <a:lnTo>
                  <a:pt x="62" y="177"/>
                </a:lnTo>
                <a:lnTo>
                  <a:pt x="65" y="177"/>
                </a:lnTo>
                <a:lnTo>
                  <a:pt x="68" y="177"/>
                </a:lnTo>
                <a:lnTo>
                  <a:pt x="70" y="174"/>
                </a:lnTo>
                <a:lnTo>
                  <a:pt x="73" y="172"/>
                </a:lnTo>
                <a:lnTo>
                  <a:pt x="76" y="171"/>
                </a:lnTo>
                <a:lnTo>
                  <a:pt x="78" y="171"/>
                </a:lnTo>
                <a:lnTo>
                  <a:pt x="81" y="171"/>
                </a:lnTo>
                <a:lnTo>
                  <a:pt x="88" y="164"/>
                </a:lnTo>
                <a:lnTo>
                  <a:pt x="92" y="164"/>
                </a:lnTo>
                <a:lnTo>
                  <a:pt x="94" y="166"/>
                </a:lnTo>
                <a:lnTo>
                  <a:pt x="97" y="164"/>
                </a:lnTo>
                <a:lnTo>
                  <a:pt x="101" y="164"/>
                </a:lnTo>
                <a:lnTo>
                  <a:pt x="104" y="164"/>
                </a:lnTo>
                <a:lnTo>
                  <a:pt x="106" y="161"/>
                </a:lnTo>
                <a:lnTo>
                  <a:pt x="113" y="160"/>
                </a:lnTo>
                <a:lnTo>
                  <a:pt x="116" y="158"/>
                </a:lnTo>
                <a:lnTo>
                  <a:pt x="118" y="157"/>
                </a:lnTo>
                <a:lnTo>
                  <a:pt x="124" y="150"/>
                </a:lnTo>
                <a:lnTo>
                  <a:pt x="125" y="149"/>
                </a:lnTo>
                <a:lnTo>
                  <a:pt x="125" y="146"/>
                </a:lnTo>
                <a:lnTo>
                  <a:pt x="128" y="142"/>
                </a:lnTo>
                <a:lnTo>
                  <a:pt x="128" y="141"/>
                </a:lnTo>
                <a:lnTo>
                  <a:pt x="128" y="139"/>
                </a:lnTo>
                <a:lnTo>
                  <a:pt x="130" y="139"/>
                </a:lnTo>
                <a:lnTo>
                  <a:pt x="136" y="133"/>
                </a:lnTo>
                <a:lnTo>
                  <a:pt x="137" y="130"/>
                </a:lnTo>
                <a:lnTo>
                  <a:pt x="136" y="130"/>
                </a:lnTo>
                <a:lnTo>
                  <a:pt x="133" y="120"/>
                </a:lnTo>
                <a:lnTo>
                  <a:pt x="134" y="117"/>
                </a:lnTo>
                <a:lnTo>
                  <a:pt x="136" y="113"/>
                </a:lnTo>
                <a:lnTo>
                  <a:pt x="137" y="111"/>
                </a:lnTo>
                <a:lnTo>
                  <a:pt x="138" y="113"/>
                </a:lnTo>
                <a:lnTo>
                  <a:pt x="140" y="110"/>
                </a:lnTo>
                <a:lnTo>
                  <a:pt x="142" y="108"/>
                </a:lnTo>
                <a:lnTo>
                  <a:pt x="144" y="108"/>
                </a:lnTo>
                <a:lnTo>
                  <a:pt x="142" y="106"/>
                </a:lnTo>
                <a:lnTo>
                  <a:pt x="144" y="102"/>
                </a:lnTo>
                <a:lnTo>
                  <a:pt x="145" y="102"/>
                </a:lnTo>
                <a:lnTo>
                  <a:pt x="145" y="105"/>
                </a:lnTo>
                <a:lnTo>
                  <a:pt x="146" y="106"/>
                </a:lnTo>
                <a:lnTo>
                  <a:pt x="148" y="111"/>
                </a:lnTo>
                <a:lnTo>
                  <a:pt x="150" y="116"/>
                </a:lnTo>
                <a:lnTo>
                  <a:pt x="152" y="117"/>
                </a:lnTo>
                <a:lnTo>
                  <a:pt x="153" y="120"/>
                </a:lnTo>
                <a:lnTo>
                  <a:pt x="154" y="122"/>
                </a:lnTo>
                <a:lnTo>
                  <a:pt x="156" y="119"/>
                </a:lnTo>
                <a:lnTo>
                  <a:pt x="156" y="114"/>
                </a:lnTo>
                <a:lnTo>
                  <a:pt x="158" y="114"/>
                </a:lnTo>
                <a:lnTo>
                  <a:pt x="157" y="110"/>
                </a:lnTo>
                <a:lnTo>
                  <a:pt x="156" y="106"/>
                </a:lnTo>
                <a:lnTo>
                  <a:pt x="154" y="105"/>
                </a:lnTo>
                <a:lnTo>
                  <a:pt x="154" y="103"/>
                </a:lnTo>
                <a:lnTo>
                  <a:pt x="154" y="99"/>
                </a:lnTo>
                <a:lnTo>
                  <a:pt x="156" y="97"/>
                </a:lnTo>
                <a:lnTo>
                  <a:pt x="158" y="99"/>
                </a:lnTo>
                <a:lnTo>
                  <a:pt x="161" y="99"/>
                </a:lnTo>
                <a:lnTo>
                  <a:pt x="163" y="103"/>
                </a:lnTo>
                <a:lnTo>
                  <a:pt x="169" y="103"/>
                </a:lnTo>
                <a:lnTo>
                  <a:pt x="169" y="102"/>
                </a:lnTo>
                <a:lnTo>
                  <a:pt x="166" y="100"/>
                </a:lnTo>
                <a:lnTo>
                  <a:pt x="167" y="97"/>
                </a:lnTo>
                <a:lnTo>
                  <a:pt x="170" y="94"/>
                </a:lnTo>
                <a:lnTo>
                  <a:pt x="171" y="91"/>
                </a:lnTo>
                <a:lnTo>
                  <a:pt x="170" y="86"/>
                </a:lnTo>
                <a:lnTo>
                  <a:pt x="171" y="84"/>
                </a:lnTo>
                <a:lnTo>
                  <a:pt x="173" y="83"/>
                </a:lnTo>
                <a:lnTo>
                  <a:pt x="175" y="86"/>
                </a:lnTo>
                <a:lnTo>
                  <a:pt x="177" y="84"/>
                </a:lnTo>
                <a:lnTo>
                  <a:pt x="175" y="81"/>
                </a:lnTo>
                <a:lnTo>
                  <a:pt x="175" y="78"/>
                </a:lnTo>
                <a:lnTo>
                  <a:pt x="177" y="78"/>
                </a:lnTo>
                <a:lnTo>
                  <a:pt x="181" y="80"/>
                </a:lnTo>
                <a:lnTo>
                  <a:pt x="181" y="78"/>
                </a:lnTo>
                <a:lnTo>
                  <a:pt x="179" y="75"/>
                </a:lnTo>
                <a:lnTo>
                  <a:pt x="179" y="70"/>
                </a:lnTo>
                <a:lnTo>
                  <a:pt x="182" y="70"/>
                </a:lnTo>
                <a:lnTo>
                  <a:pt x="183" y="69"/>
                </a:lnTo>
                <a:lnTo>
                  <a:pt x="185" y="69"/>
                </a:lnTo>
                <a:lnTo>
                  <a:pt x="187" y="69"/>
                </a:lnTo>
                <a:lnTo>
                  <a:pt x="187" y="72"/>
                </a:lnTo>
                <a:lnTo>
                  <a:pt x="189" y="70"/>
                </a:lnTo>
                <a:lnTo>
                  <a:pt x="191" y="69"/>
                </a:lnTo>
                <a:lnTo>
                  <a:pt x="193" y="64"/>
                </a:lnTo>
                <a:lnTo>
                  <a:pt x="193" y="62"/>
                </a:lnTo>
                <a:lnTo>
                  <a:pt x="191" y="61"/>
                </a:lnTo>
                <a:lnTo>
                  <a:pt x="191" y="59"/>
                </a:lnTo>
                <a:lnTo>
                  <a:pt x="193" y="61"/>
                </a:lnTo>
                <a:lnTo>
                  <a:pt x="194" y="64"/>
                </a:lnTo>
                <a:lnTo>
                  <a:pt x="195" y="62"/>
                </a:lnTo>
                <a:lnTo>
                  <a:pt x="197" y="59"/>
                </a:lnTo>
                <a:lnTo>
                  <a:pt x="197" y="61"/>
                </a:lnTo>
                <a:lnTo>
                  <a:pt x="198" y="62"/>
                </a:lnTo>
                <a:lnTo>
                  <a:pt x="199" y="62"/>
                </a:lnTo>
                <a:lnTo>
                  <a:pt x="202" y="59"/>
                </a:lnTo>
                <a:lnTo>
                  <a:pt x="203" y="59"/>
                </a:lnTo>
                <a:lnTo>
                  <a:pt x="202" y="56"/>
                </a:lnTo>
                <a:lnTo>
                  <a:pt x="205" y="56"/>
                </a:lnTo>
                <a:lnTo>
                  <a:pt x="206" y="56"/>
                </a:lnTo>
                <a:lnTo>
                  <a:pt x="209" y="58"/>
                </a:lnTo>
                <a:lnTo>
                  <a:pt x="210" y="58"/>
                </a:lnTo>
                <a:lnTo>
                  <a:pt x="214" y="59"/>
                </a:lnTo>
                <a:lnTo>
                  <a:pt x="215" y="62"/>
                </a:lnTo>
                <a:lnTo>
                  <a:pt x="221" y="69"/>
                </a:lnTo>
                <a:lnTo>
                  <a:pt x="223" y="72"/>
                </a:lnTo>
                <a:lnTo>
                  <a:pt x="223" y="78"/>
                </a:lnTo>
                <a:lnTo>
                  <a:pt x="223" y="81"/>
                </a:lnTo>
                <a:lnTo>
                  <a:pt x="225" y="81"/>
                </a:lnTo>
                <a:lnTo>
                  <a:pt x="225" y="78"/>
                </a:lnTo>
                <a:lnTo>
                  <a:pt x="226" y="77"/>
                </a:lnTo>
                <a:lnTo>
                  <a:pt x="227" y="77"/>
                </a:lnTo>
                <a:lnTo>
                  <a:pt x="229" y="77"/>
                </a:lnTo>
                <a:lnTo>
                  <a:pt x="229" y="75"/>
                </a:lnTo>
                <a:lnTo>
                  <a:pt x="230" y="73"/>
                </a:lnTo>
                <a:lnTo>
                  <a:pt x="233" y="75"/>
                </a:lnTo>
                <a:lnTo>
                  <a:pt x="235" y="75"/>
                </a:lnTo>
                <a:lnTo>
                  <a:pt x="239" y="73"/>
                </a:lnTo>
                <a:lnTo>
                  <a:pt x="241" y="75"/>
                </a:lnTo>
                <a:lnTo>
                  <a:pt x="246" y="81"/>
                </a:lnTo>
                <a:lnTo>
                  <a:pt x="247" y="81"/>
                </a:lnTo>
                <a:lnTo>
                  <a:pt x="247" y="80"/>
                </a:lnTo>
                <a:lnTo>
                  <a:pt x="246" y="75"/>
                </a:lnTo>
                <a:lnTo>
                  <a:pt x="249" y="75"/>
                </a:lnTo>
                <a:lnTo>
                  <a:pt x="249" y="73"/>
                </a:lnTo>
                <a:lnTo>
                  <a:pt x="245" y="69"/>
                </a:lnTo>
                <a:lnTo>
                  <a:pt x="242" y="66"/>
                </a:lnTo>
                <a:lnTo>
                  <a:pt x="243" y="61"/>
                </a:lnTo>
                <a:lnTo>
                  <a:pt x="245" y="61"/>
                </a:lnTo>
                <a:lnTo>
                  <a:pt x="246" y="61"/>
                </a:lnTo>
                <a:lnTo>
                  <a:pt x="249" y="55"/>
                </a:lnTo>
                <a:lnTo>
                  <a:pt x="249" y="53"/>
                </a:lnTo>
                <a:lnTo>
                  <a:pt x="250" y="51"/>
                </a:lnTo>
                <a:lnTo>
                  <a:pt x="251" y="51"/>
                </a:lnTo>
                <a:lnTo>
                  <a:pt x="255" y="51"/>
                </a:lnTo>
                <a:lnTo>
                  <a:pt x="257" y="50"/>
                </a:lnTo>
                <a:lnTo>
                  <a:pt x="257" y="45"/>
                </a:lnTo>
                <a:lnTo>
                  <a:pt x="254" y="45"/>
                </a:lnTo>
                <a:lnTo>
                  <a:pt x="254" y="44"/>
                </a:lnTo>
                <a:lnTo>
                  <a:pt x="255" y="40"/>
                </a:lnTo>
                <a:lnTo>
                  <a:pt x="255" y="37"/>
                </a:lnTo>
                <a:lnTo>
                  <a:pt x="258" y="36"/>
                </a:lnTo>
                <a:lnTo>
                  <a:pt x="261" y="36"/>
                </a:lnTo>
                <a:lnTo>
                  <a:pt x="261" y="33"/>
                </a:lnTo>
                <a:lnTo>
                  <a:pt x="263" y="33"/>
                </a:lnTo>
                <a:lnTo>
                  <a:pt x="265" y="34"/>
                </a:lnTo>
                <a:lnTo>
                  <a:pt x="266" y="37"/>
                </a:lnTo>
                <a:lnTo>
                  <a:pt x="267" y="34"/>
                </a:lnTo>
                <a:lnTo>
                  <a:pt x="265" y="31"/>
                </a:lnTo>
                <a:lnTo>
                  <a:pt x="266" y="31"/>
                </a:lnTo>
                <a:lnTo>
                  <a:pt x="267" y="28"/>
                </a:lnTo>
                <a:lnTo>
                  <a:pt x="271" y="29"/>
                </a:lnTo>
                <a:lnTo>
                  <a:pt x="271" y="28"/>
                </a:lnTo>
                <a:lnTo>
                  <a:pt x="275" y="29"/>
                </a:lnTo>
                <a:lnTo>
                  <a:pt x="278" y="28"/>
                </a:lnTo>
                <a:lnTo>
                  <a:pt x="280" y="29"/>
                </a:lnTo>
                <a:lnTo>
                  <a:pt x="283" y="29"/>
                </a:lnTo>
                <a:lnTo>
                  <a:pt x="288" y="28"/>
                </a:lnTo>
                <a:lnTo>
                  <a:pt x="291" y="25"/>
                </a:lnTo>
                <a:lnTo>
                  <a:pt x="291" y="18"/>
                </a:lnTo>
                <a:lnTo>
                  <a:pt x="288" y="15"/>
                </a:lnTo>
                <a:lnTo>
                  <a:pt x="286" y="15"/>
                </a:lnTo>
                <a:lnTo>
                  <a:pt x="284" y="15"/>
                </a:lnTo>
                <a:lnTo>
                  <a:pt x="282" y="14"/>
                </a:lnTo>
                <a:lnTo>
                  <a:pt x="280" y="12"/>
                </a:lnTo>
                <a:lnTo>
                  <a:pt x="278" y="11"/>
                </a:lnTo>
                <a:lnTo>
                  <a:pt x="279" y="11"/>
                </a:lnTo>
                <a:lnTo>
                  <a:pt x="280" y="11"/>
                </a:lnTo>
                <a:lnTo>
                  <a:pt x="282" y="9"/>
                </a:lnTo>
                <a:lnTo>
                  <a:pt x="282" y="11"/>
                </a:lnTo>
                <a:lnTo>
                  <a:pt x="283" y="15"/>
                </a:lnTo>
                <a:lnTo>
                  <a:pt x="284" y="12"/>
                </a:lnTo>
                <a:lnTo>
                  <a:pt x="284" y="11"/>
                </a:lnTo>
                <a:lnTo>
                  <a:pt x="286" y="9"/>
                </a:lnTo>
                <a:lnTo>
                  <a:pt x="287" y="11"/>
                </a:lnTo>
                <a:lnTo>
                  <a:pt x="288" y="11"/>
                </a:lnTo>
                <a:lnTo>
                  <a:pt x="288" y="12"/>
                </a:lnTo>
                <a:lnTo>
                  <a:pt x="290" y="14"/>
                </a:lnTo>
                <a:lnTo>
                  <a:pt x="292" y="15"/>
                </a:lnTo>
                <a:lnTo>
                  <a:pt x="292" y="14"/>
                </a:lnTo>
                <a:lnTo>
                  <a:pt x="294" y="14"/>
                </a:lnTo>
                <a:lnTo>
                  <a:pt x="295" y="14"/>
                </a:lnTo>
                <a:lnTo>
                  <a:pt x="296" y="17"/>
                </a:lnTo>
                <a:lnTo>
                  <a:pt x="298" y="18"/>
                </a:lnTo>
                <a:lnTo>
                  <a:pt x="302" y="20"/>
                </a:lnTo>
                <a:lnTo>
                  <a:pt x="303" y="20"/>
                </a:lnTo>
                <a:lnTo>
                  <a:pt x="304" y="20"/>
                </a:lnTo>
                <a:lnTo>
                  <a:pt x="306" y="22"/>
                </a:lnTo>
                <a:lnTo>
                  <a:pt x="307" y="20"/>
                </a:lnTo>
                <a:lnTo>
                  <a:pt x="308" y="20"/>
                </a:lnTo>
                <a:lnTo>
                  <a:pt x="308" y="22"/>
                </a:lnTo>
                <a:lnTo>
                  <a:pt x="310" y="22"/>
                </a:lnTo>
                <a:lnTo>
                  <a:pt x="312" y="23"/>
                </a:lnTo>
                <a:lnTo>
                  <a:pt x="315" y="25"/>
                </a:lnTo>
                <a:lnTo>
                  <a:pt x="318" y="25"/>
                </a:lnTo>
                <a:lnTo>
                  <a:pt x="319" y="25"/>
                </a:lnTo>
                <a:lnTo>
                  <a:pt x="322" y="23"/>
                </a:lnTo>
                <a:lnTo>
                  <a:pt x="323" y="23"/>
                </a:lnTo>
                <a:lnTo>
                  <a:pt x="324" y="26"/>
                </a:lnTo>
                <a:lnTo>
                  <a:pt x="327" y="26"/>
                </a:lnTo>
                <a:lnTo>
                  <a:pt x="328" y="26"/>
                </a:lnTo>
                <a:lnTo>
                  <a:pt x="330" y="29"/>
                </a:lnTo>
                <a:lnTo>
                  <a:pt x="334" y="25"/>
                </a:lnTo>
                <a:lnTo>
                  <a:pt x="335" y="25"/>
                </a:lnTo>
                <a:lnTo>
                  <a:pt x="338" y="25"/>
                </a:lnTo>
                <a:lnTo>
                  <a:pt x="340" y="23"/>
                </a:lnTo>
                <a:lnTo>
                  <a:pt x="339" y="26"/>
                </a:lnTo>
                <a:lnTo>
                  <a:pt x="340" y="28"/>
                </a:lnTo>
                <a:lnTo>
                  <a:pt x="342" y="26"/>
                </a:lnTo>
                <a:lnTo>
                  <a:pt x="342" y="28"/>
                </a:lnTo>
                <a:lnTo>
                  <a:pt x="342" y="33"/>
                </a:lnTo>
                <a:lnTo>
                  <a:pt x="342" y="34"/>
                </a:lnTo>
                <a:lnTo>
                  <a:pt x="344" y="33"/>
                </a:lnTo>
                <a:lnTo>
                  <a:pt x="346" y="29"/>
                </a:lnTo>
                <a:lnTo>
                  <a:pt x="346" y="28"/>
                </a:lnTo>
                <a:lnTo>
                  <a:pt x="346" y="25"/>
                </a:lnTo>
                <a:lnTo>
                  <a:pt x="348" y="23"/>
                </a:lnTo>
                <a:lnTo>
                  <a:pt x="350" y="23"/>
                </a:lnTo>
                <a:lnTo>
                  <a:pt x="351" y="25"/>
                </a:lnTo>
                <a:lnTo>
                  <a:pt x="351" y="29"/>
                </a:lnTo>
                <a:lnTo>
                  <a:pt x="352" y="28"/>
                </a:lnTo>
                <a:lnTo>
                  <a:pt x="355" y="28"/>
                </a:lnTo>
                <a:lnTo>
                  <a:pt x="356" y="29"/>
                </a:lnTo>
                <a:lnTo>
                  <a:pt x="355" y="31"/>
                </a:lnTo>
                <a:lnTo>
                  <a:pt x="354" y="34"/>
                </a:lnTo>
                <a:lnTo>
                  <a:pt x="352" y="37"/>
                </a:lnTo>
                <a:lnTo>
                  <a:pt x="351" y="39"/>
                </a:lnTo>
                <a:lnTo>
                  <a:pt x="351" y="37"/>
                </a:lnTo>
                <a:lnTo>
                  <a:pt x="350" y="39"/>
                </a:lnTo>
                <a:lnTo>
                  <a:pt x="351" y="42"/>
                </a:lnTo>
                <a:lnTo>
                  <a:pt x="350" y="45"/>
                </a:lnTo>
                <a:lnTo>
                  <a:pt x="348" y="47"/>
                </a:lnTo>
                <a:lnTo>
                  <a:pt x="346" y="45"/>
                </a:lnTo>
                <a:lnTo>
                  <a:pt x="346" y="44"/>
                </a:lnTo>
                <a:lnTo>
                  <a:pt x="344" y="45"/>
                </a:lnTo>
                <a:lnTo>
                  <a:pt x="344" y="48"/>
                </a:lnTo>
                <a:lnTo>
                  <a:pt x="346" y="50"/>
                </a:lnTo>
                <a:lnTo>
                  <a:pt x="344" y="48"/>
                </a:lnTo>
                <a:lnTo>
                  <a:pt x="343" y="47"/>
                </a:lnTo>
                <a:lnTo>
                  <a:pt x="342" y="47"/>
                </a:lnTo>
                <a:lnTo>
                  <a:pt x="342" y="50"/>
                </a:lnTo>
                <a:lnTo>
                  <a:pt x="340" y="53"/>
                </a:lnTo>
                <a:lnTo>
                  <a:pt x="340" y="55"/>
                </a:lnTo>
                <a:lnTo>
                  <a:pt x="343" y="55"/>
                </a:lnTo>
                <a:lnTo>
                  <a:pt x="342" y="59"/>
                </a:lnTo>
                <a:lnTo>
                  <a:pt x="342" y="61"/>
                </a:lnTo>
                <a:lnTo>
                  <a:pt x="339" y="67"/>
                </a:lnTo>
                <a:lnTo>
                  <a:pt x="338" y="70"/>
                </a:lnTo>
                <a:lnTo>
                  <a:pt x="338" y="72"/>
                </a:lnTo>
                <a:lnTo>
                  <a:pt x="336" y="73"/>
                </a:lnTo>
                <a:lnTo>
                  <a:pt x="336" y="77"/>
                </a:lnTo>
                <a:lnTo>
                  <a:pt x="338" y="78"/>
                </a:lnTo>
                <a:lnTo>
                  <a:pt x="339" y="80"/>
                </a:lnTo>
                <a:lnTo>
                  <a:pt x="342" y="80"/>
                </a:lnTo>
                <a:lnTo>
                  <a:pt x="343" y="83"/>
                </a:lnTo>
                <a:lnTo>
                  <a:pt x="347" y="84"/>
                </a:lnTo>
                <a:lnTo>
                  <a:pt x="348" y="88"/>
                </a:lnTo>
                <a:lnTo>
                  <a:pt x="350" y="91"/>
                </a:lnTo>
                <a:lnTo>
                  <a:pt x="350" y="94"/>
                </a:lnTo>
                <a:lnTo>
                  <a:pt x="352" y="92"/>
                </a:lnTo>
                <a:lnTo>
                  <a:pt x="358" y="94"/>
                </a:lnTo>
                <a:lnTo>
                  <a:pt x="362" y="94"/>
                </a:lnTo>
                <a:lnTo>
                  <a:pt x="363" y="95"/>
                </a:lnTo>
                <a:lnTo>
                  <a:pt x="366" y="99"/>
                </a:lnTo>
                <a:lnTo>
                  <a:pt x="368" y="100"/>
                </a:lnTo>
                <a:lnTo>
                  <a:pt x="371" y="102"/>
                </a:lnTo>
                <a:lnTo>
                  <a:pt x="372" y="103"/>
                </a:lnTo>
                <a:lnTo>
                  <a:pt x="375" y="106"/>
                </a:lnTo>
                <a:lnTo>
                  <a:pt x="378" y="106"/>
                </a:lnTo>
                <a:lnTo>
                  <a:pt x="379" y="108"/>
                </a:lnTo>
                <a:lnTo>
                  <a:pt x="387" y="110"/>
                </a:lnTo>
                <a:lnTo>
                  <a:pt x="389" y="113"/>
                </a:lnTo>
                <a:lnTo>
                  <a:pt x="391" y="116"/>
                </a:lnTo>
                <a:lnTo>
                  <a:pt x="392" y="117"/>
                </a:lnTo>
                <a:lnTo>
                  <a:pt x="400" y="124"/>
                </a:lnTo>
                <a:lnTo>
                  <a:pt x="404" y="125"/>
                </a:lnTo>
                <a:lnTo>
                  <a:pt x="408" y="125"/>
                </a:lnTo>
                <a:lnTo>
                  <a:pt x="411" y="124"/>
                </a:lnTo>
                <a:lnTo>
                  <a:pt x="415" y="122"/>
                </a:lnTo>
                <a:lnTo>
                  <a:pt x="416" y="119"/>
                </a:lnTo>
                <a:lnTo>
                  <a:pt x="417" y="113"/>
                </a:lnTo>
                <a:lnTo>
                  <a:pt x="421" y="106"/>
                </a:lnTo>
                <a:lnTo>
                  <a:pt x="424" y="91"/>
                </a:lnTo>
                <a:lnTo>
                  <a:pt x="425" y="86"/>
                </a:lnTo>
                <a:lnTo>
                  <a:pt x="427" y="83"/>
                </a:lnTo>
                <a:lnTo>
                  <a:pt x="428" y="78"/>
                </a:lnTo>
                <a:lnTo>
                  <a:pt x="427" y="73"/>
                </a:lnTo>
                <a:lnTo>
                  <a:pt x="425" y="67"/>
                </a:lnTo>
                <a:lnTo>
                  <a:pt x="425" y="62"/>
                </a:lnTo>
                <a:lnTo>
                  <a:pt x="425" y="53"/>
                </a:lnTo>
                <a:lnTo>
                  <a:pt x="428" y="47"/>
                </a:lnTo>
                <a:lnTo>
                  <a:pt x="428" y="40"/>
                </a:lnTo>
                <a:lnTo>
                  <a:pt x="429" y="37"/>
                </a:lnTo>
                <a:lnTo>
                  <a:pt x="429" y="34"/>
                </a:lnTo>
                <a:lnTo>
                  <a:pt x="427" y="34"/>
                </a:lnTo>
                <a:lnTo>
                  <a:pt x="427" y="31"/>
                </a:lnTo>
                <a:lnTo>
                  <a:pt x="428" y="25"/>
                </a:lnTo>
                <a:lnTo>
                  <a:pt x="432" y="23"/>
                </a:lnTo>
                <a:lnTo>
                  <a:pt x="432" y="20"/>
                </a:lnTo>
                <a:lnTo>
                  <a:pt x="433" y="15"/>
                </a:lnTo>
                <a:lnTo>
                  <a:pt x="437" y="11"/>
                </a:lnTo>
                <a:lnTo>
                  <a:pt x="437" y="6"/>
                </a:lnTo>
                <a:lnTo>
                  <a:pt x="437" y="4"/>
                </a:lnTo>
                <a:lnTo>
                  <a:pt x="439" y="4"/>
                </a:lnTo>
                <a:lnTo>
                  <a:pt x="440" y="3"/>
                </a:lnTo>
                <a:lnTo>
                  <a:pt x="441" y="1"/>
                </a:lnTo>
                <a:lnTo>
                  <a:pt x="443" y="0"/>
                </a:lnTo>
                <a:lnTo>
                  <a:pt x="444" y="1"/>
                </a:lnTo>
                <a:lnTo>
                  <a:pt x="444" y="3"/>
                </a:lnTo>
                <a:lnTo>
                  <a:pt x="445" y="6"/>
                </a:lnTo>
                <a:lnTo>
                  <a:pt x="444" y="6"/>
                </a:lnTo>
                <a:lnTo>
                  <a:pt x="445" y="11"/>
                </a:lnTo>
                <a:lnTo>
                  <a:pt x="445" y="18"/>
                </a:lnTo>
                <a:lnTo>
                  <a:pt x="447" y="22"/>
                </a:lnTo>
                <a:lnTo>
                  <a:pt x="449" y="22"/>
                </a:lnTo>
                <a:lnTo>
                  <a:pt x="449" y="23"/>
                </a:lnTo>
                <a:lnTo>
                  <a:pt x="449" y="28"/>
                </a:lnTo>
                <a:lnTo>
                  <a:pt x="451" y="29"/>
                </a:lnTo>
                <a:lnTo>
                  <a:pt x="452" y="33"/>
                </a:lnTo>
                <a:lnTo>
                  <a:pt x="453" y="34"/>
                </a:lnTo>
                <a:lnTo>
                  <a:pt x="453" y="39"/>
                </a:lnTo>
                <a:lnTo>
                  <a:pt x="455" y="40"/>
                </a:lnTo>
                <a:lnTo>
                  <a:pt x="456" y="45"/>
                </a:lnTo>
                <a:lnTo>
                  <a:pt x="457" y="48"/>
                </a:lnTo>
                <a:lnTo>
                  <a:pt x="457" y="55"/>
                </a:lnTo>
                <a:lnTo>
                  <a:pt x="457" y="58"/>
                </a:lnTo>
                <a:lnTo>
                  <a:pt x="459" y="61"/>
                </a:lnTo>
                <a:lnTo>
                  <a:pt x="459" y="64"/>
                </a:lnTo>
                <a:lnTo>
                  <a:pt x="461" y="66"/>
                </a:lnTo>
                <a:lnTo>
                  <a:pt x="464" y="67"/>
                </a:lnTo>
                <a:lnTo>
                  <a:pt x="467" y="64"/>
                </a:lnTo>
                <a:lnTo>
                  <a:pt x="469" y="62"/>
                </a:lnTo>
                <a:lnTo>
                  <a:pt x="472" y="64"/>
                </a:lnTo>
                <a:lnTo>
                  <a:pt x="473" y="69"/>
                </a:lnTo>
                <a:lnTo>
                  <a:pt x="476" y="70"/>
                </a:lnTo>
                <a:lnTo>
                  <a:pt x="479" y="73"/>
                </a:lnTo>
                <a:lnTo>
                  <a:pt x="481" y="75"/>
                </a:lnTo>
                <a:lnTo>
                  <a:pt x="484" y="77"/>
                </a:lnTo>
                <a:lnTo>
                  <a:pt x="483" y="80"/>
                </a:lnTo>
                <a:lnTo>
                  <a:pt x="484" y="83"/>
                </a:lnTo>
                <a:lnTo>
                  <a:pt x="483" y="88"/>
                </a:lnTo>
                <a:lnTo>
                  <a:pt x="484" y="91"/>
                </a:lnTo>
                <a:lnTo>
                  <a:pt x="484" y="94"/>
                </a:lnTo>
                <a:lnTo>
                  <a:pt x="485" y="97"/>
                </a:lnTo>
                <a:lnTo>
                  <a:pt x="485" y="102"/>
                </a:lnTo>
                <a:lnTo>
                  <a:pt x="487" y="105"/>
                </a:lnTo>
                <a:lnTo>
                  <a:pt x="489" y="111"/>
                </a:lnTo>
                <a:lnTo>
                  <a:pt x="492" y="111"/>
                </a:lnTo>
                <a:lnTo>
                  <a:pt x="492" y="114"/>
                </a:lnTo>
                <a:lnTo>
                  <a:pt x="495" y="120"/>
                </a:lnTo>
                <a:lnTo>
                  <a:pt x="496" y="124"/>
                </a:lnTo>
                <a:lnTo>
                  <a:pt x="496" y="130"/>
                </a:lnTo>
                <a:lnTo>
                  <a:pt x="495" y="131"/>
                </a:lnTo>
                <a:lnTo>
                  <a:pt x="495" y="135"/>
                </a:lnTo>
                <a:lnTo>
                  <a:pt x="496" y="138"/>
                </a:lnTo>
                <a:lnTo>
                  <a:pt x="497" y="139"/>
                </a:lnTo>
                <a:lnTo>
                  <a:pt x="498" y="141"/>
                </a:lnTo>
                <a:lnTo>
                  <a:pt x="498" y="142"/>
                </a:lnTo>
                <a:lnTo>
                  <a:pt x="498" y="141"/>
                </a:lnTo>
                <a:lnTo>
                  <a:pt x="498" y="142"/>
                </a:lnTo>
                <a:lnTo>
                  <a:pt x="498" y="144"/>
                </a:lnTo>
                <a:lnTo>
                  <a:pt x="498" y="146"/>
                </a:lnTo>
                <a:lnTo>
                  <a:pt x="500" y="149"/>
                </a:lnTo>
                <a:lnTo>
                  <a:pt x="504" y="150"/>
                </a:lnTo>
                <a:lnTo>
                  <a:pt x="505" y="152"/>
                </a:lnTo>
                <a:lnTo>
                  <a:pt x="508" y="153"/>
                </a:lnTo>
                <a:lnTo>
                  <a:pt x="513" y="155"/>
                </a:lnTo>
                <a:lnTo>
                  <a:pt x="514" y="155"/>
                </a:lnTo>
                <a:lnTo>
                  <a:pt x="516" y="153"/>
                </a:lnTo>
                <a:lnTo>
                  <a:pt x="516" y="158"/>
                </a:lnTo>
                <a:lnTo>
                  <a:pt x="517" y="161"/>
                </a:lnTo>
                <a:lnTo>
                  <a:pt x="518" y="161"/>
                </a:lnTo>
                <a:lnTo>
                  <a:pt x="521" y="161"/>
                </a:lnTo>
                <a:lnTo>
                  <a:pt x="524" y="163"/>
                </a:lnTo>
                <a:lnTo>
                  <a:pt x="526" y="163"/>
                </a:lnTo>
                <a:lnTo>
                  <a:pt x="528" y="166"/>
                </a:lnTo>
                <a:lnTo>
                  <a:pt x="529" y="168"/>
                </a:lnTo>
                <a:lnTo>
                  <a:pt x="530" y="166"/>
                </a:lnTo>
                <a:lnTo>
                  <a:pt x="532" y="168"/>
                </a:lnTo>
                <a:lnTo>
                  <a:pt x="536" y="171"/>
                </a:lnTo>
                <a:lnTo>
                  <a:pt x="537" y="171"/>
                </a:lnTo>
                <a:lnTo>
                  <a:pt x="537" y="175"/>
                </a:lnTo>
                <a:lnTo>
                  <a:pt x="536" y="174"/>
                </a:lnTo>
                <a:lnTo>
                  <a:pt x="536" y="179"/>
                </a:lnTo>
                <a:lnTo>
                  <a:pt x="537" y="180"/>
                </a:lnTo>
                <a:lnTo>
                  <a:pt x="540" y="180"/>
                </a:lnTo>
                <a:lnTo>
                  <a:pt x="540" y="182"/>
                </a:lnTo>
                <a:lnTo>
                  <a:pt x="542" y="185"/>
                </a:lnTo>
                <a:lnTo>
                  <a:pt x="542" y="188"/>
                </a:lnTo>
                <a:lnTo>
                  <a:pt x="544" y="190"/>
                </a:lnTo>
                <a:lnTo>
                  <a:pt x="544" y="191"/>
                </a:lnTo>
                <a:lnTo>
                  <a:pt x="546" y="191"/>
                </a:lnTo>
                <a:lnTo>
                  <a:pt x="546" y="194"/>
                </a:lnTo>
                <a:lnTo>
                  <a:pt x="546" y="202"/>
                </a:lnTo>
                <a:lnTo>
                  <a:pt x="548" y="204"/>
                </a:lnTo>
                <a:lnTo>
                  <a:pt x="548" y="205"/>
                </a:lnTo>
                <a:lnTo>
                  <a:pt x="549" y="207"/>
                </a:lnTo>
                <a:lnTo>
                  <a:pt x="549" y="210"/>
                </a:lnTo>
                <a:lnTo>
                  <a:pt x="550" y="210"/>
                </a:lnTo>
                <a:lnTo>
                  <a:pt x="552" y="208"/>
                </a:lnTo>
                <a:lnTo>
                  <a:pt x="553" y="208"/>
                </a:lnTo>
                <a:lnTo>
                  <a:pt x="553" y="205"/>
                </a:lnTo>
                <a:lnTo>
                  <a:pt x="554" y="204"/>
                </a:lnTo>
                <a:lnTo>
                  <a:pt x="556" y="205"/>
                </a:lnTo>
                <a:lnTo>
                  <a:pt x="557" y="207"/>
                </a:lnTo>
                <a:lnTo>
                  <a:pt x="560" y="208"/>
                </a:lnTo>
                <a:lnTo>
                  <a:pt x="562" y="212"/>
                </a:lnTo>
                <a:lnTo>
                  <a:pt x="562" y="207"/>
                </a:lnTo>
                <a:lnTo>
                  <a:pt x="564" y="208"/>
                </a:lnTo>
                <a:lnTo>
                  <a:pt x="564" y="210"/>
                </a:lnTo>
                <a:lnTo>
                  <a:pt x="565" y="210"/>
                </a:lnTo>
                <a:lnTo>
                  <a:pt x="566" y="215"/>
                </a:lnTo>
                <a:lnTo>
                  <a:pt x="566" y="224"/>
                </a:lnTo>
                <a:lnTo>
                  <a:pt x="568" y="229"/>
                </a:lnTo>
                <a:lnTo>
                  <a:pt x="569" y="230"/>
                </a:lnTo>
                <a:lnTo>
                  <a:pt x="572" y="232"/>
                </a:lnTo>
                <a:lnTo>
                  <a:pt x="574" y="237"/>
                </a:lnTo>
                <a:lnTo>
                  <a:pt x="578" y="237"/>
                </a:lnTo>
                <a:lnTo>
                  <a:pt x="581" y="238"/>
                </a:lnTo>
                <a:lnTo>
                  <a:pt x="582" y="240"/>
                </a:lnTo>
                <a:lnTo>
                  <a:pt x="584" y="243"/>
                </a:lnTo>
                <a:lnTo>
                  <a:pt x="585" y="246"/>
                </a:lnTo>
                <a:lnTo>
                  <a:pt x="586" y="248"/>
                </a:lnTo>
                <a:lnTo>
                  <a:pt x="589" y="249"/>
                </a:lnTo>
                <a:lnTo>
                  <a:pt x="593" y="256"/>
                </a:lnTo>
                <a:lnTo>
                  <a:pt x="593" y="257"/>
                </a:lnTo>
                <a:lnTo>
                  <a:pt x="596" y="259"/>
                </a:lnTo>
                <a:lnTo>
                  <a:pt x="597" y="262"/>
                </a:lnTo>
                <a:lnTo>
                  <a:pt x="597" y="267"/>
                </a:lnTo>
                <a:lnTo>
                  <a:pt x="598" y="270"/>
                </a:lnTo>
                <a:lnTo>
                  <a:pt x="600" y="271"/>
                </a:lnTo>
                <a:lnTo>
                  <a:pt x="601" y="270"/>
                </a:lnTo>
                <a:lnTo>
                  <a:pt x="601" y="273"/>
                </a:lnTo>
                <a:lnTo>
                  <a:pt x="600" y="278"/>
                </a:lnTo>
                <a:lnTo>
                  <a:pt x="601" y="281"/>
                </a:lnTo>
                <a:lnTo>
                  <a:pt x="601" y="289"/>
                </a:lnTo>
                <a:lnTo>
                  <a:pt x="602" y="292"/>
                </a:lnTo>
                <a:lnTo>
                  <a:pt x="601" y="290"/>
                </a:lnTo>
                <a:lnTo>
                  <a:pt x="601" y="293"/>
                </a:lnTo>
                <a:lnTo>
                  <a:pt x="601" y="296"/>
                </a:lnTo>
                <a:lnTo>
                  <a:pt x="602" y="296"/>
                </a:lnTo>
                <a:lnTo>
                  <a:pt x="604" y="301"/>
                </a:lnTo>
                <a:lnTo>
                  <a:pt x="605" y="306"/>
                </a:lnTo>
                <a:lnTo>
                  <a:pt x="608" y="314"/>
                </a:lnTo>
                <a:lnTo>
                  <a:pt x="608" y="321"/>
                </a:lnTo>
                <a:lnTo>
                  <a:pt x="608" y="326"/>
                </a:lnTo>
                <a:lnTo>
                  <a:pt x="606" y="328"/>
                </a:lnTo>
                <a:lnTo>
                  <a:pt x="605" y="332"/>
                </a:lnTo>
                <a:lnTo>
                  <a:pt x="604" y="339"/>
                </a:lnTo>
                <a:lnTo>
                  <a:pt x="602" y="347"/>
                </a:lnTo>
                <a:lnTo>
                  <a:pt x="602" y="348"/>
                </a:lnTo>
                <a:lnTo>
                  <a:pt x="600" y="353"/>
                </a:lnTo>
                <a:lnTo>
                  <a:pt x="600" y="358"/>
                </a:lnTo>
                <a:lnTo>
                  <a:pt x="600" y="364"/>
                </a:lnTo>
                <a:lnTo>
                  <a:pt x="600" y="365"/>
                </a:lnTo>
                <a:lnTo>
                  <a:pt x="600" y="367"/>
                </a:lnTo>
                <a:lnTo>
                  <a:pt x="596" y="378"/>
                </a:lnTo>
                <a:lnTo>
                  <a:pt x="594" y="380"/>
                </a:lnTo>
                <a:lnTo>
                  <a:pt x="593" y="381"/>
                </a:lnTo>
                <a:lnTo>
                  <a:pt x="592" y="383"/>
                </a:lnTo>
                <a:lnTo>
                  <a:pt x="592" y="386"/>
                </a:lnTo>
                <a:lnTo>
                  <a:pt x="592" y="387"/>
                </a:lnTo>
                <a:lnTo>
                  <a:pt x="590" y="389"/>
                </a:lnTo>
                <a:lnTo>
                  <a:pt x="588" y="392"/>
                </a:lnTo>
                <a:lnTo>
                  <a:pt x="586" y="392"/>
                </a:lnTo>
                <a:lnTo>
                  <a:pt x="585" y="392"/>
                </a:lnTo>
                <a:lnTo>
                  <a:pt x="586" y="394"/>
                </a:lnTo>
                <a:lnTo>
                  <a:pt x="584" y="394"/>
                </a:lnTo>
                <a:lnTo>
                  <a:pt x="582" y="395"/>
                </a:lnTo>
                <a:lnTo>
                  <a:pt x="581" y="397"/>
                </a:lnTo>
                <a:lnTo>
                  <a:pt x="580" y="400"/>
                </a:lnTo>
                <a:lnTo>
                  <a:pt x="578" y="403"/>
                </a:lnTo>
                <a:lnTo>
                  <a:pt x="576" y="406"/>
                </a:lnTo>
                <a:lnTo>
                  <a:pt x="574" y="406"/>
                </a:lnTo>
                <a:lnTo>
                  <a:pt x="573" y="408"/>
                </a:lnTo>
                <a:lnTo>
                  <a:pt x="574" y="409"/>
                </a:lnTo>
                <a:lnTo>
                  <a:pt x="574" y="413"/>
                </a:lnTo>
                <a:lnTo>
                  <a:pt x="573" y="416"/>
                </a:lnTo>
                <a:lnTo>
                  <a:pt x="572" y="419"/>
                </a:lnTo>
                <a:lnTo>
                  <a:pt x="570" y="422"/>
                </a:lnTo>
                <a:lnTo>
                  <a:pt x="566" y="433"/>
                </a:lnTo>
                <a:lnTo>
                  <a:pt x="566" y="436"/>
                </a:lnTo>
                <a:lnTo>
                  <a:pt x="564" y="435"/>
                </a:lnTo>
                <a:lnTo>
                  <a:pt x="562" y="439"/>
                </a:lnTo>
                <a:lnTo>
                  <a:pt x="560" y="441"/>
                </a:lnTo>
                <a:lnTo>
                  <a:pt x="560" y="444"/>
                </a:lnTo>
                <a:lnTo>
                  <a:pt x="558" y="444"/>
                </a:lnTo>
                <a:lnTo>
                  <a:pt x="558" y="447"/>
                </a:lnTo>
                <a:lnTo>
                  <a:pt x="557" y="450"/>
                </a:lnTo>
                <a:lnTo>
                  <a:pt x="557" y="455"/>
                </a:lnTo>
                <a:lnTo>
                  <a:pt x="557" y="457"/>
                </a:lnTo>
                <a:lnTo>
                  <a:pt x="557" y="458"/>
                </a:lnTo>
                <a:lnTo>
                  <a:pt x="556" y="461"/>
                </a:lnTo>
                <a:lnTo>
                  <a:pt x="554" y="464"/>
                </a:lnTo>
                <a:lnTo>
                  <a:pt x="554" y="468"/>
                </a:lnTo>
                <a:lnTo>
                  <a:pt x="554" y="469"/>
                </a:lnTo>
                <a:lnTo>
                  <a:pt x="554" y="472"/>
                </a:lnTo>
                <a:lnTo>
                  <a:pt x="554" y="474"/>
                </a:lnTo>
                <a:lnTo>
                  <a:pt x="554" y="477"/>
                </a:lnTo>
                <a:lnTo>
                  <a:pt x="554" y="479"/>
                </a:lnTo>
                <a:lnTo>
                  <a:pt x="552" y="477"/>
                </a:lnTo>
                <a:lnTo>
                  <a:pt x="550" y="477"/>
                </a:lnTo>
                <a:lnTo>
                  <a:pt x="550" y="480"/>
                </a:lnTo>
                <a:lnTo>
                  <a:pt x="545" y="482"/>
                </a:lnTo>
                <a:lnTo>
                  <a:pt x="529" y="483"/>
                </a:lnTo>
                <a:lnTo>
                  <a:pt x="526" y="483"/>
                </a:lnTo>
                <a:lnTo>
                  <a:pt x="520" y="486"/>
                </a:lnTo>
                <a:lnTo>
                  <a:pt x="517" y="490"/>
                </a:lnTo>
                <a:lnTo>
                  <a:pt x="514" y="491"/>
                </a:lnTo>
                <a:lnTo>
                  <a:pt x="512" y="493"/>
                </a:lnTo>
                <a:lnTo>
                  <a:pt x="512" y="494"/>
                </a:lnTo>
                <a:lnTo>
                  <a:pt x="508" y="496"/>
                </a:lnTo>
                <a:lnTo>
                  <a:pt x="506" y="497"/>
                </a:lnTo>
                <a:lnTo>
                  <a:pt x="505" y="497"/>
                </a:lnTo>
                <a:lnTo>
                  <a:pt x="501" y="497"/>
                </a:lnTo>
                <a:lnTo>
                  <a:pt x="500" y="497"/>
                </a:lnTo>
                <a:lnTo>
                  <a:pt x="498" y="497"/>
                </a:lnTo>
                <a:lnTo>
                  <a:pt x="498" y="501"/>
                </a:lnTo>
                <a:lnTo>
                  <a:pt x="498" y="502"/>
                </a:lnTo>
                <a:lnTo>
                  <a:pt x="500" y="501"/>
                </a:lnTo>
                <a:lnTo>
                  <a:pt x="502" y="499"/>
                </a:lnTo>
                <a:lnTo>
                  <a:pt x="504" y="499"/>
                </a:lnTo>
                <a:lnTo>
                  <a:pt x="502" y="502"/>
                </a:lnTo>
                <a:lnTo>
                  <a:pt x="501" y="504"/>
                </a:lnTo>
                <a:lnTo>
                  <a:pt x="501" y="505"/>
                </a:lnTo>
                <a:lnTo>
                  <a:pt x="497" y="501"/>
                </a:lnTo>
                <a:lnTo>
                  <a:pt x="496" y="501"/>
                </a:lnTo>
                <a:lnTo>
                  <a:pt x="493" y="501"/>
                </a:lnTo>
                <a:lnTo>
                  <a:pt x="492" y="497"/>
                </a:lnTo>
                <a:lnTo>
                  <a:pt x="489" y="497"/>
                </a:lnTo>
                <a:lnTo>
                  <a:pt x="487" y="496"/>
                </a:lnTo>
                <a:lnTo>
                  <a:pt x="487" y="494"/>
                </a:lnTo>
                <a:lnTo>
                  <a:pt x="488" y="491"/>
                </a:lnTo>
                <a:lnTo>
                  <a:pt x="485" y="490"/>
                </a:lnTo>
                <a:lnTo>
                  <a:pt x="483" y="493"/>
                </a:lnTo>
                <a:lnTo>
                  <a:pt x="480" y="493"/>
                </a:lnTo>
                <a:lnTo>
                  <a:pt x="477" y="493"/>
                </a:lnTo>
                <a:lnTo>
                  <a:pt x="476" y="491"/>
                </a:lnTo>
                <a:lnTo>
                  <a:pt x="479" y="491"/>
                </a:lnTo>
                <a:lnTo>
                  <a:pt x="480" y="488"/>
                </a:lnTo>
                <a:lnTo>
                  <a:pt x="480" y="485"/>
                </a:lnTo>
                <a:lnTo>
                  <a:pt x="477" y="483"/>
                </a:lnTo>
                <a:lnTo>
                  <a:pt x="472" y="486"/>
                </a:lnTo>
                <a:lnTo>
                  <a:pt x="469" y="486"/>
                </a:lnTo>
                <a:lnTo>
                  <a:pt x="473" y="490"/>
                </a:lnTo>
                <a:lnTo>
                  <a:pt x="472" y="490"/>
                </a:lnTo>
                <a:lnTo>
                  <a:pt x="468" y="491"/>
                </a:lnTo>
                <a:lnTo>
                  <a:pt x="465" y="493"/>
                </a:lnTo>
                <a:lnTo>
                  <a:pt x="463" y="497"/>
                </a:lnTo>
                <a:lnTo>
                  <a:pt x="459" y="499"/>
                </a:lnTo>
                <a:lnTo>
                  <a:pt x="455" y="501"/>
                </a:lnTo>
                <a:lnTo>
                  <a:pt x="453" y="499"/>
                </a:lnTo>
                <a:lnTo>
                  <a:pt x="448" y="496"/>
                </a:lnTo>
                <a:lnTo>
                  <a:pt x="443" y="493"/>
                </a:lnTo>
                <a:lnTo>
                  <a:pt x="440" y="493"/>
                </a:lnTo>
                <a:lnTo>
                  <a:pt x="436" y="493"/>
                </a:lnTo>
                <a:lnTo>
                  <a:pt x="431" y="490"/>
                </a:lnTo>
                <a:lnTo>
                  <a:pt x="428" y="491"/>
                </a:lnTo>
                <a:lnTo>
                  <a:pt x="427" y="493"/>
                </a:lnTo>
                <a:lnTo>
                  <a:pt x="424" y="490"/>
                </a:lnTo>
                <a:lnTo>
                  <a:pt x="419" y="486"/>
                </a:lnTo>
                <a:lnTo>
                  <a:pt x="413" y="486"/>
                </a:lnTo>
                <a:lnTo>
                  <a:pt x="409" y="483"/>
                </a:lnTo>
                <a:lnTo>
                  <a:pt x="407" y="482"/>
                </a:lnTo>
                <a:lnTo>
                  <a:pt x="405" y="477"/>
                </a:lnTo>
                <a:lnTo>
                  <a:pt x="403" y="475"/>
                </a:lnTo>
                <a:lnTo>
                  <a:pt x="399" y="468"/>
                </a:lnTo>
                <a:lnTo>
                  <a:pt x="399" y="466"/>
                </a:lnTo>
                <a:lnTo>
                  <a:pt x="400" y="464"/>
                </a:lnTo>
                <a:lnTo>
                  <a:pt x="400" y="460"/>
                </a:lnTo>
                <a:lnTo>
                  <a:pt x="397" y="453"/>
                </a:lnTo>
                <a:lnTo>
                  <a:pt x="392" y="444"/>
                </a:lnTo>
                <a:lnTo>
                  <a:pt x="393" y="441"/>
                </a:lnTo>
                <a:lnTo>
                  <a:pt x="393" y="439"/>
                </a:lnTo>
                <a:lnTo>
                  <a:pt x="389" y="439"/>
                </a:lnTo>
                <a:lnTo>
                  <a:pt x="385" y="442"/>
                </a:lnTo>
                <a:lnTo>
                  <a:pt x="380" y="444"/>
                </a:lnTo>
                <a:lnTo>
                  <a:pt x="378" y="444"/>
                </a:lnTo>
                <a:lnTo>
                  <a:pt x="376" y="444"/>
                </a:lnTo>
                <a:lnTo>
                  <a:pt x="378" y="441"/>
                </a:lnTo>
                <a:lnTo>
                  <a:pt x="380" y="436"/>
                </a:lnTo>
                <a:lnTo>
                  <a:pt x="382" y="433"/>
                </a:lnTo>
                <a:lnTo>
                  <a:pt x="380" y="428"/>
                </a:lnTo>
                <a:lnTo>
                  <a:pt x="379" y="424"/>
                </a:lnTo>
                <a:lnTo>
                  <a:pt x="376" y="420"/>
                </a:lnTo>
                <a:lnTo>
                  <a:pt x="375" y="419"/>
                </a:lnTo>
                <a:lnTo>
                  <a:pt x="371" y="425"/>
                </a:lnTo>
                <a:lnTo>
                  <a:pt x="371" y="428"/>
                </a:lnTo>
                <a:lnTo>
                  <a:pt x="371" y="431"/>
                </a:lnTo>
                <a:lnTo>
                  <a:pt x="370" y="435"/>
                </a:lnTo>
                <a:lnTo>
                  <a:pt x="367" y="435"/>
                </a:lnTo>
                <a:lnTo>
                  <a:pt x="364" y="436"/>
                </a:lnTo>
                <a:lnTo>
                  <a:pt x="360" y="436"/>
                </a:lnTo>
                <a:lnTo>
                  <a:pt x="358" y="438"/>
                </a:lnTo>
                <a:lnTo>
                  <a:pt x="356" y="436"/>
                </a:lnTo>
                <a:lnTo>
                  <a:pt x="358" y="431"/>
                </a:lnTo>
                <a:lnTo>
                  <a:pt x="362" y="431"/>
                </a:lnTo>
                <a:lnTo>
                  <a:pt x="364" y="430"/>
                </a:lnTo>
                <a:lnTo>
                  <a:pt x="366" y="425"/>
                </a:lnTo>
                <a:lnTo>
                  <a:pt x="366" y="422"/>
                </a:lnTo>
                <a:lnTo>
                  <a:pt x="366" y="419"/>
                </a:lnTo>
                <a:lnTo>
                  <a:pt x="366" y="417"/>
                </a:lnTo>
                <a:lnTo>
                  <a:pt x="367" y="414"/>
                </a:lnTo>
                <a:lnTo>
                  <a:pt x="368" y="409"/>
                </a:lnTo>
                <a:lnTo>
                  <a:pt x="370" y="409"/>
                </a:lnTo>
                <a:lnTo>
                  <a:pt x="372" y="406"/>
                </a:lnTo>
                <a:lnTo>
                  <a:pt x="372" y="398"/>
                </a:lnTo>
                <a:lnTo>
                  <a:pt x="374" y="400"/>
                </a:lnTo>
                <a:lnTo>
                  <a:pt x="374" y="397"/>
                </a:lnTo>
                <a:lnTo>
                  <a:pt x="372" y="395"/>
                </a:lnTo>
                <a:lnTo>
                  <a:pt x="372" y="392"/>
                </a:lnTo>
                <a:lnTo>
                  <a:pt x="371" y="392"/>
                </a:lnTo>
                <a:lnTo>
                  <a:pt x="371" y="389"/>
                </a:lnTo>
                <a:lnTo>
                  <a:pt x="370" y="387"/>
                </a:lnTo>
                <a:lnTo>
                  <a:pt x="370" y="391"/>
                </a:lnTo>
                <a:lnTo>
                  <a:pt x="370" y="395"/>
                </a:lnTo>
                <a:lnTo>
                  <a:pt x="368" y="395"/>
                </a:lnTo>
                <a:lnTo>
                  <a:pt x="366" y="400"/>
                </a:lnTo>
                <a:lnTo>
                  <a:pt x="364" y="402"/>
                </a:lnTo>
                <a:lnTo>
                  <a:pt x="363" y="405"/>
                </a:lnTo>
                <a:lnTo>
                  <a:pt x="362" y="408"/>
                </a:lnTo>
                <a:lnTo>
                  <a:pt x="360" y="409"/>
                </a:lnTo>
                <a:lnTo>
                  <a:pt x="358" y="409"/>
                </a:lnTo>
                <a:lnTo>
                  <a:pt x="356" y="409"/>
                </a:lnTo>
                <a:lnTo>
                  <a:pt x="356" y="411"/>
                </a:lnTo>
                <a:lnTo>
                  <a:pt x="352" y="413"/>
                </a:lnTo>
                <a:lnTo>
                  <a:pt x="351" y="414"/>
                </a:lnTo>
                <a:lnTo>
                  <a:pt x="350" y="416"/>
                </a:lnTo>
                <a:lnTo>
                  <a:pt x="347" y="419"/>
                </a:lnTo>
                <a:lnTo>
                  <a:pt x="344" y="424"/>
                </a:lnTo>
                <a:lnTo>
                  <a:pt x="342" y="425"/>
                </a:lnTo>
                <a:lnTo>
                  <a:pt x="342" y="428"/>
                </a:lnTo>
                <a:lnTo>
                  <a:pt x="343" y="428"/>
                </a:lnTo>
                <a:lnTo>
                  <a:pt x="343" y="433"/>
                </a:lnTo>
                <a:lnTo>
                  <a:pt x="342" y="431"/>
                </a:lnTo>
                <a:lnTo>
                  <a:pt x="339" y="431"/>
                </a:lnTo>
                <a:lnTo>
                  <a:pt x="336" y="428"/>
                </a:lnTo>
                <a:lnTo>
                  <a:pt x="334" y="427"/>
                </a:lnTo>
                <a:lnTo>
                  <a:pt x="332" y="425"/>
                </a:lnTo>
                <a:lnTo>
                  <a:pt x="330" y="425"/>
                </a:lnTo>
                <a:lnTo>
                  <a:pt x="330" y="422"/>
                </a:lnTo>
                <a:lnTo>
                  <a:pt x="334" y="425"/>
                </a:lnTo>
                <a:lnTo>
                  <a:pt x="335" y="424"/>
                </a:lnTo>
                <a:lnTo>
                  <a:pt x="334" y="419"/>
                </a:lnTo>
                <a:lnTo>
                  <a:pt x="332" y="417"/>
                </a:lnTo>
                <a:lnTo>
                  <a:pt x="332" y="414"/>
                </a:lnTo>
                <a:lnTo>
                  <a:pt x="330" y="411"/>
                </a:lnTo>
                <a:lnTo>
                  <a:pt x="327" y="409"/>
                </a:lnTo>
                <a:lnTo>
                  <a:pt x="326" y="403"/>
                </a:lnTo>
                <a:lnTo>
                  <a:pt x="324" y="403"/>
                </a:lnTo>
                <a:lnTo>
                  <a:pt x="324" y="400"/>
                </a:lnTo>
                <a:lnTo>
                  <a:pt x="322" y="400"/>
                </a:lnTo>
                <a:lnTo>
                  <a:pt x="319" y="400"/>
                </a:lnTo>
                <a:lnTo>
                  <a:pt x="316" y="398"/>
                </a:lnTo>
                <a:lnTo>
                  <a:pt x="315" y="395"/>
                </a:lnTo>
                <a:lnTo>
                  <a:pt x="315" y="392"/>
                </a:lnTo>
                <a:lnTo>
                  <a:pt x="316" y="392"/>
                </a:lnTo>
                <a:lnTo>
                  <a:pt x="316" y="389"/>
                </a:lnTo>
                <a:lnTo>
                  <a:pt x="311" y="387"/>
                </a:lnTo>
                <a:lnTo>
                  <a:pt x="304" y="381"/>
                </a:lnTo>
                <a:lnTo>
                  <a:pt x="303" y="381"/>
                </a:lnTo>
                <a:lnTo>
                  <a:pt x="304" y="383"/>
                </a:lnTo>
                <a:lnTo>
                  <a:pt x="302" y="383"/>
                </a:lnTo>
                <a:lnTo>
                  <a:pt x="299" y="381"/>
                </a:lnTo>
                <a:lnTo>
                  <a:pt x="292" y="378"/>
                </a:lnTo>
                <a:lnTo>
                  <a:pt x="291" y="378"/>
                </a:lnTo>
                <a:lnTo>
                  <a:pt x="288" y="380"/>
                </a:lnTo>
                <a:lnTo>
                  <a:pt x="286" y="378"/>
                </a:lnTo>
                <a:lnTo>
                  <a:pt x="278" y="372"/>
                </a:lnTo>
                <a:lnTo>
                  <a:pt x="275" y="370"/>
                </a:lnTo>
                <a:lnTo>
                  <a:pt x="272" y="370"/>
                </a:lnTo>
                <a:lnTo>
                  <a:pt x="266" y="370"/>
                </a:lnTo>
                <a:lnTo>
                  <a:pt x="258" y="372"/>
                </a:lnTo>
                <a:lnTo>
                  <a:pt x="246" y="372"/>
                </a:lnTo>
                <a:lnTo>
                  <a:pt x="241" y="372"/>
                </a:lnTo>
                <a:lnTo>
                  <a:pt x="230" y="376"/>
                </a:lnTo>
                <a:lnTo>
                  <a:pt x="225" y="380"/>
                </a:lnTo>
                <a:lnTo>
                  <a:pt x="218" y="381"/>
                </a:lnTo>
                <a:lnTo>
                  <a:pt x="213" y="383"/>
                </a:lnTo>
                <a:lnTo>
                  <a:pt x="207" y="384"/>
                </a:lnTo>
                <a:lnTo>
                  <a:pt x="198" y="383"/>
                </a:lnTo>
                <a:lnTo>
                  <a:pt x="194" y="383"/>
                </a:lnTo>
                <a:lnTo>
                  <a:pt x="190" y="384"/>
                </a:lnTo>
                <a:lnTo>
                  <a:pt x="187" y="386"/>
                </a:lnTo>
                <a:lnTo>
                  <a:pt x="179" y="391"/>
                </a:lnTo>
                <a:lnTo>
                  <a:pt x="175" y="392"/>
                </a:lnTo>
                <a:lnTo>
                  <a:pt x="173" y="394"/>
                </a:lnTo>
                <a:lnTo>
                  <a:pt x="171" y="394"/>
                </a:lnTo>
                <a:lnTo>
                  <a:pt x="167" y="395"/>
                </a:lnTo>
                <a:lnTo>
                  <a:pt x="165" y="397"/>
                </a:lnTo>
                <a:lnTo>
                  <a:pt x="162" y="400"/>
                </a:lnTo>
                <a:lnTo>
                  <a:pt x="162" y="405"/>
                </a:lnTo>
                <a:lnTo>
                  <a:pt x="161" y="406"/>
                </a:lnTo>
                <a:lnTo>
                  <a:pt x="158" y="408"/>
                </a:lnTo>
                <a:lnTo>
                  <a:pt x="158" y="411"/>
                </a:lnTo>
                <a:lnTo>
                  <a:pt x="153" y="413"/>
                </a:lnTo>
                <a:lnTo>
                  <a:pt x="150" y="413"/>
                </a:lnTo>
                <a:lnTo>
                  <a:pt x="148" y="411"/>
                </a:lnTo>
                <a:lnTo>
                  <a:pt x="141" y="411"/>
                </a:lnTo>
                <a:lnTo>
                  <a:pt x="136" y="413"/>
                </a:lnTo>
                <a:lnTo>
                  <a:pt x="134" y="411"/>
                </a:lnTo>
                <a:lnTo>
                  <a:pt x="133" y="411"/>
                </a:lnTo>
                <a:lnTo>
                  <a:pt x="130" y="411"/>
                </a:lnTo>
                <a:lnTo>
                  <a:pt x="126" y="411"/>
                </a:lnTo>
                <a:lnTo>
                  <a:pt x="122" y="411"/>
                </a:lnTo>
                <a:lnTo>
                  <a:pt x="118" y="411"/>
                </a:lnTo>
                <a:lnTo>
                  <a:pt x="114" y="413"/>
                </a:lnTo>
                <a:lnTo>
                  <a:pt x="102" y="413"/>
                </a:lnTo>
                <a:lnTo>
                  <a:pt x="100" y="414"/>
                </a:lnTo>
                <a:lnTo>
                  <a:pt x="97" y="416"/>
                </a:lnTo>
                <a:lnTo>
                  <a:pt x="96" y="417"/>
                </a:lnTo>
                <a:lnTo>
                  <a:pt x="96" y="419"/>
                </a:lnTo>
                <a:lnTo>
                  <a:pt x="93" y="422"/>
                </a:lnTo>
                <a:lnTo>
                  <a:pt x="90" y="422"/>
                </a:lnTo>
                <a:lnTo>
                  <a:pt x="85" y="422"/>
                </a:lnTo>
                <a:lnTo>
                  <a:pt x="82" y="425"/>
                </a:lnTo>
                <a:lnTo>
                  <a:pt x="80" y="428"/>
                </a:lnTo>
                <a:lnTo>
                  <a:pt x="78" y="430"/>
                </a:lnTo>
                <a:lnTo>
                  <a:pt x="76" y="431"/>
                </a:lnTo>
                <a:lnTo>
                  <a:pt x="73" y="431"/>
                </a:lnTo>
                <a:lnTo>
                  <a:pt x="70" y="431"/>
                </a:lnTo>
                <a:lnTo>
                  <a:pt x="70" y="433"/>
                </a:lnTo>
                <a:lnTo>
                  <a:pt x="69" y="433"/>
                </a:lnTo>
                <a:lnTo>
                  <a:pt x="66" y="433"/>
                </a:lnTo>
                <a:lnTo>
                  <a:pt x="65" y="431"/>
                </a:lnTo>
                <a:lnTo>
                  <a:pt x="56" y="433"/>
                </a:lnTo>
                <a:lnTo>
                  <a:pt x="52" y="431"/>
                </a:lnTo>
                <a:lnTo>
                  <a:pt x="49" y="430"/>
                </a:lnTo>
                <a:lnTo>
                  <a:pt x="46" y="428"/>
                </a:lnTo>
                <a:lnTo>
                  <a:pt x="44" y="428"/>
                </a:lnTo>
                <a:lnTo>
                  <a:pt x="40" y="425"/>
                </a:lnTo>
                <a:lnTo>
                  <a:pt x="37" y="422"/>
                </a:lnTo>
                <a:lnTo>
                  <a:pt x="35" y="419"/>
                </a:lnTo>
                <a:lnTo>
                  <a:pt x="32" y="419"/>
                </a:lnTo>
                <a:lnTo>
                  <a:pt x="29" y="417"/>
                </a:lnTo>
                <a:lnTo>
                  <a:pt x="28" y="409"/>
                </a:lnTo>
                <a:lnTo>
                  <a:pt x="28" y="406"/>
                </a:lnTo>
                <a:lnTo>
                  <a:pt x="31" y="408"/>
                </a:lnTo>
                <a:lnTo>
                  <a:pt x="33" y="406"/>
                </a:lnTo>
                <a:lnTo>
                  <a:pt x="36" y="403"/>
                </a:lnTo>
                <a:lnTo>
                  <a:pt x="39" y="398"/>
                </a:lnTo>
                <a:lnTo>
                  <a:pt x="39" y="395"/>
                </a:lnTo>
                <a:lnTo>
                  <a:pt x="37" y="392"/>
                </a:lnTo>
                <a:lnTo>
                  <a:pt x="37" y="389"/>
                </a:lnTo>
                <a:lnTo>
                  <a:pt x="37" y="391"/>
                </a:lnTo>
                <a:lnTo>
                  <a:pt x="39" y="387"/>
                </a:lnTo>
                <a:lnTo>
                  <a:pt x="37" y="381"/>
                </a:lnTo>
                <a:lnTo>
                  <a:pt x="39" y="376"/>
                </a:lnTo>
                <a:lnTo>
                  <a:pt x="37" y="373"/>
                </a:lnTo>
                <a:lnTo>
                  <a:pt x="33" y="362"/>
                </a:lnTo>
                <a:lnTo>
                  <a:pt x="32" y="359"/>
                </a:lnTo>
                <a:lnTo>
                  <a:pt x="31" y="358"/>
                </a:lnTo>
                <a:lnTo>
                  <a:pt x="29" y="354"/>
                </a:lnTo>
                <a:lnTo>
                  <a:pt x="28" y="350"/>
                </a:lnTo>
                <a:lnTo>
                  <a:pt x="27" y="342"/>
                </a:lnTo>
                <a:lnTo>
                  <a:pt x="27" y="332"/>
                </a:lnTo>
                <a:lnTo>
                  <a:pt x="25" y="329"/>
                </a:lnTo>
                <a:lnTo>
                  <a:pt x="21" y="321"/>
                </a:lnTo>
                <a:lnTo>
                  <a:pt x="20" y="318"/>
                </a:lnTo>
                <a:lnTo>
                  <a:pt x="17" y="314"/>
                </a:lnTo>
                <a:lnTo>
                  <a:pt x="15" y="307"/>
                </a:lnTo>
                <a:lnTo>
                  <a:pt x="13" y="301"/>
                </a:lnTo>
                <a:lnTo>
                  <a:pt x="12" y="296"/>
                </a:lnTo>
                <a:lnTo>
                  <a:pt x="11" y="290"/>
                </a:lnTo>
                <a:lnTo>
                  <a:pt x="7" y="289"/>
                </a:lnTo>
                <a:lnTo>
                  <a:pt x="4" y="285"/>
                </a:lnTo>
                <a:lnTo>
                  <a:pt x="3" y="282"/>
                </a:lnTo>
                <a:lnTo>
                  <a:pt x="3" y="281"/>
                </a:lnTo>
                <a:lnTo>
                  <a:pt x="0" y="279"/>
                </a:lnTo>
                <a:lnTo>
                  <a:pt x="0" y="276"/>
                </a:lnTo>
                <a:lnTo>
                  <a:pt x="0" y="274"/>
                </a:lnTo>
                <a:lnTo>
                  <a:pt x="0" y="276"/>
                </a:lnTo>
                <a:lnTo>
                  <a:pt x="1" y="276"/>
                </a:lnTo>
                <a:lnTo>
                  <a:pt x="3" y="276"/>
                </a:lnTo>
                <a:lnTo>
                  <a:pt x="3" y="279"/>
                </a:lnTo>
                <a:lnTo>
                  <a:pt x="4" y="282"/>
                </a:lnTo>
                <a:lnTo>
                  <a:pt x="5" y="281"/>
                </a:lnTo>
                <a:lnTo>
                  <a:pt x="5" y="282"/>
                </a:lnTo>
                <a:lnTo>
                  <a:pt x="8" y="282"/>
                </a:lnTo>
                <a:lnTo>
                  <a:pt x="9" y="281"/>
                </a:lnTo>
                <a:lnTo>
                  <a:pt x="8" y="279"/>
                </a:lnTo>
                <a:lnTo>
                  <a:pt x="7" y="276"/>
                </a:lnTo>
                <a:lnTo>
                  <a:pt x="3" y="268"/>
                </a:lnTo>
                <a:lnTo>
                  <a:pt x="3" y="265"/>
                </a:lnTo>
                <a:lnTo>
                  <a:pt x="4" y="265"/>
                </a:lnTo>
                <a:lnTo>
                  <a:pt x="5" y="270"/>
                </a:lnTo>
                <a:lnTo>
                  <a:pt x="7" y="276"/>
                </a:lnTo>
                <a:lnTo>
                  <a:pt x="9" y="273"/>
                </a:lnTo>
                <a:lnTo>
                  <a:pt x="9" y="276"/>
                </a:lnTo>
                <a:lnTo>
                  <a:pt x="9" y="279"/>
                </a:lnTo>
                <a:lnTo>
                  <a:pt x="12" y="279"/>
                </a:lnTo>
                <a:lnTo>
                  <a:pt x="13" y="278"/>
                </a:lnTo>
                <a:lnTo>
                  <a:pt x="15" y="273"/>
                </a:lnTo>
                <a:lnTo>
                  <a:pt x="13" y="268"/>
                </a:lnTo>
                <a:lnTo>
                  <a:pt x="12" y="267"/>
                </a:lnTo>
                <a:lnTo>
                  <a:pt x="9" y="262"/>
                </a:lnTo>
                <a:lnTo>
                  <a:pt x="9" y="263"/>
                </a:lnTo>
                <a:lnTo>
                  <a:pt x="9" y="262"/>
                </a:lnTo>
                <a:lnTo>
                  <a:pt x="8" y="257"/>
                </a:lnTo>
                <a:lnTo>
                  <a:pt x="5" y="252"/>
                </a:lnTo>
                <a:lnTo>
                  <a:pt x="1" y="245"/>
                </a:lnTo>
                <a:lnTo>
                  <a:pt x="1" y="235"/>
                </a:lnTo>
                <a:lnTo>
                  <a:pt x="3" y="232"/>
                </a:lnTo>
                <a:lnTo>
                  <a:pt x="7" y="229"/>
                </a:lnTo>
                <a:lnTo>
                  <a:pt x="8" y="226"/>
                </a:lnTo>
                <a:lnTo>
                  <a:pt x="7" y="223"/>
                </a:lnTo>
                <a:lnTo>
                  <a:pt x="8" y="216"/>
                </a:lnTo>
                <a:lnTo>
                  <a:pt x="5" y="213"/>
                </a:lnTo>
                <a:lnTo>
                  <a:pt x="7" y="207"/>
                </a:lnTo>
                <a:lnTo>
                  <a:pt x="8" y="204"/>
                </a:lnTo>
                <a:lnTo>
                  <a:pt x="9" y="199"/>
                </a:lnTo>
                <a:lnTo>
                  <a:pt x="11" y="199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92D050"/>
              </a:solidFill>
            </a:endParaRPr>
          </a:p>
        </p:txBody>
      </p:sp>
      <p:sp>
        <p:nvSpPr>
          <p:cNvPr id="1354" name="Freeform 1281"/>
          <p:cNvSpPr>
            <a:spLocks/>
          </p:cNvSpPr>
          <p:nvPr/>
        </p:nvSpPr>
        <p:spPr bwMode="auto">
          <a:xfrm>
            <a:off x="8948435" y="4739421"/>
            <a:ext cx="535923" cy="399455"/>
          </a:xfrm>
          <a:custGeom>
            <a:avLst/>
            <a:gdLst/>
            <a:ahLst/>
            <a:cxnLst>
              <a:cxn ang="0">
                <a:pos x="1" y="195"/>
              </a:cxn>
              <a:cxn ang="0">
                <a:pos x="2" y="201"/>
              </a:cxn>
              <a:cxn ang="0">
                <a:pos x="10" y="188"/>
              </a:cxn>
              <a:cxn ang="0">
                <a:pos x="21" y="184"/>
              </a:cxn>
              <a:cxn ang="0">
                <a:pos x="29" y="174"/>
              </a:cxn>
              <a:cxn ang="0">
                <a:pos x="41" y="166"/>
              </a:cxn>
              <a:cxn ang="0">
                <a:pos x="51" y="168"/>
              </a:cxn>
              <a:cxn ang="0">
                <a:pos x="62" y="163"/>
              </a:cxn>
              <a:cxn ang="0">
                <a:pos x="77" y="155"/>
              </a:cxn>
              <a:cxn ang="0">
                <a:pos x="90" y="155"/>
              </a:cxn>
              <a:cxn ang="0">
                <a:pos x="105" y="149"/>
              </a:cxn>
              <a:cxn ang="0">
                <a:pos x="114" y="137"/>
              </a:cxn>
              <a:cxn ang="0">
                <a:pos x="119" y="130"/>
              </a:cxn>
              <a:cxn ang="0">
                <a:pos x="122" y="111"/>
              </a:cxn>
              <a:cxn ang="0">
                <a:pos x="127" y="104"/>
              </a:cxn>
              <a:cxn ang="0">
                <a:pos x="131" y="97"/>
              </a:cxn>
              <a:cxn ang="0">
                <a:pos x="135" y="97"/>
              </a:cxn>
              <a:cxn ang="0">
                <a:pos x="142" y="111"/>
              </a:cxn>
              <a:cxn ang="0">
                <a:pos x="147" y="105"/>
              </a:cxn>
              <a:cxn ang="0">
                <a:pos x="143" y="94"/>
              </a:cxn>
              <a:cxn ang="0">
                <a:pos x="150" y="90"/>
              </a:cxn>
              <a:cxn ang="0">
                <a:pos x="155" y="91"/>
              </a:cxn>
              <a:cxn ang="0">
                <a:pos x="159" y="77"/>
              </a:cxn>
              <a:cxn ang="0">
                <a:pos x="166" y="75"/>
              </a:cxn>
              <a:cxn ang="0">
                <a:pos x="170" y="71"/>
              </a:cxn>
              <a:cxn ang="0">
                <a:pos x="171" y="61"/>
              </a:cxn>
              <a:cxn ang="0">
                <a:pos x="176" y="63"/>
              </a:cxn>
              <a:cxn ang="0">
                <a:pos x="182" y="53"/>
              </a:cxn>
              <a:cxn ang="0">
                <a:pos x="183" y="55"/>
              </a:cxn>
              <a:cxn ang="0">
                <a:pos x="187" y="53"/>
              </a:cxn>
              <a:cxn ang="0">
                <a:pos x="191" y="47"/>
              </a:cxn>
              <a:cxn ang="0">
                <a:pos x="199" y="49"/>
              </a:cxn>
              <a:cxn ang="0">
                <a:pos x="212" y="63"/>
              </a:cxn>
              <a:cxn ang="0">
                <a:pos x="214" y="69"/>
              </a:cxn>
              <a:cxn ang="0">
                <a:pos x="218" y="66"/>
              </a:cxn>
              <a:cxn ang="0">
                <a:pos x="228" y="64"/>
              </a:cxn>
              <a:cxn ang="0">
                <a:pos x="236" y="71"/>
              </a:cxn>
              <a:cxn ang="0">
                <a:pos x="234" y="60"/>
              </a:cxn>
              <a:cxn ang="0">
                <a:pos x="235" y="52"/>
              </a:cxn>
              <a:cxn ang="0">
                <a:pos x="240" y="42"/>
              </a:cxn>
              <a:cxn ang="0">
                <a:pos x="243" y="36"/>
              </a:cxn>
              <a:cxn ang="0">
                <a:pos x="247" y="27"/>
              </a:cxn>
              <a:cxn ang="0">
                <a:pos x="254" y="25"/>
              </a:cxn>
              <a:cxn ang="0">
                <a:pos x="255" y="22"/>
              </a:cxn>
              <a:cxn ang="0">
                <a:pos x="264" y="20"/>
              </a:cxn>
              <a:cxn ang="0">
                <a:pos x="277" y="19"/>
              </a:cxn>
              <a:cxn ang="0">
                <a:pos x="275" y="6"/>
              </a:cxn>
              <a:cxn ang="0">
                <a:pos x="267" y="2"/>
              </a:cxn>
              <a:cxn ang="0">
                <a:pos x="271" y="2"/>
              </a:cxn>
            </a:cxnLst>
            <a:rect l="0" t="0" r="r" b="b"/>
            <a:pathLst>
              <a:path w="280" h="201">
                <a:moveTo>
                  <a:pt x="0" y="190"/>
                </a:moveTo>
                <a:lnTo>
                  <a:pt x="1" y="188"/>
                </a:lnTo>
                <a:lnTo>
                  <a:pt x="1" y="193"/>
                </a:lnTo>
                <a:lnTo>
                  <a:pt x="1" y="195"/>
                </a:lnTo>
                <a:lnTo>
                  <a:pt x="1" y="196"/>
                </a:lnTo>
                <a:lnTo>
                  <a:pt x="1" y="199"/>
                </a:lnTo>
                <a:lnTo>
                  <a:pt x="1" y="201"/>
                </a:lnTo>
                <a:lnTo>
                  <a:pt x="2" y="201"/>
                </a:lnTo>
                <a:lnTo>
                  <a:pt x="4" y="199"/>
                </a:lnTo>
                <a:lnTo>
                  <a:pt x="5" y="195"/>
                </a:lnTo>
                <a:lnTo>
                  <a:pt x="8" y="190"/>
                </a:lnTo>
                <a:lnTo>
                  <a:pt x="10" y="188"/>
                </a:lnTo>
                <a:lnTo>
                  <a:pt x="12" y="188"/>
                </a:lnTo>
                <a:lnTo>
                  <a:pt x="14" y="187"/>
                </a:lnTo>
                <a:lnTo>
                  <a:pt x="16" y="185"/>
                </a:lnTo>
                <a:lnTo>
                  <a:pt x="21" y="184"/>
                </a:lnTo>
                <a:lnTo>
                  <a:pt x="22" y="182"/>
                </a:lnTo>
                <a:lnTo>
                  <a:pt x="25" y="179"/>
                </a:lnTo>
                <a:lnTo>
                  <a:pt x="26" y="177"/>
                </a:lnTo>
                <a:lnTo>
                  <a:pt x="29" y="174"/>
                </a:lnTo>
                <a:lnTo>
                  <a:pt x="33" y="173"/>
                </a:lnTo>
                <a:lnTo>
                  <a:pt x="34" y="171"/>
                </a:lnTo>
                <a:lnTo>
                  <a:pt x="35" y="170"/>
                </a:lnTo>
                <a:lnTo>
                  <a:pt x="41" y="166"/>
                </a:lnTo>
                <a:lnTo>
                  <a:pt x="42" y="166"/>
                </a:lnTo>
                <a:lnTo>
                  <a:pt x="47" y="168"/>
                </a:lnTo>
                <a:lnTo>
                  <a:pt x="49" y="168"/>
                </a:lnTo>
                <a:lnTo>
                  <a:pt x="51" y="168"/>
                </a:lnTo>
                <a:lnTo>
                  <a:pt x="54" y="168"/>
                </a:lnTo>
                <a:lnTo>
                  <a:pt x="57" y="168"/>
                </a:lnTo>
                <a:lnTo>
                  <a:pt x="59" y="165"/>
                </a:lnTo>
                <a:lnTo>
                  <a:pt x="62" y="163"/>
                </a:lnTo>
                <a:lnTo>
                  <a:pt x="65" y="162"/>
                </a:lnTo>
                <a:lnTo>
                  <a:pt x="67" y="162"/>
                </a:lnTo>
                <a:lnTo>
                  <a:pt x="70" y="162"/>
                </a:lnTo>
                <a:lnTo>
                  <a:pt x="77" y="155"/>
                </a:lnTo>
                <a:lnTo>
                  <a:pt x="81" y="155"/>
                </a:lnTo>
                <a:lnTo>
                  <a:pt x="83" y="157"/>
                </a:lnTo>
                <a:lnTo>
                  <a:pt x="86" y="155"/>
                </a:lnTo>
                <a:lnTo>
                  <a:pt x="90" y="155"/>
                </a:lnTo>
                <a:lnTo>
                  <a:pt x="93" y="155"/>
                </a:lnTo>
                <a:lnTo>
                  <a:pt x="95" y="152"/>
                </a:lnTo>
                <a:lnTo>
                  <a:pt x="102" y="151"/>
                </a:lnTo>
                <a:lnTo>
                  <a:pt x="105" y="149"/>
                </a:lnTo>
                <a:lnTo>
                  <a:pt x="107" y="148"/>
                </a:lnTo>
                <a:lnTo>
                  <a:pt x="113" y="141"/>
                </a:lnTo>
                <a:lnTo>
                  <a:pt x="114" y="140"/>
                </a:lnTo>
                <a:lnTo>
                  <a:pt x="114" y="137"/>
                </a:lnTo>
                <a:lnTo>
                  <a:pt x="117" y="133"/>
                </a:lnTo>
                <a:lnTo>
                  <a:pt x="117" y="132"/>
                </a:lnTo>
                <a:lnTo>
                  <a:pt x="117" y="130"/>
                </a:lnTo>
                <a:lnTo>
                  <a:pt x="119" y="130"/>
                </a:lnTo>
                <a:lnTo>
                  <a:pt x="125" y="124"/>
                </a:lnTo>
                <a:lnTo>
                  <a:pt x="126" y="121"/>
                </a:lnTo>
                <a:lnTo>
                  <a:pt x="125" y="121"/>
                </a:lnTo>
                <a:lnTo>
                  <a:pt x="122" y="111"/>
                </a:lnTo>
                <a:lnTo>
                  <a:pt x="123" y="108"/>
                </a:lnTo>
                <a:lnTo>
                  <a:pt x="125" y="104"/>
                </a:lnTo>
                <a:lnTo>
                  <a:pt x="126" y="102"/>
                </a:lnTo>
                <a:lnTo>
                  <a:pt x="127" y="104"/>
                </a:lnTo>
                <a:lnTo>
                  <a:pt x="129" y="101"/>
                </a:lnTo>
                <a:lnTo>
                  <a:pt x="131" y="99"/>
                </a:lnTo>
                <a:lnTo>
                  <a:pt x="133" y="99"/>
                </a:lnTo>
                <a:lnTo>
                  <a:pt x="131" y="97"/>
                </a:lnTo>
                <a:lnTo>
                  <a:pt x="133" y="93"/>
                </a:lnTo>
                <a:lnTo>
                  <a:pt x="134" y="93"/>
                </a:lnTo>
                <a:lnTo>
                  <a:pt x="134" y="96"/>
                </a:lnTo>
                <a:lnTo>
                  <a:pt x="135" y="97"/>
                </a:lnTo>
                <a:lnTo>
                  <a:pt x="137" y="102"/>
                </a:lnTo>
                <a:lnTo>
                  <a:pt x="139" y="107"/>
                </a:lnTo>
                <a:lnTo>
                  <a:pt x="141" y="108"/>
                </a:lnTo>
                <a:lnTo>
                  <a:pt x="142" y="111"/>
                </a:lnTo>
                <a:lnTo>
                  <a:pt x="143" y="113"/>
                </a:lnTo>
                <a:lnTo>
                  <a:pt x="145" y="110"/>
                </a:lnTo>
                <a:lnTo>
                  <a:pt x="145" y="105"/>
                </a:lnTo>
                <a:lnTo>
                  <a:pt x="147" y="105"/>
                </a:lnTo>
                <a:lnTo>
                  <a:pt x="146" y="101"/>
                </a:lnTo>
                <a:lnTo>
                  <a:pt x="145" y="97"/>
                </a:lnTo>
                <a:lnTo>
                  <a:pt x="143" y="96"/>
                </a:lnTo>
                <a:lnTo>
                  <a:pt x="143" y="94"/>
                </a:lnTo>
                <a:lnTo>
                  <a:pt x="143" y="90"/>
                </a:lnTo>
                <a:lnTo>
                  <a:pt x="145" y="88"/>
                </a:lnTo>
                <a:lnTo>
                  <a:pt x="147" y="90"/>
                </a:lnTo>
                <a:lnTo>
                  <a:pt x="150" y="90"/>
                </a:lnTo>
                <a:lnTo>
                  <a:pt x="152" y="94"/>
                </a:lnTo>
                <a:lnTo>
                  <a:pt x="158" y="94"/>
                </a:lnTo>
                <a:lnTo>
                  <a:pt x="158" y="93"/>
                </a:lnTo>
                <a:lnTo>
                  <a:pt x="155" y="91"/>
                </a:lnTo>
                <a:lnTo>
                  <a:pt x="156" y="88"/>
                </a:lnTo>
                <a:lnTo>
                  <a:pt x="159" y="85"/>
                </a:lnTo>
                <a:lnTo>
                  <a:pt x="160" y="82"/>
                </a:lnTo>
                <a:lnTo>
                  <a:pt x="159" y="77"/>
                </a:lnTo>
                <a:lnTo>
                  <a:pt x="160" y="75"/>
                </a:lnTo>
                <a:lnTo>
                  <a:pt x="162" y="74"/>
                </a:lnTo>
                <a:lnTo>
                  <a:pt x="164" y="77"/>
                </a:lnTo>
                <a:lnTo>
                  <a:pt x="166" y="75"/>
                </a:lnTo>
                <a:lnTo>
                  <a:pt x="164" y="72"/>
                </a:lnTo>
                <a:lnTo>
                  <a:pt x="164" y="69"/>
                </a:lnTo>
                <a:lnTo>
                  <a:pt x="166" y="69"/>
                </a:lnTo>
                <a:lnTo>
                  <a:pt x="170" y="71"/>
                </a:lnTo>
                <a:lnTo>
                  <a:pt x="170" y="69"/>
                </a:lnTo>
                <a:lnTo>
                  <a:pt x="168" y="66"/>
                </a:lnTo>
                <a:lnTo>
                  <a:pt x="168" y="61"/>
                </a:lnTo>
                <a:lnTo>
                  <a:pt x="171" y="61"/>
                </a:lnTo>
                <a:lnTo>
                  <a:pt x="172" y="60"/>
                </a:lnTo>
                <a:lnTo>
                  <a:pt x="174" y="60"/>
                </a:lnTo>
                <a:lnTo>
                  <a:pt x="176" y="60"/>
                </a:lnTo>
                <a:lnTo>
                  <a:pt x="176" y="63"/>
                </a:lnTo>
                <a:lnTo>
                  <a:pt x="178" y="61"/>
                </a:lnTo>
                <a:lnTo>
                  <a:pt x="180" y="60"/>
                </a:lnTo>
                <a:lnTo>
                  <a:pt x="182" y="55"/>
                </a:lnTo>
                <a:lnTo>
                  <a:pt x="182" y="53"/>
                </a:lnTo>
                <a:lnTo>
                  <a:pt x="180" y="52"/>
                </a:lnTo>
                <a:lnTo>
                  <a:pt x="180" y="50"/>
                </a:lnTo>
                <a:lnTo>
                  <a:pt x="182" y="52"/>
                </a:lnTo>
                <a:lnTo>
                  <a:pt x="183" y="55"/>
                </a:lnTo>
                <a:lnTo>
                  <a:pt x="184" y="53"/>
                </a:lnTo>
                <a:lnTo>
                  <a:pt x="186" y="50"/>
                </a:lnTo>
                <a:lnTo>
                  <a:pt x="186" y="52"/>
                </a:lnTo>
                <a:lnTo>
                  <a:pt x="187" y="53"/>
                </a:lnTo>
                <a:lnTo>
                  <a:pt x="188" y="53"/>
                </a:lnTo>
                <a:lnTo>
                  <a:pt x="191" y="50"/>
                </a:lnTo>
                <a:lnTo>
                  <a:pt x="192" y="50"/>
                </a:lnTo>
                <a:lnTo>
                  <a:pt x="191" y="47"/>
                </a:lnTo>
                <a:lnTo>
                  <a:pt x="194" y="47"/>
                </a:lnTo>
                <a:lnTo>
                  <a:pt x="195" y="47"/>
                </a:lnTo>
                <a:lnTo>
                  <a:pt x="198" y="49"/>
                </a:lnTo>
                <a:lnTo>
                  <a:pt x="199" y="49"/>
                </a:lnTo>
                <a:lnTo>
                  <a:pt x="203" y="50"/>
                </a:lnTo>
                <a:lnTo>
                  <a:pt x="204" y="53"/>
                </a:lnTo>
                <a:lnTo>
                  <a:pt x="210" y="60"/>
                </a:lnTo>
                <a:lnTo>
                  <a:pt x="212" y="63"/>
                </a:lnTo>
                <a:lnTo>
                  <a:pt x="212" y="69"/>
                </a:lnTo>
                <a:lnTo>
                  <a:pt x="212" y="72"/>
                </a:lnTo>
                <a:lnTo>
                  <a:pt x="214" y="72"/>
                </a:lnTo>
                <a:lnTo>
                  <a:pt x="214" y="69"/>
                </a:lnTo>
                <a:lnTo>
                  <a:pt x="215" y="68"/>
                </a:lnTo>
                <a:lnTo>
                  <a:pt x="216" y="68"/>
                </a:lnTo>
                <a:lnTo>
                  <a:pt x="218" y="68"/>
                </a:lnTo>
                <a:lnTo>
                  <a:pt x="218" y="66"/>
                </a:lnTo>
                <a:lnTo>
                  <a:pt x="219" y="64"/>
                </a:lnTo>
                <a:lnTo>
                  <a:pt x="222" y="66"/>
                </a:lnTo>
                <a:lnTo>
                  <a:pt x="224" y="66"/>
                </a:lnTo>
                <a:lnTo>
                  <a:pt x="228" y="64"/>
                </a:lnTo>
                <a:lnTo>
                  <a:pt x="230" y="66"/>
                </a:lnTo>
                <a:lnTo>
                  <a:pt x="235" y="72"/>
                </a:lnTo>
                <a:lnTo>
                  <a:pt x="236" y="72"/>
                </a:lnTo>
                <a:lnTo>
                  <a:pt x="236" y="71"/>
                </a:lnTo>
                <a:lnTo>
                  <a:pt x="235" y="66"/>
                </a:lnTo>
                <a:lnTo>
                  <a:pt x="238" y="66"/>
                </a:lnTo>
                <a:lnTo>
                  <a:pt x="238" y="64"/>
                </a:lnTo>
                <a:lnTo>
                  <a:pt x="234" y="60"/>
                </a:lnTo>
                <a:lnTo>
                  <a:pt x="231" y="57"/>
                </a:lnTo>
                <a:lnTo>
                  <a:pt x="232" y="52"/>
                </a:lnTo>
                <a:lnTo>
                  <a:pt x="234" y="52"/>
                </a:lnTo>
                <a:lnTo>
                  <a:pt x="235" y="52"/>
                </a:lnTo>
                <a:lnTo>
                  <a:pt x="238" y="46"/>
                </a:lnTo>
                <a:lnTo>
                  <a:pt x="238" y="44"/>
                </a:lnTo>
                <a:lnTo>
                  <a:pt x="239" y="42"/>
                </a:lnTo>
                <a:lnTo>
                  <a:pt x="240" y="42"/>
                </a:lnTo>
                <a:lnTo>
                  <a:pt x="244" y="42"/>
                </a:lnTo>
                <a:lnTo>
                  <a:pt x="246" y="41"/>
                </a:lnTo>
                <a:lnTo>
                  <a:pt x="246" y="36"/>
                </a:lnTo>
                <a:lnTo>
                  <a:pt x="243" y="36"/>
                </a:lnTo>
                <a:lnTo>
                  <a:pt x="243" y="35"/>
                </a:lnTo>
                <a:lnTo>
                  <a:pt x="244" y="31"/>
                </a:lnTo>
                <a:lnTo>
                  <a:pt x="244" y="28"/>
                </a:lnTo>
                <a:lnTo>
                  <a:pt x="247" y="27"/>
                </a:lnTo>
                <a:lnTo>
                  <a:pt x="250" y="27"/>
                </a:lnTo>
                <a:lnTo>
                  <a:pt x="250" y="24"/>
                </a:lnTo>
                <a:lnTo>
                  <a:pt x="252" y="24"/>
                </a:lnTo>
                <a:lnTo>
                  <a:pt x="254" y="25"/>
                </a:lnTo>
                <a:lnTo>
                  <a:pt x="255" y="28"/>
                </a:lnTo>
                <a:lnTo>
                  <a:pt x="256" y="25"/>
                </a:lnTo>
                <a:lnTo>
                  <a:pt x="254" y="22"/>
                </a:lnTo>
                <a:lnTo>
                  <a:pt x="255" y="22"/>
                </a:lnTo>
                <a:lnTo>
                  <a:pt x="256" y="19"/>
                </a:lnTo>
                <a:lnTo>
                  <a:pt x="260" y="20"/>
                </a:lnTo>
                <a:lnTo>
                  <a:pt x="260" y="19"/>
                </a:lnTo>
                <a:lnTo>
                  <a:pt x="264" y="20"/>
                </a:lnTo>
                <a:lnTo>
                  <a:pt x="267" y="19"/>
                </a:lnTo>
                <a:lnTo>
                  <a:pt x="269" y="20"/>
                </a:lnTo>
                <a:lnTo>
                  <a:pt x="272" y="20"/>
                </a:lnTo>
                <a:lnTo>
                  <a:pt x="277" y="19"/>
                </a:lnTo>
                <a:lnTo>
                  <a:pt x="280" y="16"/>
                </a:lnTo>
                <a:lnTo>
                  <a:pt x="280" y="9"/>
                </a:lnTo>
                <a:lnTo>
                  <a:pt x="277" y="6"/>
                </a:lnTo>
                <a:lnTo>
                  <a:pt x="275" y="6"/>
                </a:lnTo>
                <a:lnTo>
                  <a:pt x="273" y="6"/>
                </a:lnTo>
                <a:lnTo>
                  <a:pt x="271" y="5"/>
                </a:lnTo>
                <a:lnTo>
                  <a:pt x="269" y="3"/>
                </a:lnTo>
                <a:lnTo>
                  <a:pt x="267" y="2"/>
                </a:lnTo>
                <a:lnTo>
                  <a:pt x="268" y="2"/>
                </a:lnTo>
                <a:lnTo>
                  <a:pt x="269" y="2"/>
                </a:lnTo>
                <a:lnTo>
                  <a:pt x="271" y="0"/>
                </a:lnTo>
                <a:lnTo>
                  <a:pt x="271" y="2"/>
                </a:lnTo>
                <a:lnTo>
                  <a:pt x="272" y="6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55" name="Freeform 1282"/>
          <p:cNvSpPr>
            <a:spLocks/>
          </p:cNvSpPr>
          <p:nvPr/>
        </p:nvSpPr>
        <p:spPr bwMode="auto">
          <a:xfrm>
            <a:off x="9708472" y="5025051"/>
            <a:ext cx="381967" cy="697974"/>
          </a:xfrm>
          <a:custGeom>
            <a:avLst/>
            <a:gdLst/>
            <a:ahLst/>
            <a:cxnLst>
              <a:cxn ang="0">
                <a:pos x="107" y="5"/>
              </a:cxn>
              <a:cxn ang="0">
                <a:pos x="115" y="10"/>
              </a:cxn>
              <a:cxn ang="0">
                <a:pos x="121" y="13"/>
              </a:cxn>
              <a:cxn ang="0">
                <a:pos x="128" y="22"/>
              </a:cxn>
              <a:cxn ang="0">
                <a:pos x="131" y="27"/>
              </a:cxn>
              <a:cxn ang="0">
                <a:pos x="135" y="37"/>
              </a:cxn>
              <a:cxn ang="0">
                <a:pos x="137" y="49"/>
              </a:cxn>
              <a:cxn ang="0">
                <a:pos x="140" y="57"/>
              </a:cxn>
              <a:cxn ang="0">
                <a:pos x="144" y="52"/>
              </a:cxn>
              <a:cxn ang="0">
                <a:pos x="151" y="55"/>
              </a:cxn>
              <a:cxn ang="0">
                <a:pos x="155" y="57"/>
              </a:cxn>
              <a:cxn ang="0">
                <a:pos x="159" y="76"/>
              </a:cxn>
              <a:cxn ang="0">
                <a:pos x="169" y="84"/>
              </a:cxn>
              <a:cxn ang="0">
                <a:pos x="176" y="93"/>
              </a:cxn>
              <a:cxn ang="0">
                <a:pos x="184" y="104"/>
              </a:cxn>
              <a:cxn ang="0">
                <a:pos x="189" y="117"/>
              </a:cxn>
              <a:cxn ang="0">
                <a:pos x="191" y="125"/>
              </a:cxn>
              <a:cxn ang="0">
                <a:pos x="192" y="137"/>
              </a:cxn>
              <a:cxn ang="0">
                <a:pos x="195" y="148"/>
              </a:cxn>
              <a:cxn ang="0">
                <a:pos x="199" y="173"/>
              </a:cxn>
              <a:cxn ang="0">
                <a:pos x="193" y="194"/>
              </a:cxn>
              <a:cxn ang="0">
                <a:pos x="191" y="211"/>
              </a:cxn>
              <a:cxn ang="0">
                <a:pos x="185" y="227"/>
              </a:cxn>
              <a:cxn ang="0">
                <a:pos x="183" y="234"/>
              </a:cxn>
              <a:cxn ang="0">
                <a:pos x="176" y="239"/>
              </a:cxn>
              <a:cxn ang="0">
                <a:pos x="172" y="244"/>
              </a:cxn>
              <a:cxn ang="0">
                <a:pos x="165" y="253"/>
              </a:cxn>
              <a:cxn ang="0">
                <a:pos x="164" y="263"/>
              </a:cxn>
              <a:cxn ang="0">
                <a:pos x="157" y="283"/>
              </a:cxn>
              <a:cxn ang="0">
                <a:pos x="151" y="291"/>
              </a:cxn>
              <a:cxn ang="0">
                <a:pos x="148" y="302"/>
              </a:cxn>
              <a:cxn ang="0">
                <a:pos x="145" y="311"/>
              </a:cxn>
              <a:cxn ang="0">
                <a:pos x="145" y="321"/>
              </a:cxn>
              <a:cxn ang="0">
                <a:pos x="141" y="324"/>
              </a:cxn>
              <a:cxn ang="0">
                <a:pos x="117" y="330"/>
              </a:cxn>
              <a:cxn ang="0">
                <a:pos x="103" y="340"/>
              </a:cxn>
              <a:cxn ang="0">
                <a:pos x="96" y="344"/>
              </a:cxn>
              <a:cxn ang="0">
                <a:pos x="89" y="348"/>
              </a:cxn>
              <a:cxn ang="0">
                <a:pos x="95" y="346"/>
              </a:cxn>
              <a:cxn ang="0">
                <a:pos x="88" y="348"/>
              </a:cxn>
              <a:cxn ang="0">
                <a:pos x="80" y="344"/>
              </a:cxn>
              <a:cxn ang="0">
                <a:pos x="76" y="337"/>
              </a:cxn>
              <a:cxn ang="0">
                <a:pos x="67" y="338"/>
              </a:cxn>
              <a:cxn ang="0">
                <a:pos x="68" y="330"/>
              </a:cxn>
              <a:cxn ang="0">
                <a:pos x="63" y="337"/>
              </a:cxn>
              <a:cxn ang="0">
                <a:pos x="50" y="346"/>
              </a:cxn>
              <a:cxn ang="0">
                <a:pos x="34" y="340"/>
              </a:cxn>
              <a:cxn ang="0">
                <a:pos x="19" y="338"/>
              </a:cxn>
              <a:cxn ang="0">
                <a:pos x="4" y="333"/>
              </a:cxn>
            </a:cxnLst>
            <a:rect l="0" t="0" r="r" b="b"/>
            <a:pathLst>
              <a:path w="199" h="352">
                <a:moveTo>
                  <a:pt x="104" y="2"/>
                </a:moveTo>
                <a:lnTo>
                  <a:pt x="105" y="2"/>
                </a:lnTo>
                <a:lnTo>
                  <a:pt x="107" y="0"/>
                </a:lnTo>
                <a:lnTo>
                  <a:pt x="107" y="5"/>
                </a:lnTo>
                <a:lnTo>
                  <a:pt x="108" y="8"/>
                </a:lnTo>
                <a:lnTo>
                  <a:pt x="109" y="8"/>
                </a:lnTo>
                <a:lnTo>
                  <a:pt x="112" y="8"/>
                </a:lnTo>
                <a:lnTo>
                  <a:pt x="115" y="10"/>
                </a:lnTo>
                <a:lnTo>
                  <a:pt x="117" y="10"/>
                </a:lnTo>
                <a:lnTo>
                  <a:pt x="119" y="13"/>
                </a:lnTo>
                <a:lnTo>
                  <a:pt x="120" y="15"/>
                </a:lnTo>
                <a:lnTo>
                  <a:pt x="121" y="13"/>
                </a:lnTo>
                <a:lnTo>
                  <a:pt x="123" y="15"/>
                </a:lnTo>
                <a:lnTo>
                  <a:pt x="127" y="18"/>
                </a:lnTo>
                <a:lnTo>
                  <a:pt x="128" y="18"/>
                </a:lnTo>
                <a:lnTo>
                  <a:pt x="128" y="22"/>
                </a:lnTo>
                <a:lnTo>
                  <a:pt x="127" y="21"/>
                </a:lnTo>
                <a:lnTo>
                  <a:pt x="127" y="26"/>
                </a:lnTo>
                <a:lnTo>
                  <a:pt x="128" y="27"/>
                </a:lnTo>
                <a:lnTo>
                  <a:pt x="131" y="27"/>
                </a:lnTo>
                <a:lnTo>
                  <a:pt x="131" y="29"/>
                </a:lnTo>
                <a:lnTo>
                  <a:pt x="133" y="32"/>
                </a:lnTo>
                <a:lnTo>
                  <a:pt x="133" y="35"/>
                </a:lnTo>
                <a:lnTo>
                  <a:pt x="135" y="37"/>
                </a:lnTo>
                <a:lnTo>
                  <a:pt x="135" y="38"/>
                </a:lnTo>
                <a:lnTo>
                  <a:pt x="137" y="38"/>
                </a:lnTo>
                <a:lnTo>
                  <a:pt x="137" y="41"/>
                </a:lnTo>
                <a:lnTo>
                  <a:pt x="137" y="49"/>
                </a:lnTo>
                <a:lnTo>
                  <a:pt x="139" y="51"/>
                </a:lnTo>
                <a:lnTo>
                  <a:pt x="139" y="52"/>
                </a:lnTo>
                <a:lnTo>
                  <a:pt x="140" y="54"/>
                </a:lnTo>
                <a:lnTo>
                  <a:pt x="140" y="57"/>
                </a:lnTo>
                <a:lnTo>
                  <a:pt x="141" y="57"/>
                </a:lnTo>
                <a:lnTo>
                  <a:pt x="143" y="55"/>
                </a:lnTo>
                <a:lnTo>
                  <a:pt x="144" y="55"/>
                </a:lnTo>
                <a:lnTo>
                  <a:pt x="144" y="52"/>
                </a:lnTo>
                <a:lnTo>
                  <a:pt x="145" y="51"/>
                </a:lnTo>
                <a:lnTo>
                  <a:pt x="147" y="52"/>
                </a:lnTo>
                <a:lnTo>
                  <a:pt x="148" y="54"/>
                </a:lnTo>
                <a:lnTo>
                  <a:pt x="151" y="55"/>
                </a:lnTo>
                <a:lnTo>
                  <a:pt x="153" y="59"/>
                </a:lnTo>
                <a:lnTo>
                  <a:pt x="153" y="54"/>
                </a:lnTo>
                <a:lnTo>
                  <a:pt x="155" y="55"/>
                </a:lnTo>
                <a:lnTo>
                  <a:pt x="155" y="57"/>
                </a:lnTo>
                <a:lnTo>
                  <a:pt x="156" y="57"/>
                </a:lnTo>
                <a:lnTo>
                  <a:pt x="157" y="62"/>
                </a:lnTo>
                <a:lnTo>
                  <a:pt x="157" y="71"/>
                </a:lnTo>
                <a:lnTo>
                  <a:pt x="159" y="76"/>
                </a:lnTo>
                <a:lnTo>
                  <a:pt x="160" y="77"/>
                </a:lnTo>
                <a:lnTo>
                  <a:pt x="163" y="79"/>
                </a:lnTo>
                <a:lnTo>
                  <a:pt x="165" y="84"/>
                </a:lnTo>
                <a:lnTo>
                  <a:pt x="169" y="84"/>
                </a:lnTo>
                <a:lnTo>
                  <a:pt x="172" y="85"/>
                </a:lnTo>
                <a:lnTo>
                  <a:pt x="173" y="87"/>
                </a:lnTo>
                <a:lnTo>
                  <a:pt x="175" y="90"/>
                </a:lnTo>
                <a:lnTo>
                  <a:pt x="176" y="93"/>
                </a:lnTo>
                <a:lnTo>
                  <a:pt x="177" y="95"/>
                </a:lnTo>
                <a:lnTo>
                  <a:pt x="180" y="96"/>
                </a:lnTo>
                <a:lnTo>
                  <a:pt x="184" y="103"/>
                </a:lnTo>
                <a:lnTo>
                  <a:pt x="184" y="104"/>
                </a:lnTo>
                <a:lnTo>
                  <a:pt x="187" y="106"/>
                </a:lnTo>
                <a:lnTo>
                  <a:pt x="188" y="109"/>
                </a:lnTo>
                <a:lnTo>
                  <a:pt x="188" y="114"/>
                </a:lnTo>
                <a:lnTo>
                  <a:pt x="189" y="117"/>
                </a:lnTo>
                <a:lnTo>
                  <a:pt x="191" y="118"/>
                </a:lnTo>
                <a:lnTo>
                  <a:pt x="192" y="117"/>
                </a:lnTo>
                <a:lnTo>
                  <a:pt x="192" y="120"/>
                </a:lnTo>
                <a:lnTo>
                  <a:pt x="191" y="125"/>
                </a:lnTo>
                <a:lnTo>
                  <a:pt x="192" y="128"/>
                </a:lnTo>
                <a:lnTo>
                  <a:pt x="192" y="136"/>
                </a:lnTo>
                <a:lnTo>
                  <a:pt x="193" y="139"/>
                </a:lnTo>
                <a:lnTo>
                  <a:pt x="192" y="137"/>
                </a:lnTo>
                <a:lnTo>
                  <a:pt x="192" y="140"/>
                </a:lnTo>
                <a:lnTo>
                  <a:pt x="192" y="143"/>
                </a:lnTo>
                <a:lnTo>
                  <a:pt x="193" y="143"/>
                </a:lnTo>
                <a:lnTo>
                  <a:pt x="195" y="148"/>
                </a:lnTo>
                <a:lnTo>
                  <a:pt x="196" y="153"/>
                </a:lnTo>
                <a:lnTo>
                  <a:pt x="199" y="161"/>
                </a:lnTo>
                <a:lnTo>
                  <a:pt x="199" y="168"/>
                </a:lnTo>
                <a:lnTo>
                  <a:pt x="199" y="173"/>
                </a:lnTo>
                <a:lnTo>
                  <a:pt x="197" y="175"/>
                </a:lnTo>
                <a:lnTo>
                  <a:pt x="196" y="179"/>
                </a:lnTo>
                <a:lnTo>
                  <a:pt x="195" y="186"/>
                </a:lnTo>
                <a:lnTo>
                  <a:pt x="193" y="194"/>
                </a:lnTo>
                <a:lnTo>
                  <a:pt x="193" y="195"/>
                </a:lnTo>
                <a:lnTo>
                  <a:pt x="191" y="200"/>
                </a:lnTo>
                <a:lnTo>
                  <a:pt x="191" y="205"/>
                </a:lnTo>
                <a:lnTo>
                  <a:pt x="191" y="211"/>
                </a:lnTo>
                <a:lnTo>
                  <a:pt x="191" y="212"/>
                </a:lnTo>
                <a:lnTo>
                  <a:pt x="191" y="214"/>
                </a:lnTo>
                <a:lnTo>
                  <a:pt x="187" y="225"/>
                </a:lnTo>
                <a:lnTo>
                  <a:pt x="185" y="227"/>
                </a:lnTo>
                <a:lnTo>
                  <a:pt x="184" y="228"/>
                </a:lnTo>
                <a:lnTo>
                  <a:pt x="183" y="230"/>
                </a:lnTo>
                <a:lnTo>
                  <a:pt x="183" y="233"/>
                </a:lnTo>
                <a:lnTo>
                  <a:pt x="183" y="234"/>
                </a:lnTo>
                <a:lnTo>
                  <a:pt x="181" y="236"/>
                </a:lnTo>
                <a:lnTo>
                  <a:pt x="179" y="239"/>
                </a:lnTo>
                <a:lnTo>
                  <a:pt x="177" y="239"/>
                </a:lnTo>
                <a:lnTo>
                  <a:pt x="176" y="239"/>
                </a:lnTo>
                <a:lnTo>
                  <a:pt x="177" y="241"/>
                </a:lnTo>
                <a:lnTo>
                  <a:pt x="175" y="241"/>
                </a:lnTo>
                <a:lnTo>
                  <a:pt x="173" y="242"/>
                </a:lnTo>
                <a:lnTo>
                  <a:pt x="172" y="244"/>
                </a:lnTo>
                <a:lnTo>
                  <a:pt x="171" y="247"/>
                </a:lnTo>
                <a:lnTo>
                  <a:pt x="169" y="250"/>
                </a:lnTo>
                <a:lnTo>
                  <a:pt x="167" y="253"/>
                </a:lnTo>
                <a:lnTo>
                  <a:pt x="165" y="253"/>
                </a:lnTo>
                <a:lnTo>
                  <a:pt x="164" y="255"/>
                </a:lnTo>
                <a:lnTo>
                  <a:pt x="165" y="256"/>
                </a:lnTo>
                <a:lnTo>
                  <a:pt x="165" y="260"/>
                </a:lnTo>
                <a:lnTo>
                  <a:pt x="164" y="263"/>
                </a:lnTo>
                <a:lnTo>
                  <a:pt x="163" y="266"/>
                </a:lnTo>
                <a:lnTo>
                  <a:pt x="161" y="269"/>
                </a:lnTo>
                <a:lnTo>
                  <a:pt x="157" y="280"/>
                </a:lnTo>
                <a:lnTo>
                  <a:pt x="157" y="283"/>
                </a:lnTo>
                <a:lnTo>
                  <a:pt x="155" y="282"/>
                </a:lnTo>
                <a:lnTo>
                  <a:pt x="153" y="286"/>
                </a:lnTo>
                <a:lnTo>
                  <a:pt x="151" y="288"/>
                </a:lnTo>
                <a:lnTo>
                  <a:pt x="151" y="291"/>
                </a:lnTo>
                <a:lnTo>
                  <a:pt x="149" y="291"/>
                </a:lnTo>
                <a:lnTo>
                  <a:pt x="149" y="294"/>
                </a:lnTo>
                <a:lnTo>
                  <a:pt x="148" y="297"/>
                </a:lnTo>
                <a:lnTo>
                  <a:pt x="148" y="302"/>
                </a:lnTo>
                <a:lnTo>
                  <a:pt x="148" y="304"/>
                </a:lnTo>
                <a:lnTo>
                  <a:pt x="148" y="305"/>
                </a:lnTo>
                <a:lnTo>
                  <a:pt x="147" y="308"/>
                </a:lnTo>
                <a:lnTo>
                  <a:pt x="145" y="311"/>
                </a:lnTo>
                <a:lnTo>
                  <a:pt x="145" y="315"/>
                </a:lnTo>
                <a:lnTo>
                  <a:pt x="145" y="316"/>
                </a:lnTo>
                <a:lnTo>
                  <a:pt x="145" y="319"/>
                </a:lnTo>
                <a:lnTo>
                  <a:pt x="145" y="321"/>
                </a:lnTo>
                <a:lnTo>
                  <a:pt x="145" y="324"/>
                </a:lnTo>
                <a:lnTo>
                  <a:pt x="145" y="326"/>
                </a:lnTo>
                <a:lnTo>
                  <a:pt x="143" y="324"/>
                </a:lnTo>
                <a:lnTo>
                  <a:pt x="141" y="324"/>
                </a:lnTo>
                <a:lnTo>
                  <a:pt x="141" y="327"/>
                </a:lnTo>
                <a:lnTo>
                  <a:pt x="136" y="329"/>
                </a:lnTo>
                <a:lnTo>
                  <a:pt x="120" y="330"/>
                </a:lnTo>
                <a:lnTo>
                  <a:pt x="117" y="330"/>
                </a:lnTo>
                <a:lnTo>
                  <a:pt x="111" y="333"/>
                </a:lnTo>
                <a:lnTo>
                  <a:pt x="108" y="337"/>
                </a:lnTo>
                <a:lnTo>
                  <a:pt x="105" y="338"/>
                </a:lnTo>
                <a:lnTo>
                  <a:pt x="103" y="340"/>
                </a:lnTo>
                <a:lnTo>
                  <a:pt x="103" y="341"/>
                </a:lnTo>
                <a:lnTo>
                  <a:pt x="99" y="343"/>
                </a:lnTo>
                <a:lnTo>
                  <a:pt x="97" y="344"/>
                </a:lnTo>
                <a:lnTo>
                  <a:pt x="96" y="344"/>
                </a:lnTo>
                <a:lnTo>
                  <a:pt x="92" y="344"/>
                </a:lnTo>
                <a:lnTo>
                  <a:pt x="91" y="344"/>
                </a:lnTo>
                <a:lnTo>
                  <a:pt x="89" y="344"/>
                </a:lnTo>
                <a:lnTo>
                  <a:pt x="89" y="348"/>
                </a:lnTo>
                <a:lnTo>
                  <a:pt x="89" y="349"/>
                </a:lnTo>
                <a:lnTo>
                  <a:pt x="91" y="348"/>
                </a:lnTo>
                <a:lnTo>
                  <a:pt x="93" y="346"/>
                </a:lnTo>
                <a:lnTo>
                  <a:pt x="95" y="346"/>
                </a:lnTo>
                <a:lnTo>
                  <a:pt x="93" y="349"/>
                </a:lnTo>
                <a:lnTo>
                  <a:pt x="92" y="351"/>
                </a:lnTo>
                <a:lnTo>
                  <a:pt x="92" y="352"/>
                </a:lnTo>
                <a:lnTo>
                  <a:pt x="88" y="348"/>
                </a:lnTo>
                <a:lnTo>
                  <a:pt x="87" y="348"/>
                </a:lnTo>
                <a:lnTo>
                  <a:pt x="84" y="348"/>
                </a:lnTo>
                <a:lnTo>
                  <a:pt x="83" y="344"/>
                </a:lnTo>
                <a:lnTo>
                  <a:pt x="80" y="344"/>
                </a:lnTo>
                <a:lnTo>
                  <a:pt x="78" y="343"/>
                </a:lnTo>
                <a:lnTo>
                  <a:pt x="78" y="341"/>
                </a:lnTo>
                <a:lnTo>
                  <a:pt x="79" y="338"/>
                </a:lnTo>
                <a:lnTo>
                  <a:pt x="76" y="337"/>
                </a:lnTo>
                <a:lnTo>
                  <a:pt x="74" y="340"/>
                </a:lnTo>
                <a:lnTo>
                  <a:pt x="71" y="340"/>
                </a:lnTo>
                <a:lnTo>
                  <a:pt x="68" y="340"/>
                </a:lnTo>
                <a:lnTo>
                  <a:pt x="67" y="338"/>
                </a:lnTo>
                <a:lnTo>
                  <a:pt x="70" y="338"/>
                </a:lnTo>
                <a:lnTo>
                  <a:pt x="71" y="335"/>
                </a:lnTo>
                <a:lnTo>
                  <a:pt x="71" y="332"/>
                </a:lnTo>
                <a:lnTo>
                  <a:pt x="68" y="330"/>
                </a:lnTo>
                <a:lnTo>
                  <a:pt x="63" y="333"/>
                </a:lnTo>
                <a:lnTo>
                  <a:pt x="60" y="333"/>
                </a:lnTo>
                <a:lnTo>
                  <a:pt x="64" y="337"/>
                </a:lnTo>
                <a:lnTo>
                  <a:pt x="63" y="337"/>
                </a:lnTo>
                <a:lnTo>
                  <a:pt x="59" y="338"/>
                </a:lnTo>
                <a:lnTo>
                  <a:pt x="56" y="340"/>
                </a:lnTo>
                <a:lnTo>
                  <a:pt x="54" y="344"/>
                </a:lnTo>
                <a:lnTo>
                  <a:pt x="50" y="346"/>
                </a:lnTo>
                <a:lnTo>
                  <a:pt x="46" y="348"/>
                </a:lnTo>
                <a:lnTo>
                  <a:pt x="44" y="346"/>
                </a:lnTo>
                <a:lnTo>
                  <a:pt x="39" y="343"/>
                </a:lnTo>
                <a:lnTo>
                  <a:pt x="34" y="340"/>
                </a:lnTo>
                <a:lnTo>
                  <a:pt x="31" y="340"/>
                </a:lnTo>
                <a:lnTo>
                  <a:pt x="27" y="340"/>
                </a:lnTo>
                <a:lnTo>
                  <a:pt x="22" y="337"/>
                </a:lnTo>
                <a:lnTo>
                  <a:pt x="19" y="338"/>
                </a:lnTo>
                <a:lnTo>
                  <a:pt x="18" y="340"/>
                </a:lnTo>
                <a:lnTo>
                  <a:pt x="15" y="337"/>
                </a:lnTo>
                <a:lnTo>
                  <a:pt x="10" y="333"/>
                </a:lnTo>
                <a:lnTo>
                  <a:pt x="4" y="333"/>
                </a:lnTo>
                <a:lnTo>
                  <a:pt x="0" y="33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56" name="Freeform 1283"/>
          <p:cNvSpPr>
            <a:spLocks/>
          </p:cNvSpPr>
          <p:nvPr/>
        </p:nvSpPr>
        <p:spPr bwMode="auto">
          <a:xfrm>
            <a:off x="8926996" y="5117399"/>
            <a:ext cx="38977" cy="236237"/>
          </a:xfrm>
          <a:custGeom>
            <a:avLst/>
            <a:gdLst/>
            <a:ahLst/>
            <a:cxnLst>
              <a:cxn ang="0">
                <a:pos x="20" y="119"/>
              </a:cxn>
              <a:cxn ang="0">
                <a:pos x="17" y="115"/>
              </a:cxn>
              <a:cxn ang="0">
                <a:pos x="15" y="108"/>
              </a:cxn>
              <a:cxn ang="0">
                <a:pos x="13" y="102"/>
              </a:cxn>
              <a:cxn ang="0">
                <a:pos x="12" y="97"/>
              </a:cxn>
              <a:cxn ang="0">
                <a:pos x="11" y="91"/>
              </a:cxn>
              <a:cxn ang="0">
                <a:pos x="7" y="90"/>
              </a:cxn>
              <a:cxn ang="0">
                <a:pos x="4" y="86"/>
              </a:cxn>
              <a:cxn ang="0">
                <a:pos x="3" y="83"/>
              </a:cxn>
              <a:cxn ang="0">
                <a:pos x="3" y="82"/>
              </a:cxn>
              <a:cxn ang="0">
                <a:pos x="0" y="80"/>
              </a:cxn>
              <a:cxn ang="0">
                <a:pos x="0" y="77"/>
              </a:cxn>
              <a:cxn ang="0">
                <a:pos x="0" y="75"/>
              </a:cxn>
              <a:cxn ang="0">
                <a:pos x="0" y="77"/>
              </a:cxn>
              <a:cxn ang="0">
                <a:pos x="1" y="77"/>
              </a:cxn>
              <a:cxn ang="0">
                <a:pos x="3" y="77"/>
              </a:cxn>
              <a:cxn ang="0">
                <a:pos x="3" y="80"/>
              </a:cxn>
              <a:cxn ang="0">
                <a:pos x="4" y="83"/>
              </a:cxn>
              <a:cxn ang="0">
                <a:pos x="5" y="82"/>
              </a:cxn>
              <a:cxn ang="0">
                <a:pos x="5" y="83"/>
              </a:cxn>
              <a:cxn ang="0">
                <a:pos x="8" y="83"/>
              </a:cxn>
              <a:cxn ang="0">
                <a:pos x="9" y="82"/>
              </a:cxn>
              <a:cxn ang="0">
                <a:pos x="8" y="80"/>
              </a:cxn>
              <a:cxn ang="0">
                <a:pos x="7" y="77"/>
              </a:cxn>
              <a:cxn ang="0">
                <a:pos x="3" y="69"/>
              </a:cxn>
              <a:cxn ang="0">
                <a:pos x="3" y="66"/>
              </a:cxn>
              <a:cxn ang="0">
                <a:pos x="4" y="66"/>
              </a:cxn>
              <a:cxn ang="0">
                <a:pos x="5" y="71"/>
              </a:cxn>
              <a:cxn ang="0">
                <a:pos x="7" y="77"/>
              </a:cxn>
              <a:cxn ang="0">
                <a:pos x="9" y="74"/>
              </a:cxn>
              <a:cxn ang="0">
                <a:pos x="9" y="77"/>
              </a:cxn>
              <a:cxn ang="0">
                <a:pos x="9" y="80"/>
              </a:cxn>
              <a:cxn ang="0">
                <a:pos x="12" y="80"/>
              </a:cxn>
              <a:cxn ang="0">
                <a:pos x="13" y="79"/>
              </a:cxn>
              <a:cxn ang="0">
                <a:pos x="15" y="74"/>
              </a:cxn>
              <a:cxn ang="0">
                <a:pos x="13" y="69"/>
              </a:cxn>
              <a:cxn ang="0">
                <a:pos x="12" y="68"/>
              </a:cxn>
              <a:cxn ang="0">
                <a:pos x="9" y="63"/>
              </a:cxn>
              <a:cxn ang="0">
                <a:pos x="9" y="64"/>
              </a:cxn>
              <a:cxn ang="0">
                <a:pos x="9" y="63"/>
              </a:cxn>
              <a:cxn ang="0">
                <a:pos x="8" y="58"/>
              </a:cxn>
              <a:cxn ang="0">
                <a:pos x="5" y="53"/>
              </a:cxn>
              <a:cxn ang="0">
                <a:pos x="1" y="46"/>
              </a:cxn>
              <a:cxn ang="0">
                <a:pos x="1" y="36"/>
              </a:cxn>
              <a:cxn ang="0">
                <a:pos x="3" y="33"/>
              </a:cxn>
              <a:cxn ang="0">
                <a:pos x="7" y="30"/>
              </a:cxn>
              <a:cxn ang="0">
                <a:pos x="8" y="27"/>
              </a:cxn>
              <a:cxn ang="0">
                <a:pos x="7" y="24"/>
              </a:cxn>
              <a:cxn ang="0">
                <a:pos x="8" y="17"/>
              </a:cxn>
              <a:cxn ang="0">
                <a:pos x="5" y="14"/>
              </a:cxn>
              <a:cxn ang="0">
                <a:pos x="7" y="8"/>
              </a:cxn>
              <a:cxn ang="0">
                <a:pos x="8" y="5"/>
              </a:cxn>
              <a:cxn ang="0">
                <a:pos x="9" y="0"/>
              </a:cxn>
              <a:cxn ang="0">
                <a:pos x="11" y="0"/>
              </a:cxn>
            </a:cxnLst>
            <a:rect l="0" t="0" r="r" b="b"/>
            <a:pathLst>
              <a:path w="20" h="119">
                <a:moveTo>
                  <a:pt x="20" y="119"/>
                </a:moveTo>
                <a:lnTo>
                  <a:pt x="17" y="115"/>
                </a:lnTo>
                <a:lnTo>
                  <a:pt x="15" y="108"/>
                </a:lnTo>
                <a:lnTo>
                  <a:pt x="13" y="102"/>
                </a:lnTo>
                <a:lnTo>
                  <a:pt x="12" y="97"/>
                </a:lnTo>
                <a:lnTo>
                  <a:pt x="11" y="91"/>
                </a:lnTo>
                <a:lnTo>
                  <a:pt x="7" y="90"/>
                </a:lnTo>
                <a:lnTo>
                  <a:pt x="4" y="86"/>
                </a:lnTo>
                <a:lnTo>
                  <a:pt x="3" y="83"/>
                </a:lnTo>
                <a:lnTo>
                  <a:pt x="3" y="82"/>
                </a:lnTo>
                <a:lnTo>
                  <a:pt x="0" y="80"/>
                </a:lnTo>
                <a:lnTo>
                  <a:pt x="0" y="77"/>
                </a:lnTo>
                <a:lnTo>
                  <a:pt x="0" y="75"/>
                </a:lnTo>
                <a:lnTo>
                  <a:pt x="0" y="77"/>
                </a:lnTo>
                <a:lnTo>
                  <a:pt x="1" y="77"/>
                </a:lnTo>
                <a:lnTo>
                  <a:pt x="3" y="77"/>
                </a:lnTo>
                <a:lnTo>
                  <a:pt x="3" y="80"/>
                </a:lnTo>
                <a:lnTo>
                  <a:pt x="4" y="83"/>
                </a:lnTo>
                <a:lnTo>
                  <a:pt x="5" y="82"/>
                </a:lnTo>
                <a:lnTo>
                  <a:pt x="5" y="83"/>
                </a:lnTo>
                <a:lnTo>
                  <a:pt x="8" y="83"/>
                </a:lnTo>
                <a:lnTo>
                  <a:pt x="9" y="82"/>
                </a:lnTo>
                <a:lnTo>
                  <a:pt x="8" y="80"/>
                </a:lnTo>
                <a:lnTo>
                  <a:pt x="7" y="77"/>
                </a:lnTo>
                <a:lnTo>
                  <a:pt x="3" y="69"/>
                </a:lnTo>
                <a:lnTo>
                  <a:pt x="3" y="66"/>
                </a:lnTo>
                <a:lnTo>
                  <a:pt x="4" y="66"/>
                </a:lnTo>
                <a:lnTo>
                  <a:pt x="5" y="71"/>
                </a:lnTo>
                <a:lnTo>
                  <a:pt x="7" y="77"/>
                </a:lnTo>
                <a:lnTo>
                  <a:pt x="9" y="74"/>
                </a:lnTo>
                <a:lnTo>
                  <a:pt x="9" y="77"/>
                </a:lnTo>
                <a:lnTo>
                  <a:pt x="9" y="80"/>
                </a:lnTo>
                <a:lnTo>
                  <a:pt x="12" y="80"/>
                </a:lnTo>
                <a:lnTo>
                  <a:pt x="13" y="79"/>
                </a:lnTo>
                <a:lnTo>
                  <a:pt x="15" y="74"/>
                </a:lnTo>
                <a:lnTo>
                  <a:pt x="13" y="69"/>
                </a:lnTo>
                <a:lnTo>
                  <a:pt x="12" y="68"/>
                </a:lnTo>
                <a:lnTo>
                  <a:pt x="9" y="63"/>
                </a:lnTo>
                <a:lnTo>
                  <a:pt x="9" y="64"/>
                </a:lnTo>
                <a:lnTo>
                  <a:pt x="9" y="63"/>
                </a:lnTo>
                <a:lnTo>
                  <a:pt x="8" y="58"/>
                </a:lnTo>
                <a:lnTo>
                  <a:pt x="5" y="53"/>
                </a:lnTo>
                <a:lnTo>
                  <a:pt x="1" y="46"/>
                </a:lnTo>
                <a:lnTo>
                  <a:pt x="1" y="36"/>
                </a:lnTo>
                <a:lnTo>
                  <a:pt x="3" y="33"/>
                </a:lnTo>
                <a:lnTo>
                  <a:pt x="7" y="30"/>
                </a:lnTo>
                <a:lnTo>
                  <a:pt x="8" y="27"/>
                </a:lnTo>
                <a:lnTo>
                  <a:pt x="7" y="24"/>
                </a:lnTo>
                <a:lnTo>
                  <a:pt x="8" y="17"/>
                </a:lnTo>
                <a:lnTo>
                  <a:pt x="5" y="14"/>
                </a:lnTo>
                <a:lnTo>
                  <a:pt x="7" y="8"/>
                </a:lnTo>
                <a:lnTo>
                  <a:pt x="8" y="5"/>
                </a:lnTo>
                <a:lnTo>
                  <a:pt x="9" y="0"/>
                </a:lnTo>
                <a:lnTo>
                  <a:pt x="11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57" name="Freeform 1284"/>
          <p:cNvSpPr>
            <a:spLocks/>
          </p:cNvSpPr>
          <p:nvPr/>
        </p:nvSpPr>
        <p:spPr bwMode="auto">
          <a:xfrm>
            <a:off x="6060291" y="3517431"/>
            <a:ext cx="305964" cy="564821"/>
          </a:xfrm>
          <a:custGeom>
            <a:avLst/>
            <a:gdLst/>
            <a:ahLst/>
            <a:cxnLst>
              <a:cxn ang="0">
                <a:pos x="26" y="37"/>
              </a:cxn>
              <a:cxn ang="0">
                <a:pos x="28" y="43"/>
              </a:cxn>
              <a:cxn ang="0">
                <a:pos x="33" y="49"/>
              </a:cxn>
              <a:cxn ang="0">
                <a:pos x="32" y="85"/>
              </a:cxn>
              <a:cxn ang="0">
                <a:pos x="4" y="148"/>
              </a:cxn>
              <a:cxn ang="0">
                <a:pos x="2" y="156"/>
              </a:cxn>
              <a:cxn ang="0">
                <a:pos x="0" y="161"/>
              </a:cxn>
              <a:cxn ang="0">
                <a:pos x="8" y="165"/>
              </a:cxn>
              <a:cxn ang="0">
                <a:pos x="14" y="176"/>
              </a:cxn>
              <a:cxn ang="0">
                <a:pos x="22" y="176"/>
              </a:cxn>
              <a:cxn ang="0">
                <a:pos x="25" y="183"/>
              </a:cxn>
              <a:cxn ang="0">
                <a:pos x="18" y="189"/>
              </a:cxn>
              <a:cxn ang="0">
                <a:pos x="21" y="201"/>
              </a:cxn>
              <a:cxn ang="0">
                <a:pos x="22" y="214"/>
              </a:cxn>
              <a:cxn ang="0">
                <a:pos x="24" y="227"/>
              </a:cxn>
              <a:cxn ang="0">
                <a:pos x="29" y="238"/>
              </a:cxn>
              <a:cxn ang="0">
                <a:pos x="17" y="238"/>
              </a:cxn>
              <a:cxn ang="0">
                <a:pos x="10" y="241"/>
              </a:cxn>
              <a:cxn ang="0">
                <a:pos x="13" y="255"/>
              </a:cxn>
              <a:cxn ang="0">
                <a:pos x="21" y="258"/>
              </a:cxn>
              <a:cxn ang="0">
                <a:pos x="26" y="272"/>
              </a:cxn>
              <a:cxn ang="0">
                <a:pos x="29" y="283"/>
              </a:cxn>
              <a:cxn ang="0">
                <a:pos x="33" y="283"/>
              </a:cxn>
              <a:cxn ang="0">
                <a:pos x="37" y="283"/>
              </a:cxn>
              <a:cxn ang="0">
                <a:pos x="45" y="280"/>
              </a:cxn>
              <a:cxn ang="0">
                <a:pos x="48" y="277"/>
              </a:cxn>
              <a:cxn ang="0">
                <a:pos x="50" y="280"/>
              </a:cxn>
              <a:cxn ang="0">
                <a:pos x="57" y="280"/>
              </a:cxn>
              <a:cxn ang="0">
                <a:pos x="61" y="277"/>
              </a:cxn>
              <a:cxn ang="0">
                <a:pos x="70" y="274"/>
              </a:cxn>
              <a:cxn ang="0">
                <a:pos x="79" y="272"/>
              </a:cxn>
              <a:cxn ang="0">
                <a:pos x="82" y="269"/>
              </a:cxn>
              <a:cxn ang="0">
                <a:pos x="85" y="264"/>
              </a:cxn>
              <a:cxn ang="0">
                <a:pos x="83" y="260"/>
              </a:cxn>
              <a:cxn ang="0">
                <a:pos x="87" y="256"/>
              </a:cxn>
              <a:cxn ang="0">
                <a:pos x="97" y="255"/>
              </a:cxn>
              <a:cxn ang="0">
                <a:pos x="103" y="253"/>
              </a:cxn>
              <a:cxn ang="0">
                <a:pos x="107" y="253"/>
              </a:cxn>
              <a:cxn ang="0">
                <a:pos x="114" y="249"/>
              </a:cxn>
              <a:cxn ang="0">
                <a:pos x="119" y="238"/>
              </a:cxn>
              <a:cxn ang="0">
                <a:pos x="125" y="234"/>
              </a:cxn>
              <a:cxn ang="0">
                <a:pos x="127" y="225"/>
              </a:cxn>
              <a:cxn ang="0">
                <a:pos x="135" y="222"/>
              </a:cxn>
              <a:cxn ang="0">
                <a:pos x="143" y="219"/>
              </a:cxn>
              <a:cxn ang="0">
                <a:pos x="141" y="212"/>
              </a:cxn>
              <a:cxn ang="0">
                <a:pos x="135" y="198"/>
              </a:cxn>
              <a:cxn ang="0">
                <a:pos x="130" y="190"/>
              </a:cxn>
              <a:cxn ang="0">
                <a:pos x="127" y="186"/>
              </a:cxn>
              <a:cxn ang="0">
                <a:pos x="131" y="178"/>
              </a:cxn>
              <a:cxn ang="0">
                <a:pos x="131" y="168"/>
              </a:cxn>
              <a:cxn ang="0">
                <a:pos x="134" y="162"/>
              </a:cxn>
              <a:cxn ang="0">
                <a:pos x="142" y="146"/>
              </a:cxn>
              <a:cxn ang="0">
                <a:pos x="145" y="137"/>
              </a:cxn>
              <a:cxn ang="0">
                <a:pos x="158" y="135"/>
              </a:cxn>
              <a:cxn ang="0">
                <a:pos x="161" y="104"/>
              </a:cxn>
              <a:cxn ang="0">
                <a:pos x="158" y="70"/>
              </a:cxn>
              <a:cxn ang="0">
                <a:pos x="119" y="48"/>
              </a:cxn>
              <a:cxn ang="0">
                <a:pos x="81" y="24"/>
              </a:cxn>
              <a:cxn ang="0">
                <a:pos x="42" y="2"/>
              </a:cxn>
              <a:cxn ang="0">
                <a:pos x="24" y="7"/>
              </a:cxn>
            </a:cxnLst>
            <a:rect l="0" t="0" r="r" b="b"/>
            <a:pathLst>
              <a:path w="161" h="285">
                <a:moveTo>
                  <a:pt x="24" y="32"/>
                </a:moveTo>
                <a:lnTo>
                  <a:pt x="25" y="35"/>
                </a:lnTo>
                <a:lnTo>
                  <a:pt x="26" y="37"/>
                </a:lnTo>
                <a:lnTo>
                  <a:pt x="26" y="38"/>
                </a:lnTo>
                <a:lnTo>
                  <a:pt x="28" y="40"/>
                </a:lnTo>
                <a:lnTo>
                  <a:pt x="28" y="43"/>
                </a:lnTo>
                <a:lnTo>
                  <a:pt x="29" y="46"/>
                </a:lnTo>
                <a:lnTo>
                  <a:pt x="30" y="48"/>
                </a:lnTo>
                <a:lnTo>
                  <a:pt x="33" y="49"/>
                </a:lnTo>
                <a:lnTo>
                  <a:pt x="40" y="52"/>
                </a:lnTo>
                <a:lnTo>
                  <a:pt x="36" y="60"/>
                </a:lnTo>
                <a:lnTo>
                  <a:pt x="32" y="85"/>
                </a:lnTo>
                <a:lnTo>
                  <a:pt x="29" y="115"/>
                </a:lnTo>
                <a:lnTo>
                  <a:pt x="29" y="117"/>
                </a:lnTo>
                <a:lnTo>
                  <a:pt x="4" y="148"/>
                </a:lnTo>
                <a:lnTo>
                  <a:pt x="4" y="151"/>
                </a:lnTo>
                <a:lnTo>
                  <a:pt x="2" y="153"/>
                </a:lnTo>
                <a:lnTo>
                  <a:pt x="2" y="156"/>
                </a:lnTo>
                <a:lnTo>
                  <a:pt x="1" y="156"/>
                </a:lnTo>
                <a:lnTo>
                  <a:pt x="0" y="157"/>
                </a:lnTo>
                <a:lnTo>
                  <a:pt x="0" y="161"/>
                </a:lnTo>
                <a:lnTo>
                  <a:pt x="4" y="162"/>
                </a:lnTo>
                <a:lnTo>
                  <a:pt x="5" y="164"/>
                </a:lnTo>
                <a:lnTo>
                  <a:pt x="8" y="165"/>
                </a:lnTo>
                <a:lnTo>
                  <a:pt x="9" y="168"/>
                </a:lnTo>
                <a:lnTo>
                  <a:pt x="10" y="175"/>
                </a:lnTo>
                <a:lnTo>
                  <a:pt x="14" y="176"/>
                </a:lnTo>
                <a:lnTo>
                  <a:pt x="18" y="175"/>
                </a:lnTo>
                <a:lnTo>
                  <a:pt x="20" y="176"/>
                </a:lnTo>
                <a:lnTo>
                  <a:pt x="22" y="176"/>
                </a:lnTo>
                <a:lnTo>
                  <a:pt x="24" y="176"/>
                </a:lnTo>
                <a:lnTo>
                  <a:pt x="26" y="181"/>
                </a:lnTo>
                <a:lnTo>
                  <a:pt x="25" y="183"/>
                </a:lnTo>
                <a:lnTo>
                  <a:pt x="25" y="184"/>
                </a:lnTo>
                <a:lnTo>
                  <a:pt x="22" y="187"/>
                </a:lnTo>
                <a:lnTo>
                  <a:pt x="18" y="189"/>
                </a:lnTo>
                <a:lnTo>
                  <a:pt x="18" y="190"/>
                </a:lnTo>
                <a:lnTo>
                  <a:pt x="20" y="200"/>
                </a:lnTo>
                <a:lnTo>
                  <a:pt x="21" y="201"/>
                </a:lnTo>
                <a:lnTo>
                  <a:pt x="22" y="205"/>
                </a:lnTo>
                <a:lnTo>
                  <a:pt x="22" y="211"/>
                </a:lnTo>
                <a:lnTo>
                  <a:pt x="22" y="214"/>
                </a:lnTo>
                <a:lnTo>
                  <a:pt x="21" y="217"/>
                </a:lnTo>
                <a:lnTo>
                  <a:pt x="21" y="220"/>
                </a:lnTo>
                <a:lnTo>
                  <a:pt x="24" y="227"/>
                </a:lnTo>
                <a:lnTo>
                  <a:pt x="28" y="233"/>
                </a:lnTo>
                <a:lnTo>
                  <a:pt x="28" y="236"/>
                </a:lnTo>
                <a:lnTo>
                  <a:pt x="29" y="238"/>
                </a:lnTo>
                <a:lnTo>
                  <a:pt x="28" y="239"/>
                </a:lnTo>
                <a:lnTo>
                  <a:pt x="21" y="239"/>
                </a:lnTo>
                <a:lnTo>
                  <a:pt x="17" y="238"/>
                </a:lnTo>
                <a:lnTo>
                  <a:pt x="13" y="239"/>
                </a:lnTo>
                <a:lnTo>
                  <a:pt x="12" y="239"/>
                </a:lnTo>
                <a:lnTo>
                  <a:pt x="10" y="241"/>
                </a:lnTo>
                <a:lnTo>
                  <a:pt x="10" y="247"/>
                </a:lnTo>
                <a:lnTo>
                  <a:pt x="10" y="250"/>
                </a:lnTo>
                <a:lnTo>
                  <a:pt x="13" y="255"/>
                </a:lnTo>
                <a:lnTo>
                  <a:pt x="16" y="256"/>
                </a:lnTo>
                <a:lnTo>
                  <a:pt x="18" y="258"/>
                </a:lnTo>
                <a:lnTo>
                  <a:pt x="21" y="258"/>
                </a:lnTo>
                <a:lnTo>
                  <a:pt x="22" y="260"/>
                </a:lnTo>
                <a:lnTo>
                  <a:pt x="24" y="263"/>
                </a:lnTo>
                <a:lnTo>
                  <a:pt x="26" y="272"/>
                </a:lnTo>
                <a:lnTo>
                  <a:pt x="28" y="277"/>
                </a:lnTo>
                <a:lnTo>
                  <a:pt x="28" y="283"/>
                </a:lnTo>
                <a:lnTo>
                  <a:pt x="29" y="283"/>
                </a:lnTo>
                <a:lnTo>
                  <a:pt x="29" y="285"/>
                </a:lnTo>
                <a:lnTo>
                  <a:pt x="30" y="283"/>
                </a:lnTo>
                <a:lnTo>
                  <a:pt x="33" y="283"/>
                </a:lnTo>
                <a:lnTo>
                  <a:pt x="34" y="283"/>
                </a:lnTo>
                <a:lnTo>
                  <a:pt x="36" y="283"/>
                </a:lnTo>
                <a:lnTo>
                  <a:pt x="37" y="283"/>
                </a:lnTo>
                <a:lnTo>
                  <a:pt x="38" y="283"/>
                </a:lnTo>
                <a:lnTo>
                  <a:pt x="41" y="280"/>
                </a:lnTo>
                <a:lnTo>
                  <a:pt x="45" y="280"/>
                </a:lnTo>
                <a:lnTo>
                  <a:pt x="45" y="278"/>
                </a:lnTo>
                <a:lnTo>
                  <a:pt x="46" y="277"/>
                </a:lnTo>
                <a:lnTo>
                  <a:pt x="48" y="277"/>
                </a:lnTo>
                <a:lnTo>
                  <a:pt x="49" y="277"/>
                </a:lnTo>
                <a:lnTo>
                  <a:pt x="50" y="278"/>
                </a:lnTo>
                <a:lnTo>
                  <a:pt x="50" y="280"/>
                </a:lnTo>
                <a:lnTo>
                  <a:pt x="53" y="282"/>
                </a:lnTo>
                <a:lnTo>
                  <a:pt x="54" y="280"/>
                </a:lnTo>
                <a:lnTo>
                  <a:pt x="57" y="280"/>
                </a:lnTo>
                <a:lnTo>
                  <a:pt x="58" y="278"/>
                </a:lnTo>
                <a:lnTo>
                  <a:pt x="60" y="278"/>
                </a:lnTo>
                <a:lnTo>
                  <a:pt x="61" y="277"/>
                </a:lnTo>
                <a:lnTo>
                  <a:pt x="66" y="274"/>
                </a:lnTo>
                <a:lnTo>
                  <a:pt x="68" y="275"/>
                </a:lnTo>
                <a:lnTo>
                  <a:pt x="70" y="274"/>
                </a:lnTo>
                <a:lnTo>
                  <a:pt x="73" y="274"/>
                </a:lnTo>
                <a:lnTo>
                  <a:pt x="79" y="274"/>
                </a:lnTo>
                <a:lnTo>
                  <a:pt x="79" y="272"/>
                </a:lnTo>
                <a:lnTo>
                  <a:pt x="79" y="271"/>
                </a:lnTo>
                <a:lnTo>
                  <a:pt x="81" y="271"/>
                </a:lnTo>
                <a:lnTo>
                  <a:pt x="82" y="269"/>
                </a:lnTo>
                <a:lnTo>
                  <a:pt x="83" y="269"/>
                </a:lnTo>
                <a:lnTo>
                  <a:pt x="83" y="266"/>
                </a:lnTo>
                <a:lnTo>
                  <a:pt x="85" y="264"/>
                </a:lnTo>
                <a:lnTo>
                  <a:pt x="86" y="264"/>
                </a:lnTo>
                <a:lnTo>
                  <a:pt x="85" y="261"/>
                </a:lnTo>
                <a:lnTo>
                  <a:pt x="83" y="260"/>
                </a:lnTo>
                <a:lnTo>
                  <a:pt x="83" y="258"/>
                </a:lnTo>
                <a:lnTo>
                  <a:pt x="85" y="258"/>
                </a:lnTo>
                <a:lnTo>
                  <a:pt x="87" y="256"/>
                </a:lnTo>
                <a:lnTo>
                  <a:pt x="90" y="255"/>
                </a:lnTo>
                <a:lnTo>
                  <a:pt x="95" y="255"/>
                </a:lnTo>
                <a:lnTo>
                  <a:pt x="97" y="255"/>
                </a:lnTo>
                <a:lnTo>
                  <a:pt x="99" y="255"/>
                </a:lnTo>
                <a:lnTo>
                  <a:pt x="101" y="253"/>
                </a:lnTo>
                <a:lnTo>
                  <a:pt x="103" y="253"/>
                </a:lnTo>
                <a:lnTo>
                  <a:pt x="105" y="255"/>
                </a:lnTo>
                <a:lnTo>
                  <a:pt x="106" y="253"/>
                </a:lnTo>
                <a:lnTo>
                  <a:pt x="107" y="253"/>
                </a:lnTo>
                <a:lnTo>
                  <a:pt x="109" y="250"/>
                </a:lnTo>
                <a:lnTo>
                  <a:pt x="110" y="250"/>
                </a:lnTo>
                <a:lnTo>
                  <a:pt x="114" y="249"/>
                </a:lnTo>
                <a:lnTo>
                  <a:pt x="114" y="247"/>
                </a:lnTo>
                <a:lnTo>
                  <a:pt x="115" y="244"/>
                </a:lnTo>
                <a:lnTo>
                  <a:pt x="119" y="238"/>
                </a:lnTo>
                <a:lnTo>
                  <a:pt x="121" y="238"/>
                </a:lnTo>
                <a:lnTo>
                  <a:pt x="122" y="238"/>
                </a:lnTo>
                <a:lnTo>
                  <a:pt x="125" y="234"/>
                </a:lnTo>
                <a:lnTo>
                  <a:pt x="126" y="233"/>
                </a:lnTo>
                <a:lnTo>
                  <a:pt x="126" y="228"/>
                </a:lnTo>
                <a:lnTo>
                  <a:pt x="127" y="225"/>
                </a:lnTo>
                <a:lnTo>
                  <a:pt x="129" y="223"/>
                </a:lnTo>
                <a:lnTo>
                  <a:pt x="131" y="222"/>
                </a:lnTo>
                <a:lnTo>
                  <a:pt x="135" y="222"/>
                </a:lnTo>
                <a:lnTo>
                  <a:pt x="137" y="220"/>
                </a:lnTo>
                <a:lnTo>
                  <a:pt x="141" y="220"/>
                </a:lnTo>
                <a:lnTo>
                  <a:pt x="143" y="219"/>
                </a:lnTo>
                <a:lnTo>
                  <a:pt x="143" y="216"/>
                </a:lnTo>
                <a:lnTo>
                  <a:pt x="142" y="212"/>
                </a:lnTo>
                <a:lnTo>
                  <a:pt x="141" y="212"/>
                </a:lnTo>
                <a:lnTo>
                  <a:pt x="139" y="211"/>
                </a:lnTo>
                <a:lnTo>
                  <a:pt x="139" y="209"/>
                </a:lnTo>
                <a:lnTo>
                  <a:pt x="135" y="198"/>
                </a:lnTo>
                <a:lnTo>
                  <a:pt x="134" y="194"/>
                </a:lnTo>
                <a:lnTo>
                  <a:pt x="135" y="189"/>
                </a:lnTo>
                <a:lnTo>
                  <a:pt x="130" y="190"/>
                </a:lnTo>
                <a:lnTo>
                  <a:pt x="129" y="190"/>
                </a:lnTo>
                <a:lnTo>
                  <a:pt x="127" y="190"/>
                </a:lnTo>
                <a:lnTo>
                  <a:pt x="127" y="186"/>
                </a:lnTo>
                <a:lnTo>
                  <a:pt x="129" y="184"/>
                </a:lnTo>
                <a:lnTo>
                  <a:pt x="130" y="181"/>
                </a:lnTo>
                <a:lnTo>
                  <a:pt x="131" y="178"/>
                </a:lnTo>
                <a:lnTo>
                  <a:pt x="131" y="173"/>
                </a:lnTo>
                <a:lnTo>
                  <a:pt x="131" y="170"/>
                </a:lnTo>
                <a:lnTo>
                  <a:pt x="131" y="168"/>
                </a:lnTo>
                <a:lnTo>
                  <a:pt x="134" y="167"/>
                </a:lnTo>
                <a:lnTo>
                  <a:pt x="135" y="165"/>
                </a:lnTo>
                <a:lnTo>
                  <a:pt x="134" y="162"/>
                </a:lnTo>
                <a:lnTo>
                  <a:pt x="134" y="159"/>
                </a:lnTo>
                <a:lnTo>
                  <a:pt x="139" y="153"/>
                </a:lnTo>
                <a:lnTo>
                  <a:pt x="142" y="146"/>
                </a:lnTo>
                <a:lnTo>
                  <a:pt x="143" y="143"/>
                </a:lnTo>
                <a:lnTo>
                  <a:pt x="143" y="140"/>
                </a:lnTo>
                <a:lnTo>
                  <a:pt x="145" y="137"/>
                </a:lnTo>
                <a:lnTo>
                  <a:pt x="147" y="137"/>
                </a:lnTo>
                <a:lnTo>
                  <a:pt x="150" y="135"/>
                </a:lnTo>
                <a:lnTo>
                  <a:pt x="158" y="135"/>
                </a:lnTo>
                <a:lnTo>
                  <a:pt x="161" y="135"/>
                </a:lnTo>
                <a:lnTo>
                  <a:pt x="161" y="120"/>
                </a:lnTo>
                <a:lnTo>
                  <a:pt x="161" y="104"/>
                </a:lnTo>
                <a:lnTo>
                  <a:pt x="161" y="87"/>
                </a:lnTo>
                <a:lnTo>
                  <a:pt x="161" y="70"/>
                </a:lnTo>
                <a:lnTo>
                  <a:pt x="158" y="70"/>
                </a:lnTo>
                <a:lnTo>
                  <a:pt x="145" y="62"/>
                </a:lnTo>
                <a:lnTo>
                  <a:pt x="133" y="54"/>
                </a:lnTo>
                <a:lnTo>
                  <a:pt x="119" y="48"/>
                </a:lnTo>
                <a:lnTo>
                  <a:pt x="106" y="40"/>
                </a:lnTo>
                <a:lnTo>
                  <a:pt x="94" y="32"/>
                </a:lnTo>
                <a:lnTo>
                  <a:pt x="81" y="24"/>
                </a:lnTo>
                <a:lnTo>
                  <a:pt x="68" y="16"/>
                </a:lnTo>
                <a:lnTo>
                  <a:pt x="56" y="10"/>
                </a:lnTo>
                <a:lnTo>
                  <a:pt x="42" y="2"/>
                </a:lnTo>
                <a:lnTo>
                  <a:pt x="40" y="0"/>
                </a:lnTo>
                <a:lnTo>
                  <a:pt x="26" y="5"/>
                </a:lnTo>
                <a:lnTo>
                  <a:pt x="24" y="7"/>
                </a:lnTo>
                <a:lnTo>
                  <a:pt x="24" y="3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58" name="Freeform 1285"/>
          <p:cNvSpPr>
            <a:spLocks/>
          </p:cNvSpPr>
          <p:nvPr/>
        </p:nvSpPr>
        <p:spPr bwMode="auto">
          <a:xfrm>
            <a:off x="6060291" y="3517431"/>
            <a:ext cx="305964" cy="564821"/>
          </a:xfrm>
          <a:custGeom>
            <a:avLst/>
            <a:gdLst/>
            <a:ahLst/>
            <a:cxnLst>
              <a:cxn ang="0">
                <a:pos x="26" y="37"/>
              </a:cxn>
              <a:cxn ang="0">
                <a:pos x="28" y="43"/>
              </a:cxn>
              <a:cxn ang="0">
                <a:pos x="33" y="49"/>
              </a:cxn>
              <a:cxn ang="0">
                <a:pos x="32" y="85"/>
              </a:cxn>
              <a:cxn ang="0">
                <a:pos x="4" y="148"/>
              </a:cxn>
              <a:cxn ang="0">
                <a:pos x="2" y="156"/>
              </a:cxn>
              <a:cxn ang="0">
                <a:pos x="0" y="161"/>
              </a:cxn>
              <a:cxn ang="0">
                <a:pos x="8" y="165"/>
              </a:cxn>
              <a:cxn ang="0">
                <a:pos x="14" y="176"/>
              </a:cxn>
              <a:cxn ang="0">
                <a:pos x="22" y="176"/>
              </a:cxn>
              <a:cxn ang="0">
                <a:pos x="25" y="183"/>
              </a:cxn>
              <a:cxn ang="0">
                <a:pos x="18" y="189"/>
              </a:cxn>
              <a:cxn ang="0">
                <a:pos x="21" y="201"/>
              </a:cxn>
              <a:cxn ang="0">
                <a:pos x="22" y="214"/>
              </a:cxn>
              <a:cxn ang="0">
                <a:pos x="24" y="227"/>
              </a:cxn>
              <a:cxn ang="0">
                <a:pos x="29" y="238"/>
              </a:cxn>
              <a:cxn ang="0">
                <a:pos x="17" y="238"/>
              </a:cxn>
              <a:cxn ang="0">
                <a:pos x="10" y="241"/>
              </a:cxn>
              <a:cxn ang="0">
                <a:pos x="13" y="255"/>
              </a:cxn>
              <a:cxn ang="0">
                <a:pos x="21" y="258"/>
              </a:cxn>
              <a:cxn ang="0">
                <a:pos x="26" y="272"/>
              </a:cxn>
              <a:cxn ang="0">
                <a:pos x="29" y="283"/>
              </a:cxn>
              <a:cxn ang="0">
                <a:pos x="33" y="283"/>
              </a:cxn>
              <a:cxn ang="0">
                <a:pos x="37" y="283"/>
              </a:cxn>
              <a:cxn ang="0">
                <a:pos x="45" y="280"/>
              </a:cxn>
              <a:cxn ang="0">
                <a:pos x="48" y="277"/>
              </a:cxn>
              <a:cxn ang="0">
                <a:pos x="50" y="280"/>
              </a:cxn>
              <a:cxn ang="0">
                <a:pos x="57" y="280"/>
              </a:cxn>
              <a:cxn ang="0">
                <a:pos x="61" y="277"/>
              </a:cxn>
              <a:cxn ang="0">
                <a:pos x="70" y="274"/>
              </a:cxn>
              <a:cxn ang="0">
                <a:pos x="79" y="272"/>
              </a:cxn>
              <a:cxn ang="0">
                <a:pos x="82" y="269"/>
              </a:cxn>
              <a:cxn ang="0">
                <a:pos x="85" y="264"/>
              </a:cxn>
              <a:cxn ang="0">
                <a:pos x="83" y="260"/>
              </a:cxn>
              <a:cxn ang="0">
                <a:pos x="87" y="256"/>
              </a:cxn>
              <a:cxn ang="0">
                <a:pos x="97" y="255"/>
              </a:cxn>
              <a:cxn ang="0">
                <a:pos x="103" y="253"/>
              </a:cxn>
              <a:cxn ang="0">
                <a:pos x="107" y="253"/>
              </a:cxn>
              <a:cxn ang="0">
                <a:pos x="114" y="249"/>
              </a:cxn>
              <a:cxn ang="0">
                <a:pos x="119" y="238"/>
              </a:cxn>
              <a:cxn ang="0">
                <a:pos x="125" y="234"/>
              </a:cxn>
              <a:cxn ang="0">
                <a:pos x="127" y="225"/>
              </a:cxn>
              <a:cxn ang="0">
                <a:pos x="135" y="222"/>
              </a:cxn>
              <a:cxn ang="0">
                <a:pos x="143" y="219"/>
              </a:cxn>
              <a:cxn ang="0">
                <a:pos x="141" y="212"/>
              </a:cxn>
              <a:cxn ang="0">
                <a:pos x="135" y="198"/>
              </a:cxn>
              <a:cxn ang="0">
                <a:pos x="130" y="190"/>
              </a:cxn>
              <a:cxn ang="0">
                <a:pos x="127" y="186"/>
              </a:cxn>
              <a:cxn ang="0">
                <a:pos x="131" y="178"/>
              </a:cxn>
              <a:cxn ang="0">
                <a:pos x="131" y="168"/>
              </a:cxn>
              <a:cxn ang="0">
                <a:pos x="134" y="162"/>
              </a:cxn>
              <a:cxn ang="0">
                <a:pos x="142" y="146"/>
              </a:cxn>
              <a:cxn ang="0">
                <a:pos x="145" y="137"/>
              </a:cxn>
              <a:cxn ang="0">
                <a:pos x="158" y="135"/>
              </a:cxn>
              <a:cxn ang="0">
                <a:pos x="161" y="104"/>
              </a:cxn>
              <a:cxn ang="0">
                <a:pos x="158" y="70"/>
              </a:cxn>
              <a:cxn ang="0">
                <a:pos x="119" y="48"/>
              </a:cxn>
              <a:cxn ang="0">
                <a:pos x="81" y="24"/>
              </a:cxn>
              <a:cxn ang="0">
                <a:pos x="42" y="2"/>
              </a:cxn>
              <a:cxn ang="0">
                <a:pos x="24" y="7"/>
              </a:cxn>
            </a:cxnLst>
            <a:rect l="0" t="0" r="r" b="b"/>
            <a:pathLst>
              <a:path w="161" h="285">
                <a:moveTo>
                  <a:pt x="24" y="32"/>
                </a:moveTo>
                <a:lnTo>
                  <a:pt x="25" y="35"/>
                </a:lnTo>
                <a:lnTo>
                  <a:pt x="26" y="37"/>
                </a:lnTo>
                <a:lnTo>
                  <a:pt x="26" y="38"/>
                </a:lnTo>
                <a:lnTo>
                  <a:pt x="28" y="40"/>
                </a:lnTo>
                <a:lnTo>
                  <a:pt x="28" y="43"/>
                </a:lnTo>
                <a:lnTo>
                  <a:pt x="29" y="46"/>
                </a:lnTo>
                <a:lnTo>
                  <a:pt x="30" y="48"/>
                </a:lnTo>
                <a:lnTo>
                  <a:pt x="33" y="49"/>
                </a:lnTo>
                <a:lnTo>
                  <a:pt x="40" y="52"/>
                </a:lnTo>
                <a:lnTo>
                  <a:pt x="36" y="60"/>
                </a:lnTo>
                <a:lnTo>
                  <a:pt x="32" y="85"/>
                </a:lnTo>
                <a:lnTo>
                  <a:pt x="29" y="115"/>
                </a:lnTo>
                <a:lnTo>
                  <a:pt x="29" y="117"/>
                </a:lnTo>
                <a:lnTo>
                  <a:pt x="4" y="148"/>
                </a:lnTo>
                <a:lnTo>
                  <a:pt x="4" y="151"/>
                </a:lnTo>
                <a:lnTo>
                  <a:pt x="2" y="153"/>
                </a:lnTo>
                <a:lnTo>
                  <a:pt x="2" y="156"/>
                </a:lnTo>
                <a:lnTo>
                  <a:pt x="1" y="156"/>
                </a:lnTo>
                <a:lnTo>
                  <a:pt x="0" y="157"/>
                </a:lnTo>
                <a:lnTo>
                  <a:pt x="0" y="161"/>
                </a:lnTo>
                <a:lnTo>
                  <a:pt x="4" y="162"/>
                </a:lnTo>
                <a:lnTo>
                  <a:pt x="5" y="164"/>
                </a:lnTo>
                <a:lnTo>
                  <a:pt x="8" y="165"/>
                </a:lnTo>
                <a:lnTo>
                  <a:pt x="9" y="168"/>
                </a:lnTo>
                <a:lnTo>
                  <a:pt x="10" y="175"/>
                </a:lnTo>
                <a:lnTo>
                  <a:pt x="14" y="176"/>
                </a:lnTo>
                <a:lnTo>
                  <a:pt x="18" y="175"/>
                </a:lnTo>
                <a:lnTo>
                  <a:pt x="20" y="176"/>
                </a:lnTo>
                <a:lnTo>
                  <a:pt x="22" y="176"/>
                </a:lnTo>
                <a:lnTo>
                  <a:pt x="24" y="176"/>
                </a:lnTo>
                <a:lnTo>
                  <a:pt x="26" y="181"/>
                </a:lnTo>
                <a:lnTo>
                  <a:pt x="25" y="183"/>
                </a:lnTo>
                <a:lnTo>
                  <a:pt x="25" y="184"/>
                </a:lnTo>
                <a:lnTo>
                  <a:pt x="22" y="187"/>
                </a:lnTo>
                <a:lnTo>
                  <a:pt x="18" y="189"/>
                </a:lnTo>
                <a:lnTo>
                  <a:pt x="18" y="190"/>
                </a:lnTo>
                <a:lnTo>
                  <a:pt x="20" y="200"/>
                </a:lnTo>
                <a:lnTo>
                  <a:pt x="21" y="201"/>
                </a:lnTo>
                <a:lnTo>
                  <a:pt x="22" y="205"/>
                </a:lnTo>
                <a:lnTo>
                  <a:pt x="22" y="211"/>
                </a:lnTo>
                <a:lnTo>
                  <a:pt x="22" y="214"/>
                </a:lnTo>
                <a:lnTo>
                  <a:pt x="21" y="217"/>
                </a:lnTo>
                <a:lnTo>
                  <a:pt x="21" y="220"/>
                </a:lnTo>
                <a:lnTo>
                  <a:pt x="24" y="227"/>
                </a:lnTo>
                <a:lnTo>
                  <a:pt x="28" y="233"/>
                </a:lnTo>
                <a:lnTo>
                  <a:pt x="28" y="236"/>
                </a:lnTo>
                <a:lnTo>
                  <a:pt x="29" y="238"/>
                </a:lnTo>
                <a:lnTo>
                  <a:pt x="28" y="239"/>
                </a:lnTo>
                <a:lnTo>
                  <a:pt x="21" y="239"/>
                </a:lnTo>
                <a:lnTo>
                  <a:pt x="17" y="238"/>
                </a:lnTo>
                <a:lnTo>
                  <a:pt x="13" y="239"/>
                </a:lnTo>
                <a:lnTo>
                  <a:pt x="12" y="239"/>
                </a:lnTo>
                <a:lnTo>
                  <a:pt x="10" y="241"/>
                </a:lnTo>
                <a:lnTo>
                  <a:pt x="10" y="247"/>
                </a:lnTo>
                <a:lnTo>
                  <a:pt x="10" y="250"/>
                </a:lnTo>
                <a:lnTo>
                  <a:pt x="13" y="255"/>
                </a:lnTo>
                <a:lnTo>
                  <a:pt x="16" y="256"/>
                </a:lnTo>
                <a:lnTo>
                  <a:pt x="18" y="258"/>
                </a:lnTo>
                <a:lnTo>
                  <a:pt x="21" y="258"/>
                </a:lnTo>
                <a:lnTo>
                  <a:pt x="22" y="260"/>
                </a:lnTo>
                <a:lnTo>
                  <a:pt x="24" y="263"/>
                </a:lnTo>
                <a:lnTo>
                  <a:pt x="26" y="272"/>
                </a:lnTo>
                <a:lnTo>
                  <a:pt x="28" y="277"/>
                </a:lnTo>
                <a:lnTo>
                  <a:pt x="28" y="283"/>
                </a:lnTo>
                <a:lnTo>
                  <a:pt x="29" y="283"/>
                </a:lnTo>
                <a:lnTo>
                  <a:pt x="29" y="285"/>
                </a:lnTo>
                <a:lnTo>
                  <a:pt x="30" y="283"/>
                </a:lnTo>
                <a:lnTo>
                  <a:pt x="33" y="283"/>
                </a:lnTo>
                <a:lnTo>
                  <a:pt x="34" y="283"/>
                </a:lnTo>
                <a:lnTo>
                  <a:pt x="36" y="283"/>
                </a:lnTo>
                <a:lnTo>
                  <a:pt x="37" y="283"/>
                </a:lnTo>
                <a:lnTo>
                  <a:pt x="38" y="283"/>
                </a:lnTo>
                <a:lnTo>
                  <a:pt x="41" y="280"/>
                </a:lnTo>
                <a:lnTo>
                  <a:pt x="45" y="280"/>
                </a:lnTo>
                <a:lnTo>
                  <a:pt x="45" y="278"/>
                </a:lnTo>
                <a:lnTo>
                  <a:pt x="46" y="277"/>
                </a:lnTo>
                <a:lnTo>
                  <a:pt x="48" y="277"/>
                </a:lnTo>
                <a:lnTo>
                  <a:pt x="49" y="277"/>
                </a:lnTo>
                <a:lnTo>
                  <a:pt x="50" y="278"/>
                </a:lnTo>
                <a:lnTo>
                  <a:pt x="50" y="280"/>
                </a:lnTo>
                <a:lnTo>
                  <a:pt x="53" y="282"/>
                </a:lnTo>
                <a:lnTo>
                  <a:pt x="54" y="280"/>
                </a:lnTo>
                <a:lnTo>
                  <a:pt x="57" y="280"/>
                </a:lnTo>
                <a:lnTo>
                  <a:pt x="58" y="278"/>
                </a:lnTo>
                <a:lnTo>
                  <a:pt x="60" y="278"/>
                </a:lnTo>
                <a:lnTo>
                  <a:pt x="61" y="277"/>
                </a:lnTo>
                <a:lnTo>
                  <a:pt x="66" y="274"/>
                </a:lnTo>
                <a:lnTo>
                  <a:pt x="68" y="275"/>
                </a:lnTo>
                <a:lnTo>
                  <a:pt x="70" y="274"/>
                </a:lnTo>
                <a:lnTo>
                  <a:pt x="73" y="274"/>
                </a:lnTo>
                <a:lnTo>
                  <a:pt x="79" y="274"/>
                </a:lnTo>
                <a:lnTo>
                  <a:pt x="79" y="272"/>
                </a:lnTo>
                <a:lnTo>
                  <a:pt x="79" y="271"/>
                </a:lnTo>
                <a:lnTo>
                  <a:pt x="81" y="271"/>
                </a:lnTo>
                <a:lnTo>
                  <a:pt x="82" y="269"/>
                </a:lnTo>
                <a:lnTo>
                  <a:pt x="83" y="269"/>
                </a:lnTo>
                <a:lnTo>
                  <a:pt x="83" y="266"/>
                </a:lnTo>
                <a:lnTo>
                  <a:pt x="85" y="264"/>
                </a:lnTo>
                <a:lnTo>
                  <a:pt x="86" y="264"/>
                </a:lnTo>
                <a:lnTo>
                  <a:pt x="85" y="261"/>
                </a:lnTo>
                <a:lnTo>
                  <a:pt x="83" y="260"/>
                </a:lnTo>
                <a:lnTo>
                  <a:pt x="83" y="258"/>
                </a:lnTo>
                <a:lnTo>
                  <a:pt x="85" y="258"/>
                </a:lnTo>
                <a:lnTo>
                  <a:pt x="87" y="256"/>
                </a:lnTo>
                <a:lnTo>
                  <a:pt x="90" y="255"/>
                </a:lnTo>
                <a:lnTo>
                  <a:pt x="95" y="255"/>
                </a:lnTo>
                <a:lnTo>
                  <a:pt x="97" y="255"/>
                </a:lnTo>
                <a:lnTo>
                  <a:pt x="99" y="255"/>
                </a:lnTo>
                <a:lnTo>
                  <a:pt x="101" y="253"/>
                </a:lnTo>
                <a:lnTo>
                  <a:pt x="103" y="253"/>
                </a:lnTo>
                <a:lnTo>
                  <a:pt x="105" y="255"/>
                </a:lnTo>
                <a:lnTo>
                  <a:pt x="106" y="253"/>
                </a:lnTo>
                <a:lnTo>
                  <a:pt x="107" y="253"/>
                </a:lnTo>
                <a:lnTo>
                  <a:pt x="109" y="250"/>
                </a:lnTo>
                <a:lnTo>
                  <a:pt x="110" y="250"/>
                </a:lnTo>
                <a:lnTo>
                  <a:pt x="114" y="249"/>
                </a:lnTo>
                <a:lnTo>
                  <a:pt x="114" y="247"/>
                </a:lnTo>
                <a:lnTo>
                  <a:pt x="115" y="244"/>
                </a:lnTo>
                <a:lnTo>
                  <a:pt x="119" y="238"/>
                </a:lnTo>
                <a:lnTo>
                  <a:pt x="121" y="238"/>
                </a:lnTo>
                <a:lnTo>
                  <a:pt x="122" y="238"/>
                </a:lnTo>
                <a:lnTo>
                  <a:pt x="125" y="234"/>
                </a:lnTo>
                <a:lnTo>
                  <a:pt x="126" y="233"/>
                </a:lnTo>
                <a:lnTo>
                  <a:pt x="126" y="228"/>
                </a:lnTo>
                <a:lnTo>
                  <a:pt x="127" y="225"/>
                </a:lnTo>
                <a:lnTo>
                  <a:pt x="129" y="223"/>
                </a:lnTo>
                <a:lnTo>
                  <a:pt x="131" y="222"/>
                </a:lnTo>
                <a:lnTo>
                  <a:pt x="135" y="222"/>
                </a:lnTo>
                <a:lnTo>
                  <a:pt x="137" y="220"/>
                </a:lnTo>
                <a:lnTo>
                  <a:pt x="141" y="220"/>
                </a:lnTo>
                <a:lnTo>
                  <a:pt x="143" y="219"/>
                </a:lnTo>
                <a:lnTo>
                  <a:pt x="143" y="216"/>
                </a:lnTo>
                <a:lnTo>
                  <a:pt x="142" y="212"/>
                </a:lnTo>
                <a:lnTo>
                  <a:pt x="141" y="212"/>
                </a:lnTo>
                <a:lnTo>
                  <a:pt x="139" y="211"/>
                </a:lnTo>
                <a:lnTo>
                  <a:pt x="139" y="209"/>
                </a:lnTo>
                <a:lnTo>
                  <a:pt x="135" y="198"/>
                </a:lnTo>
                <a:lnTo>
                  <a:pt x="134" y="194"/>
                </a:lnTo>
                <a:lnTo>
                  <a:pt x="135" y="189"/>
                </a:lnTo>
                <a:lnTo>
                  <a:pt x="130" y="190"/>
                </a:lnTo>
                <a:lnTo>
                  <a:pt x="129" y="190"/>
                </a:lnTo>
                <a:lnTo>
                  <a:pt x="127" y="190"/>
                </a:lnTo>
                <a:lnTo>
                  <a:pt x="127" y="186"/>
                </a:lnTo>
                <a:lnTo>
                  <a:pt x="129" y="184"/>
                </a:lnTo>
                <a:lnTo>
                  <a:pt x="130" y="181"/>
                </a:lnTo>
                <a:lnTo>
                  <a:pt x="131" y="178"/>
                </a:lnTo>
                <a:lnTo>
                  <a:pt x="131" y="173"/>
                </a:lnTo>
                <a:lnTo>
                  <a:pt x="131" y="170"/>
                </a:lnTo>
                <a:lnTo>
                  <a:pt x="131" y="168"/>
                </a:lnTo>
                <a:lnTo>
                  <a:pt x="134" y="167"/>
                </a:lnTo>
                <a:lnTo>
                  <a:pt x="135" y="165"/>
                </a:lnTo>
                <a:lnTo>
                  <a:pt x="134" y="162"/>
                </a:lnTo>
                <a:lnTo>
                  <a:pt x="134" y="159"/>
                </a:lnTo>
                <a:lnTo>
                  <a:pt x="139" y="153"/>
                </a:lnTo>
                <a:lnTo>
                  <a:pt x="142" y="146"/>
                </a:lnTo>
                <a:lnTo>
                  <a:pt x="143" y="143"/>
                </a:lnTo>
                <a:lnTo>
                  <a:pt x="143" y="140"/>
                </a:lnTo>
                <a:lnTo>
                  <a:pt x="145" y="137"/>
                </a:lnTo>
                <a:lnTo>
                  <a:pt x="147" y="137"/>
                </a:lnTo>
                <a:lnTo>
                  <a:pt x="150" y="135"/>
                </a:lnTo>
                <a:lnTo>
                  <a:pt x="158" y="135"/>
                </a:lnTo>
                <a:lnTo>
                  <a:pt x="161" y="135"/>
                </a:lnTo>
                <a:lnTo>
                  <a:pt x="161" y="120"/>
                </a:lnTo>
                <a:lnTo>
                  <a:pt x="161" y="104"/>
                </a:lnTo>
                <a:lnTo>
                  <a:pt x="161" y="87"/>
                </a:lnTo>
                <a:lnTo>
                  <a:pt x="161" y="70"/>
                </a:lnTo>
                <a:lnTo>
                  <a:pt x="158" y="70"/>
                </a:lnTo>
                <a:lnTo>
                  <a:pt x="145" y="62"/>
                </a:lnTo>
                <a:lnTo>
                  <a:pt x="133" y="54"/>
                </a:lnTo>
                <a:lnTo>
                  <a:pt x="119" y="48"/>
                </a:lnTo>
                <a:lnTo>
                  <a:pt x="106" y="40"/>
                </a:lnTo>
                <a:lnTo>
                  <a:pt x="94" y="32"/>
                </a:lnTo>
                <a:lnTo>
                  <a:pt x="81" y="24"/>
                </a:lnTo>
                <a:lnTo>
                  <a:pt x="68" y="16"/>
                </a:lnTo>
                <a:lnTo>
                  <a:pt x="56" y="10"/>
                </a:lnTo>
                <a:lnTo>
                  <a:pt x="42" y="2"/>
                </a:lnTo>
                <a:lnTo>
                  <a:pt x="40" y="0"/>
                </a:lnTo>
                <a:lnTo>
                  <a:pt x="26" y="5"/>
                </a:lnTo>
                <a:lnTo>
                  <a:pt x="24" y="7"/>
                </a:lnTo>
                <a:lnTo>
                  <a:pt x="24" y="32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59" name="Freeform 1286"/>
          <p:cNvSpPr>
            <a:spLocks/>
          </p:cNvSpPr>
          <p:nvPr/>
        </p:nvSpPr>
        <p:spPr bwMode="auto">
          <a:xfrm>
            <a:off x="3154608" y="3815950"/>
            <a:ext cx="120826" cy="148184"/>
          </a:xfrm>
          <a:custGeom>
            <a:avLst/>
            <a:gdLst/>
            <a:ahLst/>
            <a:cxnLst>
              <a:cxn ang="0">
                <a:pos x="61" y="0"/>
              </a:cxn>
              <a:cxn ang="0">
                <a:pos x="56" y="3"/>
              </a:cxn>
              <a:cxn ang="0">
                <a:pos x="52" y="4"/>
              </a:cxn>
              <a:cxn ang="0">
                <a:pos x="45" y="6"/>
              </a:cxn>
              <a:cxn ang="0">
                <a:pos x="43" y="4"/>
              </a:cxn>
              <a:cxn ang="0">
                <a:pos x="41" y="4"/>
              </a:cxn>
              <a:cxn ang="0">
                <a:pos x="39" y="6"/>
              </a:cxn>
              <a:cxn ang="0">
                <a:pos x="37" y="12"/>
              </a:cxn>
              <a:cxn ang="0">
                <a:pos x="33" y="14"/>
              </a:cxn>
              <a:cxn ang="0">
                <a:pos x="31" y="15"/>
              </a:cxn>
              <a:cxn ang="0">
                <a:pos x="28" y="18"/>
              </a:cxn>
              <a:cxn ang="0">
                <a:pos x="25" y="20"/>
              </a:cxn>
              <a:cxn ang="0">
                <a:pos x="21" y="17"/>
              </a:cxn>
              <a:cxn ang="0">
                <a:pos x="19" y="23"/>
              </a:cxn>
              <a:cxn ang="0">
                <a:pos x="12" y="25"/>
              </a:cxn>
              <a:cxn ang="0">
                <a:pos x="11" y="29"/>
              </a:cxn>
              <a:cxn ang="0">
                <a:pos x="10" y="34"/>
              </a:cxn>
              <a:cxn ang="0">
                <a:pos x="3" y="34"/>
              </a:cxn>
              <a:cxn ang="0">
                <a:pos x="0" y="37"/>
              </a:cxn>
              <a:cxn ang="0">
                <a:pos x="6" y="45"/>
              </a:cxn>
              <a:cxn ang="0">
                <a:pos x="16" y="56"/>
              </a:cxn>
              <a:cxn ang="0">
                <a:pos x="20" y="61"/>
              </a:cxn>
              <a:cxn ang="0">
                <a:pos x="25" y="67"/>
              </a:cxn>
              <a:cxn ang="0">
                <a:pos x="27" y="70"/>
              </a:cxn>
              <a:cxn ang="0">
                <a:pos x="31" y="67"/>
              </a:cxn>
              <a:cxn ang="0">
                <a:pos x="39" y="72"/>
              </a:cxn>
              <a:cxn ang="0">
                <a:pos x="44" y="70"/>
              </a:cxn>
              <a:cxn ang="0">
                <a:pos x="48" y="72"/>
              </a:cxn>
              <a:cxn ang="0">
                <a:pos x="52" y="75"/>
              </a:cxn>
              <a:cxn ang="0">
                <a:pos x="57" y="73"/>
              </a:cxn>
              <a:cxn ang="0">
                <a:pos x="59" y="72"/>
              </a:cxn>
              <a:cxn ang="0">
                <a:pos x="56" y="67"/>
              </a:cxn>
              <a:cxn ang="0">
                <a:pos x="57" y="59"/>
              </a:cxn>
              <a:cxn ang="0">
                <a:pos x="59" y="48"/>
              </a:cxn>
              <a:cxn ang="0">
                <a:pos x="60" y="26"/>
              </a:cxn>
              <a:cxn ang="0">
                <a:pos x="64" y="7"/>
              </a:cxn>
            </a:cxnLst>
            <a:rect l="0" t="0" r="r" b="b"/>
            <a:pathLst>
              <a:path w="64" h="75">
                <a:moveTo>
                  <a:pt x="64" y="0"/>
                </a:moveTo>
                <a:lnTo>
                  <a:pt x="61" y="0"/>
                </a:lnTo>
                <a:lnTo>
                  <a:pt x="57" y="1"/>
                </a:lnTo>
                <a:lnTo>
                  <a:pt x="56" y="3"/>
                </a:lnTo>
                <a:lnTo>
                  <a:pt x="55" y="4"/>
                </a:lnTo>
                <a:lnTo>
                  <a:pt x="52" y="4"/>
                </a:lnTo>
                <a:lnTo>
                  <a:pt x="49" y="6"/>
                </a:lnTo>
                <a:lnTo>
                  <a:pt x="45" y="6"/>
                </a:lnTo>
                <a:lnTo>
                  <a:pt x="44" y="6"/>
                </a:lnTo>
                <a:lnTo>
                  <a:pt x="43" y="4"/>
                </a:lnTo>
                <a:lnTo>
                  <a:pt x="41" y="3"/>
                </a:lnTo>
                <a:lnTo>
                  <a:pt x="41" y="4"/>
                </a:lnTo>
                <a:lnTo>
                  <a:pt x="40" y="4"/>
                </a:lnTo>
                <a:lnTo>
                  <a:pt x="39" y="6"/>
                </a:lnTo>
                <a:lnTo>
                  <a:pt x="39" y="7"/>
                </a:lnTo>
                <a:lnTo>
                  <a:pt x="37" y="12"/>
                </a:lnTo>
                <a:lnTo>
                  <a:pt x="36" y="12"/>
                </a:lnTo>
                <a:lnTo>
                  <a:pt x="33" y="14"/>
                </a:lnTo>
                <a:lnTo>
                  <a:pt x="32" y="15"/>
                </a:lnTo>
                <a:lnTo>
                  <a:pt x="31" y="15"/>
                </a:lnTo>
                <a:lnTo>
                  <a:pt x="31" y="17"/>
                </a:lnTo>
                <a:lnTo>
                  <a:pt x="28" y="18"/>
                </a:lnTo>
                <a:lnTo>
                  <a:pt x="27" y="18"/>
                </a:lnTo>
                <a:lnTo>
                  <a:pt x="25" y="20"/>
                </a:lnTo>
                <a:lnTo>
                  <a:pt x="23" y="17"/>
                </a:lnTo>
                <a:lnTo>
                  <a:pt x="21" y="17"/>
                </a:lnTo>
                <a:lnTo>
                  <a:pt x="20" y="20"/>
                </a:lnTo>
                <a:lnTo>
                  <a:pt x="19" y="23"/>
                </a:lnTo>
                <a:lnTo>
                  <a:pt x="14" y="23"/>
                </a:lnTo>
                <a:lnTo>
                  <a:pt x="12" y="25"/>
                </a:lnTo>
                <a:lnTo>
                  <a:pt x="12" y="29"/>
                </a:lnTo>
                <a:lnTo>
                  <a:pt x="11" y="29"/>
                </a:lnTo>
                <a:lnTo>
                  <a:pt x="10" y="31"/>
                </a:lnTo>
                <a:lnTo>
                  <a:pt x="10" y="34"/>
                </a:lnTo>
                <a:lnTo>
                  <a:pt x="8" y="34"/>
                </a:lnTo>
                <a:lnTo>
                  <a:pt x="3" y="34"/>
                </a:lnTo>
                <a:lnTo>
                  <a:pt x="0" y="34"/>
                </a:lnTo>
                <a:lnTo>
                  <a:pt x="0" y="37"/>
                </a:lnTo>
                <a:lnTo>
                  <a:pt x="4" y="42"/>
                </a:lnTo>
                <a:lnTo>
                  <a:pt x="6" y="45"/>
                </a:lnTo>
                <a:lnTo>
                  <a:pt x="12" y="51"/>
                </a:lnTo>
                <a:lnTo>
                  <a:pt x="16" y="56"/>
                </a:lnTo>
                <a:lnTo>
                  <a:pt x="19" y="59"/>
                </a:lnTo>
                <a:lnTo>
                  <a:pt x="20" y="61"/>
                </a:lnTo>
                <a:lnTo>
                  <a:pt x="21" y="62"/>
                </a:lnTo>
                <a:lnTo>
                  <a:pt x="25" y="67"/>
                </a:lnTo>
                <a:lnTo>
                  <a:pt x="27" y="69"/>
                </a:lnTo>
                <a:lnTo>
                  <a:pt x="27" y="70"/>
                </a:lnTo>
                <a:lnTo>
                  <a:pt x="29" y="67"/>
                </a:lnTo>
                <a:lnTo>
                  <a:pt x="31" y="67"/>
                </a:lnTo>
                <a:lnTo>
                  <a:pt x="33" y="70"/>
                </a:lnTo>
                <a:lnTo>
                  <a:pt x="39" y="72"/>
                </a:lnTo>
                <a:lnTo>
                  <a:pt x="41" y="72"/>
                </a:lnTo>
                <a:lnTo>
                  <a:pt x="44" y="70"/>
                </a:lnTo>
                <a:lnTo>
                  <a:pt x="45" y="70"/>
                </a:lnTo>
                <a:lnTo>
                  <a:pt x="48" y="72"/>
                </a:lnTo>
                <a:lnTo>
                  <a:pt x="51" y="73"/>
                </a:lnTo>
                <a:lnTo>
                  <a:pt x="52" y="75"/>
                </a:lnTo>
                <a:lnTo>
                  <a:pt x="55" y="75"/>
                </a:lnTo>
                <a:lnTo>
                  <a:pt x="57" y="73"/>
                </a:lnTo>
                <a:lnTo>
                  <a:pt x="59" y="73"/>
                </a:lnTo>
                <a:lnTo>
                  <a:pt x="59" y="72"/>
                </a:lnTo>
                <a:lnTo>
                  <a:pt x="59" y="70"/>
                </a:lnTo>
                <a:lnTo>
                  <a:pt x="56" y="67"/>
                </a:lnTo>
                <a:lnTo>
                  <a:pt x="56" y="62"/>
                </a:lnTo>
                <a:lnTo>
                  <a:pt x="57" y="59"/>
                </a:lnTo>
                <a:lnTo>
                  <a:pt x="59" y="56"/>
                </a:lnTo>
                <a:lnTo>
                  <a:pt x="59" y="48"/>
                </a:lnTo>
                <a:lnTo>
                  <a:pt x="60" y="36"/>
                </a:lnTo>
                <a:lnTo>
                  <a:pt x="60" y="26"/>
                </a:lnTo>
                <a:lnTo>
                  <a:pt x="64" y="14"/>
                </a:lnTo>
                <a:lnTo>
                  <a:pt x="64" y="7"/>
                </a:lnTo>
                <a:lnTo>
                  <a:pt x="64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60" name="Freeform 1287"/>
          <p:cNvSpPr>
            <a:spLocks/>
          </p:cNvSpPr>
          <p:nvPr/>
        </p:nvSpPr>
        <p:spPr bwMode="auto">
          <a:xfrm>
            <a:off x="3154608" y="3815950"/>
            <a:ext cx="120826" cy="148184"/>
          </a:xfrm>
          <a:custGeom>
            <a:avLst/>
            <a:gdLst/>
            <a:ahLst/>
            <a:cxnLst>
              <a:cxn ang="0">
                <a:pos x="61" y="0"/>
              </a:cxn>
              <a:cxn ang="0">
                <a:pos x="56" y="3"/>
              </a:cxn>
              <a:cxn ang="0">
                <a:pos x="52" y="4"/>
              </a:cxn>
              <a:cxn ang="0">
                <a:pos x="45" y="6"/>
              </a:cxn>
              <a:cxn ang="0">
                <a:pos x="43" y="4"/>
              </a:cxn>
              <a:cxn ang="0">
                <a:pos x="41" y="4"/>
              </a:cxn>
              <a:cxn ang="0">
                <a:pos x="39" y="6"/>
              </a:cxn>
              <a:cxn ang="0">
                <a:pos x="37" y="12"/>
              </a:cxn>
              <a:cxn ang="0">
                <a:pos x="33" y="14"/>
              </a:cxn>
              <a:cxn ang="0">
                <a:pos x="31" y="15"/>
              </a:cxn>
              <a:cxn ang="0">
                <a:pos x="28" y="18"/>
              </a:cxn>
              <a:cxn ang="0">
                <a:pos x="25" y="20"/>
              </a:cxn>
              <a:cxn ang="0">
                <a:pos x="21" y="17"/>
              </a:cxn>
              <a:cxn ang="0">
                <a:pos x="19" y="23"/>
              </a:cxn>
              <a:cxn ang="0">
                <a:pos x="12" y="25"/>
              </a:cxn>
              <a:cxn ang="0">
                <a:pos x="11" y="29"/>
              </a:cxn>
              <a:cxn ang="0">
                <a:pos x="10" y="34"/>
              </a:cxn>
              <a:cxn ang="0">
                <a:pos x="3" y="34"/>
              </a:cxn>
              <a:cxn ang="0">
                <a:pos x="0" y="37"/>
              </a:cxn>
              <a:cxn ang="0">
                <a:pos x="6" y="45"/>
              </a:cxn>
              <a:cxn ang="0">
                <a:pos x="16" y="56"/>
              </a:cxn>
              <a:cxn ang="0">
                <a:pos x="20" y="61"/>
              </a:cxn>
              <a:cxn ang="0">
                <a:pos x="25" y="67"/>
              </a:cxn>
              <a:cxn ang="0">
                <a:pos x="27" y="70"/>
              </a:cxn>
              <a:cxn ang="0">
                <a:pos x="31" y="67"/>
              </a:cxn>
              <a:cxn ang="0">
                <a:pos x="39" y="72"/>
              </a:cxn>
              <a:cxn ang="0">
                <a:pos x="44" y="70"/>
              </a:cxn>
              <a:cxn ang="0">
                <a:pos x="48" y="72"/>
              </a:cxn>
              <a:cxn ang="0">
                <a:pos x="52" y="75"/>
              </a:cxn>
              <a:cxn ang="0">
                <a:pos x="57" y="73"/>
              </a:cxn>
              <a:cxn ang="0">
                <a:pos x="59" y="72"/>
              </a:cxn>
              <a:cxn ang="0">
                <a:pos x="56" y="67"/>
              </a:cxn>
              <a:cxn ang="0">
                <a:pos x="57" y="59"/>
              </a:cxn>
              <a:cxn ang="0">
                <a:pos x="59" y="48"/>
              </a:cxn>
              <a:cxn ang="0">
                <a:pos x="60" y="26"/>
              </a:cxn>
              <a:cxn ang="0">
                <a:pos x="64" y="7"/>
              </a:cxn>
            </a:cxnLst>
            <a:rect l="0" t="0" r="r" b="b"/>
            <a:pathLst>
              <a:path w="64" h="75">
                <a:moveTo>
                  <a:pt x="64" y="0"/>
                </a:moveTo>
                <a:lnTo>
                  <a:pt x="61" y="0"/>
                </a:lnTo>
                <a:lnTo>
                  <a:pt x="57" y="1"/>
                </a:lnTo>
                <a:lnTo>
                  <a:pt x="56" y="3"/>
                </a:lnTo>
                <a:lnTo>
                  <a:pt x="55" y="4"/>
                </a:lnTo>
                <a:lnTo>
                  <a:pt x="52" y="4"/>
                </a:lnTo>
                <a:lnTo>
                  <a:pt x="49" y="6"/>
                </a:lnTo>
                <a:lnTo>
                  <a:pt x="45" y="6"/>
                </a:lnTo>
                <a:lnTo>
                  <a:pt x="44" y="6"/>
                </a:lnTo>
                <a:lnTo>
                  <a:pt x="43" y="4"/>
                </a:lnTo>
                <a:lnTo>
                  <a:pt x="41" y="3"/>
                </a:lnTo>
                <a:lnTo>
                  <a:pt x="41" y="4"/>
                </a:lnTo>
                <a:lnTo>
                  <a:pt x="40" y="4"/>
                </a:lnTo>
                <a:lnTo>
                  <a:pt x="39" y="6"/>
                </a:lnTo>
                <a:lnTo>
                  <a:pt x="39" y="7"/>
                </a:lnTo>
                <a:lnTo>
                  <a:pt x="37" y="12"/>
                </a:lnTo>
                <a:lnTo>
                  <a:pt x="36" y="12"/>
                </a:lnTo>
                <a:lnTo>
                  <a:pt x="33" y="14"/>
                </a:lnTo>
                <a:lnTo>
                  <a:pt x="32" y="15"/>
                </a:lnTo>
                <a:lnTo>
                  <a:pt x="31" y="15"/>
                </a:lnTo>
                <a:lnTo>
                  <a:pt x="31" y="17"/>
                </a:lnTo>
                <a:lnTo>
                  <a:pt x="28" y="18"/>
                </a:lnTo>
                <a:lnTo>
                  <a:pt x="27" y="18"/>
                </a:lnTo>
                <a:lnTo>
                  <a:pt x="25" y="20"/>
                </a:lnTo>
                <a:lnTo>
                  <a:pt x="23" y="17"/>
                </a:lnTo>
                <a:lnTo>
                  <a:pt x="21" y="17"/>
                </a:lnTo>
                <a:lnTo>
                  <a:pt x="20" y="20"/>
                </a:lnTo>
                <a:lnTo>
                  <a:pt x="19" y="23"/>
                </a:lnTo>
                <a:lnTo>
                  <a:pt x="14" y="23"/>
                </a:lnTo>
                <a:lnTo>
                  <a:pt x="12" y="25"/>
                </a:lnTo>
                <a:lnTo>
                  <a:pt x="12" y="29"/>
                </a:lnTo>
                <a:lnTo>
                  <a:pt x="11" y="29"/>
                </a:lnTo>
                <a:lnTo>
                  <a:pt x="10" y="31"/>
                </a:lnTo>
                <a:lnTo>
                  <a:pt x="10" y="34"/>
                </a:lnTo>
                <a:lnTo>
                  <a:pt x="8" y="34"/>
                </a:lnTo>
                <a:lnTo>
                  <a:pt x="3" y="34"/>
                </a:lnTo>
                <a:lnTo>
                  <a:pt x="0" y="34"/>
                </a:lnTo>
                <a:lnTo>
                  <a:pt x="0" y="37"/>
                </a:lnTo>
                <a:lnTo>
                  <a:pt x="4" y="42"/>
                </a:lnTo>
                <a:lnTo>
                  <a:pt x="6" y="45"/>
                </a:lnTo>
                <a:lnTo>
                  <a:pt x="12" y="51"/>
                </a:lnTo>
                <a:lnTo>
                  <a:pt x="16" y="56"/>
                </a:lnTo>
                <a:lnTo>
                  <a:pt x="19" y="59"/>
                </a:lnTo>
                <a:lnTo>
                  <a:pt x="20" y="61"/>
                </a:lnTo>
                <a:lnTo>
                  <a:pt x="21" y="62"/>
                </a:lnTo>
                <a:lnTo>
                  <a:pt x="25" y="67"/>
                </a:lnTo>
                <a:lnTo>
                  <a:pt x="27" y="69"/>
                </a:lnTo>
                <a:lnTo>
                  <a:pt x="27" y="70"/>
                </a:lnTo>
                <a:lnTo>
                  <a:pt x="29" y="67"/>
                </a:lnTo>
                <a:lnTo>
                  <a:pt x="31" y="67"/>
                </a:lnTo>
                <a:lnTo>
                  <a:pt x="33" y="70"/>
                </a:lnTo>
                <a:lnTo>
                  <a:pt x="39" y="72"/>
                </a:lnTo>
                <a:lnTo>
                  <a:pt x="41" y="72"/>
                </a:lnTo>
                <a:lnTo>
                  <a:pt x="44" y="70"/>
                </a:lnTo>
                <a:lnTo>
                  <a:pt x="45" y="70"/>
                </a:lnTo>
                <a:lnTo>
                  <a:pt x="48" y="72"/>
                </a:lnTo>
                <a:lnTo>
                  <a:pt x="51" y="73"/>
                </a:lnTo>
                <a:lnTo>
                  <a:pt x="52" y="75"/>
                </a:lnTo>
                <a:lnTo>
                  <a:pt x="55" y="75"/>
                </a:lnTo>
                <a:lnTo>
                  <a:pt x="57" y="73"/>
                </a:lnTo>
                <a:lnTo>
                  <a:pt x="59" y="73"/>
                </a:lnTo>
                <a:lnTo>
                  <a:pt x="59" y="72"/>
                </a:lnTo>
                <a:lnTo>
                  <a:pt x="59" y="70"/>
                </a:lnTo>
                <a:lnTo>
                  <a:pt x="56" y="67"/>
                </a:lnTo>
                <a:lnTo>
                  <a:pt x="56" y="62"/>
                </a:lnTo>
                <a:lnTo>
                  <a:pt x="57" y="59"/>
                </a:lnTo>
                <a:lnTo>
                  <a:pt x="59" y="56"/>
                </a:lnTo>
                <a:lnTo>
                  <a:pt x="59" y="48"/>
                </a:lnTo>
                <a:lnTo>
                  <a:pt x="60" y="36"/>
                </a:lnTo>
                <a:lnTo>
                  <a:pt x="60" y="26"/>
                </a:lnTo>
                <a:lnTo>
                  <a:pt x="64" y="14"/>
                </a:lnTo>
                <a:lnTo>
                  <a:pt x="64" y="7"/>
                </a:lnTo>
                <a:lnTo>
                  <a:pt x="64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61" name="Freeform 1288"/>
          <p:cNvSpPr>
            <a:spLocks/>
          </p:cNvSpPr>
          <p:nvPr/>
        </p:nvSpPr>
        <p:spPr bwMode="auto">
          <a:xfrm>
            <a:off x="3287127" y="4002790"/>
            <a:ext cx="165650" cy="88053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2" y="4"/>
              </a:cxn>
              <a:cxn ang="0">
                <a:pos x="3" y="10"/>
              </a:cxn>
              <a:cxn ang="0">
                <a:pos x="3" y="13"/>
              </a:cxn>
              <a:cxn ang="0">
                <a:pos x="3" y="19"/>
              </a:cxn>
              <a:cxn ang="0">
                <a:pos x="0" y="24"/>
              </a:cxn>
              <a:cxn ang="0">
                <a:pos x="3" y="24"/>
              </a:cxn>
              <a:cxn ang="0">
                <a:pos x="11" y="24"/>
              </a:cxn>
              <a:cxn ang="0">
                <a:pos x="16" y="27"/>
              </a:cxn>
              <a:cxn ang="0">
                <a:pos x="19" y="27"/>
              </a:cxn>
              <a:cxn ang="0">
                <a:pos x="22" y="32"/>
              </a:cxn>
              <a:cxn ang="0">
                <a:pos x="26" y="37"/>
              </a:cxn>
              <a:cxn ang="0">
                <a:pos x="28" y="35"/>
              </a:cxn>
              <a:cxn ang="0">
                <a:pos x="31" y="37"/>
              </a:cxn>
              <a:cxn ang="0">
                <a:pos x="32" y="43"/>
              </a:cxn>
              <a:cxn ang="0">
                <a:pos x="35" y="44"/>
              </a:cxn>
              <a:cxn ang="0">
                <a:pos x="42" y="40"/>
              </a:cxn>
              <a:cxn ang="0">
                <a:pos x="43" y="37"/>
              </a:cxn>
              <a:cxn ang="0">
                <a:pos x="40" y="33"/>
              </a:cxn>
              <a:cxn ang="0">
                <a:pos x="38" y="29"/>
              </a:cxn>
              <a:cxn ang="0">
                <a:pos x="40" y="24"/>
              </a:cxn>
              <a:cxn ang="0">
                <a:pos x="44" y="24"/>
              </a:cxn>
              <a:cxn ang="0">
                <a:pos x="48" y="19"/>
              </a:cxn>
              <a:cxn ang="0">
                <a:pos x="52" y="13"/>
              </a:cxn>
              <a:cxn ang="0">
                <a:pos x="56" y="11"/>
              </a:cxn>
              <a:cxn ang="0">
                <a:pos x="61" y="15"/>
              </a:cxn>
              <a:cxn ang="0">
                <a:pos x="69" y="22"/>
              </a:cxn>
              <a:cxn ang="0">
                <a:pos x="73" y="21"/>
              </a:cxn>
              <a:cxn ang="0">
                <a:pos x="75" y="24"/>
              </a:cxn>
              <a:cxn ang="0">
                <a:pos x="71" y="26"/>
              </a:cxn>
              <a:cxn ang="0">
                <a:pos x="71" y="30"/>
              </a:cxn>
              <a:cxn ang="0">
                <a:pos x="72" y="37"/>
              </a:cxn>
              <a:cxn ang="0">
                <a:pos x="76" y="41"/>
              </a:cxn>
              <a:cxn ang="0">
                <a:pos x="77" y="40"/>
              </a:cxn>
              <a:cxn ang="0">
                <a:pos x="79" y="35"/>
              </a:cxn>
              <a:cxn ang="0">
                <a:pos x="81" y="37"/>
              </a:cxn>
              <a:cxn ang="0">
                <a:pos x="85" y="32"/>
              </a:cxn>
              <a:cxn ang="0">
                <a:pos x="87" y="29"/>
              </a:cxn>
              <a:cxn ang="0">
                <a:pos x="85" y="27"/>
              </a:cxn>
              <a:cxn ang="0">
                <a:pos x="85" y="24"/>
              </a:cxn>
              <a:cxn ang="0">
                <a:pos x="84" y="19"/>
              </a:cxn>
              <a:cxn ang="0">
                <a:pos x="81" y="16"/>
              </a:cxn>
              <a:cxn ang="0">
                <a:pos x="77" y="11"/>
              </a:cxn>
              <a:cxn ang="0">
                <a:pos x="71" y="5"/>
              </a:cxn>
              <a:cxn ang="0">
                <a:pos x="63" y="4"/>
              </a:cxn>
              <a:cxn ang="0">
                <a:pos x="58" y="0"/>
              </a:cxn>
              <a:cxn ang="0">
                <a:pos x="50" y="2"/>
              </a:cxn>
              <a:cxn ang="0">
                <a:pos x="48" y="10"/>
              </a:cxn>
              <a:cxn ang="0">
                <a:pos x="46" y="7"/>
              </a:cxn>
              <a:cxn ang="0">
                <a:pos x="43" y="7"/>
              </a:cxn>
              <a:cxn ang="0">
                <a:pos x="34" y="11"/>
              </a:cxn>
              <a:cxn ang="0">
                <a:pos x="30" y="15"/>
              </a:cxn>
              <a:cxn ang="0">
                <a:pos x="27" y="15"/>
              </a:cxn>
              <a:cxn ang="0">
                <a:pos x="20" y="11"/>
              </a:cxn>
              <a:cxn ang="0">
                <a:pos x="12" y="11"/>
              </a:cxn>
              <a:cxn ang="0">
                <a:pos x="12" y="8"/>
              </a:cxn>
              <a:cxn ang="0">
                <a:pos x="10" y="4"/>
              </a:cxn>
              <a:cxn ang="0">
                <a:pos x="6" y="0"/>
              </a:cxn>
            </a:cxnLst>
            <a:rect l="0" t="0" r="r" b="b"/>
            <a:pathLst>
              <a:path w="87" h="44">
                <a:moveTo>
                  <a:pt x="6" y="0"/>
                </a:moveTo>
                <a:lnTo>
                  <a:pt x="4" y="0"/>
                </a:lnTo>
                <a:lnTo>
                  <a:pt x="3" y="0"/>
                </a:lnTo>
                <a:lnTo>
                  <a:pt x="2" y="4"/>
                </a:lnTo>
                <a:lnTo>
                  <a:pt x="2" y="8"/>
                </a:lnTo>
                <a:lnTo>
                  <a:pt x="3" y="10"/>
                </a:lnTo>
                <a:lnTo>
                  <a:pt x="4" y="11"/>
                </a:lnTo>
                <a:lnTo>
                  <a:pt x="3" y="13"/>
                </a:lnTo>
                <a:lnTo>
                  <a:pt x="3" y="15"/>
                </a:lnTo>
                <a:lnTo>
                  <a:pt x="3" y="19"/>
                </a:lnTo>
                <a:lnTo>
                  <a:pt x="2" y="21"/>
                </a:lnTo>
                <a:lnTo>
                  <a:pt x="0" y="24"/>
                </a:lnTo>
                <a:lnTo>
                  <a:pt x="2" y="27"/>
                </a:lnTo>
                <a:lnTo>
                  <a:pt x="3" y="24"/>
                </a:lnTo>
                <a:lnTo>
                  <a:pt x="6" y="24"/>
                </a:lnTo>
                <a:lnTo>
                  <a:pt x="11" y="24"/>
                </a:lnTo>
                <a:lnTo>
                  <a:pt x="12" y="26"/>
                </a:lnTo>
                <a:lnTo>
                  <a:pt x="16" y="27"/>
                </a:lnTo>
                <a:lnTo>
                  <a:pt x="18" y="27"/>
                </a:lnTo>
                <a:lnTo>
                  <a:pt x="19" y="27"/>
                </a:lnTo>
                <a:lnTo>
                  <a:pt x="20" y="29"/>
                </a:lnTo>
                <a:lnTo>
                  <a:pt x="22" y="32"/>
                </a:lnTo>
                <a:lnTo>
                  <a:pt x="23" y="33"/>
                </a:lnTo>
                <a:lnTo>
                  <a:pt x="26" y="37"/>
                </a:lnTo>
                <a:lnTo>
                  <a:pt x="27" y="37"/>
                </a:lnTo>
                <a:lnTo>
                  <a:pt x="28" y="35"/>
                </a:lnTo>
                <a:lnTo>
                  <a:pt x="30" y="33"/>
                </a:lnTo>
                <a:lnTo>
                  <a:pt x="31" y="37"/>
                </a:lnTo>
                <a:lnTo>
                  <a:pt x="31" y="40"/>
                </a:lnTo>
                <a:lnTo>
                  <a:pt x="32" y="43"/>
                </a:lnTo>
                <a:lnTo>
                  <a:pt x="32" y="44"/>
                </a:lnTo>
                <a:lnTo>
                  <a:pt x="35" y="44"/>
                </a:lnTo>
                <a:lnTo>
                  <a:pt x="38" y="44"/>
                </a:lnTo>
                <a:lnTo>
                  <a:pt x="42" y="40"/>
                </a:lnTo>
                <a:lnTo>
                  <a:pt x="43" y="38"/>
                </a:lnTo>
                <a:lnTo>
                  <a:pt x="43" y="37"/>
                </a:lnTo>
                <a:lnTo>
                  <a:pt x="42" y="35"/>
                </a:lnTo>
                <a:lnTo>
                  <a:pt x="40" y="33"/>
                </a:lnTo>
                <a:lnTo>
                  <a:pt x="38" y="30"/>
                </a:lnTo>
                <a:lnTo>
                  <a:pt x="38" y="29"/>
                </a:lnTo>
                <a:lnTo>
                  <a:pt x="38" y="27"/>
                </a:lnTo>
                <a:lnTo>
                  <a:pt x="40" y="24"/>
                </a:lnTo>
                <a:lnTo>
                  <a:pt x="43" y="24"/>
                </a:lnTo>
                <a:lnTo>
                  <a:pt x="44" y="24"/>
                </a:lnTo>
                <a:lnTo>
                  <a:pt x="46" y="22"/>
                </a:lnTo>
                <a:lnTo>
                  <a:pt x="48" y="19"/>
                </a:lnTo>
                <a:lnTo>
                  <a:pt x="51" y="15"/>
                </a:lnTo>
                <a:lnTo>
                  <a:pt x="52" y="13"/>
                </a:lnTo>
                <a:lnTo>
                  <a:pt x="55" y="11"/>
                </a:lnTo>
                <a:lnTo>
                  <a:pt x="56" y="11"/>
                </a:lnTo>
                <a:lnTo>
                  <a:pt x="58" y="11"/>
                </a:lnTo>
                <a:lnTo>
                  <a:pt x="61" y="15"/>
                </a:lnTo>
                <a:lnTo>
                  <a:pt x="65" y="18"/>
                </a:lnTo>
                <a:lnTo>
                  <a:pt x="69" y="22"/>
                </a:lnTo>
                <a:lnTo>
                  <a:pt x="71" y="21"/>
                </a:lnTo>
                <a:lnTo>
                  <a:pt x="73" y="21"/>
                </a:lnTo>
                <a:lnTo>
                  <a:pt x="75" y="22"/>
                </a:lnTo>
                <a:lnTo>
                  <a:pt x="75" y="24"/>
                </a:lnTo>
                <a:lnTo>
                  <a:pt x="73" y="24"/>
                </a:lnTo>
                <a:lnTo>
                  <a:pt x="71" y="26"/>
                </a:lnTo>
                <a:lnTo>
                  <a:pt x="71" y="27"/>
                </a:lnTo>
                <a:lnTo>
                  <a:pt x="71" y="30"/>
                </a:lnTo>
                <a:lnTo>
                  <a:pt x="71" y="35"/>
                </a:lnTo>
                <a:lnTo>
                  <a:pt x="72" y="37"/>
                </a:lnTo>
                <a:lnTo>
                  <a:pt x="75" y="40"/>
                </a:lnTo>
                <a:lnTo>
                  <a:pt x="76" y="41"/>
                </a:lnTo>
                <a:lnTo>
                  <a:pt x="77" y="41"/>
                </a:lnTo>
                <a:lnTo>
                  <a:pt x="77" y="40"/>
                </a:lnTo>
                <a:lnTo>
                  <a:pt x="79" y="38"/>
                </a:lnTo>
                <a:lnTo>
                  <a:pt x="79" y="35"/>
                </a:lnTo>
                <a:lnTo>
                  <a:pt x="80" y="35"/>
                </a:lnTo>
                <a:lnTo>
                  <a:pt x="81" y="37"/>
                </a:lnTo>
                <a:lnTo>
                  <a:pt x="83" y="35"/>
                </a:lnTo>
                <a:lnTo>
                  <a:pt x="85" y="32"/>
                </a:lnTo>
                <a:lnTo>
                  <a:pt x="87" y="30"/>
                </a:lnTo>
                <a:lnTo>
                  <a:pt x="87" y="29"/>
                </a:lnTo>
                <a:lnTo>
                  <a:pt x="87" y="27"/>
                </a:lnTo>
                <a:lnTo>
                  <a:pt x="85" y="27"/>
                </a:lnTo>
                <a:lnTo>
                  <a:pt x="85" y="26"/>
                </a:lnTo>
                <a:lnTo>
                  <a:pt x="85" y="24"/>
                </a:lnTo>
                <a:lnTo>
                  <a:pt x="83" y="22"/>
                </a:lnTo>
                <a:lnTo>
                  <a:pt x="84" y="19"/>
                </a:lnTo>
                <a:lnTo>
                  <a:pt x="84" y="18"/>
                </a:lnTo>
                <a:lnTo>
                  <a:pt x="81" y="16"/>
                </a:lnTo>
                <a:lnTo>
                  <a:pt x="79" y="11"/>
                </a:lnTo>
                <a:lnTo>
                  <a:pt x="77" y="11"/>
                </a:lnTo>
                <a:lnTo>
                  <a:pt x="73" y="7"/>
                </a:lnTo>
                <a:lnTo>
                  <a:pt x="71" y="5"/>
                </a:lnTo>
                <a:lnTo>
                  <a:pt x="67" y="4"/>
                </a:lnTo>
                <a:lnTo>
                  <a:pt x="63" y="4"/>
                </a:lnTo>
                <a:lnTo>
                  <a:pt x="60" y="2"/>
                </a:lnTo>
                <a:lnTo>
                  <a:pt x="58" y="0"/>
                </a:lnTo>
                <a:lnTo>
                  <a:pt x="52" y="0"/>
                </a:lnTo>
                <a:lnTo>
                  <a:pt x="50" y="2"/>
                </a:lnTo>
                <a:lnTo>
                  <a:pt x="48" y="4"/>
                </a:lnTo>
                <a:lnTo>
                  <a:pt x="48" y="10"/>
                </a:lnTo>
                <a:lnTo>
                  <a:pt x="46" y="10"/>
                </a:lnTo>
                <a:lnTo>
                  <a:pt x="46" y="7"/>
                </a:lnTo>
                <a:lnTo>
                  <a:pt x="44" y="7"/>
                </a:lnTo>
                <a:lnTo>
                  <a:pt x="43" y="7"/>
                </a:lnTo>
                <a:lnTo>
                  <a:pt x="38" y="10"/>
                </a:lnTo>
                <a:lnTo>
                  <a:pt x="34" y="11"/>
                </a:lnTo>
                <a:lnTo>
                  <a:pt x="32" y="11"/>
                </a:lnTo>
                <a:lnTo>
                  <a:pt x="30" y="15"/>
                </a:lnTo>
                <a:lnTo>
                  <a:pt x="28" y="15"/>
                </a:lnTo>
                <a:lnTo>
                  <a:pt x="27" y="15"/>
                </a:lnTo>
                <a:lnTo>
                  <a:pt x="26" y="15"/>
                </a:lnTo>
                <a:lnTo>
                  <a:pt x="20" y="11"/>
                </a:lnTo>
                <a:lnTo>
                  <a:pt x="19" y="11"/>
                </a:lnTo>
                <a:lnTo>
                  <a:pt x="12" y="11"/>
                </a:lnTo>
                <a:lnTo>
                  <a:pt x="12" y="10"/>
                </a:lnTo>
                <a:lnTo>
                  <a:pt x="12" y="8"/>
                </a:lnTo>
                <a:lnTo>
                  <a:pt x="11" y="7"/>
                </a:lnTo>
                <a:lnTo>
                  <a:pt x="10" y="4"/>
                </a:lnTo>
                <a:lnTo>
                  <a:pt x="7" y="2"/>
                </a:lnTo>
                <a:lnTo>
                  <a:pt x="6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62" name="Freeform 1289"/>
          <p:cNvSpPr>
            <a:spLocks/>
          </p:cNvSpPr>
          <p:nvPr/>
        </p:nvSpPr>
        <p:spPr bwMode="auto">
          <a:xfrm>
            <a:off x="3287127" y="4002790"/>
            <a:ext cx="165650" cy="88053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2" y="4"/>
              </a:cxn>
              <a:cxn ang="0">
                <a:pos x="3" y="10"/>
              </a:cxn>
              <a:cxn ang="0">
                <a:pos x="3" y="13"/>
              </a:cxn>
              <a:cxn ang="0">
                <a:pos x="3" y="19"/>
              </a:cxn>
              <a:cxn ang="0">
                <a:pos x="0" y="24"/>
              </a:cxn>
              <a:cxn ang="0">
                <a:pos x="3" y="24"/>
              </a:cxn>
              <a:cxn ang="0">
                <a:pos x="11" y="24"/>
              </a:cxn>
              <a:cxn ang="0">
                <a:pos x="16" y="27"/>
              </a:cxn>
              <a:cxn ang="0">
                <a:pos x="19" y="27"/>
              </a:cxn>
              <a:cxn ang="0">
                <a:pos x="22" y="32"/>
              </a:cxn>
              <a:cxn ang="0">
                <a:pos x="26" y="37"/>
              </a:cxn>
              <a:cxn ang="0">
                <a:pos x="28" y="35"/>
              </a:cxn>
              <a:cxn ang="0">
                <a:pos x="31" y="37"/>
              </a:cxn>
              <a:cxn ang="0">
                <a:pos x="32" y="43"/>
              </a:cxn>
              <a:cxn ang="0">
                <a:pos x="35" y="44"/>
              </a:cxn>
              <a:cxn ang="0">
                <a:pos x="42" y="40"/>
              </a:cxn>
              <a:cxn ang="0">
                <a:pos x="43" y="37"/>
              </a:cxn>
              <a:cxn ang="0">
                <a:pos x="40" y="33"/>
              </a:cxn>
              <a:cxn ang="0">
                <a:pos x="38" y="29"/>
              </a:cxn>
              <a:cxn ang="0">
                <a:pos x="40" y="24"/>
              </a:cxn>
              <a:cxn ang="0">
                <a:pos x="44" y="24"/>
              </a:cxn>
              <a:cxn ang="0">
                <a:pos x="48" y="19"/>
              </a:cxn>
              <a:cxn ang="0">
                <a:pos x="52" y="13"/>
              </a:cxn>
              <a:cxn ang="0">
                <a:pos x="56" y="11"/>
              </a:cxn>
              <a:cxn ang="0">
                <a:pos x="61" y="15"/>
              </a:cxn>
              <a:cxn ang="0">
                <a:pos x="69" y="22"/>
              </a:cxn>
              <a:cxn ang="0">
                <a:pos x="73" y="21"/>
              </a:cxn>
              <a:cxn ang="0">
                <a:pos x="75" y="24"/>
              </a:cxn>
              <a:cxn ang="0">
                <a:pos x="71" y="26"/>
              </a:cxn>
              <a:cxn ang="0">
                <a:pos x="71" y="30"/>
              </a:cxn>
              <a:cxn ang="0">
                <a:pos x="72" y="37"/>
              </a:cxn>
              <a:cxn ang="0">
                <a:pos x="76" y="41"/>
              </a:cxn>
              <a:cxn ang="0">
                <a:pos x="77" y="40"/>
              </a:cxn>
              <a:cxn ang="0">
                <a:pos x="79" y="35"/>
              </a:cxn>
              <a:cxn ang="0">
                <a:pos x="81" y="37"/>
              </a:cxn>
              <a:cxn ang="0">
                <a:pos x="85" y="32"/>
              </a:cxn>
              <a:cxn ang="0">
                <a:pos x="87" y="29"/>
              </a:cxn>
              <a:cxn ang="0">
                <a:pos x="85" y="27"/>
              </a:cxn>
              <a:cxn ang="0">
                <a:pos x="85" y="24"/>
              </a:cxn>
              <a:cxn ang="0">
                <a:pos x="84" y="19"/>
              </a:cxn>
              <a:cxn ang="0">
                <a:pos x="81" y="16"/>
              </a:cxn>
              <a:cxn ang="0">
                <a:pos x="77" y="11"/>
              </a:cxn>
              <a:cxn ang="0">
                <a:pos x="71" y="5"/>
              </a:cxn>
              <a:cxn ang="0">
                <a:pos x="63" y="4"/>
              </a:cxn>
              <a:cxn ang="0">
                <a:pos x="58" y="0"/>
              </a:cxn>
              <a:cxn ang="0">
                <a:pos x="50" y="2"/>
              </a:cxn>
              <a:cxn ang="0">
                <a:pos x="48" y="10"/>
              </a:cxn>
              <a:cxn ang="0">
                <a:pos x="46" y="7"/>
              </a:cxn>
              <a:cxn ang="0">
                <a:pos x="43" y="7"/>
              </a:cxn>
              <a:cxn ang="0">
                <a:pos x="34" y="11"/>
              </a:cxn>
              <a:cxn ang="0">
                <a:pos x="30" y="15"/>
              </a:cxn>
              <a:cxn ang="0">
                <a:pos x="27" y="15"/>
              </a:cxn>
              <a:cxn ang="0">
                <a:pos x="20" y="11"/>
              </a:cxn>
              <a:cxn ang="0">
                <a:pos x="12" y="11"/>
              </a:cxn>
              <a:cxn ang="0">
                <a:pos x="12" y="8"/>
              </a:cxn>
              <a:cxn ang="0">
                <a:pos x="10" y="4"/>
              </a:cxn>
              <a:cxn ang="0">
                <a:pos x="6" y="0"/>
              </a:cxn>
            </a:cxnLst>
            <a:rect l="0" t="0" r="r" b="b"/>
            <a:pathLst>
              <a:path w="87" h="44">
                <a:moveTo>
                  <a:pt x="6" y="0"/>
                </a:moveTo>
                <a:lnTo>
                  <a:pt x="4" y="0"/>
                </a:lnTo>
                <a:lnTo>
                  <a:pt x="3" y="0"/>
                </a:lnTo>
                <a:lnTo>
                  <a:pt x="2" y="4"/>
                </a:lnTo>
                <a:lnTo>
                  <a:pt x="2" y="8"/>
                </a:lnTo>
                <a:lnTo>
                  <a:pt x="3" y="10"/>
                </a:lnTo>
                <a:lnTo>
                  <a:pt x="4" y="11"/>
                </a:lnTo>
                <a:lnTo>
                  <a:pt x="3" y="13"/>
                </a:lnTo>
                <a:lnTo>
                  <a:pt x="3" y="15"/>
                </a:lnTo>
                <a:lnTo>
                  <a:pt x="3" y="19"/>
                </a:lnTo>
                <a:lnTo>
                  <a:pt x="2" y="21"/>
                </a:lnTo>
                <a:lnTo>
                  <a:pt x="0" y="24"/>
                </a:lnTo>
                <a:lnTo>
                  <a:pt x="2" y="27"/>
                </a:lnTo>
                <a:lnTo>
                  <a:pt x="3" y="24"/>
                </a:lnTo>
                <a:lnTo>
                  <a:pt x="6" y="24"/>
                </a:lnTo>
                <a:lnTo>
                  <a:pt x="11" y="24"/>
                </a:lnTo>
                <a:lnTo>
                  <a:pt x="12" y="26"/>
                </a:lnTo>
                <a:lnTo>
                  <a:pt x="16" y="27"/>
                </a:lnTo>
                <a:lnTo>
                  <a:pt x="18" y="27"/>
                </a:lnTo>
                <a:lnTo>
                  <a:pt x="19" y="27"/>
                </a:lnTo>
                <a:lnTo>
                  <a:pt x="20" y="29"/>
                </a:lnTo>
                <a:lnTo>
                  <a:pt x="22" y="32"/>
                </a:lnTo>
                <a:lnTo>
                  <a:pt x="23" y="33"/>
                </a:lnTo>
                <a:lnTo>
                  <a:pt x="26" y="37"/>
                </a:lnTo>
                <a:lnTo>
                  <a:pt x="27" y="37"/>
                </a:lnTo>
                <a:lnTo>
                  <a:pt x="28" y="35"/>
                </a:lnTo>
                <a:lnTo>
                  <a:pt x="30" y="33"/>
                </a:lnTo>
                <a:lnTo>
                  <a:pt x="31" y="37"/>
                </a:lnTo>
                <a:lnTo>
                  <a:pt x="31" y="40"/>
                </a:lnTo>
                <a:lnTo>
                  <a:pt x="32" y="43"/>
                </a:lnTo>
                <a:lnTo>
                  <a:pt x="32" y="44"/>
                </a:lnTo>
                <a:lnTo>
                  <a:pt x="35" y="44"/>
                </a:lnTo>
                <a:lnTo>
                  <a:pt x="38" y="44"/>
                </a:lnTo>
                <a:lnTo>
                  <a:pt x="42" y="40"/>
                </a:lnTo>
                <a:lnTo>
                  <a:pt x="43" y="38"/>
                </a:lnTo>
                <a:lnTo>
                  <a:pt x="43" y="37"/>
                </a:lnTo>
                <a:lnTo>
                  <a:pt x="42" y="35"/>
                </a:lnTo>
                <a:lnTo>
                  <a:pt x="40" y="33"/>
                </a:lnTo>
                <a:lnTo>
                  <a:pt x="38" y="30"/>
                </a:lnTo>
                <a:lnTo>
                  <a:pt x="38" y="29"/>
                </a:lnTo>
                <a:lnTo>
                  <a:pt x="38" y="27"/>
                </a:lnTo>
                <a:lnTo>
                  <a:pt x="40" y="24"/>
                </a:lnTo>
                <a:lnTo>
                  <a:pt x="43" y="24"/>
                </a:lnTo>
                <a:lnTo>
                  <a:pt x="44" y="24"/>
                </a:lnTo>
                <a:lnTo>
                  <a:pt x="46" y="22"/>
                </a:lnTo>
                <a:lnTo>
                  <a:pt x="48" y="19"/>
                </a:lnTo>
                <a:lnTo>
                  <a:pt x="51" y="15"/>
                </a:lnTo>
                <a:lnTo>
                  <a:pt x="52" y="13"/>
                </a:lnTo>
                <a:lnTo>
                  <a:pt x="55" y="11"/>
                </a:lnTo>
                <a:lnTo>
                  <a:pt x="56" y="11"/>
                </a:lnTo>
                <a:lnTo>
                  <a:pt x="58" y="11"/>
                </a:lnTo>
                <a:lnTo>
                  <a:pt x="61" y="15"/>
                </a:lnTo>
                <a:lnTo>
                  <a:pt x="65" y="18"/>
                </a:lnTo>
                <a:lnTo>
                  <a:pt x="69" y="22"/>
                </a:lnTo>
                <a:lnTo>
                  <a:pt x="71" y="21"/>
                </a:lnTo>
                <a:lnTo>
                  <a:pt x="73" y="21"/>
                </a:lnTo>
                <a:lnTo>
                  <a:pt x="75" y="22"/>
                </a:lnTo>
                <a:lnTo>
                  <a:pt x="75" y="24"/>
                </a:lnTo>
                <a:lnTo>
                  <a:pt x="73" y="24"/>
                </a:lnTo>
                <a:lnTo>
                  <a:pt x="71" y="26"/>
                </a:lnTo>
                <a:lnTo>
                  <a:pt x="71" y="27"/>
                </a:lnTo>
                <a:lnTo>
                  <a:pt x="71" y="30"/>
                </a:lnTo>
                <a:lnTo>
                  <a:pt x="71" y="35"/>
                </a:lnTo>
                <a:lnTo>
                  <a:pt x="72" y="37"/>
                </a:lnTo>
                <a:lnTo>
                  <a:pt x="75" y="40"/>
                </a:lnTo>
                <a:lnTo>
                  <a:pt x="76" y="41"/>
                </a:lnTo>
                <a:lnTo>
                  <a:pt x="77" y="41"/>
                </a:lnTo>
                <a:lnTo>
                  <a:pt x="77" y="40"/>
                </a:lnTo>
                <a:lnTo>
                  <a:pt x="79" y="38"/>
                </a:lnTo>
                <a:lnTo>
                  <a:pt x="79" y="35"/>
                </a:lnTo>
                <a:lnTo>
                  <a:pt x="80" y="35"/>
                </a:lnTo>
                <a:lnTo>
                  <a:pt x="81" y="37"/>
                </a:lnTo>
                <a:lnTo>
                  <a:pt x="83" y="35"/>
                </a:lnTo>
                <a:lnTo>
                  <a:pt x="85" y="32"/>
                </a:lnTo>
                <a:lnTo>
                  <a:pt x="87" y="30"/>
                </a:lnTo>
                <a:lnTo>
                  <a:pt x="87" y="29"/>
                </a:lnTo>
                <a:lnTo>
                  <a:pt x="87" y="27"/>
                </a:lnTo>
                <a:lnTo>
                  <a:pt x="85" y="27"/>
                </a:lnTo>
                <a:lnTo>
                  <a:pt x="85" y="26"/>
                </a:lnTo>
                <a:lnTo>
                  <a:pt x="85" y="24"/>
                </a:lnTo>
                <a:lnTo>
                  <a:pt x="83" y="22"/>
                </a:lnTo>
                <a:lnTo>
                  <a:pt x="84" y="19"/>
                </a:lnTo>
                <a:lnTo>
                  <a:pt x="84" y="18"/>
                </a:lnTo>
                <a:lnTo>
                  <a:pt x="81" y="16"/>
                </a:lnTo>
                <a:lnTo>
                  <a:pt x="79" y="11"/>
                </a:lnTo>
                <a:lnTo>
                  <a:pt x="77" y="11"/>
                </a:lnTo>
                <a:lnTo>
                  <a:pt x="73" y="7"/>
                </a:lnTo>
                <a:lnTo>
                  <a:pt x="71" y="5"/>
                </a:lnTo>
                <a:lnTo>
                  <a:pt x="67" y="4"/>
                </a:lnTo>
                <a:lnTo>
                  <a:pt x="63" y="4"/>
                </a:lnTo>
                <a:lnTo>
                  <a:pt x="60" y="2"/>
                </a:lnTo>
                <a:lnTo>
                  <a:pt x="58" y="0"/>
                </a:lnTo>
                <a:lnTo>
                  <a:pt x="52" y="0"/>
                </a:lnTo>
                <a:lnTo>
                  <a:pt x="50" y="2"/>
                </a:lnTo>
                <a:lnTo>
                  <a:pt x="48" y="4"/>
                </a:lnTo>
                <a:lnTo>
                  <a:pt x="48" y="10"/>
                </a:lnTo>
                <a:lnTo>
                  <a:pt x="46" y="10"/>
                </a:lnTo>
                <a:lnTo>
                  <a:pt x="46" y="7"/>
                </a:lnTo>
                <a:lnTo>
                  <a:pt x="44" y="7"/>
                </a:lnTo>
                <a:lnTo>
                  <a:pt x="43" y="7"/>
                </a:lnTo>
                <a:lnTo>
                  <a:pt x="38" y="10"/>
                </a:lnTo>
                <a:lnTo>
                  <a:pt x="34" y="11"/>
                </a:lnTo>
                <a:lnTo>
                  <a:pt x="32" y="11"/>
                </a:lnTo>
                <a:lnTo>
                  <a:pt x="30" y="15"/>
                </a:lnTo>
                <a:lnTo>
                  <a:pt x="28" y="15"/>
                </a:lnTo>
                <a:lnTo>
                  <a:pt x="27" y="15"/>
                </a:lnTo>
                <a:lnTo>
                  <a:pt x="26" y="15"/>
                </a:lnTo>
                <a:lnTo>
                  <a:pt x="20" y="11"/>
                </a:lnTo>
                <a:lnTo>
                  <a:pt x="19" y="11"/>
                </a:lnTo>
                <a:lnTo>
                  <a:pt x="12" y="11"/>
                </a:lnTo>
                <a:lnTo>
                  <a:pt x="12" y="10"/>
                </a:lnTo>
                <a:lnTo>
                  <a:pt x="12" y="8"/>
                </a:lnTo>
                <a:lnTo>
                  <a:pt x="11" y="7"/>
                </a:lnTo>
                <a:lnTo>
                  <a:pt x="10" y="4"/>
                </a:lnTo>
                <a:lnTo>
                  <a:pt x="7" y="2"/>
                </a:lnTo>
                <a:lnTo>
                  <a:pt x="6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63" name="Freeform 1290"/>
          <p:cNvSpPr>
            <a:spLocks/>
          </p:cNvSpPr>
          <p:nvPr/>
        </p:nvSpPr>
        <p:spPr bwMode="auto">
          <a:xfrm>
            <a:off x="3022089" y="3710715"/>
            <a:ext cx="109133" cy="150333"/>
          </a:xfrm>
          <a:custGeom>
            <a:avLst/>
            <a:gdLst/>
            <a:ahLst/>
            <a:cxnLst>
              <a:cxn ang="0">
                <a:pos x="20" y="1"/>
              </a:cxn>
              <a:cxn ang="0">
                <a:pos x="10" y="9"/>
              </a:cxn>
              <a:cxn ang="0">
                <a:pos x="22" y="20"/>
              </a:cxn>
              <a:cxn ang="0">
                <a:pos x="25" y="25"/>
              </a:cxn>
              <a:cxn ang="0">
                <a:pos x="26" y="31"/>
              </a:cxn>
              <a:cxn ang="0">
                <a:pos x="18" y="31"/>
              </a:cxn>
              <a:cxn ang="0">
                <a:pos x="5" y="44"/>
              </a:cxn>
              <a:cxn ang="0">
                <a:pos x="2" y="48"/>
              </a:cxn>
              <a:cxn ang="0">
                <a:pos x="1" y="50"/>
              </a:cxn>
              <a:cxn ang="0">
                <a:pos x="2" y="53"/>
              </a:cxn>
              <a:cxn ang="0">
                <a:pos x="1" y="59"/>
              </a:cxn>
              <a:cxn ang="0">
                <a:pos x="1" y="61"/>
              </a:cxn>
              <a:cxn ang="0">
                <a:pos x="2" y="63"/>
              </a:cxn>
              <a:cxn ang="0">
                <a:pos x="9" y="67"/>
              </a:cxn>
              <a:cxn ang="0">
                <a:pos x="13" y="70"/>
              </a:cxn>
              <a:cxn ang="0">
                <a:pos x="18" y="72"/>
              </a:cxn>
              <a:cxn ang="0">
                <a:pos x="26" y="72"/>
              </a:cxn>
              <a:cxn ang="0">
                <a:pos x="33" y="75"/>
              </a:cxn>
              <a:cxn ang="0">
                <a:pos x="34" y="70"/>
              </a:cxn>
              <a:cxn ang="0">
                <a:pos x="38" y="67"/>
              </a:cxn>
              <a:cxn ang="0">
                <a:pos x="41" y="66"/>
              </a:cxn>
              <a:cxn ang="0">
                <a:pos x="42" y="61"/>
              </a:cxn>
              <a:cxn ang="0">
                <a:pos x="45" y="58"/>
              </a:cxn>
              <a:cxn ang="0">
                <a:pos x="45" y="55"/>
              </a:cxn>
              <a:cxn ang="0">
                <a:pos x="48" y="50"/>
              </a:cxn>
              <a:cxn ang="0">
                <a:pos x="52" y="47"/>
              </a:cxn>
              <a:cxn ang="0">
                <a:pos x="58" y="41"/>
              </a:cxn>
              <a:cxn ang="0">
                <a:pos x="57" y="37"/>
              </a:cxn>
              <a:cxn ang="0">
                <a:pos x="54" y="39"/>
              </a:cxn>
              <a:cxn ang="0">
                <a:pos x="52" y="37"/>
              </a:cxn>
              <a:cxn ang="0">
                <a:pos x="50" y="36"/>
              </a:cxn>
              <a:cxn ang="0">
                <a:pos x="45" y="34"/>
              </a:cxn>
              <a:cxn ang="0">
                <a:pos x="46" y="0"/>
              </a:cxn>
            </a:cxnLst>
            <a:rect l="0" t="0" r="r" b="b"/>
            <a:pathLst>
              <a:path w="58" h="75">
                <a:moveTo>
                  <a:pt x="46" y="0"/>
                </a:moveTo>
                <a:lnTo>
                  <a:pt x="20" y="1"/>
                </a:lnTo>
                <a:lnTo>
                  <a:pt x="20" y="9"/>
                </a:lnTo>
                <a:lnTo>
                  <a:pt x="10" y="9"/>
                </a:lnTo>
                <a:lnTo>
                  <a:pt x="17" y="17"/>
                </a:lnTo>
                <a:lnTo>
                  <a:pt x="22" y="20"/>
                </a:lnTo>
                <a:lnTo>
                  <a:pt x="22" y="23"/>
                </a:lnTo>
                <a:lnTo>
                  <a:pt x="25" y="25"/>
                </a:lnTo>
                <a:lnTo>
                  <a:pt x="26" y="26"/>
                </a:lnTo>
                <a:lnTo>
                  <a:pt x="26" y="31"/>
                </a:lnTo>
                <a:lnTo>
                  <a:pt x="25" y="31"/>
                </a:lnTo>
                <a:lnTo>
                  <a:pt x="18" y="31"/>
                </a:lnTo>
                <a:lnTo>
                  <a:pt x="10" y="33"/>
                </a:lnTo>
                <a:lnTo>
                  <a:pt x="5" y="44"/>
                </a:lnTo>
                <a:lnTo>
                  <a:pt x="4" y="45"/>
                </a:lnTo>
                <a:lnTo>
                  <a:pt x="2" y="48"/>
                </a:lnTo>
                <a:lnTo>
                  <a:pt x="2" y="50"/>
                </a:lnTo>
                <a:lnTo>
                  <a:pt x="1" y="50"/>
                </a:lnTo>
                <a:lnTo>
                  <a:pt x="2" y="52"/>
                </a:lnTo>
                <a:lnTo>
                  <a:pt x="2" y="53"/>
                </a:lnTo>
                <a:lnTo>
                  <a:pt x="1" y="55"/>
                </a:lnTo>
                <a:lnTo>
                  <a:pt x="1" y="59"/>
                </a:lnTo>
                <a:lnTo>
                  <a:pt x="0" y="59"/>
                </a:lnTo>
                <a:lnTo>
                  <a:pt x="1" y="61"/>
                </a:lnTo>
                <a:lnTo>
                  <a:pt x="2" y="61"/>
                </a:lnTo>
                <a:lnTo>
                  <a:pt x="2" y="63"/>
                </a:lnTo>
                <a:lnTo>
                  <a:pt x="5" y="64"/>
                </a:lnTo>
                <a:lnTo>
                  <a:pt x="9" y="67"/>
                </a:lnTo>
                <a:lnTo>
                  <a:pt x="10" y="69"/>
                </a:lnTo>
                <a:lnTo>
                  <a:pt x="13" y="70"/>
                </a:lnTo>
                <a:lnTo>
                  <a:pt x="16" y="70"/>
                </a:lnTo>
                <a:lnTo>
                  <a:pt x="18" y="72"/>
                </a:lnTo>
                <a:lnTo>
                  <a:pt x="24" y="72"/>
                </a:lnTo>
                <a:lnTo>
                  <a:pt x="26" y="72"/>
                </a:lnTo>
                <a:lnTo>
                  <a:pt x="30" y="74"/>
                </a:lnTo>
                <a:lnTo>
                  <a:pt x="33" y="75"/>
                </a:lnTo>
                <a:lnTo>
                  <a:pt x="33" y="74"/>
                </a:lnTo>
                <a:lnTo>
                  <a:pt x="34" y="70"/>
                </a:lnTo>
                <a:lnTo>
                  <a:pt x="37" y="69"/>
                </a:lnTo>
                <a:lnTo>
                  <a:pt x="38" y="67"/>
                </a:lnTo>
                <a:lnTo>
                  <a:pt x="40" y="67"/>
                </a:lnTo>
                <a:lnTo>
                  <a:pt x="41" y="66"/>
                </a:lnTo>
                <a:lnTo>
                  <a:pt x="41" y="63"/>
                </a:lnTo>
                <a:lnTo>
                  <a:pt x="42" y="61"/>
                </a:lnTo>
                <a:lnTo>
                  <a:pt x="44" y="59"/>
                </a:lnTo>
                <a:lnTo>
                  <a:pt x="45" y="58"/>
                </a:lnTo>
                <a:lnTo>
                  <a:pt x="45" y="56"/>
                </a:lnTo>
                <a:lnTo>
                  <a:pt x="45" y="55"/>
                </a:lnTo>
                <a:lnTo>
                  <a:pt x="45" y="53"/>
                </a:lnTo>
                <a:lnTo>
                  <a:pt x="48" y="50"/>
                </a:lnTo>
                <a:lnTo>
                  <a:pt x="49" y="50"/>
                </a:lnTo>
                <a:lnTo>
                  <a:pt x="52" y="47"/>
                </a:lnTo>
                <a:lnTo>
                  <a:pt x="57" y="42"/>
                </a:lnTo>
                <a:lnTo>
                  <a:pt x="58" y="41"/>
                </a:lnTo>
                <a:lnTo>
                  <a:pt x="58" y="39"/>
                </a:lnTo>
                <a:lnTo>
                  <a:pt x="57" y="37"/>
                </a:lnTo>
                <a:lnTo>
                  <a:pt x="56" y="37"/>
                </a:lnTo>
                <a:lnTo>
                  <a:pt x="54" y="39"/>
                </a:lnTo>
                <a:lnTo>
                  <a:pt x="53" y="39"/>
                </a:lnTo>
                <a:lnTo>
                  <a:pt x="52" y="37"/>
                </a:lnTo>
                <a:lnTo>
                  <a:pt x="50" y="34"/>
                </a:lnTo>
                <a:lnTo>
                  <a:pt x="50" y="36"/>
                </a:lnTo>
                <a:lnTo>
                  <a:pt x="48" y="34"/>
                </a:lnTo>
                <a:lnTo>
                  <a:pt x="45" y="34"/>
                </a:lnTo>
                <a:lnTo>
                  <a:pt x="45" y="23"/>
                </a:lnTo>
                <a:lnTo>
                  <a:pt x="46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64" name="Freeform 1291"/>
          <p:cNvSpPr>
            <a:spLocks/>
          </p:cNvSpPr>
          <p:nvPr/>
        </p:nvSpPr>
        <p:spPr bwMode="auto">
          <a:xfrm>
            <a:off x="3022089" y="3710715"/>
            <a:ext cx="109133" cy="150333"/>
          </a:xfrm>
          <a:custGeom>
            <a:avLst/>
            <a:gdLst/>
            <a:ahLst/>
            <a:cxnLst>
              <a:cxn ang="0">
                <a:pos x="20" y="1"/>
              </a:cxn>
              <a:cxn ang="0">
                <a:pos x="10" y="9"/>
              </a:cxn>
              <a:cxn ang="0">
                <a:pos x="22" y="20"/>
              </a:cxn>
              <a:cxn ang="0">
                <a:pos x="25" y="25"/>
              </a:cxn>
              <a:cxn ang="0">
                <a:pos x="26" y="31"/>
              </a:cxn>
              <a:cxn ang="0">
                <a:pos x="18" y="31"/>
              </a:cxn>
              <a:cxn ang="0">
                <a:pos x="5" y="44"/>
              </a:cxn>
              <a:cxn ang="0">
                <a:pos x="2" y="48"/>
              </a:cxn>
              <a:cxn ang="0">
                <a:pos x="1" y="50"/>
              </a:cxn>
              <a:cxn ang="0">
                <a:pos x="2" y="53"/>
              </a:cxn>
              <a:cxn ang="0">
                <a:pos x="1" y="59"/>
              </a:cxn>
              <a:cxn ang="0">
                <a:pos x="1" y="61"/>
              </a:cxn>
              <a:cxn ang="0">
                <a:pos x="2" y="63"/>
              </a:cxn>
              <a:cxn ang="0">
                <a:pos x="9" y="67"/>
              </a:cxn>
              <a:cxn ang="0">
                <a:pos x="13" y="70"/>
              </a:cxn>
              <a:cxn ang="0">
                <a:pos x="18" y="72"/>
              </a:cxn>
              <a:cxn ang="0">
                <a:pos x="26" y="72"/>
              </a:cxn>
              <a:cxn ang="0">
                <a:pos x="33" y="75"/>
              </a:cxn>
              <a:cxn ang="0">
                <a:pos x="34" y="70"/>
              </a:cxn>
              <a:cxn ang="0">
                <a:pos x="38" y="67"/>
              </a:cxn>
              <a:cxn ang="0">
                <a:pos x="41" y="66"/>
              </a:cxn>
              <a:cxn ang="0">
                <a:pos x="42" y="61"/>
              </a:cxn>
              <a:cxn ang="0">
                <a:pos x="45" y="58"/>
              </a:cxn>
              <a:cxn ang="0">
                <a:pos x="45" y="55"/>
              </a:cxn>
              <a:cxn ang="0">
                <a:pos x="48" y="50"/>
              </a:cxn>
              <a:cxn ang="0">
                <a:pos x="52" y="47"/>
              </a:cxn>
              <a:cxn ang="0">
                <a:pos x="58" y="41"/>
              </a:cxn>
              <a:cxn ang="0">
                <a:pos x="57" y="37"/>
              </a:cxn>
              <a:cxn ang="0">
                <a:pos x="54" y="39"/>
              </a:cxn>
              <a:cxn ang="0">
                <a:pos x="52" y="37"/>
              </a:cxn>
              <a:cxn ang="0">
                <a:pos x="50" y="36"/>
              </a:cxn>
              <a:cxn ang="0">
                <a:pos x="45" y="34"/>
              </a:cxn>
              <a:cxn ang="0">
                <a:pos x="46" y="0"/>
              </a:cxn>
            </a:cxnLst>
            <a:rect l="0" t="0" r="r" b="b"/>
            <a:pathLst>
              <a:path w="58" h="75">
                <a:moveTo>
                  <a:pt x="46" y="0"/>
                </a:moveTo>
                <a:lnTo>
                  <a:pt x="20" y="1"/>
                </a:lnTo>
                <a:lnTo>
                  <a:pt x="20" y="9"/>
                </a:lnTo>
                <a:lnTo>
                  <a:pt x="10" y="9"/>
                </a:lnTo>
                <a:lnTo>
                  <a:pt x="17" y="17"/>
                </a:lnTo>
                <a:lnTo>
                  <a:pt x="22" y="20"/>
                </a:lnTo>
                <a:lnTo>
                  <a:pt x="22" y="23"/>
                </a:lnTo>
                <a:lnTo>
                  <a:pt x="25" y="25"/>
                </a:lnTo>
                <a:lnTo>
                  <a:pt x="26" y="26"/>
                </a:lnTo>
                <a:lnTo>
                  <a:pt x="26" y="31"/>
                </a:lnTo>
                <a:lnTo>
                  <a:pt x="25" y="31"/>
                </a:lnTo>
                <a:lnTo>
                  <a:pt x="18" y="31"/>
                </a:lnTo>
                <a:lnTo>
                  <a:pt x="10" y="33"/>
                </a:lnTo>
                <a:lnTo>
                  <a:pt x="5" y="44"/>
                </a:lnTo>
                <a:lnTo>
                  <a:pt x="4" y="45"/>
                </a:lnTo>
                <a:lnTo>
                  <a:pt x="2" y="48"/>
                </a:lnTo>
                <a:lnTo>
                  <a:pt x="2" y="50"/>
                </a:lnTo>
                <a:lnTo>
                  <a:pt x="1" y="50"/>
                </a:lnTo>
                <a:lnTo>
                  <a:pt x="2" y="52"/>
                </a:lnTo>
                <a:lnTo>
                  <a:pt x="2" y="53"/>
                </a:lnTo>
                <a:lnTo>
                  <a:pt x="1" y="55"/>
                </a:lnTo>
                <a:lnTo>
                  <a:pt x="1" y="59"/>
                </a:lnTo>
                <a:lnTo>
                  <a:pt x="0" y="59"/>
                </a:lnTo>
                <a:lnTo>
                  <a:pt x="1" y="61"/>
                </a:lnTo>
                <a:lnTo>
                  <a:pt x="2" y="61"/>
                </a:lnTo>
                <a:lnTo>
                  <a:pt x="2" y="63"/>
                </a:lnTo>
                <a:lnTo>
                  <a:pt x="5" y="64"/>
                </a:lnTo>
                <a:lnTo>
                  <a:pt x="9" y="67"/>
                </a:lnTo>
                <a:lnTo>
                  <a:pt x="10" y="69"/>
                </a:lnTo>
                <a:lnTo>
                  <a:pt x="13" y="70"/>
                </a:lnTo>
                <a:lnTo>
                  <a:pt x="16" y="70"/>
                </a:lnTo>
                <a:lnTo>
                  <a:pt x="18" y="72"/>
                </a:lnTo>
                <a:lnTo>
                  <a:pt x="24" y="72"/>
                </a:lnTo>
                <a:lnTo>
                  <a:pt x="26" y="72"/>
                </a:lnTo>
                <a:lnTo>
                  <a:pt x="30" y="74"/>
                </a:lnTo>
                <a:lnTo>
                  <a:pt x="33" y="75"/>
                </a:lnTo>
                <a:lnTo>
                  <a:pt x="33" y="74"/>
                </a:lnTo>
                <a:lnTo>
                  <a:pt x="34" y="70"/>
                </a:lnTo>
                <a:lnTo>
                  <a:pt x="37" y="69"/>
                </a:lnTo>
                <a:lnTo>
                  <a:pt x="38" y="67"/>
                </a:lnTo>
                <a:lnTo>
                  <a:pt x="40" y="67"/>
                </a:lnTo>
                <a:lnTo>
                  <a:pt x="41" y="66"/>
                </a:lnTo>
                <a:lnTo>
                  <a:pt x="41" y="63"/>
                </a:lnTo>
                <a:lnTo>
                  <a:pt x="42" y="61"/>
                </a:lnTo>
                <a:lnTo>
                  <a:pt x="44" y="59"/>
                </a:lnTo>
                <a:lnTo>
                  <a:pt x="45" y="58"/>
                </a:lnTo>
                <a:lnTo>
                  <a:pt x="45" y="56"/>
                </a:lnTo>
                <a:lnTo>
                  <a:pt x="45" y="55"/>
                </a:lnTo>
                <a:lnTo>
                  <a:pt x="45" y="53"/>
                </a:lnTo>
                <a:lnTo>
                  <a:pt x="48" y="50"/>
                </a:lnTo>
                <a:lnTo>
                  <a:pt x="49" y="50"/>
                </a:lnTo>
                <a:lnTo>
                  <a:pt x="52" y="47"/>
                </a:lnTo>
                <a:lnTo>
                  <a:pt x="57" y="42"/>
                </a:lnTo>
                <a:lnTo>
                  <a:pt x="58" y="41"/>
                </a:lnTo>
                <a:lnTo>
                  <a:pt x="58" y="39"/>
                </a:lnTo>
                <a:lnTo>
                  <a:pt x="57" y="37"/>
                </a:lnTo>
                <a:lnTo>
                  <a:pt x="56" y="37"/>
                </a:lnTo>
                <a:lnTo>
                  <a:pt x="54" y="39"/>
                </a:lnTo>
                <a:lnTo>
                  <a:pt x="53" y="39"/>
                </a:lnTo>
                <a:lnTo>
                  <a:pt x="52" y="37"/>
                </a:lnTo>
                <a:lnTo>
                  <a:pt x="50" y="34"/>
                </a:lnTo>
                <a:lnTo>
                  <a:pt x="50" y="36"/>
                </a:lnTo>
                <a:lnTo>
                  <a:pt x="48" y="34"/>
                </a:lnTo>
                <a:lnTo>
                  <a:pt x="45" y="34"/>
                </a:lnTo>
                <a:lnTo>
                  <a:pt x="45" y="23"/>
                </a:lnTo>
                <a:lnTo>
                  <a:pt x="46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65" name="Freeform 1292"/>
          <p:cNvSpPr>
            <a:spLocks/>
          </p:cNvSpPr>
          <p:nvPr/>
        </p:nvSpPr>
        <p:spPr bwMode="auto">
          <a:xfrm>
            <a:off x="3606733" y="3641992"/>
            <a:ext cx="101338" cy="81609"/>
          </a:xfrm>
          <a:custGeom>
            <a:avLst/>
            <a:gdLst/>
            <a:ahLst/>
            <a:cxnLst>
              <a:cxn ang="0">
                <a:pos x="1" y="1"/>
              </a:cxn>
              <a:cxn ang="0">
                <a:pos x="3" y="0"/>
              </a:cxn>
              <a:cxn ang="0">
                <a:pos x="5" y="0"/>
              </a:cxn>
              <a:cxn ang="0">
                <a:pos x="9" y="1"/>
              </a:cxn>
              <a:cxn ang="0">
                <a:pos x="16" y="1"/>
              </a:cxn>
              <a:cxn ang="0">
                <a:pos x="20" y="1"/>
              </a:cxn>
              <a:cxn ang="0">
                <a:pos x="24" y="4"/>
              </a:cxn>
              <a:cxn ang="0">
                <a:pos x="28" y="4"/>
              </a:cxn>
              <a:cxn ang="0">
                <a:pos x="29" y="6"/>
              </a:cxn>
              <a:cxn ang="0">
                <a:pos x="30" y="9"/>
              </a:cxn>
              <a:cxn ang="0">
                <a:pos x="30" y="11"/>
              </a:cxn>
              <a:cxn ang="0">
                <a:pos x="33" y="11"/>
              </a:cxn>
              <a:cxn ang="0">
                <a:pos x="38" y="11"/>
              </a:cxn>
              <a:cxn ang="0">
                <a:pos x="40" y="11"/>
              </a:cxn>
              <a:cxn ang="0">
                <a:pos x="40" y="12"/>
              </a:cxn>
              <a:cxn ang="0">
                <a:pos x="37" y="14"/>
              </a:cxn>
              <a:cxn ang="0">
                <a:pos x="34" y="14"/>
              </a:cxn>
              <a:cxn ang="0">
                <a:pos x="34" y="15"/>
              </a:cxn>
              <a:cxn ang="0">
                <a:pos x="38" y="17"/>
              </a:cxn>
              <a:cxn ang="0">
                <a:pos x="45" y="17"/>
              </a:cxn>
              <a:cxn ang="0">
                <a:pos x="46" y="19"/>
              </a:cxn>
              <a:cxn ang="0">
                <a:pos x="49" y="22"/>
              </a:cxn>
              <a:cxn ang="0">
                <a:pos x="52" y="22"/>
              </a:cxn>
              <a:cxn ang="0">
                <a:pos x="52" y="23"/>
              </a:cxn>
              <a:cxn ang="0">
                <a:pos x="52" y="25"/>
              </a:cxn>
              <a:cxn ang="0">
                <a:pos x="50" y="28"/>
              </a:cxn>
              <a:cxn ang="0">
                <a:pos x="49" y="30"/>
              </a:cxn>
              <a:cxn ang="0">
                <a:pos x="46" y="30"/>
              </a:cxn>
              <a:cxn ang="0">
                <a:pos x="45" y="28"/>
              </a:cxn>
              <a:cxn ang="0">
                <a:pos x="42" y="26"/>
              </a:cxn>
              <a:cxn ang="0">
                <a:pos x="34" y="26"/>
              </a:cxn>
              <a:cxn ang="0">
                <a:pos x="28" y="28"/>
              </a:cxn>
              <a:cxn ang="0">
                <a:pos x="26" y="28"/>
              </a:cxn>
              <a:cxn ang="0">
                <a:pos x="25" y="30"/>
              </a:cxn>
              <a:cxn ang="0">
                <a:pos x="22" y="31"/>
              </a:cxn>
              <a:cxn ang="0">
                <a:pos x="20" y="33"/>
              </a:cxn>
              <a:cxn ang="0">
                <a:pos x="17" y="28"/>
              </a:cxn>
              <a:cxn ang="0">
                <a:pos x="16" y="28"/>
              </a:cxn>
              <a:cxn ang="0">
                <a:pos x="14" y="28"/>
              </a:cxn>
              <a:cxn ang="0">
                <a:pos x="13" y="30"/>
              </a:cxn>
              <a:cxn ang="0">
                <a:pos x="10" y="31"/>
              </a:cxn>
              <a:cxn ang="0">
                <a:pos x="9" y="36"/>
              </a:cxn>
              <a:cxn ang="0">
                <a:pos x="8" y="37"/>
              </a:cxn>
              <a:cxn ang="0">
                <a:pos x="5" y="41"/>
              </a:cxn>
              <a:cxn ang="0">
                <a:pos x="4" y="41"/>
              </a:cxn>
              <a:cxn ang="0">
                <a:pos x="3" y="39"/>
              </a:cxn>
              <a:cxn ang="0">
                <a:pos x="3" y="37"/>
              </a:cxn>
              <a:cxn ang="0">
                <a:pos x="3" y="34"/>
              </a:cxn>
              <a:cxn ang="0">
                <a:pos x="1" y="34"/>
              </a:cxn>
              <a:cxn ang="0">
                <a:pos x="1" y="33"/>
              </a:cxn>
              <a:cxn ang="0">
                <a:pos x="3" y="30"/>
              </a:cxn>
              <a:cxn ang="0">
                <a:pos x="1" y="26"/>
              </a:cxn>
              <a:cxn ang="0">
                <a:pos x="0" y="25"/>
              </a:cxn>
              <a:cxn ang="0">
                <a:pos x="0" y="23"/>
              </a:cxn>
              <a:cxn ang="0">
                <a:pos x="3" y="22"/>
              </a:cxn>
              <a:cxn ang="0">
                <a:pos x="3" y="15"/>
              </a:cxn>
              <a:cxn ang="0">
                <a:pos x="4" y="14"/>
              </a:cxn>
              <a:cxn ang="0">
                <a:pos x="3" y="11"/>
              </a:cxn>
              <a:cxn ang="0">
                <a:pos x="3" y="8"/>
              </a:cxn>
              <a:cxn ang="0">
                <a:pos x="3" y="4"/>
              </a:cxn>
              <a:cxn ang="0">
                <a:pos x="1" y="3"/>
              </a:cxn>
              <a:cxn ang="0">
                <a:pos x="1" y="1"/>
              </a:cxn>
            </a:cxnLst>
            <a:rect l="0" t="0" r="r" b="b"/>
            <a:pathLst>
              <a:path w="52" h="41">
                <a:moveTo>
                  <a:pt x="1" y="1"/>
                </a:moveTo>
                <a:lnTo>
                  <a:pt x="3" y="0"/>
                </a:lnTo>
                <a:lnTo>
                  <a:pt x="5" y="0"/>
                </a:lnTo>
                <a:lnTo>
                  <a:pt x="9" y="1"/>
                </a:lnTo>
                <a:lnTo>
                  <a:pt x="16" y="1"/>
                </a:lnTo>
                <a:lnTo>
                  <a:pt x="20" y="1"/>
                </a:lnTo>
                <a:lnTo>
                  <a:pt x="24" y="4"/>
                </a:lnTo>
                <a:lnTo>
                  <a:pt x="28" y="4"/>
                </a:lnTo>
                <a:lnTo>
                  <a:pt x="29" y="6"/>
                </a:lnTo>
                <a:lnTo>
                  <a:pt x="30" y="9"/>
                </a:lnTo>
                <a:lnTo>
                  <a:pt x="30" y="11"/>
                </a:lnTo>
                <a:lnTo>
                  <a:pt x="33" y="11"/>
                </a:lnTo>
                <a:lnTo>
                  <a:pt x="38" y="11"/>
                </a:lnTo>
                <a:lnTo>
                  <a:pt x="40" y="11"/>
                </a:lnTo>
                <a:lnTo>
                  <a:pt x="40" y="12"/>
                </a:lnTo>
                <a:lnTo>
                  <a:pt x="37" y="14"/>
                </a:lnTo>
                <a:lnTo>
                  <a:pt x="34" y="14"/>
                </a:lnTo>
                <a:lnTo>
                  <a:pt x="34" y="15"/>
                </a:lnTo>
                <a:lnTo>
                  <a:pt x="38" y="17"/>
                </a:lnTo>
                <a:lnTo>
                  <a:pt x="45" y="17"/>
                </a:lnTo>
                <a:lnTo>
                  <a:pt x="46" y="19"/>
                </a:lnTo>
                <a:lnTo>
                  <a:pt x="49" y="22"/>
                </a:lnTo>
                <a:lnTo>
                  <a:pt x="52" y="22"/>
                </a:lnTo>
                <a:lnTo>
                  <a:pt x="52" y="23"/>
                </a:lnTo>
                <a:lnTo>
                  <a:pt x="52" y="25"/>
                </a:lnTo>
                <a:lnTo>
                  <a:pt x="50" y="28"/>
                </a:lnTo>
                <a:lnTo>
                  <a:pt x="49" y="30"/>
                </a:lnTo>
                <a:lnTo>
                  <a:pt x="46" y="30"/>
                </a:lnTo>
                <a:lnTo>
                  <a:pt x="45" y="28"/>
                </a:lnTo>
                <a:lnTo>
                  <a:pt x="42" y="26"/>
                </a:lnTo>
                <a:lnTo>
                  <a:pt x="34" y="26"/>
                </a:lnTo>
                <a:lnTo>
                  <a:pt x="28" y="28"/>
                </a:lnTo>
                <a:lnTo>
                  <a:pt x="26" y="28"/>
                </a:lnTo>
                <a:lnTo>
                  <a:pt x="25" y="30"/>
                </a:lnTo>
                <a:lnTo>
                  <a:pt x="22" y="31"/>
                </a:lnTo>
                <a:lnTo>
                  <a:pt x="20" y="33"/>
                </a:lnTo>
                <a:lnTo>
                  <a:pt x="17" y="28"/>
                </a:lnTo>
                <a:lnTo>
                  <a:pt x="16" y="28"/>
                </a:lnTo>
                <a:lnTo>
                  <a:pt x="14" y="28"/>
                </a:lnTo>
                <a:lnTo>
                  <a:pt x="13" y="30"/>
                </a:lnTo>
                <a:lnTo>
                  <a:pt x="10" y="31"/>
                </a:lnTo>
                <a:lnTo>
                  <a:pt x="9" y="36"/>
                </a:lnTo>
                <a:lnTo>
                  <a:pt x="8" y="37"/>
                </a:lnTo>
                <a:lnTo>
                  <a:pt x="5" y="41"/>
                </a:lnTo>
                <a:lnTo>
                  <a:pt x="4" y="41"/>
                </a:lnTo>
                <a:lnTo>
                  <a:pt x="3" y="39"/>
                </a:lnTo>
                <a:lnTo>
                  <a:pt x="3" y="37"/>
                </a:lnTo>
                <a:lnTo>
                  <a:pt x="3" y="34"/>
                </a:lnTo>
                <a:lnTo>
                  <a:pt x="1" y="34"/>
                </a:lnTo>
                <a:lnTo>
                  <a:pt x="1" y="33"/>
                </a:lnTo>
                <a:lnTo>
                  <a:pt x="3" y="30"/>
                </a:lnTo>
                <a:lnTo>
                  <a:pt x="1" y="26"/>
                </a:lnTo>
                <a:lnTo>
                  <a:pt x="0" y="25"/>
                </a:lnTo>
                <a:lnTo>
                  <a:pt x="0" y="23"/>
                </a:lnTo>
                <a:lnTo>
                  <a:pt x="3" y="22"/>
                </a:lnTo>
                <a:lnTo>
                  <a:pt x="3" y="15"/>
                </a:lnTo>
                <a:lnTo>
                  <a:pt x="4" y="14"/>
                </a:lnTo>
                <a:lnTo>
                  <a:pt x="3" y="11"/>
                </a:lnTo>
                <a:lnTo>
                  <a:pt x="3" y="8"/>
                </a:lnTo>
                <a:lnTo>
                  <a:pt x="3" y="4"/>
                </a:lnTo>
                <a:lnTo>
                  <a:pt x="1" y="3"/>
                </a:lnTo>
                <a:lnTo>
                  <a:pt x="1" y="1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66" name="Freeform 1293"/>
          <p:cNvSpPr>
            <a:spLocks/>
          </p:cNvSpPr>
          <p:nvPr/>
        </p:nvSpPr>
        <p:spPr bwMode="auto">
          <a:xfrm>
            <a:off x="3606733" y="3641992"/>
            <a:ext cx="101338" cy="81609"/>
          </a:xfrm>
          <a:custGeom>
            <a:avLst/>
            <a:gdLst/>
            <a:ahLst/>
            <a:cxnLst>
              <a:cxn ang="0">
                <a:pos x="1" y="1"/>
              </a:cxn>
              <a:cxn ang="0">
                <a:pos x="3" y="0"/>
              </a:cxn>
              <a:cxn ang="0">
                <a:pos x="5" y="0"/>
              </a:cxn>
              <a:cxn ang="0">
                <a:pos x="9" y="1"/>
              </a:cxn>
              <a:cxn ang="0">
                <a:pos x="16" y="1"/>
              </a:cxn>
              <a:cxn ang="0">
                <a:pos x="20" y="1"/>
              </a:cxn>
              <a:cxn ang="0">
                <a:pos x="24" y="4"/>
              </a:cxn>
              <a:cxn ang="0">
                <a:pos x="28" y="4"/>
              </a:cxn>
              <a:cxn ang="0">
                <a:pos x="29" y="6"/>
              </a:cxn>
              <a:cxn ang="0">
                <a:pos x="30" y="9"/>
              </a:cxn>
              <a:cxn ang="0">
                <a:pos x="30" y="11"/>
              </a:cxn>
              <a:cxn ang="0">
                <a:pos x="33" y="11"/>
              </a:cxn>
              <a:cxn ang="0">
                <a:pos x="38" y="11"/>
              </a:cxn>
              <a:cxn ang="0">
                <a:pos x="40" y="11"/>
              </a:cxn>
              <a:cxn ang="0">
                <a:pos x="40" y="12"/>
              </a:cxn>
              <a:cxn ang="0">
                <a:pos x="37" y="14"/>
              </a:cxn>
              <a:cxn ang="0">
                <a:pos x="34" y="14"/>
              </a:cxn>
              <a:cxn ang="0">
                <a:pos x="34" y="15"/>
              </a:cxn>
              <a:cxn ang="0">
                <a:pos x="38" y="17"/>
              </a:cxn>
              <a:cxn ang="0">
                <a:pos x="45" y="17"/>
              </a:cxn>
              <a:cxn ang="0">
                <a:pos x="46" y="19"/>
              </a:cxn>
              <a:cxn ang="0">
                <a:pos x="49" y="22"/>
              </a:cxn>
              <a:cxn ang="0">
                <a:pos x="52" y="22"/>
              </a:cxn>
              <a:cxn ang="0">
                <a:pos x="52" y="23"/>
              </a:cxn>
              <a:cxn ang="0">
                <a:pos x="52" y="25"/>
              </a:cxn>
              <a:cxn ang="0">
                <a:pos x="50" y="28"/>
              </a:cxn>
              <a:cxn ang="0">
                <a:pos x="49" y="30"/>
              </a:cxn>
              <a:cxn ang="0">
                <a:pos x="46" y="30"/>
              </a:cxn>
              <a:cxn ang="0">
                <a:pos x="45" y="28"/>
              </a:cxn>
              <a:cxn ang="0">
                <a:pos x="42" y="26"/>
              </a:cxn>
              <a:cxn ang="0">
                <a:pos x="34" y="26"/>
              </a:cxn>
              <a:cxn ang="0">
                <a:pos x="28" y="28"/>
              </a:cxn>
              <a:cxn ang="0">
                <a:pos x="26" y="28"/>
              </a:cxn>
              <a:cxn ang="0">
                <a:pos x="25" y="30"/>
              </a:cxn>
              <a:cxn ang="0">
                <a:pos x="22" y="31"/>
              </a:cxn>
              <a:cxn ang="0">
                <a:pos x="20" y="33"/>
              </a:cxn>
              <a:cxn ang="0">
                <a:pos x="17" y="28"/>
              </a:cxn>
              <a:cxn ang="0">
                <a:pos x="16" y="28"/>
              </a:cxn>
              <a:cxn ang="0">
                <a:pos x="14" y="28"/>
              </a:cxn>
              <a:cxn ang="0">
                <a:pos x="13" y="30"/>
              </a:cxn>
              <a:cxn ang="0">
                <a:pos x="10" y="31"/>
              </a:cxn>
              <a:cxn ang="0">
                <a:pos x="9" y="36"/>
              </a:cxn>
              <a:cxn ang="0">
                <a:pos x="8" y="37"/>
              </a:cxn>
              <a:cxn ang="0">
                <a:pos x="5" y="41"/>
              </a:cxn>
              <a:cxn ang="0">
                <a:pos x="4" y="41"/>
              </a:cxn>
              <a:cxn ang="0">
                <a:pos x="3" y="39"/>
              </a:cxn>
              <a:cxn ang="0">
                <a:pos x="3" y="37"/>
              </a:cxn>
              <a:cxn ang="0">
                <a:pos x="3" y="34"/>
              </a:cxn>
              <a:cxn ang="0">
                <a:pos x="1" y="34"/>
              </a:cxn>
              <a:cxn ang="0">
                <a:pos x="1" y="33"/>
              </a:cxn>
              <a:cxn ang="0">
                <a:pos x="3" y="30"/>
              </a:cxn>
              <a:cxn ang="0">
                <a:pos x="1" y="26"/>
              </a:cxn>
              <a:cxn ang="0">
                <a:pos x="0" y="25"/>
              </a:cxn>
              <a:cxn ang="0">
                <a:pos x="0" y="23"/>
              </a:cxn>
              <a:cxn ang="0">
                <a:pos x="3" y="22"/>
              </a:cxn>
              <a:cxn ang="0">
                <a:pos x="3" y="15"/>
              </a:cxn>
              <a:cxn ang="0">
                <a:pos x="4" y="14"/>
              </a:cxn>
              <a:cxn ang="0">
                <a:pos x="3" y="11"/>
              </a:cxn>
              <a:cxn ang="0">
                <a:pos x="3" y="8"/>
              </a:cxn>
              <a:cxn ang="0">
                <a:pos x="3" y="4"/>
              </a:cxn>
              <a:cxn ang="0">
                <a:pos x="1" y="3"/>
              </a:cxn>
              <a:cxn ang="0">
                <a:pos x="1" y="1"/>
              </a:cxn>
            </a:cxnLst>
            <a:rect l="0" t="0" r="r" b="b"/>
            <a:pathLst>
              <a:path w="52" h="41">
                <a:moveTo>
                  <a:pt x="1" y="1"/>
                </a:moveTo>
                <a:lnTo>
                  <a:pt x="3" y="0"/>
                </a:lnTo>
                <a:lnTo>
                  <a:pt x="5" y="0"/>
                </a:lnTo>
                <a:lnTo>
                  <a:pt x="9" y="1"/>
                </a:lnTo>
                <a:lnTo>
                  <a:pt x="16" y="1"/>
                </a:lnTo>
                <a:lnTo>
                  <a:pt x="20" y="1"/>
                </a:lnTo>
                <a:lnTo>
                  <a:pt x="24" y="4"/>
                </a:lnTo>
                <a:lnTo>
                  <a:pt x="28" y="4"/>
                </a:lnTo>
                <a:lnTo>
                  <a:pt x="29" y="6"/>
                </a:lnTo>
                <a:lnTo>
                  <a:pt x="30" y="9"/>
                </a:lnTo>
                <a:lnTo>
                  <a:pt x="30" y="11"/>
                </a:lnTo>
                <a:lnTo>
                  <a:pt x="33" y="11"/>
                </a:lnTo>
                <a:lnTo>
                  <a:pt x="38" y="11"/>
                </a:lnTo>
                <a:lnTo>
                  <a:pt x="40" y="11"/>
                </a:lnTo>
                <a:lnTo>
                  <a:pt x="40" y="12"/>
                </a:lnTo>
                <a:lnTo>
                  <a:pt x="37" y="14"/>
                </a:lnTo>
                <a:lnTo>
                  <a:pt x="34" y="14"/>
                </a:lnTo>
                <a:lnTo>
                  <a:pt x="34" y="15"/>
                </a:lnTo>
                <a:lnTo>
                  <a:pt x="38" y="17"/>
                </a:lnTo>
                <a:lnTo>
                  <a:pt x="45" y="17"/>
                </a:lnTo>
                <a:lnTo>
                  <a:pt x="46" y="19"/>
                </a:lnTo>
                <a:lnTo>
                  <a:pt x="49" y="22"/>
                </a:lnTo>
                <a:lnTo>
                  <a:pt x="52" y="22"/>
                </a:lnTo>
                <a:lnTo>
                  <a:pt x="52" y="23"/>
                </a:lnTo>
                <a:lnTo>
                  <a:pt x="52" y="25"/>
                </a:lnTo>
                <a:lnTo>
                  <a:pt x="50" y="28"/>
                </a:lnTo>
                <a:lnTo>
                  <a:pt x="49" y="30"/>
                </a:lnTo>
                <a:lnTo>
                  <a:pt x="46" y="30"/>
                </a:lnTo>
                <a:lnTo>
                  <a:pt x="45" y="28"/>
                </a:lnTo>
                <a:lnTo>
                  <a:pt x="42" y="26"/>
                </a:lnTo>
                <a:lnTo>
                  <a:pt x="34" y="26"/>
                </a:lnTo>
                <a:lnTo>
                  <a:pt x="28" y="28"/>
                </a:lnTo>
                <a:lnTo>
                  <a:pt x="26" y="28"/>
                </a:lnTo>
                <a:lnTo>
                  <a:pt x="25" y="30"/>
                </a:lnTo>
                <a:lnTo>
                  <a:pt x="22" y="31"/>
                </a:lnTo>
                <a:lnTo>
                  <a:pt x="20" y="33"/>
                </a:lnTo>
                <a:lnTo>
                  <a:pt x="17" y="28"/>
                </a:lnTo>
                <a:lnTo>
                  <a:pt x="16" y="28"/>
                </a:lnTo>
                <a:lnTo>
                  <a:pt x="14" y="28"/>
                </a:lnTo>
                <a:lnTo>
                  <a:pt x="13" y="30"/>
                </a:lnTo>
                <a:lnTo>
                  <a:pt x="10" y="31"/>
                </a:lnTo>
                <a:lnTo>
                  <a:pt x="9" y="36"/>
                </a:lnTo>
                <a:lnTo>
                  <a:pt x="8" y="37"/>
                </a:lnTo>
                <a:lnTo>
                  <a:pt x="5" y="41"/>
                </a:lnTo>
                <a:lnTo>
                  <a:pt x="4" y="41"/>
                </a:lnTo>
                <a:lnTo>
                  <a:pt x="3" y="39"/>
                </a:lnTo>
                <a:lnTo>
                  <a:pt x="3" y="37"/>
                </a:lnTo>
                <a:lnTo>
                  <a:pt x="3" y="34"/>
                </a:lnTo>
                <a:lnTo>
                  <a:pt x="1" y="34"/>
                </a:lnTo>
                <a:lnTo>
                  <a:pt x="1" y="33"/>
                </a:lnTo>
                <a:lnTo>
                  <a:pt x="3" y="30"/>
                </a:lnTo>
                <a:lnTo>
                  <a:pt x="1" y="26"/>
                </a:lnTo>
                <a:lnTo>
                  <a:pt x="0" y="25"/>
                </a:lnTo>
                <a:lnTo>
                  <a:pt x="0" y="23"/>
                </a:lnTo>
                <a:lnTo>
                  <a:pt x="3" y="22"/>
                </a:lnTo>
                <a:lnTo>
                  <a:pt x="3" y="15"/>
                </a:lnTo>
                <a:lnTo>
                  <a:pt x="4" y="14"/>
                </a:lnTo>
                <a:lnTo>
                  <a:pt x="3" y="11"/>
                </a:lnTo>
                <a:lnTo>
                  <a:pt x="3" y="8"/>
                </a:lnTo>
                <a:lnTo>
                  <a:pt x="3" y="4"/>
                </a:lnTo>
                <a:lnTo>
                  <a:pt x="1" y="3"/>
                </a:lnTo>
                <a:lnTo>
                  <a:pt x="1" y="1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67" name="Freeform 1294"/>
          <p:cNvSpPr>
            <a:spLocks/>
          </p:cNvSpPr>
          <p:nvPr/>
        </p:nvSpPr>
        <p:spPr bwMode="auto">
          <a:xfrm>
            <a:off x="3563857" y="3914738"/>
            <a:ext cx="389763" cy="405898"/>
          </a:xfrm>
          <a:custGeom>
            <a:avLst/>
            <a:gdLst/>
            <a:ahLst/>
            <a:cxnLst>
              <a:cxn ang="0">
                <a:pos x="23" y="12"/>
              </a:cxn>
              <a:cxn ang="0">
                <a:pos x="26" y="22"/>
              </a:cxn>
              <a:cxn ang="0">
                <a:pos x="22" y="34"/>
              </a:cxn>
              <a:cxn ang="0">
                <a:pos x="22" y="47"/>
              </a:cxn>
              <a:cxn ang="0">
                <a:pos x="29" y="56"/>
              </a:cxn>
              <a:cxn ang="0">
                <a:pos x="35" y="47"/>
              </a:cxn>
              <a:cxn ang="0">
                <a:pos x="29" y="25"/>
              </a:cxn>
              <a:cxn ang="0">
                <a:pos x="48" y="14"/>
              </a:cxn>
              <a:cxn ang="0">
                <a:pos x="48" y="9"/>
              </a:cxn>
              <a:cxn ang="0">
                <a:pos x="51" y="0"/>
              </a:cxn>
              <a:cxn ang="0">
                <a:pos x="57" y="12"/>
              </a:cxn>
              <a:cxn ang="0">
                <a:pos x="75" y="17"/>
              </a:cxn>
              <a:cxn ang="0">
                <a:pos x="84" y="30"/>
              </a:cxn>
              <a:cxn ang="0">
                <a:pos x="111" y="30"/>
              </a:cxn>
              <a:cxn ang="0">
                <a:pos x="119" y="36"/>
              </a:cxn>
              <a:cxn ang="0">
                <a:pos x="141" y="31"/>
              </a:cxn>
              <a:cxn ang="0">
                <a:pos x="137" y="28"/>
              </a:cxn>
              <a:cxn ang="0">
                <a:pos x="170" y="28"/>
              </a:cxn>
              <a:cxn ang="0">
                <a:pos x="158" y="30"/>
              </a:cxn>
              <a:cxn ang="0">
                <a:pos x="162" y="36"/>
              </a:cxn>
              <a:cxn ang="0">
                <a:pos x="170" y="42"/>
              </a:cxn>
              <a:cxn ang="0">
                <a:pos x="189" y="55"/>
              </a:cxn>
              <a:cxn ang="0">
                <a:pos x="186" y="64"/>
              </a:cxn>
              <a:cxn ang="0">
                <a:pos x="194" y="67"/>
              </a:cxn>
              <a:cxn ang="0">
                <a:pos x="204" y="69"/>
              </a:cxn>
              <a:cxn ang="0">
                <a:pos x="201" y="74"/>
              </a:cxn>
              <a:cxn ang="0">
                <a:pos x="190" y="80"/>
              </a:cxn>
              <a:cxn ang="0">
                <a:pos x="192" y="89"/>
              </a:cxn>
              <a:cxn ang="0">
                <a:pos x="185" y="97"/>
              </a:cxn>
              <a:cxn ang="0">
                <a:pos x="182" y="110"/>
              </a:cxn>
              <a:cxn ang="0">
                <a:pos x="192" y="125"/>
              </a:cxn>
              <a:cxn ang="0">
                <a:pos x="182" y="136"/>
              </a:cxn>
              <a:cxn ang="0">
                <a:pos x="166" y="143"/>
              </a:cxn>
              <a:cxn ang="0">
                <a:pos x="149" y="147"/>
              </a:cxn>
              <a:cxn ang="0">
                <a:pos x="129" y="141"/>
              </a:cxn>
              <a:cxn ang="0">
                <a:pos x="137" y="152"/>
              </a:cxn>
              <a:cxn ang="0">
                <a:pos x="139" y="169"/>
              </a:cxn>
              <a:cxn ang="0">
                <a:pos x="150" y="174"/>
              </a:cxn>
              <a:cxn ang="0">
                <a:pos x="145" y="182"/>
              </a:cxn>
              <a:cxn ang="0">
                <a:pos x="137" y="191"/>
              </a:cxn>
              <a:cxn ang="0">
                <a:pos x="125" y="196"/>
              </a:cxn>
              <a:cxn ang="0">
                <a:pos x="116" y="202"/>
              </a:cxn>
              <a:cxn ang="0">
                <a:pos x="101" y="199"/>
              </a:cxn>
              <a:cxn ang="0">
                <a:pos x="96" y="187"/>
              </a:cxn>
              <a:cxn ang="0">
                <a:pos x="88" y="163"/>
              </a:cxn>
              <a:cxn ang="0">
                <a:pos x="92" y="155"/>
              </a:cxn>
              <a:cxn ang="0">
                <a:pos x="84" y="146"/>
              </a:cxn>
              <a:cxn ang="0">
                <a:pos x="83" y="130"/>
              </a:cxn>
              <a:cxn ang="0">
                <a:pos x="87" y="115"/>
              </a:cxn>
              <a:cxn ang="0">
                <a:pos x="87" y="105"/>
              </a:cxn>
              <a:cxn ang="0">
                <a:pos x="71" y="108"/>
              </a:cxn>
              <a:cxn ang="0">
                <a:pos x="64" y="108"/>
              </a:cxn>
              <a:cxn ang="0">
                <a:pos x="49" y="93"/>
              </a:cxn>
              <a:cxn ang="0">
                <a:pos x="32" y="93"/>
              </a:cxn>
              <a:cxn ang="0">
                <a:pos x="19" y="86"/>
              </a:cxn>
              <a:cxn ang="0">
                <a:pos x="12" y="67"/>
              </a:cxn>
              <a:cxn ang="0">
                <a:pos x="7" y="55"/>
              </a:cxn>
              <a:cxn ang="0">
                <a:pos x="8" y="30"/>
              </a:cxn>
              <a:cxn ang="0">
                <a:pos x="23" y="9"/>
              </a:cxn>
            </a:cxnLst>
            <a:rect l="0" t="0" r="r" b="b"/>
            <a:pathLst>
              <a:path w="205" h="204">
                <a:moveTo>
                  <a:pt x="31" y="6"/>
                </a:moveTo>
                <a:lnTo>
                  <a:pt x="28" y="9"/>
                </a:lnTo>
                <a:lnTo>
                  <a:pt x="26" y="9"/>
                </a:lnTo>
                <a:lnTo>
                  <a:pt x="23" y="11"/>
                </a:lnTo>
                <a:lnTo>
                  <a:pt x="23" y="12"/>
                </a:lnTo>
                <a:lnTo>
                  <a:pt x="24" y="16"/>
                </a:lnTo>
                <a:lnTo>
                  <a:pt x="24" y="17"/>
                </a:lnTo>
                <a:lnTo>
                  <a:pt x="27" y="20"/>
                </a:lnTo>
                <a:lnTo>
                  <a:pt x="27" y="22"/>
                </a:lnTo>
                <a:lnTo>
                  <a:pt x="26" y="22"/>
                </a:lnTo>
                <a:lnTo>
                  <a:pt x="26" y="23"/>
                </a:lnTo>
                <a:lnTo>
                  <a:pt x="27" y="23"/>
                </a:lnTo>
                <a:lnTo>
                  <a:pt x="27" y="27"/>
                </a:lnTo>
                <a:lnTo>
                  <a:pt x="26" y="30"/>
                </a:lnTo>
                <a:lnTo>
                  <a:pt x="22" y="34"/>
                </a:lnTo>
                <a:lnTo>
                  <a:pt x="22" y="36"/>
                </a:lnTo>
                <a:lnTo>
                  <a:pt x="20" y="38"/>
                </a:lnTo>
                <a:lnTo>
                  <a:pt x="20" y="42"/>
                </a:lnTo>
                <a:lnTo>
                  <a:pt x="22" y="45"/>
                </a:lnTo>
                <a:lnTo>
                  <a:pt x="22" y="47"/>
                </a:lnTo>
                <a:lnTo>
                  <a:pt x="24" y="49"/>
                </a:lnTo>
                <a:lnTo>
                  <a:pt x="26" y="53"/>
                </a:lnTo>
                <a:lnTo>
                  <a:pt x="27" y="55"/>
                </a:lnTo>
                <a:lnTo>
                  <a:pt x="27" y="56"/>
                </a:lnTo>
                <a:lnTo>
                  <a:pt x="29" y="56"/>
                </a:lnTo>
                <a:lnTo>
                  <a:pt x="31" y="55"/>
                </a:lnTo>
                <a:lnTo>
                  <a:pt x="33" y="53"/>
                </a:lnTo>
                <a:lnTo>
                  <a:pt x="35" y="52"/>
                </a:lnTo>
                <a:lnTo>
                  <a:pt x="35" y="50"/>
                </a:lnTo>
                <a:lnTo>
                  <a:pt x="35" y="47"/>
                </a:lnTo>
                <a:lnTo>
                  <a:pt x="35" y="42"/>
                </a:lnTo>
                <a:lnTo>
                  <a:pt x="32" y="38"/>
                </a:lnTo>
                <a:lnTo>
                  <a:pt x="31" y="34"/>
                </a:lnTo>
                <a:lnTo>
                  <a:pt x="29" y="33"/>
                </a:lnTo>
                <a:lnTo>
                  <a:pt x="29" y="25"/>
                </a:lnTo>
                <a:lnTo>
                  <a:pt x="31" y="23"/>
                </a:lnTo>
                <a:lnTo>
                  <a:pt x="31" y="22"/>
                </a:lnTo>
                <a:lnTo>
                  <a:pt x="33" y="20"/>
                </a:lnTo>
                <a:lnTo>
                  <a:pt x="39" y="17"/>
                </a:lnTo>
                <a:lnTo>
                  <a:pt x="48" y="14"/>
                </a:lnTo>
                <a:lnTo>
                  <a:pt x="55" y="12"/>
                </a:lnTo>
                <a:lnTo>
                  <a:pt x="55" y="11"/>
                </a:lnTo>
                <a:lnTo>
                  <a:pt x="53" y="9"/>
                </a:lnTo>
                <a:lnTo>
                  <a:pt x="52" y="9"/>
                </a:lnTo>
                <a:lnTo>
                  <a:pt x="48" y="9"/>
                </a:lnTo>
                <a:lnTo>
                  <a:pt x="48" y="8"/>
                </a:lnTo>
                <a:lnTo>
                  <a:pt x="47" y="8"/>
                </a:lnTo>
                <a:lnTo>
                  <a:pt x="47" y="5"/>
                </a:lnTo>
                <a:lnTo>
                  <a:pt x="48" y="1"/>
                </a:lnTo>
                <a:lnTo>
                  <a:pt x="51" y="0"/>
                </a:lnTo>
                <a:lnTo>
                  <a:pt x="52" y="0"/>
                </a:lnTo>
                <a:lnTo>
                  <a:pt x="53" y="0"/>
                </a:lnTo>
                <a:lnTo>
                  <a:pt x="53" y="1"/>
                </a:lnTo>
                <a:lnTo>
                  <a:pt x="56" y="9"/>
                </a:lnTo>
                <a:lnTo>
                  <a:pt x="57" y="12"/>
                </a:lnTo>
                <a:lnTo>
                  <a:pt x="61" y="12"/>
                </a:lnTo>
                <a:lnTo>
                  <a:pt x="67" y="14"/>
                </a:lnTo>
                <a:lnTo>
                  <a:pt x="68" y="14"/>
                </a:lnTo>
                <a:lnTo>
                  <a:pt x="72" y="16"/>
                </a:lnTo>
                <a:lnTo>
                  <a:pt x="75" y="17"/>
                </a:lnTo>
                <a:lnTo>
                  <a:pt x="76" y="19"/>
                </a:lnTo>
                <a:lnTo>
                  <a:pt x="77" y="25"/>
                </a:lnTo>
                <a:lnTo>
                  <a:pt x="79" y="28"/>
                </a:lnTo>
                <a:lnTo>
                  <a:pt x="81" y="30"/>
                </a:lnTo>
                <a:lnTo>
                  <a:pt x="84" y="30"/>
                </a:lnTo>
                <a:lnTo>
                  <a:pt x="91" y="28"/>
                </a:lnTo>
                <a:lnTo>
                  <a:pt x="93" y="28"/>
                </a:lnTo>
                <a:lnTo>
                  <a:pt x="101" y="28"/>
                </a:lnTo>
                <a:lnTo>
                  <a:pt x="109" y="28"/>
                </a:lnTo>
                <a:lnTo>
                  <a:pt x="111" y="30"/>
                </a:lnTo>
                <a:lnTo>
                  <a:pt x="112" y="31"/>
                </a:lnTo>
                <a:lnTo>
                  <a:pt x="112" y="33"/>
                </a:lnTo>
                <a:lnTo>
                  <a:pt x="113" y="34"/>
                </a:lnTo>
                <a:lnTo>
                  <a:pt x="116" y="36"/>
                </a:lnTo>
                <a:lnTo>
                  <a:pt x="119" y="36"/>
                </a:lnTo>
                <a:lnTo>
                  <a:pt x="124" y="36"/>
                </a:lnTo>
                <a:lnTo>
                  <a:pt x="132" y="34"/>
                </a:lnTo>
                <a:lnTo>
                  <a:pt x="133" y="34"/>
                </a:lnTo>
                <a:lnTo>
                  <a:pt x="136" y="31"/>
                </a:lnTo>
                <a:lnTo>
                  <a:pt x="141" y="31"/>
                </a:lnTo>
                <a:lnTo>
                  <a:pt x="144" y="30"/>
                </a:lnTo>
                <a:lnTo>
                  <a:pt x="145" y="30"/>
                </a:lnTo>
                <a:lnTo>
                  <a:pt x="145" y="28"/>
                </a:lnTo>
                <a:lnTo>
                  <a:pt x="140" y="28"/>
                </a:lnTo>
                <a:lnTo>
                  <a:pt x="137" y="28"/>
                </a:lnTo>
                <a:lnTo>
                  <a:pt x="140" y="27"/>
                </a:lnTo>
                <a:lnTo>
                  <a:pt x="144" y="27"/>
                </a:lnTo>
                <a:lnTo>
                  <a:pt x="168" y="27"/>
                </a:lnTo>
                <a:lnTo>
                  <a:pt x="170" y="27"/>
                </a:lnTo>
                <a:lnTo>
                  <a:pt x="170" y="28"/>
                </a:lnTo>
                <a:lnTo>
                  <a:pt x="166" y="28"/>
                </a:lnTo>
                <a:lnTo>
                  <a:pt x="166" y="30"/>
                </a:lnTo>
                <a:lnTo>
                  <a:pt x="165" y="30"/>
                </a:lnTo>
                <a:lnTo>
                  <a:pt x="162" y="30"/>
                </a:lnTo>
                <a:lnTo>
                  <a:pt x="158" y="30"/>
                </a:lnTo>
                <a:lnTo>
                  <a:pt x="157" y="31"/>
                </a:lnTo>
                <a:lnTo>
                  <a:pt x="157" y="33"/>
                </a:lnTo>
                <a:lnTo>
                  <a:pt x="160" y="34"/>
                </a:lnTo>
                <a:lnTo>
                  <a:pt x="161" y="34"/>
                </a:lnTo>
                <a:lnTo>
                  <a:pt x="162" y="36"/>
                </a:lnTo>
                <a:lnTo>
                  <a:pt x="164" y="38"/>
                </a:lnTo>
                <a:lnTo>
                  <a:pt x="165" y="39"/>
                </a:lnTo>
                <a:lnTo>
                  <a:pt x="165" y="41"/>
                </a:lnTo>
                <a:lnTo>
                  <a:pt x="166" y="42"/>
                </a:lnTo>
                <a:lnTo>
                  <a:pt x="170" y="42"/>
                </a:lnTo>
                <a:lnTo>
                  <a:pt x="176" y="44"/>
                </a:lnTo>
                <a:lnTo>
                  <a:pt x="182" y="47"/>
                </a:lnTo>
                <a:lnTo>
                  <a:pt x="185" y="49"/>
                </a:lnTo>
                <a:lnTo>
                  <a:pt x="186" y="50"/>
                </a:lnTo>
                <a:lnTo>
                  <a:pt x="189" y="55"/>
                </a:lnTo>
                <a:lnTo>
                  <a:pt x="189" y="56"/>
                </a:lnTo>
                <a:lnTo>
                  <a:pt x="190" y="61"/>
                </a:lnTo>
                <a:lnTo>
                  <a:pt x="189" y="63"/>
                </a:lnTo>
                <a:lnTo>
                  <a:pt x="189" y="64"/>
                </a:lnTo>
                <a:lnTo>
                  <a:pt x="186" y="64"/>
                </a:lnTo>
                <a:lnTo>
                  <a:pt x="186" y="66"/>
                </a:lnTo>
                <a:lnTo>
                  <a:pt x="189" y="66"/>
                </a:lnTo>
                <a:lnTo>
                  <a:pt x="192" y="67"/>
                </a:lnTo>
                <a:lnTo>
                  <a:pt x="193" y="67"/>
                </a:lnTo>
                <a:lnTo>
                  <a:pt x="194" y="67"/>
                </a:lnTo>
                <a:lnTo>
                  <a:pt x="196" y="64"/>
                </a:lnTo>
                <a:lnTo>
                  <a:pt x="198" y="64"/>
                </a:lnTo>
                <a:lnTo>
                  <a:pt x="200" y="64"/>
                </a:lnTo>
                <a:lnTo>
                  <a:pt x="202" y="67"/>
                </a:lnTo>
                <a:lnTo>
                  <a:pt x="204" y="69"/>
                </a:lnTo>
                <a:lnTo>
                  <a:pt x="205" y="69"/>
                </a:lnTo>
                <a:lnTo>
                  <a:pt x="205" y="72"/>
                </a:lnTo>
                <a:lnTo>
                  <a:pt x="204" y="72"/>
                </a:lnTo>
                <a:lnTo>
                  <a:pt x="202" y="72"/>
                </a:lnTo>
                <a:lnTo>
                  <a:pt x="201" y="74"/>
                </a:lnTo>
                <a:lnTo>
                  <a:pt x="200" y="75"/>
                </a:lnTo>
                <a:lnTo>
                  <a:pt x="196" y="77"/>
                </a:lnTo>
                <a:lnTo>
                  <a:pt x="194" y="78"/>
                </a:lnTo>
                <a:lnTo>
                  <a:pt x="193" y="80"/>
                </a:lnTo>
                <a:lnTo>
                  <a:pt x="190" y="80"/>
                </a:lnTo>
                <a:lnTo>
                  <a:pt x="189" y="82"/>
                </a:lnTo>
                <a:lnTo>
                  <a:pt x="189" y="83"/>
                </a:lnTo>
                <a:lnTo>
                  <a:pt x="189" y="86"/>
                </a:lnTo>
                <a:lnTo>
                  <a:pt x="189" y="89"/>
                </a:lnTo>
                <a:lnTo>
                  <a:pt x="192" y="89"/>
                </a:lnTo>
                <a:lnTo>
                  <a:pt x="193" y="89"/>
                </a:lnTo>
                <a:lnTo>
                  <a:pt x="194" y="91"/>
                </a:lnTo>
                <a:lnTo>
                  <a:pt x="193" y="93"/>
                </a:lnTo>
                <a:lnTo>
                  <a:pt x="190" y="96"/>
                </a:lnTo>
                <a:lnTo>
                  <a:pt x="185" y="97"/>
                </a:lnTo>
                <a:lnTo>
                  <a:pt x="185" y="99"/>
                </a:lnTo>
                <a:lnTo>
                  <a:pt x="185" y="104"/>
                </a:lnTo>
                <a:lnTo>
                  <a:pt x="184" y="105"/>
                </a:lnTo>
                <a:lnTo>
                  <a:pt x="182" y="108"/>
                </a:lnTo>
                <a:lnTo>
                  <a:pt x="182" y="110"/>
                </a:lnTo>
                <a:lnTo>
                  <a:pt x="186" y="115"/>
                </a:lnTo>
                <a:lnTo>
                  <a:pt x="189" y="119"/>
                </a:lnTo>
                <a:lnTo>
                  <a:pt x="190" y="121"/>
                </a:lnTo>
                <a:lnTo>
                  <a:pt x="192" y="124"/>
                </a:lnTo>
                <a:lnTo>
                  <a:pt x="192" y="125"/>
                </a:lnTo>
                <a:lnTo>
                  <a:pt x="192" y="129"/>
                </a:lnTo>
                <a:lnTo>
                  <a:pt x="189" y="133"/>
                </a:lnTo>
                <a:lnTo>
                  <a:pt x="188" y="135"/>
                </a:lnTo>
                <a:lnTo>
                  <a:pt x="186" y="136"/>
                </a:lnTo>
                <a:lnTo>
                  <a:pt x="182" y="136"/>
                </a:lnTo>
                <a:lnTo>
                  <a:pt x="180" y="138"/>
                </a:lnTo>
                <a:lnTo>
                  <a:pt x="178" y="138"/>
                </a:lnTo>
                <a:lnTo>
                  <a:pt x="176" y="141"/>
                </a:lnTo>
                <a:lnTo>
                  <a:pt x="174" y="143"/>
                </a:lnTo>
                <a:lnTo>
                  <a:pt x="166" y="143"/>
                </a:lnTo>
                <a:lnTo>
                  <a:pt x="162" y="144"/>
                </a:lnTo>
                <a:lnTo>
                  <a:pt x="157" y="146"/>
                </a:lnTo>
                <a:lnTo>
                  <a:pt x="157" y="147"/>
                </a:lnTo>
                <a:lnTo>
                  <a:pt x="156" y="147"/>
                </a:lnTo>
                <a:lnTo>
                  <a:pt x="149" y="147"/>
                </a:lnTo>
                <a:lnTo>
                  <a:pt x="145" y="146"/>
                </a:lnTo>
                <a:lnTo>
                  <a:pt x="139" y="143"/>
                </a:lnTo>
                <a:lnTo>
                  <a:pt x="133" y="141"/>
                </a:lnTo>
                <a:lnTo>
                  <a:pt x="131" y="141"/>
                </a:lnTo>
                <a:lnTo>
                  <a:pt x="129" y="141"/>
                </a:lnTo>
                <a:lnTo>
                  <a:pt x="129" y="144"/>
                </a:lnTo>
                <a:lnTo>
                  <a:pt x="131" y="147"/>
                </a:lnTo>
                <a:lnTo>
                  <a:pt x="133" y="147"/>
                </a:lnTo>
                <a:lnTo>
                  <a:pt x="137" y="151"/>
                </a:lnTo>
                <a:lnTo>
                  <a:pt x="137" y="152"/>
                </a:lnTo>
                <a:lnTo>
                  <a:pt x="137" y="155"/>
                </a:lnTo>
                <a:lnTo>
                  <a:pt x="136" y="160"/>
                </a:lnTo>
                <a:lnTo>
                  <a:pt x="136" y="162"/>
                </a:lnTo>
                <a:lnTo>
                  <a:pt x="137" y="163"/>
                </a:lnTo>
                <a:lnTo>
                  <a:pt x="139" y="169"/>
                </a:lnTo>
                <a:lnTo>
                  <a:pt x="139" y="173"/>
                </a:lnTo>
                <a:lnTo>
                  <a:pt x="139" y="174"/>
                </a:lnTo>
                <a:lnTo>
                  <a:pt x="142" y="174"/>
                </a:lnTo>
                <a:lnTo>
                  <a:pt x="144" y="176"/>
                </a:lnTo>
                <a:lnTo>
                  <a:pt x="150" y="174"/>
                </a:lnTo>
                <a:lnTo>
                  <a:pt x="150" y="177"/>
                </a:lnTo>
                <a:lnTo>
                  <a:pt x="149" y="179"/>
                </a:lnTo>
                <a:lnTo>
                  <a:pt x="146" y="179"/>
                </a:lnTo>
                <a:lnTo>
                  <a:pt x="145" y="180"/>
                </a:lnTo>
                <a:lnTo>
                  <a:pt x="145" y="182"/>
                </a:lnTo>
                <a:lnTo>
                  <a:pt x="142" y="182"/>
                </a:lnTo>
                <a:lnTo>
                  <a:pt x="141" y="182"/>
                </a:lnTo>
                <a:lnTo>
                  <a:pt x="140" y="185"/>
                </a:lnTo>
                <a:lnTo>
                  <a:pt x="139" y="190"/>
                </a:lnTo>
                <a:lnTo>
                  <a:pt x="137" y="191"/>
                </a:lnTo>
                <a:lnTo>
                  <a:pt x="135" y="191"/>
                </a:lnTo>
                <a:lnTo>
                  <a:pt x="132" y="193"/>
                </a:lnTo>
                <a:lnTo>
                  <a:pt x="131" y="195"/>
                </a:lnTo>
                <a:lnTo>
                  <a:pt x="129" y="195"/>
                </a:lnTo>
                <a:lnTo>
                  <a:pt x="125" y="196"/>
                </a:lnTo>
                <a:lnTo>
                  <a:pt x="123" y="198"/>
                </a:lnTo>
                <a:lnTo>
                  <a:pt x="120" y="199"/>
                </a:lnTo>
                <a:lnTo>
                  <a:pt x="119" y="199"/>
                </a:lnTo>
                <a:lnTo>
                  <a:pt x="117" y="202"/>
                </a:lnTo>
                <a:lnTo>
                  <a:pt x="116" y="202"/>
                </a:lnTo>
                <a:lnTo>
                  <a:pt x="111" y="204"/>
                </a:lnTo>
                <a:lnTo>
                  <a:pt x="107" y="204"/>
                </a:lnTo>
                <a:lnTo>
                  <a:pt x="105" y="204"/>
                </a:lnTo>
                <a:lnTo>
                  <a:pt x="101" y="201"/>
                </a:lnTo>
                <a:lnTo>
                  <a:pt x="101" y="199"/>
                </a:lnTo>
                <a:lnTo>
                  <a:pt x="100" y="198"/>
                </a:lnTo>
                <a:lnTo>
                  <a:pt x="99" y="196"/>
                </a:lnTo>
                <a:lnTo>
                  <a:pt x="97" y="193"/>
                </a:lnTo>
                <a:lnTo>
                  <a:pt x="96" y="191"/>
                </a:lnTo>
                <a:lnTo>
                  <a:pt x="96" y="187"/>
                </a:lnTo>
                <a:lnTo>
                  <a:pt x="91" y="176"/>
                </a:lnTo>
                <a:lnTo>
                  <a:pt x="89" y="171"/>
                </a:lnTo>
                <a:lnTo>
                  <a:pt x="84" y="168"/>
                </a:lnTo>
                <a:lnTo>
                  <a:pt x="84" y="166"/>
                </a:lnTo>
                <a:lnTo>
                  <a:pt x="88" y="163"/>
                </a:lnTo>
                <a:lnTo>
                  <a:pt x="89" y="160"/>
                </a:lnTo>
                <a:lnTo>
                  <a:pt x="91" y="158"/>
                </a:lnTo>
                <a:lnTo>
                  <a:pt x="92" y="158"/>
                </a:lnTo>
                <a:lnTo>
                  <a:pt x="92" y="157"/>
                </a:lnTo>
                <a:lnTo>
                  <a:pt x="92" y="155"/>
                </a:lnTo>
                <a:lnTo>
                  <a:pt x="91" y="154"/>
                </a:lnTo>
                <a:lnTo>
                  <a:pt x="89" y="151"/>
                </a:lnTo>
                <a:lnTo>
                  <a:pt x="87" y="147"/>
                </a:lnTo>
                <a:lnTo>
                  <a:pt x="85" y="146"/>
                </a:lnTo>
                <a:lnTo>
                  <a:pt x="84" y="146"/>
                </a:lnTo>
                <a:lnTo>
                  <a:pt x="84" y="143"/>
                </a:lnTo>
                <a:lnTo>
                  <a:pt x="84" y="140"/>
                </a:lnTo>
                <a:lnTo>
                  <a:pt x="84" y="136"/>
                </a:lnTo>
                <a:lnTo>
                  <a:pt x="83" y="135"/>
                </a:lnTo>
                <a:lnTo>
                  <a:pt x="83" y="130"/>
                </a:lnTo>
                <a:lnTo>
                  <a:pt x="84" y="129"/>
                </a:lnTo>
                <a:lnTo>
                  <a:pt x="84" y="125"/>
                </a:lnTo>
                <a:lnTo>
                  <a:pt x="84" y="122"/>
                </a:lnTo>
                <a:lnTo>
                  <a:pt x="87" y="119"/>
                </a:lnTo>
                <a:lnTo>
                  <a:pt x="87" y="115"/>
                </a:lnTo>
                <a:lnTo>
                  <a:pt x="88" y="113"/>
                </a:lnTo>
                <a:lnTo>
                  <a:pt x="89" y="111"/>
                </a:lnTo>
                <a:lnTo>
                  <a:pt x="89" y="110"/>
                </a:lnTo>
                <a:lnTo>
                  <a:pt x="88" y="107"/>
                </a:lnTo>
                <a:lnTo>
                  <a:pt x="87" y="105"/>
                </a:lnTo>
                <a:lnTo>
                  <a:pt x="84" y="107"/>
                </a:lnTo>
                <a:lnTo>
                  <a:pt x="79" y="108"/>
                </a:lnTo>
                <a:lnTo>
                  <a:pt x="76" y="110"/>
                </a:lnTo>
                <a:lnTo>
                  <a:pt x="73" y="110"/>
                </a:lnTo>
                <a:lnTo>
                  <a:pt x="71" y="108"/>
                </a:lnTo>
                <a:lnTo>
                  <a:pt x="69" y="108"/>
                </a:lnTo>
                <a:lnTo>
                  <a:pt x="68" y="107"/>
                </a:lnTo>
                <a:lnTo>
                  <a:pt x="67" y="107"/>
                </a:lnTo>
                <a:lnTo>
                  <a:pt x="65" y="108"/>
                </a:lnTo>
                <a:lnTo>
                  <a:pt x="64" y="108"/>
                </a:lnTo>
                <a:lnTo>
                  <a:pt x="63" y="108"/>
                </a:lnTo>
                <a:lnTo>
                  <a:pt x="60" y="108"/>
                </a:lnTo>
                <a:lnTo>
                  <a:pt x="59" y="108"/>
                </a:lnTo>
                <a:lnTo>
                  <a:pt x="51" y="94"/>
                </a:lnTo>
                <a:lnTo>
                  <a:pt x="49" y="93"/>
                </a:lnTo>
                <a:lnTo>
                  <a:pt x="47" y="93"/>
                </a:lnTo>
                <a:lnTo>
                  <a:pt x="45" y="91"/>
                </a:lnTo>
                <a:lnTo>
                  <a:pt x="41" y="89"/>
                </a:lnTo>
                <a:lnTo>
                  <a:pt x="37" y="89"/>
                </a:lnTo>
                <a:lnTo>
                  <a:pt x="32" y="93"/>
                </a:lnTo>
                <a:lnTo>
                  <a:pt x="29" y="93"/>
                </a:lnTo>
                <a:lnTo>
                  <a:pt x="26" y="93"/>
                </a:lnTo>
                <a:lnTo>
                  <a:pt x="20" y="89"/>
                </a:lnTo>
                <a:lnTo>
                  <a:pt x="20" y="88"/>
                </a:lnTo>
                <a:lnTo>
                  <a:pt x="19" y="86"/>
                </a:lnTo>
                <a:lnTo>
                  <a:pt x="15" y="85"/>
                </a:lnTo>
                <a:lnTo>
                  <a:pt x="15" y="74"/>
                </a:lnTo>
                <a:lnTo>
                  <a:pt x="15" y="71"/>
                </a:lnTo>
                <a:lnTo>
                  <a:pt x="14" y="69"/>
                </a:lnTo>
                <a:lnTo>
                  <a:pt x="12" y="67"/>
                </a:lnTo>
                <a:lnTo>
                  <a:pt x="12" y="66"/>
                </a:lnTo>
                <a:lnTo>
                  <a:pt x="10" y="64"/>
                </a:lnTo>
                <a:lnTo>
                  <a:pt x="10" y="63"/>
                </a:lnTo>
                <a:lnTo>
                  <a:pt x="8" y="56"/>
                </a:lnTo>
                <a:lnTo>
                  <a:pt x="7" y="55"/>
                </a:lnTo>
                <a:lnTo>
                  <a:pt x="7" y="53"/>
                </a:lnTo>
                <a:lnTo>
                  <a:pt x="0" y="53"/>
                </a:lnTo>
                <a:lnTo>
                  <a:pt x="2" y="50"/>
                </a:lnTo>
                <a:lnTo>
                  <a:pt x="4" y="45"/>
                </a:lnTo>
                <a:lnTo>
                  <a:pt x="8" y="30"/>
                </a:lnTo>
                <a:lnTo>
                  <a:pt x="12" y="23"/>
                </a:lnTo>
                <a:lnTo>
                  <a:pt x="19" y="16"/>
                </a:lnTo>
                <a:lnTo>
                  <a:pt x="19" y="14"/>
                </a:lnTo>
                <a:lnTo>
                  <a:pt x="20" y="11"/>
                </a:lnTo>
                <a:lnTo>
                  <a:pt x="23" y="9"/>
                </a:lnTo>
                <a:lnTo>
                  <a:pt x="27" y="6"/>
                </a:lnTo>
                <a:lnTo>
                  <a:pt x="31" y="6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68" name="Freeform 1295"/>
          <p:cNvSpPr>
            <a:spLocks/>
          </p:cNvSpPr>
          <p:nvPr/>
        </p:nvSpPr>
        <p:spPr bwMode="auto">
          <a:xfrm>
            <a:off x="3602834" y="3914738"/>
            <a:ext cx="350787" cy="360798"/>
          </a:xfrm>
          <a:custGeom>
            <a:avLst/>
            <a:gdLst/>
            <a:ahLst/>
            <a:cxnLst>
              <a:cxn ang="0">
                <a:pos x="3" y="11"/>
              </a:cxn>
              <a:cxn ang="0">
                <a:pos x="7" y="20"/>
              </a:cxn>
              <a:cxn ang="0">
                <a:pos x="7" y="23"/>
              </a:cxn>
              <a:cxn ang="0">
                <a:pos x="2" y="36"/>
              </a:cxn>
              <a:cxn ang="0">
                <a:pos x="2" y="47"/>
              </a:cxn>
              <a:cxn ang="0">
                <a:pos x="7" y="56"/>
              </a:cxn>
              <a:cxn ang="0">
                <a:pos x="15" y="52"/>
              </a:cxn>
              <a:cxn ang="0">
                <a:pos x="12" y="38"/>
              </a:cxn>
              <a:cxn ang="0">
                <a:pos x="11" y="23"/>
              </a:cxn>
              <a:cxn ang="0">
                <a:pos x="28" y="14"/>
              </a:cxn>
              <a:cxn ang="0">
                <a:pos x="32" y="9"/>
              </a:cxn>
              <a:cxn ang="0">
                <a:pos x="27" y="5"/>
              </a:cxn>
              <a:cxn ang="0">
                <a:pos x="33" y="0"/>
              </a:cxn>
              <a:cxn ang="0">
                <a:pos x="41" y="12"/>
              </a:cxn>
              <a:cxn ang="0">
                <a:pos x="55" y="17"/>
              </a:cxn>
              <a:cxn ang="0">
                <a:pos x="61" y="30"/>
              </a:cxn>
              <a:cxn ang="0">
                <a:pos x="81" y="28"/>
              </a:cxn>
              <a:cxn ang="0">
                <a:pos x="92" y="33"/>
              </a:cxn>
              <a:cxn ang="0">
                <a:pos x="104" y="36"/>
              </a:cxn>
              <a:cxn ang="0">
                <a:pos x="121" y="31"/>
              </a:cxn>
              <a:cxn ang="0">
                <a:pos x="120" y="28"/>
              </a:cxn>
              <a:cxn ang="0">
                <a:pos x="148" y="27"/>
              </a:cxn>
              <a:cxn ang="0">
                <a:pos x="146" y="30"/>
              </a:cxn>
              <a:cxn ang="0">
                <a:pos x="137" y="31"/>
              </a:cxn>
              <a:cxn ang="0">
                <a:pos x="142" y="36"/>
              </a:cxn>
              <a:cxn ang="0">
                <a:pos x="146" y="42"/>
              </a:cxn>
              <a:cxn ang="0">
                <a:pos x="165" y="49"/>
              </a:cxn>
              <a:cxn ang="0">
                <a:pos x="170" y="61"/>
              </a:cxn>
              <a:cxn ang="0">
                <a:pos x="166" y="66"/>
              </a:cxn>
              <a:cxn ang="0">
                <a:pos x="174" y="67"/>
              </a:cxn>
              <a:cxn ang="0">
                <a:pos x="182" y="67"/>
              </a:cxn>
              <a:cxn ang="0">
                <a:pos x="184" y="72"/>
              </a:cxn>
              <a:cxn ang="0">
                <a:pos x="176" y="77"/>
              </a:cxn>
              <a:cxn ang="0">
                <a:pos x="169" y="82"/>
              </a:cxn>
              <a:cxn ang="0">
                <a:pos x="172" y="89"/>
              </a:cxn>
              <a:cxn ang="0">
                <a:pos x="170" y="96"/>
              </a:cxn>
              <a:cxn ang="0">
                <a:pos x="164" y="105"/>
              </a:cxn>
              <a:cxn ang="0">
                <a:pos x="169" y="119"/>
              </a:cxn>
              <a:cxn ang="0">
                <a:pos x="172" y="129"/>
              </a:cxn>
              <a:cxn ang="0">
                <a:pos x="162" y="136"/>
              </a:cxn>
              <a:cxn ang="0">
                <a:pos x="154" y="143"/>
              </a:cxn>
              <a:cxn ang="0">
                <a:pos x="137" y="147"/>
              </a:cxn>
              <a:cxn ang="0">
                <a:pos x="119" y="143"/>
              </a:cxn>
              <a:cxn ang="0">
                <a:pos x="109" y="144"/>
              </a:cxn>
              <a:cxn ang="0">
                <a:pos x="117" y="152"/>
              </a:cxn>
              <a:cxn ang="0">
                <a:pos x="117" y="163"/>
              </a:cxn>
              <a:cxn ang="0">
                <a:pos x="122" y="174"/>
              </a:cxn>
              <a:cxn ang="0">
                <a:pos x="129" y="179"/>
              </a:cxn>
              <a:cxn ang="0">
                <a:pos x="122" y="182"/>
              </a:cxn>
            </a:cxnLst>
            <a:rect l="0" t="0" r="r" b="b"/>
            <a:pathLst>
              <a:path w="185" h="182">
                <a:moveTo>
                  <a:pt x="11" y="6"/>
                </a:moveTo>
                <a:lnTo>
                  <a:pt x="8" y="9"/>
                </a:lnTo>
                <a:lnTo>
                  <a:pt x="6" y="9"/>
                </a:lnTo>
                <a:lnTo>
                  <a:pt x="3" y="11"/>
                </a:lnTo>
                <a:lnTo>
                  <a:pt x="3" y="12"/>
                </a:lnTo>
                <a:lnTo>
                  <a:pt x="4" y="16"/>
                </a:lnTo>
                <a:lnTo>
                  <a:pt x="4" y="17"/>
                </a:lnTo>
                <a:lnTo>
                  <a:pt x="7" y="20"/>
                </a:lnTo>
                <a:lnTo>
                  <a:pt x="7" y="22"/>
                </a:lnTo>
                <a:lnTo>
                  <a:pt x="6" y="22"/>
                </a:lnTo>
                <a:lnTo>
                  <a:pt x="6" y="23"/>
                </a:lnTo>
                <a:lnTo>
                  <a:pt x="7" y="23"/>
                </a:lnTo>
                <a:lnTo>
                  <a:pt x="7" y="27"/>
                </a:lnTo>
                <a:lnTo>
                  <a:pt x="6" y="30"/>
                </a:lnTo>
                <a:lnTo>
                  <a:pt x="2" y="34"/>
                </a:lnTo>
                <a:lnTo>
                  <a:pt x="2" y="36"/>
                </a:lnTo>
                <a:lnTo>
                  <a:pt x="0" y="38"/>
                </a:lnTo>
                <a:lnTo>
                  <a:pt x="0" y="42"/>
                </a:lnTo>
                <a:lnTo>
                  <a:pt x="2" y="45"/>
                </a:lnTo>
                <a:lnTo>
                  <a:pt x="2" y="47"/>
                </a:lnTo>
                <a:lnTo>
                  <a:pt x="4" y="49"/>
                </a:lnTo>
                <a:lnTo>
                  <a:pt x="6" y="53"/>
                </a:lnTo>
                <a:lnTo>
                  <a:pt x="7" y="55"/>
                </a:lnTo>
                <a:lnTo>
                  <a:pt x="7" y="56"/>
                </a:lnTo>
                <a:lnTo>
                  <a:pt x="9" y="56"/>
                </a:lnTo>
                <a:lnTo>
                  <a:pt x="11" y="55"/>
                </a:lnTo>
                <a:lnTo>
                  <a:pt x="13" y="53"/>
                </a:lnTo>
                <a:lnTo>
                  <a:pt x="15" y="52"/>
                </a:lnTo>
                <a:lnTo>
                  <a:pt x="15" y="50"/>
                </a:lnTo>
                <a:lnTo>
                  <a:pt x="15" y="47"/>
                </a:lnTo>
                <a:lnTo>
                  <a:pt x="15" y="42"/>
                </a:lnTo>
                <a:lnTo>
                  <a:pt x="12" y="38"/>
                </a:lnTo>
                <a:lnTo>
                  <a:pt x="11" y="34"/>
                </a:lnTo>
                <a:lnTo>
                  <a:pt x="9" y="33"/>
                </a:lnTo>
                <a:lnTo>
                  <a:pt x="9" y="25"/>
                </a:lnTo>
                <a:lnTo>
                  <a:pt x="11" y="23"/>
                </a:lnTo>
                <a:lnTo>
                  <a:pt x="11" y="22"/>
                </a:lnTo>
                <a:lnTo>
                  <a:pt x="13" y="20"/>
                </a:lnTo>
                <a:lnTo>
                  <a:pt x="19" y="17"/>
                </a:lnTo>
                <a:lnTo>
                  <a:pt x="28" y="14"/>
                </a:lnTo>
                <a:lnTo>
                  <a:pt x="35" y="12"/>
                </a:lnTo>
                <a:lnTo>
                  <a:pt x="35" y="11"/>
                </a:lnTo>
                <a:lnTo>
                  <a:pt x="33" y="9"/>
                </a:lnTo>
                <a:lnTo>
                  <a:pt x="32" y="9"/>
                </a:lnTo>
                <a:lnTo>
                  <a:pt x="28" y="9"/>
                </a:lnTo>
                <a:lnTo>
                  <a:pt x="28" y="8"/>
                </a:lnTo>
                <a:lnTo>
                  <a:pt x="27" y="8"/>
                </a:lnTo>
                <a:lnTo>
                  <a:pt x="27" y="5"/>
                </a:lnTo>
                <a:lnTo>
                  <a:pt x="28" y="1"/>
                </a:lnTo>
                <a:lnTo>
                  <a:pt x="31" y="0"/>
                </a:lnTo>
                <a:lnTo>
                  <a:pt x="32" y="0"/>
                </a:lnTo>
                <a:lnTo>
                  <a:pt x="33" y="0"/>
                </a:lnTo>
                <a:lnTo>
                  <a:pt x="33" y="1"/>
                </a:lnTo>
                <a:lnTo>
                  <a:pt x="36" y="9"/>
                </a:lnTo>
                <a:lnTo>
                  <a:pt x="37" y="12"/>
                </a:lnTo>
                <a:lnTo>
                  <a:pt x="41" y="12"/>
                </a:lnTo>
                <a:lnTo>
                  <a:pt x="47" y="14"/>
                </a:lnTo>
                <a:lnTo>
                  <a:pt x="48" y="14"/>
                </a:lnTo>
                <a:lnTo>
                  <a:pt x="52" y="16"/>
                </a:lnTo>
                <a:lnTo>
                  <a:pt x="55" y="17"/>
                </a:lnTo>
                <a:lnTo>
                  <a:pt x="56" y="19"/>
                </a:lnTo>
                <a:lnTo>
                  <a:pt x="57" y="25"/>
                </a:lnTo>
                <a:lnTo>
                  <a:pt x="59" y="28"/>
                </a:lnTo>
                <a:lnTo>
                  <a:pt x="61" y="30"/>
                </a:lnTo>
                <a:lnTo>
                  <a:pt x="64" y="30"/>
                </a:lnTo>
                <a:lnTo>
                  <a:pt x="71" y="28"/>
                </a:lnTo>
                <a:lnTo>
                  <a:pt x="73" y="28"/>
                </a:lnTo>
                <a:lnTo>
                  <a:pt x="81" y="28"/>
                </a:lnTo>
                <a:lnTo>
                  <a:pt x="89" y="28"/>
                </a:lnTo>
                <a:lnTo>
                  <a:pt x="91" y="30"/>
                </a:lnTo>
                <a:lnTo>
                  <a:pt x="92" y="31"/>
                </a:lnTo>
                <a:lnTo>
                  <a:pt x="92" y="33"/>
                </a:lnTo>
                <a:lnTo>
                  <a:pt x="93" y="34"/>
                </a:lnTo>
                <a:lnTo>
                  <a:pt x="96" y="36"/>
                </a:lnTo>
                <a:lnTo>
                  <a:pt x="99" y="36"/>
                </a:lnTo>
                <a:lnTo>
                  <a:pt x="104" y="36"/>
                </a:lnTo>
                <a:lnTo>
                  <a:pt x="112" y="34"/>
                </a:lnTo>
                <a:lnTo>
                  <a:pt x="113" y="34"/>
                </a:lnTo>
                <a:lnTo>
                  <a:pt x="116" y="31"/>
                </a:lnTo>
                <a:lnTo>
                  <a:pt x="121" y="31"/>
                </a:lnTo>
                <a:lnTo>
                  <a:pt x="124" y="30"/>
                </a:lnTo>
                <a:lnTo>
                  <a:pt x="125" y="30"/>
                </a:lnTo>
                <a:lnTo>
                  <a:pt x="125" y="28"/>
                </a:lnTo>
                <a:lnTo>
                  <a:pt x="120" y="28"/>
                </a:lnTo>
                <a:lnTo>
                  <a:pt x="117" y="28"/>
                </a:lnTo>
                <a:lnTo>
                  <a:pt x="120" y="27"/>
                </a:lnTo>
                <a:lnTo>
                  <a:pt x="124" y="27"/>
                </a:lnTo>
                <a:lnTo>
                  <a:pt x="148" y="27"/>
                </a:lnTo>
                <a:lnTo>
                  <a:pt x="150" y="27"/>
                </a:lnTo>
                <a:lnTo>
                  <a:pt x="150" y="28"/>
                </a:lnTo>
                <a:lnTo>
                  <a:pt x="146" y="28"/>
                </a:lnTo>
                <a:lnTo>
                  <a:pt x="146" y="30"/>
                </a:lnTo>
                <a:lnTo>
                  <a:pt x="145" y="30"/>
                </a:lnTo>
                <a:lnTo>
                  <a:pt x="142" y="30"/>
                </a:lnTo>
                <a:lnTo>
                  <a:pt x="138" y="30"/>
                </a:lnTo>
                <a:lnTo>
                  <a:pt x="137" y="31"/>
                </a:lnTo>
                <a:lnTo>
                  <a:pt x="137" y="33"/>
                </a:lnTo>
                <a:lnTo>
                  <a:pt x="140" y="34"/>
                </a:lnTo>
                <a:lnTo>
                  <a:pt x="141" y="34"/>
                </a:lnTo>
                <a:lnTo>
                  <a:pt x="142" y="36"/>
                </a:lnTo>
                <a:lnTo>
                  <a:pt x="144" y="38"/>
                </a:lnTo>
                <a:lnTo>
                  <a:pt x="145" y="39"/>
                </a:lnTo>
                <a:lnTo>
                  <a:pt x="145" y="41"/>
                </a:lnTo>
                <a:lnTo>
                  <a:pt x="146" y="42"/>
                </a:lnTo>
                <a:lnTo>
                  <a:pt x="150" y="42"/>
                </a:lnTo>
                <a:lnTo>
                  <a:pt x="156" y="44"/>
                </a:lnTo>
                <a:lnTo>
                  <a:pt x="162" y="47"/>
                </a:lnTo>
                <a:lnTo>
                  <a:pt x="165" y="49"/>
                </a:lnTo>
                <a:lnTo>
                  <a:pt x="166" y="50"/>
                </a:lnTo>
                <a:lnTo>
                  <a:pt x="169" y="55"/>
                </a:lnTo>
                <a:lnTo>
                  <a:pt x="169" y="56"/>
                </a:lnTo>
                <a:lnTo>
                  <a:pt x="170" y="61"/>
                </a:lnTo>
                <a:lnTo>
                  <a:pt x="169" y="63"/>
                </a:lnTo>
                <a:lnTo>
                  <a:pt x="169" y="64"/>
                </a:lnTo>
                <a:lnTo>
                  <a:pt x="166" y="64"/>
                </a:lnTo>
                <a:lnTo>
                  <a:pt x="166" y="66"/>
                </a:lnTo>
                <a:lnTo>
                  <a:pt x="169" y="66"/>
                </a:lnTo>
                <a:lnTo>
                  <a:pt x="172" y="67"/>
                </a:lnTo>
                <a:lnTo>
                  <a:pt x="173" y="67"/>
                </a:lnTo>
                <a:lnTo>
                  <a:pt x="174" y="67"/>
                </a:lnTo>
                <a:lnTo>
                  <a:pt x="176" y="64"/>
                </a:lnTo>
                <a:lnTo>
                  <a:pt x="178" y="64"/>
                </a:lnTo>
                <a:lnTo>
                  <a:pt x="180" y="64"/>
                </a:lnTo>
                <a:lnTo>
                  <a:pt x="182" y="67"/>
                </a:lnTo>
                <a:lnTo>
                  <a:pt x="184" y="69"/>
                </a:lnTo>
                <a:lnTo>
                  <a:pt x="185" y="69"/>
                </a:lnTo>
                <a:lnTo>
                  <a:pt x="185" y="72"/>
                </a:lnTo>
                <a:lnTo>
                  <a:pt x="184" y="72"/>
                </a:lnTo>
                <a:lnTo>
                  <a:pt x="182" y="72"/>
                </a:lnTo>
                <a:lnTo>
                  <a:pt x="181" y="74"/>
                </a:lnTo>
                <a:lnTo>
                  <a:pt x="180" y="75"/>
                </a:lnTo>
                <a:lnTo>
                  <a:pt x="176" y="77"/>
                </a:lnTo>
                <a:lnTo>
                  <a:pt x="174" y="78"/>
                </a:lnTo>
                <a:lnTo>
                  <a:pt x="173" y="80"/>
                </a:lnTo>
                <a:lnTo>
                  <a:pt x="170" y="80"/>
                </a:lnTo>
                <a:lnTo>
                  <a:pt x="169" y="82"/>
                </a:lnTo>
                <a:lnTo>
                  <a:pt x="169" y="83"/>
                </a:lnTo>
                <a:lnTo>
                  <a:pt x="169" y="86"/>
                </a:lnTo>
                <a:lnTo>
                  <a:pt x="169" y="89"/>
                </a:lnTo>
                <a:lnTo>
                  <a:pt x="172" y="89"/>
                </a:lnTo>
                <a:lnTo>
                  <a:pt x="173" y="89"/>
                </a:lnTo>
                <a:lnTo>
                  <a:pt x="174" y="91"/>
                </a:lnTo>
                <a:lnTo>
                  <a:pt x="173" y="93"/>
                </a:lnTo>
                <a:lnTo>
                  <a:pt x="170" y="96"/>
                </a:lnTo>
                <a:lnTo>
                  <a:pt x="165" y="97"/>
                </a:lnTo>
                <a:lnTo>
                  <a:pt x="165" y="99"/>
                </a:lnTo>
                <a:lnTo>
                  <a:pt x="165" y="104"/>
                </a:lnTo>
                <a:lnTo>
                  <a:pt x="164" y="105"/>
                </a:lnTo>
                <a:lnTo>
                  <a:pt x="162" y="108"/>
                </a:lnTo>
                <a:lnTo>
                  <a:pt x="162" y="110"/>
                </a:lnTo>
                <a:lnTo>
                  <a:pt x="166" y="115"/>
                </a:lnTo>
                <a:lnTo>
                  <a:pt x="169" y="119"/>
                </a:lnTo>
                <a:lnTo>
                  <a:pt x="170" y="121"/>
                </a:lnTo>
                <a:lnTo>
                  <a:pt x="172" y="124"/>
                </a:lnTo>
                <a:lnTo>
                  <a:pt x="172" y="125"/>
                </a:lnTo>
                <a:lnTo>
                  <a:pt x="172" y="129"/>
                </a:lnTo>
                <a:lnTo>
                  <a:pt x="169" y="133"/>
                </a:lnTo>
                <a:lnTo>
                  <a:pt x="168" y="135"/>
                </a:lnTo>
                <a:lnTo>
                  <a:pt x="166" y="136"/>
                </a:lnTo>
                <a:lnTo>
                  <a:pt x="162" y="136"/>
                </a:lnTo>
                <a:lnTo>
                  <a:pt x="160" y="138"/>
                </a:lnTo>
                <a:lnTo>
                  <a:pt x="158" y="138"/>
                </a:lnTo>
                <a:lnTo>
                  <a:pt x="156" y="141"/>
                </a:lnTo>
                <a:lnTo>
                  <a:pt x="154" y="143"/>
                </a:lnTo>
                <a:lnTo>
                  <a:pt x="146" y="143"/>
                </a:lnTo>
                <a:lnTo>
                  <a:pt x="142" y="144"/>
                </a:lnTo>
                <a:lnTo>
                  <a:pt x="137" y="146"/>
                </a:lnTo>
                <a:lnTo>
                  <a:pt x="137" y="147"/>
                </a:lnTo>
                <a:lnTo>
                  <a:pt x="136" y="147"/>
                </a:lnTo>
                <a:lnTo>
                  <a:pt x="129" y="147"/>
                </a:lnTo>
                <a:lnTo>
                  <a:pt x="125" y="146"/>
                </a:lnTo>
                <a:lnTo>
                  <a:pt x="119" y="143"/>
                </a:lnTo>
                <a:lnTo>
                  <a:pt x="113" y="141"/>
                </a:lnTo>
                <a:lnTo>
                  <a:pt x="111" y="141"/>
                </a:lnTo>
                <a:lnTo>
                  <a:pt x="109" y="141"/>
                </a:lnTo>
                <a:lnTo>
                  <a:pt x="109" y="144"/>
                </a:lnTo>
                <a:lnTo>
                  <a:pt x="111" y="147"/>
                </a:lnTo>
                <a:lnTo>
                  <a:pt x="113" y="147"/>
                </a:lnTo>
                <a:lnTo>
                  <a:pt x="117" y="151"/>
                </a:lnTo>
                <a:lnTo>
                  <a:pt x="117" y="152"/>
                </a:lnTo>
                <a:lnTo>
                  <a:pt x="117" y="155"/>
                </a:lnTo>
                <a:lnTo>
                  <a:pt x="116" y="160"/>
                </a:lnTo>
                <a:lnTo>
                  <a:pt x="116" y="162"/>
                </a:lnTo>
                <a:lnTo>
                  <a:pt x="117" y="163"/>
                </a:lnTo>
                <a:lnTo>
                  <a:pt x="119" y="169"/>
                </a:lnTo>
                <a:lnTo>
                  <a:pt x="119" y="173"/>
                </a:lnTo>
                <a:lnTo>
                  <a:pt x="119" y="174"/>
                </a:lnTo>
                <a:lnTo>
                  <a:pt x="122" y="174"/>
                </a:lnTo>
                <a:lnTo>
                  <a:pt x="124" y="176"/>
                </a:lnTo>
                <a:lnTo>
                  <a:pt x="130" y="174"/>
                </a:lnTo>
                <a:lnTo>
                  <a:pt x="130" y="177"/>
                </a:lnTo>
                <a:lnTo>
                  <a:pt x="129" y="179"/>
                </a:lnTo>
                <a:lnTo>
                  <a:pt x="126" y="179"/>
                </a:lnTo>
                <a:lnTo>
                  <a:pt x="125" y="180"/>
                </a:lnTo>
                <a:lnTo>
                  <a:pt x="125" y="182"/>
                </a:lnTo>
                <a:lnTo>
                  <a:pt x="122" y="182"/>
                </a:lnTo>
                <a:lnTo>
                  <a:pt x="121" y="18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69" name="Freeform 1296"/>
          <p:cNvSpPr>
            <a:spLocks/>
          </p:cNvSpPr>
          <p:nvPr/>
        </p:nvSpPr>
        <p:spPr bwMode="auto">
          <a:xfrm>
            <a:off x="3563859" y="3927624"/>
            <a:ext cx="268936" cy="393011"/>
          </a:xfrm>
          <a:custGeom>
            <a:avLst/>
            <a:gdLst/>
            <a:ahLst/>
            <a:cxnLst>
              <a:cxn ang="0">
                <a:pos x="140" y="179"/>
              </a:cxn>
              <a:cxn ang="0">
                <a:pos x="137" y="185"/>
              </a:cxn>
              <a:cxn ang="0">
                <a:pos x="132" y="187"/>
              </a:cxn>
              <a:cxn ang="0">
                <a:pos x="129" y="189"/>
              </a:cxn>
              <a:cxn ang="0">
                <a:pos x="123" y="192"/>
              </a:cxn>
              <a:cxn ang="0">
                <a:pos x="119" y="193"/>
              </a:cxn>
              <a:cxn ang="0">
                <a:pos x="116" y="196"/>
              </a:cxn>
              <a:cxn ang="0">
                <a:pos x="107" y="198"/>
              </a:cxn>
              <a:cxn ang="0">
                <a:pos x="101" y="195"/>
              </a:cxn>
              <a:cxn ang="0">
                <a:pos x="100" y="192"/>
              </a:cxn>
              <a:cxn ang="0">
                <a:pos x="97" y="187"/>
              </a:cxn>
              <a:cxn ang="0">
                <a:pos x="96" y="181"/>
              </a:cxn>
              <a:cxn ang="0">
                <a:pos x="89" y="165"/>
              </a:cxn>
              <a:cxn ang="0">
                <a:pos x="84" y="160"/>
              </a:cxn>
              <a:cxn ang="0">
                <a:pos x="89" y="154"/>
              </a:cxn>
              <a:cxn ang="0">
                <a:pos x="92" y="152"/>
              </a:cxn>
              <a:cxn ang="0">
                <a:pos x="92" y="149"/>
              </a:cxn>
              <a:cxn ang="0">
                <a:pos x="89" y="145"/>
              </a:cxn>
              <a:cxn ang="0">
                <a:pos x="85" y="140"/>
              </a:cxn>
              <a:cxn ang="0">
                <a:pos x="84" y="137"/>
              </a:cxn>
              <a:cxn ang="0">
                <a:pos x="84" y="130"/>
              </a:cxn>
              <a:cxn ang="0">
                <a:pos x="83" y="124"/>
              </a:cxn>
              <a:cxn ang="0">
                <a:pos x="84" y="119"/>
              </a:cxn>
              <a:cxn ang="0">
                <a:pos x="87" y="113"/>
              </a:cxn>
              <a:cxn ang="0">
                <a:pos x="88" y="107"/>
              </a:cxn>
              <a:cxn ang="0">
                <a:pos x="89" y="104"/>
              </a:cxn>
              <a:cxn ang="0">
                <a:pos x="87" y="99"/>
              </a:cxn>
              <a:cxn ang="0">
                <a:pos x="79" y="102"/>
              </a:cxn>
              <a:cxn ang="0">
                <a:pos x="73" y="104"/>
              </a:cxn>
              <a:cxn ang="0">
                <a:pos x="69" y="102"/>
              </a:cxn>
              <a:cxn ang="0">
                <a:pos x="67" y="101"/>
              </a:cxn>
              <a:cxn ang="0">
                <a:pos x="64" y="102"/>
              </a:cxn>
              <a:cxn ang="0">
                <a:pos x="60" y="102"/>
              </a:cxn>
              <a:cxn ang="0">
                <a:pos x="51" y="88"/>
              </a:cxn>
              <a:cxn ang="0">
                <a:pos x="47" y="87"/>
              </a:cxn>
              <a:cxn ang="0">
                <a:pos x="41" y="83"/>
              </a:cxn>
              <a:cxn ang="0">
                <a:pos x="32" y="87"/>
              </a:cxn>
              <a:cxn ang="0">
                <a:pos x="26" y="87"/>
              </a:cxn>
              <a:cxn ang="0">
                <a:pos x="20" y="82"/>
              </a:cxn>
              <a:cxn ang="0">
                <a:pos x="15" y="79"/>
              </a:cxn>
              <a:cxn ang="0">
                <a:pos x="15" y="65"/>
              </a:cxn>
              <a:cxn ang="0">
                <a:pos x="12" y="61"/>
              </a:cxn>
              <a:cxn ang="0">
                <a:pos x="10" y="58"/>
              </a:cxn>
              <a:cxn ang="0">
                <a:pos x="8" y="50"/>
              </a:cxn>
              <a:cxn ang="0">
                <a:pos x="7" y="47"/>
              </a:cxn>
              <a:cxn ang="0">
                <a:pos x="2" y="44"/>
              </a:cxn>
              <a:cxn ang="0">
                <a:pos x="8" y="24"/>
              </a:cxn>
              <a:cxn ang="0">
                <a:pos x="19" y="10"/>
              </a:cxn>
              <a:cxn ang="0">
                <a:pos x="20" y="5"/>
              </a:cxn>
              <a:cxn ang="0">
                <a:pos x="27" y="0"/>
              </a:cxn>
            </a:cxnLst>
            <a:rect l="0" t="0" r="r" b="b"/>
            <a:pathLst>
              <a:path w="141" h="198">
                <a:moveTo>
                  <a:pt x="141" y="176"/>
                </a:moveTo>
                <a:lnTo>
                  <a:pt x="140" y="179"/>
                </a:lnTo>
                <a:lnTo>
                  <a:pt x="139" y="184"/>
                </a:lnTo>
                <a:lnTo>
                  <a:pt x="137" y="185"/>
                </a:lnTo>
                <a:lnTo>
                  <a:pt x="135" y="185"/>
                </a:lnTo>
                <a:lnTo>
                  <a:pt x="132" y="187"/>
                </a:lnTo>
                <a:lnTo>
                  <a:pt x="131" y="189"/>
                </a:lnTo>
                <a:lnTo>
                  <a:pt x="129" y="189"/>
                </a:lnTo>
                <a:lnTo>
                  <a:pt x="125" y="190"/>
                </a:lnTo>
                <a:lnTo>
                  <a:pt x="123" y="192"/>
                </a:lnTo>
                <a:lnTo>
                  <a:pt x="120" y="193"/>
                </a:lnTo>
                <a:lnTo>
                  <a:pt x="119" y="193"/>
                </a:lnTo>
                <a:lnTo>
                  <a:pt x="117" y="196"/>
                </a:lnTo>
                <a:lnTo>
                  <a:pt x="116" y="196"/>
                </a:lnTo>
                <a:lnTo>
                  <a:pt x="111" y="198"/>
                </a:lnTo>
                <a:lnTo>
                  <a:pt x="107" y="198"/>
                </a:lnTo>
                <a:lnTo>
                  <a:pt x="105" y="198"/>
                </a:lnTo>
                <a:lnTo>
                  <a:pt x="101" y="195"/>
                </a:lnTo>
                <a:lnTo>
                  <a:pt x="101" y="193"/>
                </a:lnTo>
                <a:lnTo>
                  <a:pt x="100" y="192"/>
                </a:lnTo>
                <a:lnTo>
                  <a:pt x="99" y="190"/>
                </a:lnTo>
                <a:lnTo>
                  <a:pt x="97" y="187"/>
                </a:lnTo>
                <a:lnTo>
                  <a:pt x="96" y="185"/>
                </a:lnTo>
                <a:lnTo>
                  <a:pt x="96" y="181"/>
                </a:lnTo>
                <a:lnTo>
                  <a:pt x="91" y="170"/>
                </a:lnTo>
                <a:lnTo>
                  <a:pt x="89" y="165"/>
                </a:lnTo>
                <a:lnTo>
                  <a:pt x="84" y="162"/>
                </a:lnTo>
                <a:lnTo>
                  <a:pt x="84" y="160"/>
                </a:lnTo>
                <a:lnTo>
                  <a:pt x="88" y="157"/>
                </a:lnTo>
                <a:lnTo>
                  <a:pt x="89" y="154"/>
                </a:lnTo>
                <a:lnTo>
                  <a:pt x="91" y="152"/>
                </a:lnTo>
                <a:lnTo>
                  <a:pt x="92" y="152"/>
                </a:lnTo>
                <a:lnTo>
                  <a:pt x="92" y="151"/>
                </a:lnTo>
                <a:lnTo>
                  <a:pt x="92" y="149"/>
                </a:lnTo>
                <a:lnTo>
                  <a:pt x="91" y="148"/>
                </a:lnTo>
                <a:lnTo>
                  <a:pt x="89" y="145"/>
                </a:lnTo>
                <a:lnTo>
                  <a:pt x="87" y="141"/>
                </a:lnTo>
                <a:lnTo>
                  <a:pt x="85" y="140"/>
                </a:lnTo>
                <a:lnTo>
                  <a:pt x="84" y="140"/>
                </a:lnTo>
                <a:lnTo>
                  <a:pt x="84" y="137"/>
                </a:lnTo>
                <a:lnTo>
                  <a:pt x="84" y="134"/>
                </a:lnTo>
                <a:lnTo>
                  <a:pt x="84" y="130"/>
                </a:lnTo>
                <a:lnTo>
                  <a:pt x="83" y="129"/>
                </a:lnTo>
                <a:lnTo>
                  <a:pt x="83" y="124"/>
                </a:lnTo>
                <a:lnTo>
                  <a:pt x="84" y="123"/>
                </a:lnTo>
                <a:lnTo>
                  <a:pt x="84" y="119"/>
                </a:lnTo>
                <a:lnTo>
                  <a:pt x="84" y="116"/>
                </a:lnTo>
                <a:lnTo>
                  <a:pt x="87" y="113"/>
                </a:lnTo>
                <a:lnTo>
                  <a:pt x="87" y="109"/>
                </a:lnTo>
                <a:lnTo>
                  <a:pt x="88" y="107"/>
                </a:lnTo>
                <a:lnTo>
                  <a:pt x="89" y="105"/>
                </a:lnTo>
                <a:lnTo>
                  <a:pt x="89" y="104"/>
                </a:lnTo>
                <a:lnTo>
                  <a:pt x="88" y="101"/>
                </a:lnTo>
                <a:lnTo>
                  <a:pt x="87" y="99"/>
                </a:lnTo>
                <a:lnTo>
                  <a:pt x="84" y="101"/>
                </a:lnTo>
                <a:lnTo>
                  <a:pt x="79" y="102"/>
                </a:lnTo>
                <a:lnTo>
                  <a:pt x="76" y="104"/>
                </a:lnTo>
                <a:lnTo>
                  <a:pt x="73" y="104"/>
                </a:lnTo>
                <a:lnTo>
                  <a:pt x="71" y="102"/>
                </a:lnTo>
                <a:lnTo>
                  <a:pt x="69" y="102"/>
                </a:lnTo>
                <a:lnTo>
                  <a:pt x="68" y="101"/>
                </a:lnTo>
                <a:lnTo>
                  <a:pt x="67" y="101"/>
                </a:lnTo>
                <a:lnTo>
                  <a:pt x="65" y="102"/>
                </a:lnTo>
                <a:lnTo>
                  <a:pt x="64" y="102"/>
                </a:lnTo>
                <a:lnTo>
                  <a:pt x="63" y="102"/>
                </a:lnTo>
                <a:lnTo>
                  <a:pt x="60" y="102"/>
                </a:lnTo>
                <a:lnTo>
                  <a:pt x="59" y="102"/>
                </a:lnTo>
                <a:lnTo>
                  <a:pt x="51" y="88"/>
                </a:lnTo>
                <a:lnTo>
                  <a:pt x="49" y="87"/>
                </a:lnTo>
                <a:lnTo>
                  <a:pt x="47" y="87"/>
                </a:lnTo>
                <a:lnTo>
                  <a:pt x="45" y="85"/>
                </a:lnTo>
                <a:lnTo>
                  <a:pt x="41" y="83"/>
                </a:lnTo>
                <a:lnTo>
                  <a:pt x="37" y="83"/>
                </a:lnTo>
                <a:lnTo>
                  <a:pt x="32" y="87"/>
                </a:lnTo>
                <a:lnTo>
                  <a:pt x="29" y="87"/>
                </a:lnTo>
                <a:lnTo>
                  <a:pt x="26" y="87"/>
                </a:lnTo>
                <a:lnTo>
                  <a:pt x="20" y="83"/>
                </a:lnTo>
                <a:lnTo>
                  <a:pt x="20" y="82"/>
                </a:lnTo>
                <a:lnTo>
                  <a:pt x="19" y="80"/>
                </a:lnTo>
                <a:lnTo>
                  <a:pt x="15" y="79"/>
                </a:lnTo>
                <a:lnTo>
                  <a:pt x="15" y="68"/>
                </a:lnTo>
                <a:lnTo>
                  <a:pt x="15" y="65"/>
                </a:lnTo>
                <a:lnTo>
                  <a:pt x="14" y="63"/>
                </a:lnTo>
                <a:lnTo>
                  <a:pt x="12" y="61"/>
                </a:lnTo>
                <a:lnTo>
                  <a:pt x="12" y="60"/>
                </a:lnTo>
                <a:lnTo>
                  <a:pt x="10" y="58"/>
                </a:lnTo>
                <a:lnTo>
                  <a:pt x="10" y="57"/>
                </a:lnTo>
                <a:lnTo>
                  <a:pt x="8" y="50"/>
                </a:lnTo>
                <a:lnTo>
                  <a:pt x="7" y="49"/>
                </a:lnTo>
                <a:lnTo>
                  <a:pt x="7" y="47"/>
                </a:lnTo>
                <a:lnTo>
                  <a:pt x="0" y="47"/>
                </a:lnTo>
                <a:lnTo>
                  <a:pt x="2" y="44"/>
                </a:lnTo>
                <a:lnTo>
                  <a:pt x="4" y="39"/>
                </a:lnTo>
                <a:lnTo>
                  <a:pt x="8" y="24"/>
                </a:lnTo>
                <a:lnTo>
                  <a:pt x="12" y="17"/>
                </a:lnTo>
                <a:lnTo>
                  <a:pt x="19" y="10"/>
                </a:lnTo>
                <a:lnTo>
                  <a:pt x="19" y="8"/>
                </a:lnTo>
                <a:lnTo>
                  <a:pt x="20" y="5"/>
                </a:lnTo>
                <a:lnTo>
                  <a:pt x="23" y="3"/>
                </a:lnTo>
                <a:lnTo>
                  <a:pt x="27" y="0"/>
                </a:lnTo>
                <a:lnTo>
                  <a:pt x="31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70" name="Freeform 1297"/>
          <p:cNvSpPr>
            <a:spLocks/>
          </p:cNvSpPr>
          <p:nvPr/>
        </p:nvSpPr>
        <p:spPr bwMode="auto">
          <a:xfrm>
            <a:off x="3347540" y="4299160"/>
            <a:ext cx="161750" cy="223351"/>
          </a:xfrm>
          <a:custGeom>
            <a:avLst/>
            <a:gdLst/>
            <a:ahLst/>
            <a:cxnLst>
              <a:cxn ang="0">
                <a:pos x="31" y="2"/>
              </a:cxn>
              <a:cxn ang="0">
                <a:pos x="40" y="6"/>
              </a:cxn>
              <a:cxn ang="0">
                <a:pos x="52" y="14"/>
              </a:cxn>
              <a:cxn ang="0">
                <a:pos x="53" y="19"/>
              </a:cxn>
              <a:cxn ang="0">
                <a:pos x="57" y="20"/>
              </a:cxn>
              <a:cxn ang="0">
                <a:pos x="61" y="20"/>
              </a:cxn>
              <a:cxn ang="0">
                <a:pos x="69" y="20"/>
              </a:cxn>
              <a:cxn ang="0">
                <a:pos x="71" y="19"/>
              </a:cxn>
              <a:cxn ang="0">
                <a:pos x="75" y="19"/>
              </a:cxn>
              <a:cxn ang="0">
                <a:pos x="77" y="22"/>
              </a:cxn>
              <a:cxn ang="0">
                <a:pos x="84" y="25"/>
              </a:cxn>
              <a:cxn ang="0">
                <a:pos x="80" y="27"/>
              </a:cxn>
              <a:cxn ang="0">
                <a:pos x="81" y="30"/>
              </a:cxn>
              <a:cxn ang="0">
                <a:pos x="83" y="36"/>
              </a:cxn>
              <a:cxn ang="0">
                <a:pos x="83" y="41"/>
              </a:cxn>
              <a:cxn ang="0">
                <a:pos x="77" y="55"/>
              </a:cxn>
              <a:cxn ang="0">
                <a:pos x="72" y="61"/>
              </a:cxn>
              <a:cxn ang="0">
                <a:pos x="67" y="68"/>
              </a:cxn>
              <a:cxn ang="0">
                <a:pos x="60" y="72"/>
              </a:cxn>
              <a:cxn ang="0">
                <a:pos x="44" y="79"/>
              </a:cxn>
              <a:cxn ang="0">
                <a:pos x="41" y="82"/>
              </a:cxn>
              <a:cxn ang="0">
                <a:pos x="40" y="88"/>
              </a:cxn>
              <a:cxn ang="0">
                <a:pos x="37" y="86"/>
              </a:cxn>
              <a:cxn ang="0">
                <a:pos x="33" y="94"/>
              </a:cxn>
              <a:cxn ang="0">
                <a:pos x="32" y="105"/>
              </a:cxn>
              <a:cxn ang="0">
                <a:pos x="31" y="108"/>
              </a:cxn>
              <a:cxn ang="0">
                <a:pos x="27" y="112"/>
              </a:cxn>
              <a:cxn ang="0">
                <a:pos x="22" y="113"/>
              </a:cxn>
              <a:cxn ang="0">
                <a:pos x="20" y="108"/>
              </a:cxn>
              <a:cxn ang="0">
                <a:pos x="16" y="105"/>
              </a:cxn>
              <a:cxn ang="0">
                <a:pos x="14" y="104"/>
              </a:cxn>
              <a:cxn ang="0">
                <a:pos x="10" y="104"/>
              </a:cxn>
              <a:cxn ang="0">
                <a:pos x="6" y="105"/>
              </a:cxn>
              <a:cxn ang="0">
                <a:pos x="6" y="101"/>
              </a:cxn>
              <a:cxn ang="0">
                <a:pos x="4" y="97"/>
              </a:cxn>
              <a:cxn ang="0">
                <a:pos x="8" y="94"/>
              </a:cxn>
              <a:cxn ang="0">
                <a:pos x="10" y="91"/>
              </a:cxn>
              <a:cxn ang="0">
                <a:pos x="8" y="86"/>
              </a:cxn>
              <a:cxn ang="0">
                <a:pos x="11" y="83"/>
              </a:cxn>
              <a:cxn ang="0">
                <a:pos x="15" y="80"/>
              </a:cxn>
              <a:cxn ang="0">
                <a:pos x="16" y="71"/>
              </a:cxn>
              <a:cxn ang="0">
                <a:pos x="15" y="68"/>
              </a:cxn>
              <a:cxn ang="0">
                <a:pos x="12" y="64"/>
              </a:cxn>
              <a:cxn ang="0">
                <a:pos x="8" y="71"/>
              </a:cxn>
              <a:cxn ang="0">
                <a:pos x="6" y="69"/>
              </a:cxn>
              <a:cxn ang="0">
                <a:pos x="0" y="66"/>
              </a:cxn>
              <a:cxn ang="0">
                <a:pos x="0" y="55"/>
              </a:cxn>
              <a:cxn ang="0">
                <a:pos x="0" y="42"/>
              </a:cxn>
              <a:cxn ang="0">
                <a:pos x="4" y="39"/>
              </a:cxn>
              <a:cxn ang="0">
                <a:pos x="7" y="31"/>
              </a:cxn>
              <a:cxn ang="0">
                <a:pos x="11" y="24"/>
              </a:cxn>
              <a:cxn ang="0">
                <a:pos x="12" y="20"/>
              </a:cxn>
              <a:cxn ang="0">
                <a:pos x="12" y="11"/>
              </a:cxn>
              <a:cxn ang="0">
                <a:pos x="18" y="9"/>
              </a:cxn>
              <a:cxn ang="0">
                <a:pos x="20" y="8"/>
              </a:cxn>
              <a:cxn ang="0">
                <a:pos x="24" y="3"/>
              </a:cxn>
              <a:cxn ang="0">
                <a:pos x="28" y="3"/>
              </a:cxn>
              <a:cxn ang="0">
                <a:pos x="29" y="0"/>
              </a:cxn>
            </a:cxnLst>
            <a:rect l="0" t="0" r="r" b="b"/>
            <a:pathLst>
              <a:path w="85" h="113">
                <a:moveTo>
                  <a:pt x="29" y="0"/>
                </a:moveTo>
                <a:lnTo>
                  <a:pt x="31" y="2"/>
                </a:lnTo>
                <a:lnTo>
                  <a:pt x="32" y="2"/>
                </a:lnTo>
                <a:lnTo>
                  <a:pt x="40" y="6"/>
                </a:lnTo>
                <a:lnTo>
                  <a:pt x="48" y="11"/>
                </a:lnTo>
                <a:lnTo>
                  <a:pt x="52" y="14"/>
                </a:lnTo>
                <a:lnTo>
                  <a:pt x="53" y="16"/>
                </a:lnTo>
                <a:lnTo>
                  <a:pt x="53" y="19"/>
                </a:lnTo>
                <a:lnTo>
                  <a:pt x="53" y="20"/>
                </a:lnTo>
                <a:lnTo>
                  <a:pt x="57" y="20"/>
                </a:lnTo>
                <a:lnTo>
                  <a:pt x="60" y="20"/>
                </a:lnTo>
                <a:lnTo>
                  <a:pt x="61" y="20"/>
                </a:lnTo>
                <a:lnTo>
                  <a:pt x="67" y="20"/>
                </a:lnTo>
                <a:lnTo>
                  <a:pt x="69" y="20"/>
                </a:lnTo>
                <a:lnTo>
                  <a:pt x="71" y="20"/>
                </a:lnTo>
                <a:lnTo>
                  <a:pt x="71" y="19"/>
                </a:lnTo>
                <a:lnTo>
                  <a:pt x="72" y="19"/>
                </a:lnTo>
                <a:lnTo>
                  <a:pt x="75" y="19"/>
                </a:lnTo>
                <a:lnTo>
                  <a:pt x="76" y="20"/>
                </a:lnTo>
                <a:lnTo>
                  <a:pt x="77" y="22"/>
                </a:lnTo>
                <a:lnTo>
                  <a:pt x="83" y="25"/>
                </a:lnTo>
                <a:lnTo>
                  <a:pt x="84" y="25"/>
                </a:lnTo>
                <a:lnTo>
                  <a:pt x="83" y="27"/>
                </a:lnTo>
                <a:lnTo>
                  <a:pt x="80" y="27"/>
                </a:lnTo>
                <a:lnTo>
                  <a:pt x="80" y="28"/>
                </a:lnTo>
                <a:lnTo>
                  <a:pt x="81" y="30"/>
                </a:lnTo>
                <a:lnTo>
                  <a:pt x="83" y="35"/>
                </a:lnTo>
                <a:lnTo>
                  <a:pt x="83" y="36"/>
                </a:lnTo>
                <a:lnTo>
                  <a:pt x="85" y="41"/>
                </a:lnTo>
                <a:lnTo>
                  <a:pt x="83" y="41"/>
                </a:lnTo>
                <a:lnTo>
                  <a:pt x="81" y="47"/>
                </a:lnTo>
                <a:lnTo>
                  <a:pt x="77" y="55"/>
                </a:lnTo>
                <a:lnTo>
                  <a:pt x="73" y="60"/>
                </a:lnTo>
                <a:lnTo>
                  <a:pt x="72" y="61"/>
                </a:lnTo>
                <a:lnTo>
                  <a:pt x="69" y="64"/>
                </a:lnTo>
                <a:lnTo>
                  <a:pt x="67" y="68"/>
                </a:lnTo>
                <a:lnTo>
                  <a:pt x="64" y="71"/>
                </a:lnTo>
                <a:lnTo>
                  <a:pt x="60" y="72"/>
                </a:lnTo>
                <a:lnTo>
                  <a:pt x="49" y="75"/>
                </a:lnTo>
                <a:lnTo>
                  <a:pt x="44" y="79"/>
                </a:lnTo>
                <a:lnTo>
                  <a:pt x="43" y="80"/>
                </a:lnTo>
                <a:lnTo>
                  <a:pt x="41" y="82"/>
                </a:lnTo>
                <a:lnTo>
                  <a:pt x="40" y="85"/>
                </a:lnTo>
                <a:lnTo>
                  <a:pt x="40" y="88"/>
                </a:lnTo>
                <a:lnTo>
                  <a:pt x="39" y="88"/>
                </a:lnTo>
                <a:lnTo>
                  <a:pt x="37" y="86"/>
                </a:lnTo>
                <a:lnTo>
                  <a:pt x="37" y="88"/>
                </a:lnTo>
                <a:lnTo>
                  <a:pt x="33" y="94"/>
                </a:lnTo>
                <a:lnTo>
                  <a:pt x="32" y="99"/>
                </a:lnTo>
                <a:lnTo>
                  <a:pt x="32" y="105"/>
                </a:lnTo>
                <a:lnTo>
                  <a:pt x="32" y="107"/>
                </a:lnTo>
                <a:lnTo>
                  <a:pt x="31" y="108"/>
                </a:lnTo>
                <a:lnTo>
                  <a:pt x="29" y="108"/>
                </a:lnTo>
                <a:lnTo>
                  <a:pt x="27" y="112"/>
                </a:lnTo>
                <a:lnTo>
                  <a:pt x="24" y="113"/>
                </a:lnTo>
                <a:lnTo>
                  <a:pt x="22" y="113"/>
                </a:lnTo>
                <a:lnTo>
                  <a:pt x="20" y="110"/>
                </a:lnTo>
                <a:lnTo>
                  <a:pt x="20" y="108"/>
                </a:lnTo>
                <a:lnTo>
                  <a:pt x="19" y="105"/>
                </a:lnTo>
                <a:lnTo>
                  <a:pt x="16" y="105"/>
                </a:lnTo>
                <a:lnTo>
                  <a:pt x="14" y="105"/>
                </a:lnTo>
                <a:lnTo>
                  <a:pt x="14" y="104"/>
                </a:lnTo>
                <a:lnTo>
                  <a:pt x="12" y="104"/>
                </a:lnTo>
                <a:lnTo>
                  <a:pt x="10" y="104"/>
                </a:lnTo>
                <a:lnTo>
                  <a:pt x="7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1"/>
                </a:lnTo>
                <a:lnTo>
                  <a:pt x="4" y="99"/>
                </a:lnTo>
                <a:lnTo>
                  <a:pt x="4" y="97"/>
                </a:lnTo>
                <a:lnTo>
                  <a:pt x="6" y="96"/>
                </a:lnTo>
                <a:lnTo>
                  <a:pt x="8" y="94"/>
                </a:lnTo>
                <a:lnTo>
                  <a:pt x="10" y="93"/>
                </a:lnTo>
                <a:lnTo>
                  <a:pt x="10" y="91"/>
                </a:lnTo>
                <a:lnTo>
                  <a:pt x="8" y="90"/>
                </a:lnTo>
                <a:lnTo>
                  <a:pt x="8" y="86"/>
                </a:lnTo>
                <a:lnTo>
                  <a:pt x="8" y="85"/>
                </a:lnTo>
                <a:lnTo>
                  <a:pt x="11" y="83"/>
                </a:lnTo>
                <a:lnTo>
                  <a:pt x="14" y="82"/>
                </a:lnTo>
                <a:lnTo>
                  <a:pt x="15" y="80"/>
                </a:lnTo>
                <a:lnTo>
                  <a:pt x="15" y="79"/>
                </a:lnTo>
                <a:lnTo>
                  <a:pt x="16" y="71"/>
                </a:lnTo>
                <a:lnTo>
                  <a:pt x="16" y="68"/>
                </a:lnTo>
                <a:lnTo>
                  <a:pt x="15" y="68"/>
                </a:lnTo>
                <a:lnTo>
                  <a:pt x="15" y="63"/>
                </a:lnTo>
                <a:lnTo>
                  <a:pt x="12" y="64"/>
                </a:lnTo>
                <a:lnTo>
                  <a:pt x="11" y="69"/>
                </a:lnTo>
                <a:lnTo>
                  <a:pt x="8" y="71"/>
                </a:lnTo>
                <a:lnTo>
                  <a:pt x="7" y="71"/>
                </a:lnTo>
                <a:lnTo>
                  <a:pt x="6" y="69"/>
                </a:lnTo>
                <a:lnTo>
                  <a:pt x="3" y="68"/>
                </a:lnTo>
                <a:lnTo>
                  <a:pt x="0" y="66"/>
                </a:lnTo>
                <a:lnTo>
                  <a:pt x="0" y="57"/>
                </a:lnTo>
                <a:lnTo>
                  <a:pt x="0" y="55"/>
                </a:lnTo>
                <a:lnTo>
                  <a:pt x="0" y="52"/>
                </a:lnTo>
                <a:lnTo>
                  <a:pt x="0" y="42"/>
                </a:lnTo>
                <a:lnTo>
                  <a:pt x="2" y="41"/>
                </a:lnTo>
                <a:lnTo>
                  <a:pt x="4" y="39"/>
                </a:lnTo>
                <a:lnTo>
                  <a:pt x="7" y="36"/>
                </a:lnTo>
                <a:lnTo>
                  <a:pt x="7" y="31"/>
                </a:lnTo>
                <a:lnTo>
                  <a:pt x="8" y="30"/>
                </a:lnTo>
                <a:lnTo>
                  <a:pt x="11" y="24"/>
                </a:lnTo>
                <a:lnTo>
                  <a:pt x="12" y="22"/>
                </a:lnTo>
                <a:lnTo>
                  <a:pt x="12" y="20"/>
                </a:lnTo>
                <a:lnTo>
                  <a:pt x="11" y="16"/>
                </a:lnTo>
                <a:lnTo>
                  <a:pt x="12" y="11"/>
                </a:lnTo>
                <a:lnTo>
                  <a:pt x="14" y="9"/>
                </a:lnTo>
                <a:lnTo>
                  <a:pt x="18" y="9"/>
                </a:lnTo>
                <a:lnTo>
                  <a:pt x="19" y="9"/>
                </a:lnTo>
                <a:lnTo>
                  <a:pt x="20" y="8"/>
                </a:lnTo>
                <a:lnTo>
                  <a:pt x="23" y="5"/>
                </a:lnTo>
                <a:lnTo>
                  <a:pt x="24" y="3"/>
                </a:lnTo>
                <a:lnTo>
                  <a:pt x="27" y="3"/>
                </a:lnTo>
                <a:lnTo>
                  <a:pt x="28" y="3"/>
                </a:lnTo>
                <a:lnTo>
                  <a:pt x="29" y="2"/>
                </a:lnTo>
                <a:lnTo>
                  <a:pt x="29" y="0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71" name="Freeform 1298"/>
          <p:cNvSpPr>
            <a:spLocks/>
          </p:cNvSpPr>
          <p:nvPr/>
        </p:nvSpPr>
        <p:spPr bwMode="auto">
          <a:xfrm>
            <a:off x="3347540" y="4299160"/>
            <a:ext cx="161750" cy="223351"/>
          </a:xfrm>
          <a:custGeom>
            <a:avLst/>
            <a:gdLst/>
            <a:ahLst/>
            <a:cxnLst>
              <a:cxn ang="0">
                <a:pos x="31" y="2"/>
              </a:cxn>
              <a:cxn ang="0">
                <a:pos x="40" y="6"/>
              </a:cxn>
              <a:cxn ang="0">
                <a:pos x="52" y="14"/>
              </a:cxn>
              <a:cxn ang="0">
                <a:pos x="53" y="19"/>
              </a:cxn>
              <a:cxn ang="0">
                <a:pos x="57" y="20"/>
              </a:cxn>
              <a:cxn ang="0">
                <a:pos x="61" y="20"/>
              </a:cxn>
              <a:cxn ang="0">
                <a:pos x="69" y="20"/>
              </a:cxn>
              <a:cxn ang="0">
                <a:pos x="71" y="19"/>
              </a:cxn>
              <a:cxn ang="0">
                <a:pos x="75" y="19"/>
              </a:cxn>
              <a:cxn ang="0">
                <a:pos x="77" y="22"/>
              </a:cxn>
              <a:cxn ang="0">
                <a:pos x="84" y="25"/>
              </a:cxn>
              <a:cxn ang="0">
                <a:pos x="80" y="27"/>
              </a:cxn>
              <a:cxn ang="0">
                <a:pos x="81" y="30"/>
              </a:cxn>
              <a:cxn ang="0">
                <a:pos x="83" y="36"/>
              </a:cxn>
              <a:cxn ang="0">
                <a:pos x="83" y="41"/>
              </a:cxn>
              <a:cxn ang="0">
                <a:pos x="77" y="55"/>
              </a:cxn>
              <a:cxn ang="0">
                <a:pos x="72" y="61"/>
              </a:cxn>
              <a:cxn ang="0">
                <a:pos x="67" y="68"/>
              </a:cxn>
              <a:cxn ang="0">
                <a:pos x="60" y="72"/>
              </a:cxn>
              <a:cxn ang="0">
                <a:pos x="44" y="79"/>
              </a:cxn>
              <a:cxn ang="0">
                <a:pos x="41" y="82"/>
              </a:cxn>
              <a:cxn ang="0">
                <a:pos x="40" y="88"/>
              </a:cxn>
              <a:cxn ang="0">
                <a:pos x="37" y="86"/>
              </a:cxn>
              <a:cxn ang="0">
                <a:pos x="33" y="94"/>
              </a:cxn>
              <a:cxn ang="0">
                <a:pos x="32" y="105"/>
              </a:cxn>
              <a:cxn ang="0">
                <a:pos x="31" y="108"/>
              </a:cxn>
              <a:cxn ang="0">
                <a:pos x="27" y="112"/>
              </a:cxn>
              <a:cxn ang="0">
                <a:pos x="22" y="113"/>
              </a:cxn>
              <a:cxn ang="0">
                <a:pos x="20" y="108"/>
              </a:cxn>
              <a:cxn ang="0">
                <a:pos x="16" y="105"/>
              </a:cxn>
              <a:cxn ang="0">
                <a:pos x="14" y="104"/>
              </a:cxn>
              <a:cxn ang="0">
                <a:pos x="10" y="104"/>
              </a:cxn>
              <a:cxn ang="0">
                <a:pos x="6" y="105"/>
              </a:cxn>
              <a:cxn ang="0">
                <a:pos x="6" y="101"/>
              </a:cxn>
              <a:cxn ang="0">
                <a:pos x="4" y="97"/>
              </a:cxn>
              <a:cxn ang="0">
                <a:pos x="8" y="94"/>
              </a:cxn>
              <a:cxn ang="0">
                <a:pos x="10" y="91"/>
              </a:cxn>
              <a:cxn ang="0">
                <a:pos x="8" y="86"/>
              </a:cxn>
              <a:cxn ang="0">
                <a:pos x="11" y="83"/>
              </a:cxn>
              <a:cxn ang="0">
                <a:pos x="15" y="80"/>
              </a:cxn>
              <a:cxn ang="0">
                <a:pos x="16" y="71"/>
              </a:cxn>
              <a:cxn ang="0">
                <a:pos x="15" y="68"/>
              </a:cxn>
              <a:cxn ang="0">
                <a:pos x="12" y="64"/>
              </a:cxn>
              <a:cxn ang="0">
                <a:pos x="8" y="71"/>
              </a:cxn>
              <a:cxn ang="0">
                <a:pos x="6" y="69"/>
              </a:cxn>
              <a:cxn ang="0">
                <a:pos x="0" y="66"/>
              </a:cxn>
              <a:cxn ang="0">
                <a:pos x="0" y="55"/>
              </a:cxn>
              <a:cxn ang="0">
                <a:pos x="0" y="42"/>
              </a:cxn>
              <a:cxn ang="0">
                <a:pos x="4" y="39"/>
              </a:cxn>
              <a:cxn ang="0">
                <a:pos x="7" y="31"/>
              </a:cxn>
              <a:cxn ang="0">
                <a:pos x="11" y="24"/>
              </a:cxn>
              <a:cxn ang="0">
                <a:pos x="12" y="20"/>
              </a:cxn>
              <a:cxn ang="0">
                <a:pos x="12" y="11"/>
              </a:cxn>
              <a:cxn ang="0">
                <a:pos x="18" y="9"/>
              </a:cxn>
              <a:cxn ang="0">
                <a:pos x="20" y="8"/>
              </a:cxn>
              <a:cxn ang="0">
                <a:pos x="24" y="3"/>
              </a:cxn>
              <a:cxn ang="0">
                <a:pos x="28" y="3"/>
              </a:cxn>
              <a:cxn ang="0">
                <a:pos x="29" y="0"/>
              </a:cxn>
            </a:cxnLst>
            <a:rect l="0" t="0" r="r" b="b"/>
            <a:pathLst>
              <a:path w="85" h="113">
                <a:moveTo>
                  <a:pt x="29" y="0"/>
                </a:moveTo>
                <a:lnTo>
                  <a:pt x="31" y="2"/>
                </a:lnTo>
                <a:lnTo>
                  <a:pt x="32" y="2"/>
                </a:lnTo>
                <a:lnTo>
                  <a:pt x="40" y="6"/>
                </a:lnTo>
                <a:lnTo>
                  <a:pt x="48" y="11"/>
                </a:lnTo>
                <a:lnTo>
                  <a:pt x="52" y="14"/>
                </a:lnTo>
                <a:lnTo>
                  <a:pt x="53" y="16"/>
                </a:lnTo>
                <a:lnTo>
                  <a:pt x="53" y="19"/>
                </a:lnTo>
                <a:lnTo>
                  <a:pt x="53" y="20"/>
                </a:lnTo>
                <a:lnTo>
                  <a:pt x="57" y="20"/>
                </a:lnTo>
                <a:lnTo>
                  <a:pt x="60" y="20"/>
                </a:lnTo>
                <a:lnTo>
                  <a:pt x="61" y="20"/>
                </a:lnTo>
                <a:lnTo>
                  <a:pt x="67" y="20"/>
                </a:lnTo>
                <a:lnTo>
                  <a:pt x="69" y="20"/>
                </a:lnTo>
                <a:lnTo>
                  <a:pt x="71" y="20"/>
                </a:lnTo>
                <a:lnTo>
                  <a:pt x="71" y="19"/>
                </a:lnTo>
                <a:lnTo>
                  <a:pt x="72" y="19"/>
                </a:lnTo>
                <a:lnTo>
                  <a:pt x="75" y="19"/>
                </a:lnTo>
                <a:lnTo>
                  <a:pt x="76" y="20"/>
                </a:lnTo>
                <a:lnTo>
                  <a:pt x="77" y="22"/>
                </a:lnTo>
                <a:lnTo>
                  <a:pt x="83" y="25"/>
                </a:lnTo>
                <a:lnTo>
                  <a:pt x="84" y="25"/>
                </a:lnTo>
                <a:lnTo>
                  <a:pt x="83" y="27"/>
                </a:lnTo>
                <a:lnTo>
                  <a:pt x="80" y="27"/>
                </a:lnTo>
                <a:lnTo>
                  <a:pt x="80" y="28"/>
                </a:lnTo>
                <a:lnTo>
                  <a:pt x="81" y="30"/>
                </a:lnTo>
                <a:lnTo>
                  <a:pt x="83" y="35"/>
                </a:lnTo>
                <a:lnTo>
                  <a:pt x="83" y="36"/>
                </a:lnTo>
                <a:lnTo>
                  <a:pt x="85" y="41"/>
                </a:lnTo>
                <a:lnTo>
                  <a:pt x="83" y="41"/>
                </a:lnTo>
                <a:lnTo>
                  <a:pt x="81" y="47"/>
                </a:lnTo>
                <a:lnTo>
                  <a:pt x="77" y="55"/>
                </a:lnTo>
                <a:lnTo>
                  <a:pt x="73" y="60"/>
                </a:lnTo>
                <a:lnTo>
                  <a:pt x="72" y="61"/>
                </a:lnTo>
                <a:lnTo>
                  <a:pt x="69" y="64"/>
                </a:lnTo>
                <a:lnTo>
                  <a:pt x="67" y="68"/>
                </a:lnTo>
                <a:lnTo>
                  <a:pt x="64" y="71"/>
                </a:lnTo>
                <a:lnTo>
                  <a:pt x="60" y="72"/>
                </a:lnTo>
                <a:lnTo>
                  <a:pt x="49" y="75"/>
                </a:lnTo>
                <a:lnTo>
                  <a:pt x="44" y="79"/>
                </a:lnTo>
                <a:lnTo>
                  <a:pt x="43" y="80"/>
                </a:lnTo>
                <a:lnTo>
                  <a:pt x="41" y="82"/>
                </a:lnTo>
                <a:lnTo>
                  <a:pt x="40" y="85"/>
                </a:lnTo>
                <a:lnTo>
                  <a:pt x="40" y="88"/>
                </a:lnTo>
                <a:lnTo>
                  <a:pt x="39" y="88"/>
                </a:lnTo>
                <a:lnTo>
                  <a:pt x="37" y="86"/>
                </a:lnTo>
                <a:lnTo>
                  <a:pt x="37" y="88"/>
                </a:lnTo>
                <a:lnTo>
                  <a:pt x="33" y="94"/>
                </a:lnTo>
                <a:lnTo>
                  <a:pt x="32" y="99"/>
                </a:lnTo>
                <a:lnTo>
                  <a:pt x="32" y="105"/>
                </a:lnTo>
                <a:lnTo>
                  <a:pt x="32" y="107"/>
                </a:lnTo>
                <a:lnTo>
                  <a:pt x="31" y="108"/>
                </a:lnTo>
                <a:lnTo>
                  <a:pt x="29" y="108"/>
                </a:lnTo>
                <a:lnTo>
                  <a:pt x="27" y="112"/>
                </a:lnTo>
                <a:lnTo>
                  <a:pt x="24" y="113"/>
                </a:lnTo>
                <a:lnTo>
                  <a:pt x="22" y="113"/>
                </a:lnTo>
                <a:lnTo>
                  <a:pt x="20" y="110"/>
                </a:lnTo>
                <a:lnTo>
                  <a:pt x="20" y="108"/>
                </a:lnTo>
                <a:lnTo>
                  <a:pt x="19" y="105"/>
                </a:lnTo>
                <a:lnTo>
                  <a:pt x="16" y="105"/>
                </a:lnTo>
                <a:lnTo>
                  <a:pt x="14" y="105"/>
                </a:lnTo>
                <a:lnTo>
                  <a:pt x="14" y="104"/>
                </a:lnTo>
                <a:lnTo>
                  <a:pt x="12" y="104"/>
                </a:lnTo>
                <a:lnTo>
                  <a:pt x="10" y="104"/>
                </a:lnTo>
                <a:lnTo>
                  <a:pt x="7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1"/>
                </a:lnTo>
                <a:lnTo>
                  <a:pt x="4" y="99"/>
                </a:lnTo>
                <a:lnTo>
                  <a:pt x="4" y="97"/>
                </a:lnTo>
                <a:lnTo>
                  <a:pt x="6" y="96"/>
                </a:lnTo>
                <a:lnTo>
                  <a:pt x="8" y="94"/>
                </a:lnTo>
                <a:lnTo>
                  <a:pt x="10" y="93"/>
                </a:lnTo>
                <a:lnTo>
                  <a:pt x="10" y="91"/>
                </a:lnTo>
                <a:lnTo>
                  <a:pt x="8" y="90"/>
                </a:lnTo>
                <a:lnTo>
                  <a:pt x="8" y="86"/>
                </a:lnTo>
                <a:lnTo>
                  <a:pt x="8" y="85"/>
                </a:lnTo>
                <a:lnTo>
                  <a:pt x="11" y="83"/>
                </a:lnTo>
                <a:lnTo>
                  <a:pt x="14" y="82"/>
                </a:lnTo>
                <a:lnTo>
                  <a:pt x="15" y="80"/>
                </a:lnTo>
                <a:lnTo>
                  <a:pt x="15" y="79"/>
                </a:lnTo>
                <a:lnTo>
                  <a:pt x="16" y="71"/>
                </a:lnTo>
                <a:lnTo>
                  <a:pt x="16" y="68"/>
                </a:lnTo>
                <a:lnTo>
                  <a:pt x="15" y="68"/>
                </a:lnTo>
                <a:lnTo>
                  <a:pt x="15" y="63"/>
                </a:lnTo>
                <a:lnTo>
                  <a:pt x="12" y="64"/>
                </a:lnTo>
                <a:lnTo>
                  <a:pt x="11" y="69"/>
                </a:lnTo>
                <a:lnTo>
                  <a:pt x="8" y="71"/>
                </a:lnTo>
                <a:lnTo>
                  <a:pt x="7" y="71"/>
                </a:lnTo>
                <a:lnTo>
                  <a:pt x="6" y="69"/>
                </a:lnTo>
                <a:lnTo>
                  <a:pt x="3" y="68"/>
                </a:lnTo>
                <a:lnTo>
                  <a:pt x="0" y="66"/>
                </a:lnTo>
                <a:lnTo>
                  <a:pt x="0" y="57"/>
                </a:lnTo>
                <a:lnTo>
                  <a:pt x="0" y="55"/>
                </a:lnTo>
                <a:lnTo>
                  <a:pt x="0" y="52"/>
                </a:lnTo>
                <a:lnTo>
                  <a:pt x="0" y="42"/>
                </a:lnTo>
                <a:lnTo>
                  <a:pt x="2" y="41"/>
                </a:lnTo>
                <a:lnTo>
                  <a:pt x="4" y="39"/>
                </a:lnTo>
                <a:lnTo>
                  <a:pt x="7" y="36"/>
                </a:lnTo>
                <a:lnTo>
                  <a:pt x="7" y="31"/>
                </a:lnTo>
                <a:lnTo>
                  <a:pt x="8" y="30"/>
                </a:lnTo>
                <a:lnTo>
                  <a:pt x="11" y="24"/>
                </a:lnTo>
                <a:lnTo>
                  <a:pt x="12" y="22"/>
                </a:lnTo>
                <a:lnTo>
                  <a:pt x="12" y="20"/>
                </a:lnTo>
                <a:lnTo>
                  <a:pt x="11" y="16"/>
                </a:lnTo>
                <a:lnTo>
                  <a:pt x="12" y="11"/>
                </a:lnTo>
                <a:lnTo>
                  <a:pt x="14" y="9"/>
                </a:lnTo>
                <a:lnTo>
                  <a:pt x="18" y="9"/>
                </a:lnTo>
                <a:lnTo>
                  <a:pt x="19" y="9"/>
                </a:lnTo>
                <a:lnTo>
                  <a:pt x="20" y="8"/>
                </a:lnTo>
                <a:lnTo>
                  <a:pt x="23" y="5"/>
                </a:lnTo>
                <a:lnTo>
                  <a:pt x="24" y="3"/>
                </a:lnTo>
                <a:lnTo>
                  <a:pt x="27" y="3"/>
                </a:lnTo>
                <a:lnTo>
                  <a:pt x="28" y="3"/>
                </a:lnTo>
                <a:lnTo>
                  <a:pt x="29" y="2"/>
                </a:lnTo>
                <a:lnTo>
                  <a:pt x="29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72" name="Freeform 1299"/>
          <p:cNvSpPr>
            <a:spLocks/>
          </p:cNvSpPr>
          <p:nvPr/>
        </p:nvSpPr>
        <p:spPr bwMode="auto">
          <a:xfrm>
            <a:off x="3869823" y="5022905"/>
            <a:ext cx="239703" cy="292074"/>
          </a:xfrm>
          <a:custGeom>
            <a:avLst/>
            <a:gdLst/>
            <a:ahLst/>
            <a:cxnLst>
              <a:cxn ang="0">
                <a:pos x="2" y="50"/>
              </a:cxn>
              <a:cxn ang="0">
                <a:pos x="5" y="36"/>
              </a:cxn>
              <a:cxn ang="0">
                <a:pos x="5" y="27"/>
              </a:cxn>
              <a:cxn ang="0">
                <a:pos x="12" y="16"/>
              </a:cxn>
              <a:cxn ang="0">
                <a:pos x="13" y="9"/>
              </a:cxn>
              <a:cxn ang="0">
                <a:pos x="33" y="3"/>
              </a:cxn>
              <a:cxn ang="0">
                <a:pos x="44" y="0"/>
              </a:cxn>
              <a:cxn ang="0">
                <a:pos x="58" y="1"/>
              </a:cxn>
              <a:cxn ang="0">
                <a:pos x="64" y="6"/>
              </a:cxn>
              <a:cxn ang="0">
                <a:pos x="69" y="14"/>
              </a:cxn>
              <a:cxn ang="0">
                <a:pos x="70" y="17"/>
              </a:cxn>
              <a:cxn ang="0">
                <a:pos x="73" y="38"/>
              </a:cxn>
              <a:cxn ang="0">
                <a:pos x="73" y="50"/>
              </a:cxn>
              <a:cxn ang="0">
                <a:pos x="80" y="52"/>
              </a:cxn>
              <a:cxn ang="0">
                <a:pos x="86" y="53"/>
              </a:cxn>
              <a:cxn ang="0">
                <a:pos x="93" y="53"/>
              </a:cxn>
              <a:cxn ang="0">
                <a:pos x="95" y="52"/>
              </a:cxn>
              <a:cxn ang="0">
                <a:pos x="103" y="55"/>
              </a:cxn>
              <a:cxn ang="0">
                <a:pos x="106" y="60"/>
              </a:cxn>
              <a:cxn ang="0">
                <a:pos x="107" y="71"/>
              </a:cxn>
              <a:cxn ang="0">
                <a:pos x="107" y="78"/>
              </a:cxn>
              <a:cxn ang="0">
                <a:pos x="111" y="83"/>
              </a:cxn>
              <a:cxn ang="0">
                <a:pos x="115" y="83"/>
              </a:cxn>
              <a:cxn ang="0">
                <a:pos x="121" y="83"/>
              </a:cxn>
              <a:cxn ang="0">
                <a:pos x="125" y="83"/>
              </a:cxn>
              <a:cxn ang="0">
                <a:pos x="126" y="93"/>
              </a:cxn>
              <a:cxn ang="0">
                <a:pos x="125" y="99"/>
              </a:cxn>
              <a:cxn ang="0">
                <a:pos x="123" y="113"/>
              </a:cxn>
              <a:cxn ang="0">
                <a:pos x="122" y="126"/>
              </a:cxn>
              <a:cxn ang="0">
                <a:pos x="119" y="132"/>
              </a:cxn>
              <a:cxn ang="0">
                <a:pos x="113" y="138"/>
              </a:cxn>
              <a:cxn ang="0">
                <a:pos x="107" y="143"/>
              </a:cxn>
              <a:cxn ang="0">
                <a:pos x="103" y="144"/>
              </a:cxn>
              <a:cxn ang="0">
                <a:pos x="98" y="144"/>
              </a:cxn>
              <a:cxn ang="0">
                <a:pos x="95" y="146"/>
              </a:cxn>
              <a:cxn ang="0">
                <a:pos x="92" y="146"/>
              </a:cxn>
              <a:cxn ang="0">
                <a:pos x="86" y="146"/>
              </a:cxn>
              <a:cxn ang="0">
                <a:pos x="80" y="141"/>
              </a:cxn>
              <a:cxn ang="0">
                <a:pos x="65" y="140"/>
              </a:cxn>
              <a:cxn ang="0">
                <a:pos x="65" y="135"/>
              </a:cxn>
              <a:cxn ang="0">
                <a:pos x="69" y="126"/>
              </a:cxn>
              <a:cxn ang="0">
                <a:pos x="76" y="115"/>
              </a:cxn>
              <a:cxn ang="0">
                <a:pos x="74" y="110"/>
              </a:cxn>
              <a:cxn ang="0">
                <a:pos x="73" y="108"/>
              </a:cxn>
              <a:cxn ang="0">
                <a:pos x="70" y="104"/>
              </a:cxn>
              <a:cxn ang="0">
                <a:pos x="64" y="99"/>
              </a:cxn>
              <a:cxn ang="0">
                <a:pos x="54" y="94"/>
              </a:cxn>
              <a:cxn ang="0">
                <a:pos x="46" y="88"/>
              </a:cxn>
              <a:cxn ang="0">
                <a:pos x="36" y="86"/>
              </a:cxn>
              <a:cxn ang="0">
                <a:pos x="29" y="85"/>
              </a:cxn>
              <a:cxn ang="0">
                <a:pos x="28" y="83"/>
              </a:cxn>
              <a:cxn ang="0">
                <a:pos x="24" y="77"/>
              </a:cxn>
              <a:cxn ang="0">
                <a:pos x="14" y="69"/>
              </a:cxn>
              <a:cxn ang="0">
                <a:pos x="9" y="64"/>
              </a:cxn>
              <a:cxn ang="0">
                <a:pos x="5" y="56"/>
              </a:cxn>
            </a:cxnLst>
            <a:rect l="0" t="0" r="r" b="b"/>
            <a:pathLst>
              <a:path w="126" h="146">
                <a:moveTo>
                  <a:pt x="0" y="55"/>
                </a:moveTo>
                <a:lnTo>
                  <a:pt x="2" y="50"/>
                </a:lnTo>
                <a:lnTo>
                  <a:pt x="5" y="38"/>
                </a:lnTo>
                <a:lnTo>
                  <a:pt x="5" y="36"/>
                </a:lnTo>
                <a:lnTo>
                  <a:pt x="5" y="34"/>
                </a:lnTo>
                <a:lnTo>
                  <a:pt x="5" y="27"/>
                </a:lnTo>
                <a:lnTo>
                  <a:pt x="8" y="20"/>
                </a:lnTo>
                <a:lnTo>
                  <a:pt x="12" y="16"/>
                </a:lnTo>
                <a:lnTo>
                  <a:pt x="12" y="11"/>
                </a:lnTo>
                <a:lnTo>
                  <a:pt x="13" y="9"/>
                </a:lnTo>
                <a:lnTo>
                  <a:pt x="18" y="8"/>
                </a:lnTo>
                <a:lnTo>
                  <a:pt x="33" y="3"/>
                </a:lnTo>
                <a:lnTo>
                  <a:pt x="42" y="0"/>
                </a:lnTo>
                <a:lnTo>
                  <a:pt x="44" y="0"/>
                </a:lnTo>
                <a:lnTo>
                  <a:pt x="54" y="0"/>
                </a:lnTo>
                <a:lnTo>
                  <a:pt x="58" y="1"/>
                </a:lnTo>
                <a:lnTo>
                  <a:pt x="61" y="3"/>
                </a:lnTo>
                <a:lnTo>
                  <a:pt x="64" y="6"/>
                </a:lnTo>
                <a:lnTo>
                  <a:pt x="68" y="12"/>
                </a:lnTo>
                <a:lnTo>
                  <a:pt x="69" y="14"/>
                </a:lnTo>
                <a:lnTo>
                  <a:pt x="70" y="16"/>
                </a:lnTo>
                <a:lnTo>
                  <a:pt x="70" y="17"/>
                </a:lnTo>
                <a:lnTo>
                  <a:pt x="72" y="22"/>
                </a:lnTo>
                <a:lnTo>
                  <a:pt x="73" y="38"/>
                </a:lnTo>
                <a:lnTo>
                  <a:pt x="72" y="47"/>
                </a:lnTo>
                <a:lnTo>
                  <a:pt x="73" y="50"/>
                </a:lnTo>
                <a:lnTo>
                  <a:pt x="74" y="50"/>
                </a:lnTo>
                <a:lnTo>
                  <a:pt x="80" y="52"/>
                </a:lnTo>
                <a:lnTo>
                  <a:pt x="81" y="53"/>
                </a:lnTo>
                <a:lnTo>
                  <a:pt x="86" y="53"/>
                </a:lnTo>
                <a:lnTo>
                  <a:pt x="89" y="53"/>
                </a:lnTo>
                <a:lnTo>
                  <a:pt x="93" y="53"/>
                </a:lnTo>
                <a:lnTo>
                  <a:pt x="94" y="52"/>
                </a:lnTo>
                <a:lnTo>
                  <a:pt x="95" y="52"/>
                </a:lnTo>
                <a:lnTo>
                  <a:pt x="98" y="53"/>
                </a:lnTo>
                <a:lnTo>
                  <a:pt x="103" y="55"/>
                </a:lnTo>
                <a:lnTo>
                  <a:pt x="106" y="58"/>
                </a:lnTo>
                <a:lnTo>
                  <a:pt x="106" y="60"/>
                </a:lnTo>
                <a:lnTo>
                  <a:pt x="107" y="66"/>
                </a:lnTo>
                <a:lnTo>
                  <a:pt x="107" y="71"/>
                </a:lnTo>
                <a:lnTo>
                  <a:pt x="107" y="77"/>
                </a:lnTo>
                <a:lnTo>
                  <a:pt x="107" y="78"/>
                </a:lnTo>
                <a:lnTo>
                  <a:pt x="109" y="82"/>
                </a:lnTo>
                <a:lnTo>
                  <a:pt x="111" y="83"/>
                </a:lnTo>
                <a:lnTo>
                  <a:pt x="113" y="83"/>
                </a:lnTo>
                <a:lnTo>
                  <a:pt x="115" y="83"/>
                </a:lnTo>
                <a:lnTo>
                  <a:pt x="118" y="83"/>
                </a:lnTo>
                <a:lnTo>
                  <a:pt x="121" y="83"/>
                </a:lnTo>
                <a:lnTo>
                  <a:pt x="123" y="82"/>
                </a:lnTo>
                <a:lnTo>
                  <a:pt x="125" y="83"/>
                </a:lnTo>
                <a:lnTo>
                  <a:pt x="126" y="86"/>
                </a:lnTo>
                <a:lnTo>
                  <a:pt x="126" y="93"/>
                </a:lnTo>
                <a:lnTo>
                  <a:pt x="126" y="94"/>
                </a:lnTo>
                <a:lnTo>
                  <a:pt x="125" y="99"/>
                </a:lnTo>
                <a:lnTo>
                  <a:pt x="123" y="107"/>
                </a:lnTo>
                <a:lnTo>
                  <a:pt x="123" y="113"/>
                </a:lnTo>
                <a:lnTo>
                  <a:pt x="122" y="121"/>
                </a:lnTo>
                <a:lnTo>
                  <a:pt x="122" y="126"/>
                </a:lnTo>
                <a:lnTo>
                  <a:pt x="121" y="129"/>
                </a:lnTo>
                <a:lnTo>
                  <a:pt x="119" y="132"/>
                </a:lnTo>
                <a:lnTo>
                  <a:pt x="117" y="133"/>
                </a:lnTo>
                <a:lnTo>
                  <a:pt x="113" y="138"/>
                </a:lnTo>
                <a:lnTo>
                  <a:pt x="111" y="138"/>
                </a:lnTo>
                <a:lnTo>
                  <a:pt x="107" y="143"/>
                </a:lnTo>
                <a:lnTo>
                  <a:pt x="106" y="143"/>
                </a:lnTo>
                <a:lnTo>
                  <a:pt x="103" y="144"/>
                </a:lnTo>
                <a:lnTo>
                  <a:pt x="101" y="144"/>
                </a:lnTo>
                <a:lnTo>
                  <a:pt x="98" y="144"/>
                </a:lnTo>
                <a:lnTo>
                  <a:pt x="97" y="146"/>
                </a:lnTo>
                <a:lnTo>
                  <a:pt x="95" y="146"/>
                </a:lnTo>
                <a:lnTo>
                  <a:pt x="93" y="146"/>
                </a:lnTo>
                <a:lnTo>
                  <a:pt x="92" y="146"/>
                </a:lnTo>
                <a:lnTo>
                  <a:pt x="89" y="146"/>
                </a:lnTo>
                <a:lnTo>
                  <a:pt x="86" y="146"/>
                </a:lnTo>
                <a:lnTo>
                  <a:pt x="81" y="143"/>
                </a:lnTo>
                <a:lnTo>
                  <a:pt x="80" y="141"/>
                </a:lnTo>
                <a:lnTo>
                  <a:pt x="72" y="140"/>
                </a:lnTo>
                <a:lnTo>
                  <a:pt x="65" y="140"/>
                </a:lnTo>
                <a:lnTo>
                  <a:pt x="65" y="138"/>
                </a:lnTo>
                <a:lnTo>
                  <a:pt x="65" y="135"/>
                </a:lnTo>
                <a:lnTo>
                  <a:pt x="66" y="132"/>
                </a:lnTo>
                <a:lnTo>
                  <a:pt x="69" y="126"/>
                </a:lnTo>
                <a:lnTo>
                  <a:pt x="73" y="119"/>
                </a:lnTo>
                <a:lnTo>
                  <a:pt x="76" y="115"/>
                </a:lnTo>
                <a:lnTo>
                  <a:pt x="76" y="111"/>
                </a:lnTo>
                <a:lnTo>
                  <a:pt x="74" y="110"/>
                </a:lnTo>
                <a:lnTo>
                  <a:pt x="74" y="108"/>
                </a:lnTo>
                <a:lnTo>
                  <a:pt x="73" y="108"/>
                </a:lnTo>
                <a:lnTo>
                  <a:pt x="72" y="105"/>
                </a:lnTo>
                <a:lnTo>
                  <a:pt x="70" y="104"/>
                </a:lnTo>
                <a:lnTo>
                  <a:pt x="66" y="102"/>
                </a:lnTo>
                <a:lnTo>
                  <a:pt x="64" y="99"/>
                </a:lnTo>
                <a:lnTo>
                  <a:pt x="60" y="96"/>
                </a:lnTo>
                <a:lnTo>
                  <a:pt x="54" y="94"/>
                </a:lnTo>
                <a:lnTo>
                  <a:pt x="48" y="89"/>
                </a:lnTo>
                <a:lnTo>
                  <a:pt x="46" y="88"/>
                </a:lnTo>
                <a:lnTo>
                  <a:pt x="42" y="86"/>
                </a:lnTo>
                <a:lnTo>
                  <a:pt x="36" y="86"/>
                </a:lnTo>
                <a:lnTo>
                  <a:pt x="33" y="86"/>
                </a:lnTo>
                <a:lnTo>
                  <a:pt x="29" y="85"/>
                </a:lnTo>
                <a:lnTo>
                  <a:pt x="29" y="83"/>
                </a:lnTo>
                <a:lnTo>
                  <a:pt x="28" y="83"/>
                </a:lnTo>
                <a:lnTo>
                  <a:pt x="25" y="78"/>
                </a:lnTo>
                <a:lnTo>
                  <a:pt x="24" y="77"/>
                </a:lnTo>
                <a:lnTo>
                  <a:pt x="21" y="75"/>
                </a:lnTo>
                <a:lnTo>
                  <a:pt x="14" y="69"/>
                </a:lnTo>
                <a:lnTo>
                  <a:pt x="13" y="67"/>
                </a:lnTo>
                <a:lnTo>
                  <a:pt x="9" y="64"/>
                </a:lnTo>
                <a:lnTo>
                  <a:pt x="6" y="58"/>
                </a:lnTo>
                <a:lnTo>
                  <a:pt x="5" y="56"/>
                </a:lnTo>
                <a:lnTo>
                  <a:pt x="0" y="55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73" name="Freeform 1300"/>
          <p:cNvSpPr>
            <a:spLocks/>
          </p:cNvSpPr>
          <p:nvPr/>
        </p:nvSpPr>
        <p:spPr bwMode="auto">
          <a:xfrm>
            <a:off x="3869823" y="5022905"/>
            <a:ext cx="239703" cy="292074"/>
          </a:xfrm>
          <a:custGeom>
            <a:avLst/>
            <a:gdLst/>
            <a:ahLst/>
            <a:cxnLst>
              <a:cxn ang="0">
                <a:pos x="2" y="50"/>
              </a:cxn>
              <a:cxn ang="0">
                <a:pos x="5" y="36"/>
              </a:cxn>
              <a:cxn ang="0">
                <a:pos x="5" y="27"/>
              </a:cxn>
              <a:cxn ang="0">
                <a:pos x="12" y="16"/>
              </a:cxn>
              <a:cxn ang="0">
                <a:pos x="13" y="9"/>
              </a:cxn>
              <a:cxn ang="0">
                <a:pos x="33" y="3"/>
              </a:cxn>
              <a:cxn ang="0">
                <a:pos x="44" y="0"/>
              </a:cxn>
              <a:cxn ang="0">
                <a:pos x="58" y="1"/>
              </a:cxn>
              <a:cxn ang="0">
                <a:pos x="64" y="6"/>
              </a:cxn>
              <a:cxn ang="0">
                <a:pos x="69" y="14"/>
              </a:cxn>
              <a:cxn ang="0">
                <a:pos x="70" y="17"/>
              </a:cxn>
              <a:cxn ang="0">
                <a:pos x="73" y="38"/>
              </a:cxn>
              <a:cxn ang="0">
                <a:pos x="73" y="50"/>
              </a:cxn>
              <a:cxn ang="0">
                <a:pos x="80" y="52"/>
              </a:cxn>
              <a:cxn ang="0">
                <a:pos x="86" y="53"/>
              </a:cxn>
              <a:cxn ang="0">
                <a:pos x="93" y="53"/>
              </a:cxn>
              <a:cxn ang="0">
                <a:pos x="95" y="52"/>
              </a:cxn>
              <a:cxn ang="0">
                <a:pos x="103" y="55"/>
              </a:cxn>
              <a:cxn ang="0">
                <a:pos x="106" y="60"/>
              </a:cxn>
              <a:cxn ang="0">
                <a:pos x="107" y="71"/>
              </a:cxn>
              <a:cxn ang="0">
                <a:pos x="107" y="78"/>
              </a:cxn>
              <a:cxn ang="0">
                <a:pos x="111" y="83"/>
              </a:cxn>
              <a:cxn ang="0">
                <a:pos x="115" y="83"/>
              </a:cxn>
              <a:cxn ang="0">
                <a:pos x="121" y="83"/>
              </a:cxn>
              <a:cxn ang="0">
                <a:pos x="125" y="83"/>
              </a:cxn>
              <a:cxn ang="0">
                <a:pos x="126" y="93"/>
              </a:cxn>
              <a:cxn ang="0">
                <a:pos x="125" y="99"/>
              </a:cxn>
              <a:cxn ang="0">
                <a:pos x="123" y="113"/>
              </a:cxn>
              <a:cxn ang="0">
                <a:pos x="122" y="126"/>
              </a:cxn>
              <a:cxn ang="0">
                <a:pos x="119" y="132"/>
              </a:cxn>
              <a:cxn ang="0">
                <a:pos x="113" y="138"/>
              </a:cxn>
              <a:cxn ang="0">
                <a:pos x="107" y="143"/>
              </a:cxn>
              <a:cxn ang="0">
                <a:pos x="103" y="144"/>
              </a:cxn>
              <a:cxn ang="0">
                <a:pos x="98" y="144"/>
              </a:cxn>
              <a:cxn ang="0">
                <a:pos x="95" y="146"/>
              </a:cxn>
              <a:cxn ang="0">
                <a:pos x="92" y="146"/>
              </a:cxn>
              <a:cxn ang="0">
                <a:pos x="86" y="146"/>
              </a:cxn>
              <a:cxn ang="0">
                <a:pos x="80" y="141"/>
              </a:cxn>
              <a:cxn ang="0">
                <a:pos x="65" y="140"/>
              </a:cxn>
              <a:cxn ang="0">
                <a:pos x="65" y="135"/>
              </a:cxn>
              <a:cxn ang="0">
                <a:pos x="69" y="126"/>
              </a:cxn>
              <a:cxn ang="0">
                <a:pos x="76" y="115"/>
              </a:cxn>
              <a:cxn ang="0">
                <a:pos x="74" y="110"/>
              </a:cxn>
              <a:cxn ang="0">
                <a:pos x="73" y="108"/>
              </a:cxn>
              <a:cxn ang="0">
                <a:pos x="70" y="104"/>
              </a:cxn>
              <a:cxn ang="0">
                <a:pos x="64" y="99"/>
              </a:cxn>
              <a:cxn ang="0">
                <a:pos x="54" y="94"/>
              </a:cxn>
              <a:cxn ang="0">
                <a:pos x="46" y="88"/>
              </a:cxn>
              <a:cxn ang="0">
                <a:pos x="36" y="86"/>
              </a:cxn>
              <a:cxn ang="0">
                <a:pos x="29" y="85"/>
              </a:cxn>
              <a:cxn ang="0">
                <a:pos x="28" y="83"/>
              </a:cxn>
              <a:cxn ang="0">
                <a:pos x="24" y="77"/>
              </a:cxn>
              <a:cxn ang="0">
                <a:pos x="14" y="69"/>
              </a:cxn>
              <a:cxn ang="0">
                <a:pos x="9" y="64"/>
              </a:cxn>
              <a:cxn ang="0">
                <a:pos x="5" y="56"/>
              </a:cxn>
            </a:cxnLst>
            <a:rect l="0" t="0" r="r" b="b"/>
            <a:pathLst>
              <a:path w="126" h="146">
                <a:moveTo>
                  <a:pt x="0" y="55"/>
                </a:moveTo>
                <a:lnTo>
                  <a:pt x="2" y="50"/>
                </a:lnTo>
                <a:lnTo>
                  <a:pt x="5" y="38"/>
                </a:lnTo>
                <a:lnTo>
                  <a:pt x="5" y="36"/>
                </a:lnTo>
                <a:lnTo>
                  <a:pt x="5" y="34"/>
                </a:lnTo>
                <a:lnTo>
                  <a:pt x="5" y="27"/>
                </a:lnTo>
                <a:lnTo>
                  <a:pt x="8" y="20"/>
                </a:lnTo>
                <a:lnTo>
                  <a:pt x="12" y="16"/>
                </a:lnTo>
                <a:lnTo>
                  <a:pt x="12" y="11"/>
                </a:lnTo>
                <a:lnTo>
                  <a:pt x="13" y="9"/>
                </a:lnTo>
                <a:lnTo>
                  <a:pt x="18" y="8"/>
                </a:lnTo>
                <a:lnTo>
                  <a:pt x="33" y="3"/>
                </a:lnTo>
                <a:lnTo>
                  <a:pt x="42" y="0"/>
                </a:lnTo>
                <a:lnTo>
                  <a:pt x="44" y="0"/>
                </a:lnTo>
                <a:lnTo>
                  <a:pt x="54" y="0"/>
                </a:lnTo>
                <a:lnTo>
                  <a:pt x="58" y="1"/>
                </a:lnTo>
                <a:lnTo>
                  <a:pt x="61" y="3"/>
                </a:lnTo>
                <a:lnTo>
                  <a:pt x="64" y="6"/>
                </a:lnTo>
                <a:lnTo>
                  <a:pt x="68" y="12"/>
                </a:lnTo>
                <a:lnTo>
                  <a:pt x="69" y="14"/>
                </a:lnTo>
                <a:lnTo>
                  <a:pt x="70" y="16"/>
                </a:lnTo>
                <a:lnTo>
                  <a:pt x="70" y="17"/>
                </a:lnTo>
                <a:lnTo>
                  <a:pt x="72" y="22"/>
                </a:lnTo>
                <a:lnTo>
                  <a:pt x="73" y="38"/>
                </a:lnTo>
                <a:lnTo>
                  <a:pt x="72" y="47"/>
                </a:lnTo>
                <a:lnTo>
                  <a:pt x="73" y="50"/>
                </a:lnTo>
                <a:lnTo>
                  <a:pt x="74" y="50"/>
                </a:lnTo>
                <a:lnTo>
                  <a:pt x="80" y="52"/>
                </a:lnTo>
                <a:lnTo>
                  <a:pt x="81" y="53"/>
                </a:lnTo>
                <a:lnTo>
                  <a:pt x="86" y="53"/>
                </a:lnTo>
                <a:lnTo>
                  <a:pt x="89" y="53"/>
                </a:lnTo>
                <a:lnTo>
                  <a:pt x="93" y="53"/>
                </a:lnTo>
                <a:lnTo>
                  <a:pt x="94" y="52"/>
                </a:lnTo>
                <a:lnTo>
                  <a:pt x="95" y="52"/>
                </a:lnTo>
                <a:lnTo>
                  <a:pt x="98" y="53"/>
                </a:lnTo>
                <a:lnTo>
                  <a:pt x="103" y="55"/>
                </a:lnTo>
                <a:lnTo>
                  <a:pt x="106" y="58"/>
                </a:lnTo>
                <a:lnTo>
                  <a:pt x="106" y="60"/>
                </a:lnTo>
                <a:lnTo>
                  <a:pt x="107" y="66"/>
                </a:lnTo>
                <a:lnTo>
                  <a:pt x="107" y="71"/>
                </a:lnTo>
                <a:lnTo>
                  <a:pt x="107" y="77"/>
                </a:lnTo>
                <a:lnTo>
                  <a:pt x="107" y="78"/>
                </a:lnTo>
                <a:lnTo>
                  <a:pt x="109" y="82"/>
                </a:lnTo>
                <a:lnTo>
                  <a:pt x="111" y="83"/>
                </a:lnTo>
                <a:lnTo>
                  <a:pt x="113" y="83"/>
                </a:lnTo>
                <a:lnTo>
                  <a:pt x="115" y="83"/>
                </a:lnTo>
                <a:lnTo>
                  <a:pt x="118" y="83"/>
                </a:lnTo>
                <a:lnTo>
                  <a:pt x="121" y="83"/>
                </a:lnTo>
                <a:lnTo>
                  <a:pt x="123" y="82"/>
                </a:lnTo>
                <a:lnTo>
                  <a:pt x="125" y="83"/>
                </a:lnTo>
                <a:lnTo>
                  <a:pt x="126" y="86"/>
                </a:lnTo>
                <a:lnTo>
                  <a:pt x="126" y="93"/>
                </a:lnTo>
                <a:lnTo>
                  <a:pt x="126" y="94"/>
                </a:lnTo>
                <a:lnTo>
                  <a:pt x="125" y="99"/>
                </a:lnTo>
                <a:lnTo>
                  <a:pt x="123" y="107"/>
                </a:lnTo>
                <a:lnTo>
                  <a:pt x="123" y="113"/>
                </a:lnTo>
                <a:lnTo>
                  <a:pt x="122" y="121"/>
                </a:lnTo>
                <a:lnTo>
                  <a:pt x="122" y="126"/>
                </a:lnTo>
                <a:lnTo>
                  <a:pt x="121" y="129"/>
                </a:lnTo>
                <a:lnTo>
                  <a:pt x="119" y="132"/>
                </a:lnTo>
                <a:lnTo>
                  <a:pt x="117" y="133"/>
                </a:lnTo>
                <a:lnTo>
                  <a:pt x="113" y="138"/>
                </a:lnTo>
                <a:lnTo>
                  <a:pt x="111" y="138"/>
                </a:lnTo>
                <a:lnTo>
                  <a:pt x="107" y="143"/>
                </a:lnTo>
                <a:lnTo>
                  <a:pt x="106" y="143"/>
                </a:lnTo>
                <a:lnTo>
                  <a:pt x="103" y="144"/>
                </a:lnTo>
                <a:lnTo>
                  <a:pt x="101" y="144"/>
                </a:lnTo>
                <a:lnTo>
                  <a:pt x="98" y="144"/>
                </a:lnTo>
                <a:lnTo>
                  <a:pt x="97" y="146"/>
                </a:lnTo>
                <a:lnTo>
                  <a:pt x="95" y="146"/>
                </a:lnTo>
                <a:lnTo>
                  <a:pt x="93" y="146"/>
                </a:lnTo>
                <a:lnTo>
                  <a:pt x="92" y="146"/>
                </a:lnTo>
                <a:lnTo>
                  <a:pt x="89" y="146"/>
                </a:lnTo>
                <a:lnTo>
                  <a:pt x="86" y="146"/>
                </a:lnTo>
                <a:lnTo>
                  <a:pt x="81" y="143"/>
                </a:lnTo>
                <a:lnTo>
                  <a:pt x="80" y="141"/>
                </a:lnTo>
                <a:lnTo>
                  <a:pt x="72" y="140"/>
                </a:lnTo>
                <a:lnTo>
                  <a:pt x="65" y="140"/>
                </a:lnTo>
                <a:lnTo>
                  <a:pt x="65" y="138"/>
                </a:lnTo>
                <a:lnTo>
                  <a:pt x="65" y="135"/>
                </a:lnTo>
                <a:lnTo>
                  <a:pt x="66" y="132"/>
                </a:lnTo>
                <a:lnTo>
                  <a:pt x="69" y="126"/>
                </a:lnTo>
                <a:lnTo>
                  <a:pt x="73" y="119"/>
                </a:lnTo>
                <a:lnTo>
                  <a:pt x="76" y="115"/>
                </a:lnTo>
                <a:lnTo>
                  <a:pt x="76" y="111"/>
                </a:lnTo>
                <a:lnTo>
                  <a:pt x="74" y="110"/>
                </a:lnTo>
                <a:lnTo>
                  <a:pt x="74" y="108"/>
                </a:lnTo>
                <a:lnTo>
                  <a:pt x="73" y="108"/>
                </a:lnTo>
                <a:lnTo>
                  <a:pt x="72" y="105"/>
                </a:lnTo>
                <a:lnTo>
                  <a:pt x="70" y="104"/>
                </a:lnTo>
                <a:lnTo>
                  <a:pt x="66" y="102"/>
                </a:lnTo>
                <a:lnTo>
                  <a:pt x="64" y="99"/>
                </a:lnTo>
                <a:lnTo>
                  <a:pt x="60" y="96"/>
                </a:lnTo>
                <a:lnTo>
                  <a:pt x="54" y="94"/>
                </a:lnTo>
                <a:lnTo>
                  <a:pt x="48" y="89"/>
                </a:lnTo>
                <a:lnTo>
                  <a:pt x="46" y="88"/>
                </a:lnTo>
                <a:lnTo>
                  <a:pt x="42" y="86"/>
                </a:lnTo>
                <a:lnTo>
                  <a:pt x="36" y="86"/>
                </a:lnTo>
                <a:lnTo>
                  <a:pt x="33" y="86"/>
                </a:lnTo>
                <a:lnTo>
                  <a:pt x="29" y="85"/>
                </a:lnTo>
                <a:lnTo>
                  <a:pt x="29" y="83"/>
                </a:lnTo>
                <a:lnTo>
                  <a:pt x="28" y="83"/>
                </a:lnTo>
                <a:lnTo>
                  <a:pt x="25" y="78"/>
                </a:lnTo>
                <a:lnTo>
                  <a:pt x="24" y="77"/>
                </a:lnTo>
                <a:lnTo>
                  <a:pt x="21" y="75"/>
                </a:lnTo>
                <a:lnTo>
                  <a:pt x="14" y="69"/>
                </a:lnTo>
                <a:lnTo>
                  <a:pt x="13" y="67"/>
                </a:lnTo>
                <a:lnTo>
                  <a:pt x="9" y="64"/>
                </a:lnTo>
                <a:lnTo>
                  <a:pt x="6" y="58"/>
                </a:lnTo>
                <a:lnTo>
                  <a:pt x="5" y="56"/>
                </a:lnTo>
                <a:lnTo>
                  <a:pt x="0" y="55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74" name="Freeform 1301"/>
          <p:cNvSpPr>
            <a:spLocks/>
          </p:cNvSpPr>
          <p:nvPr/>
        </p:nvSpPr>
        <p:spPr bwMode="auto">
          <a:xfrm>
            <a:off x="3501496" y="4964920"/>
            <a:ext cx="243603" cy="1277826"/>
          </a:xfrm>
          <a:custGeom>
            <a:avLst/>
            <a:gdLst/>
            <a:ahLst/>
            <a:cxnLst>
              <a:cxn ang="0">
                <a:pos x="102" y="28"/>
              </a:cxn>
              <a:cxn ang="0">
                <a:pos x="101" y="47"/>
              </a:cxn>
              <a:cxn ang="0">
                <a:pos x="109" y="66"/>
              </a:cxn>
              <a:cxn ang="0">
                <a:pos x="121" y="94"/>
              </a:cxn>
              <a:cxn ang="0">
                <a:pos x="106" y="127"/>
              </a:cxn>
              <a:cxn ang="0">
                <a:pos x="109" y="165"/>
              </a:cxn>
              <a:cxn ang="0">
                <a:pos x="85" y="207"/>
              </a:cxn>
              <a:cxn ang="0">
                <a:pos x="77" y="240"/>
              </a:cxn>
              <a:cxn ang="0">
                <a:pos x="84" y="281"/>
              </a:cxn>
              <a:cxn ang="0">
                <a:pos x="76" y="328"/>
              </a:cxn>
              <a:cxn ang="0">
                <a:pos x="65" y="361"/>
              </a:cxn>
              <a:cxn ang="0">
                <a:pos x="57" y="402"/>
              </a:cxn>
              <a:cxn ang="0">
                <a:pos x="52" y="444"/>
              </a:cxn>
              <a:cxn ang="0">
                <a:pos x="57" y="477"/>
              </a:cxn>
              <a:cxn ang="0">
                <a:pos x="61" y="492"/>
              </a:cxn>
              <a:cxn ang="0">
                <a:pos x="57" y="521"/>
              </a:cxn>
              <a:cxn ang="0">
                <a:pos x="48" y="547"/>
              </a:cxn>
              <a:cxn ang="0">
                <a:pos x="33" y="580"/>
              </a:cxn>
              <a:cxn ang="0">
                <a:pos x="47" y="589"/>
              </a:cxn>
              <a:cxn ang="0">
                <a:pos x="73" y="614"/>
              </a:cxn>
              <a:cxn ang="0">
                <a:pos x="108" y="619"/>
              </a:cxn>
              <a:cxn ang="0">
                <a:pos x="77" y="625"/>
              </a:cxn>
              <a:cxn ang="0">
                <a:pos x="61" y="644"/>
              </a:cxn>
              <a:cxn ang="0">
                <a:pos x="57" y="634"/>
              </a:cxn>
              <a:cxn ang="0">
                <a:pos x="52" y="622"/>
              </a:cxn>
              <a:cxn ang="0">
                <a:pos x="47" y="616"/>
              </a:cxn>
              <a:cxn ang="0">
                <a:pos x="44" y="609"/>
              </a:cxn>
              <a:cxn ang="0">
                <a:pos x="33" y="606"/>
              </a:cxn>
              <a:cxn ang="0">
                <a:pos x="21" y="594"/>
              </a:cxn>
              <a:cxn ang="0">
                <a:pos x="23" y="586"/>
              </a:cxn>
              <a:cxn ang="0">
                <a:pos x="20" y="573"/>
              </a:cxn>
              <a:cxn ang="0">
                <a:pos x="23" y="565"/>
              </a:cxn>
              <a:cxn ang="0">
                <a:pos x="24" y="550"/>
              </a:cxn>
              <a:cxn ang="0">
                <a:pos x="20" y="543"/>
              </a:cxn>
              <a:cxn ang="0">
                <a:pos x="27" y="536"/>
              </a:cxn>
              <a:cxn ang="0">
                <a:pos x="21" y="528"/>
              </a:cxn>
              <a:cxn ang="0">
                <a:pos x="13" y="521"/>
              </a:cxn>
              <a:cxn ang="0">
                <a:pos x="0" y="521"/>
              </a:cxn>
              <a:cxn ang="0">
                <a:pos x="8" y="504"/>
              </a:cxn>
              <a:cxn ang="0">
                <a:pos x="23" y="509"/>
              </a:cxn>
              <a:cxn ang="0">
                <a:pos x="28" y="515"/>
              </a:cxn>
              <a:cxn ang="0">
                <a:pos x="32" y="506"/>
              </a:cxn>
              <a:cxn ang="0">
                <a:pos x="36" y="498"/>
              </a:cxn>
              <a:cxn ang="0">
                <a:pos x="41" y="496"/>
              </a:cxn>
              <a:cxn ang="0">
                <a:pos x="43" y="485"/>
              </a:cxn>
              <a:cxn ang="0">
                <a:pos x="37" y="471"/>
              </a:cxn>
              <a:cxn ang="0">
                <a:pos x="41" y="457"/>
              </a:cxn>
              <a:cxn ang="0">
                <a:pos x="48" y="441"/>
              </a:cxn>
              <a:cxn ang="0">
                <a:pos x="44" y="429"/>
              </a:cxn>
              <a:cxn ang="0">
                <a:pos x="27" y="426"/>
              </a:cxn>
              <a:cxn ang="0">
                <a:pos x="33" y="391"/>
              </a:cxn>
              <a:cxn ang="0">
                <a:pos x="31" y="349"/>
              </a:cxn>
              <a:cxn ang="0">
                <a:pos x="44" y="324"/>
              </a:cxn>
              <a:cxn ang="0">
                <a:pos x="60" y="275"/>
              </a:cxn>
              <a:cxn ang="0">
                <a:pos x="62" y="218"/>
              </a:cxn>
              <a:cxn ang="0">
                <a:pos x="69" y="171"/>
              </a:cxn>
              <a:cxn ang="0">
                <a:pos x="73" y="141"/>
              </a:cxn>
              <a:cxn ang="0">
                <a:pos x="76" y="99"/>
              </a:cxn>
              <a:cxn ang="0">
                <a:pos x="80" y="60"/>
              </a:cxn>
              <a:cxn ang="0">
                <a:pos x="86" y="5"/>
              </a:cxn>
            </a:cxnLst>
            <a:rect l="0" t="0" r="r" b="b"/>
            <a:pathLst>
              <a:path w="128" h="645">
                <a:moveTo>
                  <a:pt x="89" y="0"/>
                </a:moveTo>
                <a:lnTo>
                  <a:pt x="90" y="0"/>
                </a:lnTo>
                <a:lnTo>
                  <a:pt x="93" y="5"/>
                </a:lnTo>
                <a:lnTo>
                  <a:pt x="94" y="5"/>
                </a:lnTo>
                <a:lnTo>
                  <a:pt x="96" y="8"/>
                </a:lnTo>
                <a:lnTo>
                  <a:pt x="96" y="11"/>
                </a:lnTo>
                <a:lnTo>
                  <a:pt x="97" y="20"/>
                </a:lnTo>
                <a:lnTo>
                  <a:pt x="98" y="24"/>
                </a:lnTo>
                <a:lnTo>
                  <a:pt x="100" y="25"/>
                </a:lnTo>
                <a:lnTo>
                  <a:pt x="102" y="28"/>
                </a:lnTo>
                <a:lnTo>
                  <a:pt x="105" y="31"/>
                </a:lnTo>
                <a:lnTo>
                  <a:pt x="105" y="33"/>
                </a:lnTo>
                <a:lnTo>
                  <a:pt x="105" y="35"/>
                </a:lnTo>
                <a:lnTo>
                  <a:pt x="104" y="38"/>
                </a:lnTo>
                <a:lnTo>
                  <a:pt x="105" y="39"/>
                </a:lnTo>
                <a:lnTo>
                  <a:pt x="105" y="41"/>
                </a:lnTo>
                <a:lnTo>
                  <a:pt x="102" y="41"/>
                </a:lnTo>
                <a:lnTo>
                  <a:pt x="102" y="42"/>
                </a:lnTo>
                <a:lnTo>
                  <a:pt x="101" y="46"/>
                </a:lnTo>
                <a:lnTo>
                  <a:pt x="101" y="47"/>
                </a:lnTo>
                <a:lnTo>
                  <a:pt x="104" y="49"/>
                </a:lnTo>
                <a:lnTo>
                  <a:pt x="104" y="50"/>
                </a:lnTo>
                <a:lnTo>
                  <a:pt x="105" y="53"/>
                </a:lnTo>
                <a:lnTo>
                  <a:pt x="104" y="55"/>
                </a:lnTo>
                <a:lnTo>
                  <a:pt x="105" y="57"/>
                </a:lnTo>
                <a:lnTo>
                  <a:pt x="106" y="57"/>
                </a:lnTo>
                <a:lnTo>
                  <a:pt x="108" y="58"/>
                </a:lnTo>
                <a:lnTo>
                  <a:pt x="109" y="60"/>
                </a:lnTo>
                <a:lnTo>
                  <a:pt x="109" y="64"/>
                </a:lnTo>
                <a:lnTo>
                  <a:pt x="109" y="66"/>
                </a:lnTo>
                <a:lnTo>
                  <a:pt x="110" y="69"/>
                </a:lnTo>
                <a:lnTo>
                  <a:pt x="112" y="77"/>
                </a:lnTo>
                <a:lnTo>
                  <a:pt x="112" y="82"/>
                </a:lnTo>
                <a:lnTo>
                  <a:pt x="113" y="88"/>
                </a:lnTo>
                <a:lnTo>
                  <a:pt x="113" y="90"/>
                </a:lnTo>
                <a:lnTo>
                  <a:pt x="114" y="93"/>
                </a:lnTo>
                <a:lnTo>
                  <a:pt x="114" y="94"/>
                </a:lnTo>
                <a:lnTo>
                  <a:pt x="116" y="94"/>
                </a:lnTo>
                <a:lnTo>
                  <a:pt x="118" y="96"/>
                </a:lnTo>
                <a:lnTo>
                  <a:pt x="121" y="94"/>
                </a:lnTo>
                <a:lnTo>
                  <a:pt x="122" y="94"/>
                </a:lnTo>
                <a:lnTo>
                  <a:pt x="125" y="94"/>
                </a:lnTo>
                <a:lnTo>
                  <a:pt x="126" y="96"/>
                </a:lnTo>
                <a:lnTo>
                  <a:pt x="128" y="97"/>
                </a:lnTo>
                <a:lnTo>
                  <a:pt x="128" y="101"/>
                </a:lnTo>
                <a:lnTo>
                  <a:pt x="125" y="115"/>
                </a:lnTo>
                <a:lnTo>
                  <a:pt x="120" y="118"/>
                </a:lnTo>
                <a:lnTo>
                  <a:pt x="106" y="124"/>
                </a:lnTo>
                <a:lnTo>
                  <a:pt x="106" y="126"/>
                </a:lnTo>
                <a:lnTo>
                  <a:pt x="106" y="127"/>
                </a:lnTo>
                <a:lnTo>
                  <a:pt x="106" y="130"/>
                </a:lnTo>
                <a:lnTo>
                  <a:pt x="106" y="134"/>
                </a:lnTo>
                <a:lnTo>
                  <a:pt x="105" y="135"/>
                </a:lnTo>
                <a:lnTo>
                  <a:pt x="105" y="137"/>
                </a:lnTo>
                <a:lnTo>
                  <a:pt x="105" y="141"/>
                </a:lnTo>
                <a:lnTo>
                  <a:pt x="106" y="146"/>
                </a:lnTo>
                <a:lnTo>
                  <a:pt x="106" y="152"/>
                </a:lnTo>
                <a:lnTo>
                  <a:pt x="106" y="157"/>
                </a:lnTo>
                <a:lnTo>
                  <a:pt x="108" y="160"/>
                </a:lnTo>
                <a:lnTo>
                  <a:pt x="109" y="165"/>
                </a:lnTo>
                <a:lnTo>
                  <a:pt x="108" y="167"/>
                </a:lnTo>
                <a:lnTo>
                  <a:pt x="106" y="167"/>
                </a:lnTo>
                <a:lnTo>
                  <a:pt x="104" y="168"/>
                </a:lnTo>
                <a:lnTo>
                  <a:pt x="100" y="173"/>
                </a:lnTo>
                <a:lnTo>
                  <a:pt x="97" y="181"/>
                </a:lnTo>
                <a:lnTo>
                  <a:pt x="90" y="189"/>
                </a:lnTo>
                <a:lnTo>
                  <a:pt x="89" y="195"/>
                </a:lnTo>
                <a:lnTo>
                  <a:pt x="88" y="201"/>
                </a:lnTo>
                <a:lnTo>
                  <a:pt x="86" y="204"/>
                </a:lnTo>
                <a:lnTo>
                  <a:pt x="85" y="207"/>
                </a:lnTo>
                <a:lnTo>
                  <a:pt x="85" y="210"/>
                </a:lnTo>
                <a:lnTo>
                  <a:pt x="84" y="217"/>
                </a:lnTo>
                <a:lnTo>
                  <a:pt x="85" y="220"/>
                </a:lnTo>
                <a:lnTo>
                  <a:pt x="85" y="223"/>
                </a:lnTo>
                <a:lnTo>
                  <a:pt x="84" y="226"/>
                </a:lnTo>
                <a:lnTo>
                  <a:pt x="82" y="228"/>
                </a:lnTo>
                <a:lnTo>
                  <a:pt x="82" y="229"/>
                </a:lnTo>
                <a:lnTo>
                  <a:pt x="80" y="232"/>
                </a:lnTo>
                <a:lnTo>
                  <a:pt x="80" y="236"/>
                </a:lnTo>
                <a:lnTo>
                  <a:pt x="77" y="240"/>
                </a:lnTo>
                <a:lnTo>
                  <a:pt x="76" y="243"/>
                </a:lnTo>
                <a:lnTo>
                  <a:pt x="76" y="248"/>
                </a:lnTo>
                <a:lnTo>
                  <a:pt x="76" y="251"/>
                </a:lnTo>
                <a:lnTo>
                  <a:pt x="78" y="254"/>
                </a:lnTo>
                <a:lnTo>
                  <a:pt x="78" y="262"/>
                </a:lnTo>
                <a:lnTo>
                  <a:pt x="81" y="272"/>
                </a:lnTo>
                <a:lnTo>
                  <a:pt x="81" y="275"/>
                </a:lnTo>
                <a:lnTo>
                  <a:pt x="81" y="278"/>
                </a:lnTo>
                <a:lnTo>
                  <a:pt x="84" y="280"/>
                </a:lnTo>
                <a:lnTo>
                  <a:pt x="84" y="281"/>
                </a:lnTo>
                <a:lnTo>
                  <a:pt x="85" y="286"/>
                </a:lnTo>
                <a:lnTo>
                  <a:pt x="85" y="291"/>
                </a:lnTo>
                <a:lnTo>
                  <a:pt x="85" y="295"/>
                </a:lnTo>
                <a:lnTo>
                  <a:pt x="82" y="300"/>
                </a:lnTo>
                <a:lnTo>
                  <a:pt x="80" y="303"/>
                </a:lnTo>
                <a:lnTo>
                  <a:pt x="80" y="306"/>
                </a:lnTo>
                <a:lnTo>
                  <a:pt x="78" y="313"/>
                </a:lnTo>
                <a:lnTo>
                  <a:pt x="76" y="316"/>
                </a:lnTo>
                <a:lnTo>
                  <a:pt x="76" y="324"/>
                </a:lnTo>
                <a:lnTo>
                  <a:pt x="76" y="328"/>
                </a:lnTo>
                <a:lnTo>
                  <a:pt x="76" y="330"/>
                </a:lnTo>
                <a:lnTo>
                  <a:pt x="73" y="331"/>
                </a:lnTo>
                <a:lnTo>
                  <a:pt x="73" y="335"/>
                </a:lnTo>
                <a:lnTo>
                  <a:pt x="72" y="335"/>
                </a:lnTo>
                <a:lnTo>
                  <a:pt x="70" y="335"/>
                </a:lnTo>
                <a:lnTo>
                  <a:pt x="69" y="336"/>
                </a:lnTo>
                <a:lnTo>
                  <a:pt x="68" y="338"/>
                </a:lnTo>
                <a:lnTo>
                  <a:pt x="66" y="341"/>
                </a:lnTo>
                <a:lnTo>
                  <a:pt x="65" y="352"/>
                </a:lnTo>
                <a:lnTo>
                  <a:pt x="65" y="361"/>
                </a:lnTo>
                <a:lnTo>
                  <a:pt x="66" y="368"/>
                </a:lnTo>
                <a:lnTo>
                  <a:pt x="68" y="371"/>
                </a:lnTo>
                <a:lnTo>
                  <a:pt x="68" y="374"/>
                </a:lnTo>
                <a:lnTo>
                  <a:pt x="66" y="377"/>
                </a:lnTo>
                <a:lnTo>
                  <a:pt x="64" y="379"/>
                </a:lnTo>
                <a:lnTo>
                  <a:pt x="64" y="380"/>
                </a:lnTo>
                <a:lnTo>
                  <a:pt x="62" y="382"/>
                </a:lnTo>
                <a:lnTo>
                  <a:pt x="61" y="385"/>
                </a:lnTo>
                <a:lnTo>
                  <a:pt x="57" y="400"/>
                </a:lnTo>
                <a:lnTo>
                  <a:pt x="57" y="402"/>
                </a:lnTo>
                <a:lnTo>
                  <a:pt x="57" y="405"/>
                </a:lnTo>
                <a:lnTo>
                  <a:pt x="55" y="416"/>
                </a:lnTo>
                <a:lnTo>
                  <a:pt x="55" y="422"/>
                </a:lnTo>
                <a:lnTo>
                  <a:pt x="55" y="427"/>
                </a:lnTo>
                <a:lnTo>
                  <a:pt x="57" y="429"/>
                </a:lnTo>
                <a:lnTo>
                  <a:pt x="57" y="430"/>
                </a:lnTo>
                <a:lnTo>
                  <a:pt x="57" y="433"/>
                </a:lnTo>
                <a:lnTo>
                  <a:pt x="57" y="435"/>
                </a:lnTo>
                <a:lnTo>
                  <a:pt x="53" y="440"/>
                </a:lnTo>
                <a:lnTo>
                  <a:pt x="52" y="444"/>
                </a:lnTo>
                <a:lnTo>
                  <a:pt x="52" y="452"/>
                </a:lnTo>
                <a:lnTo>
                  <a:pt x="53" y="454"/>
                </a:lnTo>
                <a:lnTo>
                  <a:pt x="55" y="455"/>
                </a:lnTo>
                <a:lnTo>
                  <a:pt x="55" y="462"/>
                </a:lnTo>
                <a:lnTo>
                  <a:pt x="55" y="463"/>
                </a:lnTo>
                <a:lnTo>
                  <a:pt x="56" y="466"/>
                </a:lnTo>
                <a:lnTo>
                  <a:pt x="57" y="470"/>
                </a:lnTo>
                <a:lnTo>
                  <a:pt x="56" y="476"/>
                </a:lnTo>
                <a:lnTo>
                  <a:pt x="56" y="477"/>
                </a:lnTo>
                <a:lnTo>
                  <a:pt x="57" y="477"/>
                </a:lnTo>
                <a:lnTo>
                  <a:pt x="61" y="479"/>
                </a:lnTo>
                <a:lnTo>
                  <a:pt x="64" y="481"/>
                </a:lnTo>
                <a:lnTo>
                  <a:pt x="64" y="482"/>
                </a:lnTo>
                <a:lnTo>
                  <a:pt x="62" y="484"/>
                </a:lnTo>
                <a:lnTo>
                  <a:pt x="60" y="485"/>
                </a:lnTo>
                <a:lnTo>
                  <a:pt x="55" y="484"/>
                </a:lnTo>
                <a:lnTo>
                  <a:pt x="55" y="485"/>
                </a:lnTo>
                <a:lnTo>
                  <a:pt x="55" y="487"/>
                </a:lnTo>
                <a:lnTo>
                  <a:pt x="59" y="488"/>
                </a:lnTo>
                <a:lnTo>
                  <a:pt x="61" y="492"/>
                </a:lnTo>
                <a:lnTo>
                  <a:pt x="61" y="493"/>
                </a:lnTo>
                <a:lnTo>
                  <a:pt x="60" y="495"/>
                </a:lnTo>
                <a:lnTo>
                  <a:pt x="59" y="496"/>
                </a:lnTo>
                <a:lnTo>
                  <a:pt x="59" y="498"/>
                </a:lnTo>
                <a:lnTo>
                  <a:pt x="59" y="504"/>
                </a:lnTo>
                <a:lnTo>
                  <a:pt x="59" y="506"/>
                </a:lnTo>
                <a:lnTo>
                  <a:pt x="59" y="507"/>
                </a:lnTo>
                <a:lnTo>
                  <a:pt x="59" y="509"/>
                </a:lnTo>
                <a:lnTo>
                  <a:pt x="59" y="518"/>
                </a:lnTo>
                <a:lnTo>
                  <a:pt x="57" y="521"/>
                </a:lnTo>
                <a:lnTo>
                  <a:pt x="55" y="525"/>
                </a:lnTo>
                <a:lnTo>
                  <a:pt x="55" y="526"/>
                </a:lnTo>
                <a:lnTo>
                  <a:pt x="52" y="531"/>
                </a:lnTo>
                <a:lnTo>
                  <a:pt x="48" y="534"/>
                </a:lnTo>
                <a:lnTo>
                  <a:pt x="48" y="536"/>
                </a:lnTo>
                <a:lnTo>
                  <a:pt x="47" y="537"/>
                </a:lnTo>
                <a:lnTo>
                  <a:pt x="47" y="540"/>
                </a:lnTo>
                <a:lnTo>
                  <a:pt x="47" y="542"/>
                </a:lnTo>
                <a:lnTo>
                  <a:pt x="48" y="543"/>
                </a:lnTo>
                <a:lnTo>
                  <a:pt x="48" y="547"/>
                </a:lnTo>
                <a:lnTo>
                  <a:pt x="48" y="548"/>
                </a:lnTo>
                <a:lnTo>
                  <a:pt x="47" y="550"/>
                </a:lnTo>
                <a:lnTo>
                  <a:pt x="47" y="554"/>
                </a:lnTo>
                <a:lnTo>
                  <a:pt x="45" y="556"/>
                </a:lnTo>
                <a:lnTo>
                  <a:pt x="44" y="558"/>
                </a:lnTo>
                <a:lnTo>
                  <a:pt x="41" y="561"/>
                </a:lnTo>
                <a:lnTo>
                  <a:pt x="37" y="567"/>
                </a:lnTo>
                <a:lnTo>
                  <a:pt x="35" y="570"/>
                </a:lnTo>
                <a:lnTo>
                  <a:pt x="33" y="576"/>
                </a:lnTo>
                <a:lnTo>
                  <a:pt x="33" y="580"/>
                </a:lnTo>
                <a:lnTo>
                  <a:pt x="33" y="581"/>
                </a:lnTo>
                <a:lnTo>
                  <a:pt x="33" y="587"/>
                </a:lnTo>
                <a:lnTo>
                  <a:pt x="33" y="591"/>
                </a:lnTo>
                <a:lnTo>
                  <a:pt x="35" y="592"/>
                </a:lnTo>
                <a:lnTo>
                  <a:pt x="36" y="592"/>
                </a:lnTo>
                <a:lnTo>
                  <a:pt x="37" y="592"/>
                </a:lnTo>
                <a:lnTo>
                  <a:pt x="37" y="591"/>
                </a:lnTo>
                <a:lnTo>
                  <a:pt x="40" y="589"/>
                </a:lnTo>
                <a:lnTo>
                  <a:pt x="45" y="591"/>
                </a:lnTo>
                <a:lnTo>
                  <a:pt x="47" y="589"/>
                </a:lnTo>
                <a:lnTo>
                  <a:pt x="48" y="589"/>
                </a:lnTo>
                <a:lnTo>
                  <a:pt x="49" y="594"/>
                </a:lnTo>
                <a:lnTo>
                  <a:pt x="49" y="597"/>
                </a:lnTo>
                <a:lnTo>
                  <a:pt x="49" y="608"/>
                </a:lnTo>
                <a:lnTo>
                  <a:pt x="49" y="609"/>
                </a:lnTo>
                <a:lnTo>
                  <a:pt x="51" y="611"/>
                </a:lnTo>
                <a:lnTo>
                  <a:pt x="52" y="612"/>
                </a:lnTo>
                <a:lnTo>
                  <a:pt x="56" y="614"/>
                </a:lnTo>
                <a:lnTo>
                  <a:pt x="72" y="614"/>
                </a:lnTo>
                <a:lnTo>
                  <a:pt x="73" y="614"/>
                </a:lnTo>
                <a:lnTo>
                  <a:pt x="74" y="614"/>
                </a:lnTo>
                <a:lnTo>
                  <a:pt x="80" y="614"/>
                </a:lnTo>
                <a:lnTo>
                  <a:pt x="84" y="614"/>
                </a:lnTo>
                <a:lnTo>
                  <a:pt x="88" y="614"/>
                </a:lnTo>
                <a:lnTo>
                  <a:pt x="94" y="616"/>
                </a:lnTo>
                <a:lnTo>
                  <a:pt x="102" y="617"/>
                </a:lnTo>
                <a:lnTo>
                  <a:pt x="106" y="619"/>
                </a:lnTo>
                <a:lnTo>
                  <a:pt x="108" y="619"/>
                </a:lnTo>
                <a:lnTo>
                  <a:pt x="109" y="619"/>
                </a:lnTo>
                <a:lnTo>
                  <a:pt x="108" y="619"/>
                </a:lnTo>
                <a:lnTo>
                  <a:pt x="104" y="619"/>
                </a:lnTo>
                <a:lnTo>
                  <a:pt x="101" y="619"/>
                </a:lnTo>
                <a:lnTo>
                  <a:pt x="97" y="617"/>
                </a:lnTo>
                <a:lnTo>
                  <a:pt x="96" y="617"/>
                </a:lnTo>
                <a:lnTo>
                  <a:pt x="92" y="619"/>
                </a:lnTo>
                <a:lnTo>
                  <a:pt x="90" y="620"/>
                </a:lnTo>
                <a:lnTo>
                  <a:pt x="85" y="622"/>
                </a:lnTo>
                <a:lnTo>
                  <a:pt x="81" y="623"/>
                </a:lnTo>
                <a:lnTo>
                  <a:pt x="80" y="625"/>
                </a:lnTo>
                <a:lnTo>
                  <a:pt x="77" y="625"/>
                </a:lnTo>
                <a:lnTo>
                  <a:pt x="76" y="625"/>
                </a:lnTo>
                <a:lnTo>
                  <a:pt x="73" y="625"/>
                </a:lnTo>
                <a:lnTo>
                  <a:pt x="72" y="627"/>
                </a:lnTo>
                <a:lnTo>
                  <a:pt x="72" y="630"/>
                </a:lnTo>
                <a:lnTo>
                  <a:pt x="69" y="636"/>
                </a:lnTo>
                <a:lnTo>
                  <a:pt x="69" y="642"/>
                </a:lnTo>
                <a:lnTo>
                  <a:pt x="68" y="644"/>
                </a:lnTo>
                <a:lnTo>
                  <a:pt x="66" y="645"/>
                </a:lnTo>
                <a:lnTo>
                  <a:pt x="65" y="645"/>
                </a:lnTo>
                <a:lnTo>
                  <a:pt x="61" y="644"/>
                </a:lnTo>
                <a:lnTo>
                  <a:pt x="59" y="644"/>
                </a:lnTo>
                <a:lnTo>
                  <a:pt x="53" y="642"/>
                </a:lnTo>
                <a:lnTo>
                  <a:pt x="51" y="641"/>
                </a:lnTo>
                <a:lnTo>
                  <a:pt x="49" y="639"/>
                </a:lnTo>
                <a:lnTo>
                  <a:pt x="49" y="636"/>
                </a:lnTo>
                <a:lnTo>
                  <a:pt x="52" y="636"/>
                </a:lnTo>
                <a:lnTo>
                  <a:pt x="52" y="638"/>
                </a:lnTo>
                <a:lnTo>
                  <a:pt x="55" y="638"/>
                </a:lnTo>
                <a:lnTo>
                  <a:pt x="56" y="636"/>
                </a:lnTo>
                <a:lnTo>
                  <a:pt x="57" y="634"/>
                </a:lnTo>
                <a:lnTo>
                  <a:pt x="60" y="634"/>
                </a:lnTo>
                <a:lnTo>
                  <a:pt x="64" y="633"/>
                </a:lnTo>
                <a:lnTo>
                  <a:pt x="65" y="631"/>
                </a:lnTo>
                <a:lnTo>
                  <a:pt x="66" y="630"/>
                </a:lnTo>
                <a:lnTo>
                  <a:pt x="68" y="628"/>
                </a:lnTo>
                <a:lnTo>
                  <a:pt x="64" y="627"/>
                </a:lnTo>
                <a:lnTo>
                  <a:pt x="62" y="625"/>
                </a:lnTo>
                <a:lnTo>
                  <a:pt x="61" y="623"/>
                </a:lnTo>
                <a:lnTo>
                  <a:pt x="59" y="622"/>
                </a:lnTo>
                <a:lnTo>
                  <a:pt x="52" y="622"/>
                </a:lnTo>
                <a:lnTo>
                  <a:pt x="48" y="623"/>
                </a:lnTo>
                <a:lnTo>
                  <a:pt x="47" y="625"/>
                </a:lnTo>
                <a:lnTo>
                  <a:pt x="47" y="623"/>
                </a:lnTo>
                <a:lnTo>
                  <a:pt x="47" y="622"/>
                </a:lnTo>
                <a:lnTo>
                  <a:pt x="43" y="623"/>
                </a:lnTo>
                <a:lnTo>
                  <a:pt x="43" y="622"/>
                </a:lnTo>
                <a:lnTo>
                  <a:pt x="43" y="620"/>
                </a:lnTo>
                <a:lnTo>
                  <a:pt x="47" y="619"/>
                </a:lnTo>
                <a:lnTo>
                  <a:pt x="47" y="617"/>
                </a:lnTo>
                <a:lnTo>
                  <a:pt x="47" y="616"/>
                </a:lnTo>
                <a:lnTo>
                  <a:pt x="44" y="612"/>
                </a:lnTo>
                <a:lnTo>
                  <a:pt x="47" y="612"/>
                </a:lnTo>
                <a:lnTo>
                  <a:pt x="47" y="611"/>
                </a:lnTo>
                <a:lnTo>
                  <a:pt x="47" y="609"/>
                </a:lnTo>
                <a:lnTo>
                  <a:pt x="44" y="606"/>
                </a:lnTo>
                <a:lnTo>
                  <a:pt x="40" y="605"/>
                </a:lnTo>
                <a:lnTo>
                  <a:pt x="37" y="603"/>
                </a:lnTo>
                <a:lnTo>
                  <a:pt x="36" y="603"/>
                </a:lnTo>
                <a:lnTo>
                  <a:pt x="44" y="608"/>
                </a:lnTo>
                <a:lnTo>
                  <a:pt x="44" y="609"/>
                </a:lnTo>
                <a:lnTo>
                  <a:pt x="43" y="609"/>
                </a:lnTo>
                <a:lnTo>
                  <a:pt x="40" y="609"/>
                </a:lnTo>
                <a:lnTo>
                  <a:pt x="39" y="608"/>
                </a:lnTo>
                <a:lnTo>
                  <a:pt x="37" y="608"/>
                </a:lnTo>
                <a:lnTo>
                  <a:pt x="39" y="611"/>
                </a:lnTo>
                <a:lnTo>
                  <a:pt x="39" y="612"/>
                </a:lnTo>
                <a:lnTo>
                  <a:pt x="36" y="612"/>
                </a:lnTo>
                <a:lnTo>
                  <a:pt x="35" y="611"/>
                </a:lnTo>
                <a:lnTo>
                  <a:pt x="35" y="608"/>
                </a:lnTo>
                <a:lnTo>
                  <a:pt x="33" y="606"/>
                </a:lnTo>
                <a:lnTo>
                  <a:pt x="35" y="609"/>
                </a:lnTo>
                <a:lnTo>
                  <a:pt x="35" y="611"/>
                </a:lnTo>
                <a:lnTo>
                  <a:pt x="35" y="614"/>
                </a:lnTo>
                <a:lnTo>
                  <a:pt x="33" y="614"/>
                </a:lnTo>
                <a:lnTo>
                  <a:pt x="32" y="612"/>
                </a:lnTo>
                <a:lnTo>
                  <a:pt x="31" y="611"/>
                </a:lnTo>
                <a:lnTo>
                  <a:pt x="31" y="606"/>
                </a:lnTo>
                <a:lnTo>
                  <a:pt x="29" y="601"/>
                </a:lnTo>
                <a:lnTo>
                  <a:pt x="23" y="597"/>
                </a:lnTo>
                <a:lnTo>
                  <a:pt x="21" y="594"/>
                </a:lnTo>
                <a:lnTo>
                  <a:pt x="23" y="594"/>
                </a:lnTo>
                <a:lnTo>
                  <a:pt x="25" y="594"/>
                </a:lnTo>
                <a:lnTo>
                  <a:pt x="28" y="592"/>
                </a:lnTo>
                <a:lnTo>
                  <a:pt x="28" y="591"/>
                </a:lnTo>
                <a:lnTo>
                  <a:pt x="27" y="589"/>
                </a:lnTo>
                <a:lnTo>
                  <a:pt x="27" y="591"/>
                </a:lnTo>
                <a:lnTo>
                  <a:pt x="24" y="591"/>
                </a:lnTo>
                <a:lnTo>
                  <a:pt x="23" y="589"/>
                </a:lnTo>
                <a:lnTo>
                  <a:pt x="21" y="587"/>
                </a:lnTo>
                <a:lnTo>
                  <a:pt x="23" y="586"/>
                </a:lnTo>
                <a:lnTo>
                  <a:pt x="25" y="587"/>
                </a:lnTo>
                <a:lnTo>
                  <a:pt x="25" y="586"/>
                </a:lnTo>
                <a:lnTo>
                  <a:pt x="24" y="584"/>
                </a:lnTo>
                <a:lnTo>
                  <a:pt x="20" y="584"/>
                </a:lnTo>
                <a:lnTo>
                  <a:pt x="19" y="584"/>
                </a:lnTo>
                <a:lnTo>
                  <a:pt x="16" y="583"/>
                </a:lnTo>
                <a:lnTo>
                  <a:pt x="15" y="580"/>
                </a:lnTo>
                <a:lnTo>
                  <a:pt x="19" y="576"/>
                </a:lnTo>
                <a:lnTo>
                  <a:pt x="19" y="573"/>
                </a:lnTo>
                <a:lnTo>
                  <a:pt x="20" y="573"/>
                </a:lnTo>
                <a:lnTo>
                  <a:pt x="20" y="572"/>
                </a:lnTo>
                <a:lnTo>
                  <a:pt x="24" y="570"/>
                </a:lnTo>
                <a:lnTo>
                  <a:pt x="25" y="570"/>
                </a:lnTo>
                <a:lnTo>
                  <a:pt x="27" y="570"/>
                </a:lnTo>
                <a:lnTo>
                  <a:pt x="25" y="569"/>
                </a:lnTo>
                <a:lnTo>
                  <a:pt x="24" y="567"/>
                </a:lnTo>
                <a:lnTo>
                  <a:pt x="27" y="561"/>
                </a:lnTo>
                <a:lnTo>
                  <a:pt x="25" y="562"/>
                </a:lnTo>
                <a:lnTo>
                  <a:pt x="23" y="564"/>
                </a:lnTo>
                <a:lnTo>
                  <a:pt x="23" y="565"/>
                </a:lnTo>
                <a:lnTo>
                  <a:pt x="21" y="567"/>
                </a:lnTo>
                <a:lnTo>
                  <a:pt x="20" y="567"/>
                </a:lnTo>
                <a:lnTo>
                  <a:pt x="20" y="565"/>
                </a:lnTo>
                <a:lnTo>
                  <a:pt x="19" y="562"/>
                </a:lnTo>
                <a:lnTo>
                  <a:pt x="19" y="556"/>
                </a:lnTo>
                <a:lnTo>
                  <a:pt x="20" y="554"/>
                </a:lnTo>
                <a:lnTo>
                  <a:pt x="21" y="554"/>
                </a:lnTo>
                <a:lnTo>
                  <a:pt x="20" y="553"/>
                </a:lnTo>
                <a:lnTo>
                  <a:pt x="20" y="551"/>
                </a:lnTo>
                <a:lnTo>
                  <a:pt x="24" y="550"/>
                </a:lnTo>
                <a:lnTo>
                  <a:pt x="27" y="553"/>
                </a:lnTo>
                <a:lnTo>
                  <a:pt x="27" y="550"/>
                </a:lnTo>
                <a:lnTo>
                  <a:pt x="25" y="548"/>
                </a:lnTo>
                <a:lnTo>
                  <a:pt x="24" y="548"/>
                </a:lnTo>
                <a:lnTo>
                  <a:pt x="19" y="550"/>
                </a:lnTo>
                <a:lnTo>
                  <a:pt x="17" y="547"/>
                </a:lnTo>
                <a:lnTo>
                  <a:pt x="16" y="545"/>
                </a:lnTo>
                <a:lnTo>
                  <a:pt x="16" y="540"/>
                </a:lnTo>
                <a:lnTo>
                  <a:pt x="19" y="542"/>
                </a:lnTo>
                <a:lnTo>
                  <a:pt x="20" y="543"/>
                </a:lnTo>
                <a:lnTo>
                  <a:pt x="21" y="545"/>
                </a:lnTo>
                <a:lnTo>
                  <a:pt x="20" y="542"/>
                </a:lnTo>
                <a:lnTo>
                  <a:pt x="21" y="542"/>
                </a:lnTo>
                <a:lnTo>
                  <a:pt x="28" y="543"/>
                </a:lnTo>
                <a:lnTo>
                  <a:pt x="32" y="545"/>
                </a:lnTo>
                <a:lnTo>
                  <a:pt x="33" y="545"/>
                </a:lnTo>
                <a:lnTo>
                  <a:pt x="31" y="543"/>
                </a:lnTo>
                <a:lnTo>
                  <a:pt x="28" y="540"/>
                </a:lnTo>
                <a:lnTo>
                  <a:pt x="28" y="537"/>
                </a:lnTo>
                <a:lnTo>
                  <a:pt x="27" y="536"/>
                </a:lnTo>
                <a:lnTo>
                  <a:pt x="25" y="537"/>
                </a:lnTo>
                <a:lnTo>
                  <a:pt x="23" y="537"/>
                </a:lnTo>
                <a:lnTo>
                  <a:pt x="21" y="537"/>
                </a:lnTo>
                <a:lnTo>
                  <a:pt x="21" y="536"/>
                </a:lnTo>
                <a:lnTo>
                  <a:pt x="23" y="534"/>
                </a:lnTo>
                <a:lnTo>
                  <a:pt x="21" y="534"/>
                </a:lnTo>
                <a:lnTo>
                  <a:pt x="17" y="532"/>
                </a:lnTo>
                <a:lnTo>
                  <a:pt x="16" y="531"/>
                </a:lnTo>
                <a:lnTo>
                  <a:pt x="19" y="529"/>
                </a:lnTo>
                <a:lnTo>
                  <a:pt x="21" y="528"/>
                </a:lnTo>
                <a:lnTo>
                  <a:pt x="23" y="528"/>
                </a:lnTo>
                <a:lnTo>
                  <a:pt x="21" y="526"/>
                </a:lnTo>
                <a:lnTo>
                  <a:pt x="24" y="523"/>
                </a:lnTo>
                <a:lnTo>
                  <a:pt x="23" y="523"/>
                </a:lnTo>
                <a:lnTo>
                  <a:pt x="23" y="521"/>
                </a:lnTo>
                <a:lnTo>
                  <a:pt x="20" y="520"/>
                </a:lnTo>
                <a:lnTo>
                  <a:pt x="19" y="518"/>
                </a:lnTo>
                <a:lnTo>
                  <a:pt x="16" y="518"/>
                </a:lnTo>
                <a:lnTo>
                  <a:pt x="15" y="520"/>
                </a:lnTo>
                <a:lnTo>
                  <a:pt x="13" y="521"/>
                </a:lnTo>
                <a:lnTo>
                  <a:pt x="9" y="520"/>
                </a:lnTo>
                <a:lnTo>
                  <a:pt x="8" y="518"/>
                </a:lnTo>
                <a:lnTo>
                  <a:pt x="7" y="517"/>
                </a:lnTo>
                <a:lnTo>
                  <a:pt x="4" y="518"/>
                </a:lnTo>
                <a:lnTo>
                  <a:pt x="3" y="518"/>
                </a:lnTo>
                <a:lnTo>
                  <a:pt x="3" y="520"/>
                </a:lnTo>
                <a:lnTo>
                  <a:pt x="4" y="521"/>
                </a:lnTo>
                <a:lnTo>
                  <a:pt x="3" y="523"/>
                </a:lnTo>
                <a:lnTo>
                  <a:pt x="0" y="523"/>
                </a:lnTo>
                <a:lnTo>
                  <a:pt x="0" y="521"/>
                </a:lnTo>
                <a:lnTo>
                  <a:pt x="1" y="517"/>
                </a:lnTo>
                <a:lnTo>
                  <a:pt x="3" y="515"/>
                </a:lnTo>
                <a:lnTo>
                  <a:pt x="5" y="514"/>
                </a:lnTo>
                <a:lnTo>
                  <a:pt x="8" y="510"/>
                </a:lnTo>
                <a:lnTo>
                  <a:pt x="9" y="510"/>
                </a:lnTo>
                <a:lnTo>
                  <a:pt x="12" y="510"/>
                </a:lnTo>
                <a:lnTo>
                  <a:pt x="12" y="507"/>
                </a:lnTo>
                <a:lnTo>
                  <a:pt x="9" y="507"/>
                </a:lnTo>
                <a:lnTo>
                  <a:pt x="8" y="506"/>
                </a:lnTo>
                <a:lnTo>
                  <a:pt x="8" y="504"/>
                </a:lnTo>
                <a:lnTo>
                  <a:pt x="13" y="504"/>
                </a:lnTo>
                <a:lnTo>
                  <a:pt x="15" y="504"/>
                </a:lnTo>
                <a:lnTo>
                  <a:pt x="16" y="506"/>
                </a:lnTo>
                <a:lnTo>
                  <a:pt x="19" y="504"/>
                </a:lnTo>
                <a:lnTo>
                  <a:pt x="20" y="504"/>
                </a:lnTo>
                <a:lnTo>
                  <a:pt x="21" y="506"/>
                </a:lnTo>
                <a:lnTo>
                  <a:pt x="21" y="507"/>
                </a:lnTo>
                <a:lnTo>
                  <a:pt x="21" y="509"/>
                </a:lnTo>
                <a:lnTo>
                  <a:pt x="23" y="507"/>
                </a:lnTo>
                <a:lnTo>
                  <a:pt x="23" y="509"/>
                </a:lnTo>
                <a:lnTo>
                  <a:pt x="21" y="510"/>
                </a:lnTo>
                <a:lnTo>
                  <a:pt x="20" y="512"/>
                </a:lnTo>
                <a:lnTo>
                  <a:pt x="21" y="514"/>
                </a:lnTo>
                <a:lnTo>
                  <a:pt x="24" y="514"/>
                </a:lnTo>
                <a:lnTo>
                  <a:pt x="25" y="512"/>
                </a:lnTo>
                <a:lnTo>
                  <a:pt x="27" y="510"/>
                </a:lnTo>
                <a:lnTo>
                  <a:pt x="27" y="512"/>
                </a:lnTo>
                <a:lnTo>
                  <a:pt x="27" y="514"/>
                </a:lnTo>
                <a:lnTo>
                  <a:pt x="27" y="515"/>
                </a:lnTo>
                <a:lnTo>
                  <a:pt x="28" y="515"/>
                </a:lnTo>
                <a:lnTo>
                  <a:pt x="28" y="514"/>
                </a:lnTo>
                <a:lnTo>
                  <a:pt x="29" y="512"/>
                </a:lnTo>
                <a:lnTo>
                  <a:pt x="31" y="510"/>
                </a:lnTo>
                <a:lnTo>
                  <a:pt x="32" y="510"/>
                </a:lnTo>
                <a:lnTo>
                  <a:pt x="32" y="509"/>
                </a:lnTo>
                <a:lnTo>
                  <a:pt x="33" y="507"/>
                </a:lnTo>
                <a:lnTo>
                  <a:pt x="35" y="506"/>
                </a:lnTo>
                <a:lnTo>
                  <a:pt x="35" y="504"/>
                </a:lnTo>
                <a:lnTo>
                  <a:pt x="33" y="504"/>
                </a:lnTo>
                <a:lnTo>
                  <a:pt x="32" y="506"/>
                </a:lnTo>
                <a:lnTo>
                  <a:pt x="32" y="507"/>
                </a:lnTo>
                <a:lnTo>
                  <a:pt x="29" y="510"/>
                </a:lnTo>
                <a:lnTo>
                  <a:pt x="31" y="504"/>
                </a:lnTo>
                <a:lnTo>
                  <a:pt x="31" y="503"/>
                </a:lnTo>
                <a:lnTo>
                  <a:pt x="32" y="503"/>
                </a:lnTo>
                <a:lnTo>
                  <a:pt x="35" y="503"/>
                </a:lnTo>
                <a:lnTo>
                  <a:pt x="33" y="501"/>
                </a:lnTo>
                <a:lnTo>
                  <a:pt x="35" y="499"/>
                </a:lnTo>
                <a:lnTo>
                  <a:pt x="36" y="499"/>
                </a:lnTo>
                <a:lnTo>
                  <a:pt x="36" y="498"/>
                </a:lnTo>
                <a:lnTo>
                  <a:pt x="35" y="498"/>
                </a:lnTo>
                <a:lnTo>
                  <a:pt x="31" y="499"/>
                </a:lnTo>
                <a:lnTo>
                  <a:pt x="31" y="496"/>
                </a:lnTo>
                <a:lnTo>
                  <a:pt x="32" y="496"/>
                </a:lnTo>
                <a:lnTo>
                  <a:pt x="33" y="495"/>
                </a:lnTo>
                <a:lnTo>
                  <a:pt x="35" y="495"/>
                </a:lnTo>
                <a:lnTo>
                  <a:pt x="37" y="496"/>
                </a:lnTo>
                <a:lnTo>
                  <a:pt x="39" y="496"/>
                </a:lnTo>
                <a:lnTo>
                  <a:pt x="40" y="498"/>
                </a:lnTo>
                <a:lnTo>
                  <a:pt x="41" y="496"/>
                </a:lnTo>
                <a:lnTo>
                  <a:pt x="41" y="495"/>
                </a:lnTo>
                <a:lnTo>
                  <a:pt x="40" y="495"/>
                </a:lnTo>
                <a:lnTo>
                  <a:pt x="36" y="493"/>
                </a:lnTo>
                <a:lnTo>
                  <a:pt x="33" y="493"/>
                </a:lnTo>
                <a:lnTo>
                  <a:pt x="33" y="490"/>
                </a:lnTo>
                <a:lnTo>
                  <a:pt x="33" y="488"/>
                </a:lnTo>
                <a:lnTo>
                  <a:pt x="35" y="488"/>
                </a:lnTo>
                <a:lnTo>
                  <a:pt x="37" y="488"/>
                </a:lnTo>
                <a:lnTo>
                  <a:pt x="40" y="488"/>
                </a:lnTo>
                <a:lnTo>
                  <a:pt x="43" y="485"/>
                </a:lnTo>
                <a:lnTo>
                  <a:pt x="44" y="484"/>
                </a:lnTo>
                <a:lnTo>
                  <a:pt x="44" y="481"/>
                </a:lnTo>
                <a:lnTo>
                  <a:pt x="43" y="479"/>
                </a:lnTo>
                <a:lnTo>
                  <a:pt x="41" y="477"/>
                </a:lnTo>
                <a:lnTo>
                  <a:pt x="37" y="476"/>
                </a:lnTo>
                <a:lnTo>
                  <a:pt x="36" y="474"/>
                </a:lnTo>
                <a:lnTo>
                  <a:pt x="35" y="474"/>
                </a:lnTo>
                <a:lnTo>
                  <a:pt x="35" y="473"/>
                </a:lnTo>
                <a:lnTo>
                  <a:pt x="36" y="473"/>
                </a:lnTo>
                <a:lnTo>
                  <a:pt x="37" y="471"/>
                </a:lnTo>
                <a:lnTo>
                  <a:pt x="37" y="470"/>
                </a:lnTo>
                <a:lnTo>
                  <a:pt x="39" y="468"/>
                </a:lnTo>
                <a:lnTo>
                  <a:pt x="40" y="466"/>
                </a:lnTo>
                <a:lnTo>
                  <a:pt x="40" y="465"/>
                </a:lnTo>
                <a:lnTo>
                  <a:pt x="40" y="463"/>
                </a:lnTo>
                <a:lnTo>
                  <a:pt x="39" y="462"/>
                </a:lnTo>
                <a:lnTo>
                  <a:pt x="39" y="460"/>
                </a:lnTo>
                <a:lnTo>
                  <a:pt x="39" y="459"/>
                </a:lnTo>
                <a:lnTo>
                  <a:pt x="40" y="459"/>
                </a:lnTo>
                <a:lnTo>
                  <a:pt x="41" y="457"/>
                </a:lnTo>
                <a:lnTo>
                  <a:pt x="43" y="452"/>
                </a:lnTo>
                <a:lnTo>
                  <a:pt x="41" y="448"/>
                </a:lnTo>
                <a:lnTo>
                  <a:pt x="44" y="444"/>
                </a:lnTo>
                <a:lnTo>
                  <a:pt x="45" y="446"/>
                </a:lnTo>
                <a:lnTo>
                  <a:pt x="44" y="444"/>
                </a:lnTo>
                <a:lnTo>
                  <a:pt x="43" y="441"/>
                </a:lnTo>
                <a:lnTo>
                  <a:pt x="44" y="440"/>
                </a:lnTo>
                <a:lnTo>
                  <a:pt x="47" y="440"/>
                </a:lnTo>
                <a:lnTo>
                  <a:pt x="48" y="443"/>
                </a:lnTo>
                <a:lnTo>
                  <a:pt x="48" y="441"/>
                </a:lnTo>
                <a:lnTo>
                  <a:pt x="47" y="435"/>
                </a:lnTo>
                <a:lnTo>
                  <a:pt x="44" y="435"/>
                </a:lnTo>
                <a:lnTo>
                  <a:pt x="43" y="435"/>
                </a:lnTo>
                <a:lnTo>
                  <a:pt x="43" y="432"/>
                </a:lnTo>
                <a:lnTo>
                  <a:pt x="45" y="430"/>
                </a:lnTo>
                <a:lnTo>
                  <a:pt x="48" y="430"/>
                </a:lnTo>
                <a:lnTo>
                  <a:pt x="49" y="429"/>
                </a:lnTo>
                <a:lnTo>
                  <a:pt x="47" y="429"/>
                </a:lnTo>
                <a:lnTo>
                  <a:pt x="45" y="429"/>
                </a:lnTo>
                <a:lnTo>
                  <a:pt x="44" y="429"/>
                </a:lnTo>
                <a:lnTo>
                  <a:pt x="41" y="427"/>
                </a:lnTo>
                <a:lnTo>
                  <a:pt x="39" y="427"/>
                </a:lnTo>
                <a:lnTo>
                  <a:pt x="37" y="427"/>
                </a:lnTo>
                <a:lnTo>
                  <a:pt x="37" y="429"/>
                </a:lnTo>
                <a:lnTo>
                  <a:pt x="36" y="430"/>
                </a:lnTo>
                <a:lnTo>
                  <a:pt x="32" y="430"/>
                </a:lnTo>
                <a:lnTo>
                  <a:pt x="28" y="430"/>
                </a:lnTo>
                <a:lnTo>
                  <a:pt x="29" y="429"/>
                </a:lnTo>
                <a:lnTo>
                  <a:pt x="28" y="427"/>
                </a:lnTo>
                <a:lnTo>
                  <a:pt x="27" y="426"/>
                </a:lnTo>
                <a:lnTo>
                  <a:pt x="25" y="424"/>
                </a:lnTo>
                <a:lnTo>
                  <a:pt x="25" y="421"/>
                </a:lnTo>
                <a:lnTo>
                  <a:pt x="25" y="418"/>
                </a:lnTo>
                <a:lnTo>
                  <a:pt x="27" y="411"/>
                </a:lnTo>
                <a:lnTo>
                  <a:pt x="28" y="408"/>
                </a:lnTo>
                <a:lnTo>
                  <a:pt x="28" y="397"/>
                </a:lnTo>
                <a:lnTo>
                  <a:pt x="31" y="396"/>
                </a:lnTo>
                <a:lnTo>
                  <a:pt x="31" y="394"/>
                </a:lnTo>
                <a:lnTo>
                  <a:pt x="32" y="393"/>
                </a:lnTo>
                <a:lnTo>
                  <a:pt x="33" y="391"/>
                </a:lnTo>
                <a:lnTo>
                  <a:pt x="33" y="383"/>
                </a:lnTo>
                <a:lnTo>
                  <a:pt x="32" y="379"/>
                </a:lnTo>
                <a:lnTo>
                  <a:pt x="29" y="374"/>
                </a:lnTo>
                <a:lnTo>
                  <a:pt x="31" y="374"/>
                </a:lnTo>
                <a:lnTo>
                  <a:pt x="31" y="368"/>
                </a:lnTo>
                <a:lnTo>
                  <a:pt x="31" y="364"/>
                </a:lnTo>
                <a:lnTo>
                  <a:pt x="29" y="361"/>
                </a:lnTo>
                <a:lnTo>
                  <a:pt x="29" y="357"/>
                </a:lnTo>
                <a:lnTo>
                  <a:pt x="29" y="352"/>
                </a:lnTo>
                <a:lnTo>
                  <a:pt x="31" y="349"/>
                </a:lnTo>
                <a:lnTo>
                  <a:pt x="33" y="350"/>
                </a:lnTo>
                <a:lnTo>
                  <a:pt x="36" y="349"/>
                </a:lnTo>
                <a:lnTo>
                  <a:pt x="36" y="341"/>
                </a:lnTo>
                <a:lnTo>
                  <a:pt x="37" y="339"/>
                </a:lnTo>
                <a:lnTo>
                  <a:pt x="39" y="341"/>
                </a:lnTo>
                <a:lnTo>
                  <a:pt x="39" y="339"/>
                </a:lnTo>
                <a:lnTo>
                  <a:pt x="41" y="335"/>
                </a:lnTo>
                <a:lnTo>
                  <a:pt x="43" y="330"/>
                </a:lnTo>
                <a:lnTo>
                  <a:pt x="44" y="327"/>
                </a:lnTo>
                <a:lnTo>
                  <a:pt x="44" y="324"/>
                </a:lnTo>
                <a:lnTo>
                  <a:pt x="45" y="320"/>
                </a:lnTo>
                <a:lnTo>
                  <a:pt x="51" y="313"/>
                </a:lnTo>
                <a:lnTo>
                  <a:pt x="51" y="309"/>
                </a:lnTo>
                <a:lnTo>
                  <a:pt x="53" y="302"/>
                </a:lnTo>
                <a:lnTo>
                  <a:pt x="53" y="298"/>
                </a:lnTo>
                <a:lnTo>
                  <a:pt x="55" y="298"/>
                </a:lnTo>
                <a:lnTo>
                  <a:pt x="56" y="291"/>
                </a:lnTo>
                <a:lnTo>
                  <a:pt x="59" y="287"/>
                </a:lnTo>
                <a:lnTo>
                  <a:pt x="59" y="278"/>
                </a:lnTo>
                <a:lnTo>
                  <a:pt x="60" y="275"/>
                </a:lnTo>
                <a:lnTo>
                  <a:pt x="61" y="272"/>
                </a:lnTo>
                <a:lnTo>
                  <a:pt x="61" y="265"/>
                </a:lnTo>
                <a:lnTo>
                  <a:pt x="60" y="259"/>
                </a:lnTo>
                <a:lnTo>
                  <a:pt x="60" y="253"/>
                </a:lnTo>
                <a:lnTo>
                  <a:pt x="59" y="242"/>
                </a:lnTo>
                <a:lnTo>
                  <a:pt x="57" y="234"/>
                </a:lnTo>
                <a:lnTo>
                  <a:pt x="59" y="226"/>
                </a:lnTo>
                <a:lnTo>
                  <a:pt x="61" y="225"/>
                </a:lnTo>
                <a:lnTo>
                  <a:pt x="62" y="220"/>
                </a:lnTo>
                <a:lnTo>
                  <a:pt x="62" y="218"/>
                </a:lnTo>
                <a:lnTo>
                  <a:pt x="62" y="214"/>
                </a:lnTo>
                <a:lnTo>
                  <a:pt x="60" y="209"/>
                </a:lnTo>
                <a:lnTo>
                  <a:pt x="60" y="207"/>
                </a:lnTo>
                <a:lnTo>
                  <a:pt x="60" y="204"/>
                </a:lnTo>
                <a:lnTo>
                  <a:pt x="61" y="203"/>
                </a:lnTo>
                <a:lnTo>
                  <a:pt x="64" y="198"/>
                </a:lnTo>
                <a:lnTo>
                  <a:pt x="65" y="192"/>
                </a:lnTo>
                <a:lnTo>
                  <a:pt x="66" y="182"/>
                </a:lnTo>
                <a:lnTo>
                  <a:pt x="69" y="178"/>
                </a:lnTo>
                <a:lnTo>
                  <a:pt x="69" y="171"/>
                </a:lnTo>
                <a:lnTo>
                  <a:pt x="69" y="170"/>
                </a:lnTo>
                <a:lnTo>
                  <a:pt x="70" y="168"/>
                </a:lnTo>
                <a:lnTo>
                  <a:pt x="72" y="165"/>
                </a:lnTo>
                <a:lnTo>
                  <a:pt x="72" y="160"/>
                </a:lnTo>
                <a:lnTo>
                  <a:pt x="73" y="157"/>
                </a:lnTo>
                <a:lnTo>
                  <a:pt x="73" y="154"/>
                </a:lnTo>
                <a:lnTo>
                  <a:pt x="72" y="149"/>
                </a:lnTo>
                <a:lnTo>
                  <a:pt x="72" y="146"/>
                </a:lnTo>
                <a:lnTo>
                  <a:pt x="73" y="143"/>
                </a:lnTo>
                <a:lnTo>
                  <a:pt x="73" y="141"/>
                </a:lnTo>
                <a:lnTo>
                  <a:pt x="76" y="140"/>
                </a:lnTo>
                <a:lnTo>
                  <a:pt x="76" y="137"/>
                </a:lnTo>
                <a:lnTo>
                  <a:pt x="76" y="132"/>
                </a:lnTo>
                <a:lnTo>
                  <a:pt x="76" y="129"/>
                </a:lnTo>
                <a:lnTo>
                  <a:pt x="76" y="115"/>
                </a:lnTo>
                <a:lnTo>
                  <a:pt x="76" y="110"/>
                </a:lnTo>
                <a:lnTo>
                  <a:pt x="76" y="107"/>
                </a:lnTo>
                <a:lnTo>
                  <a:pt x="74" y="104"/>
                </a:lnTo>
                <a:lnTo>
                  <a:pt x="74" y="102"/>
                </a:lnTo>
                <a:lnTo>
                  <a:pt x="76" y="99"/>
                </a:lnTo>
                <a:lnTo>
                  <a:pt x="77" y="97"/>
                </a:lnTo>
                <a:lnTo>
                  <a:pt x="78" y="97"/>
                </a:lnTo>
                <a:lnTo>
                  <a:pt x="78" y="94"/>
                </a:lnTo>
                <a:lnTo>
                  <a:pt x="80" y="82"/>
                </a:lnTo>
                <a:lnTo>
                  <a:pt x="80" y="79"/>
                </a:lnTo>
                <a:lnTo>
                  <a:pt x="81" y="74"/>
                </a:lnTo>
                <a:lnTo>
                  <a:pt x="81" y="71"/>
                </a:lnTo>
                <a:lnTo>
                  <a:pt x="81" y="69"/>
                </a:lnTo>
                <a:lnTo>
                  <a:pt x="81" y="68"/>
                </a:lnTo>
                <a:lnTo>
                  <a:pt x="80" y="60"/>
                </a:lnTo>
                <a:lnTo>
                  <a:pt x="80" y="44"/>
                </a:lnTo>
                <a:lnTo>
                  <a:pt x="80" y="41"/>
                </a:lnTo>
                <a:lnTo>
                  <a:pt x="78" y="38"/>
                </a:lnTo>
                <a:lnTo>
                  <a:pt x="78" y="28"/>
                </a:lnTo>
                <a:lnTo>
                  <a:pt x="77" y="17"/>
                </a:lnTo>
                <a:lnTo>
                  <a:pt x="76" y="11"/>
                </a:lnTo>
                <a:lnTo>
                  <a:pt x="78" y="9"/>
                </a:lnTo>
                <a:lnTo>
                  <a:pt x="84" y="8"/>
                </a:lnTo>
                <a:lnTo>
                  <a:pt x="85" y="8"/>
                </a:lnTo>
                <a:lnTo>
                  <a:pt x="86" y="5"/>
                </a:lnTo>
                <a:lnTo>
                  <a:pt x="88" y="2"/>
                </a:lnTo>
                <a:lnTo>
                  <a:pt x="89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75" name="Freeform 1302"/>
          <p:cNvSpPr>
            <a:spLocks/>
          </p:cNvSpPr>
          <p:nvPr/>
        </p:nvSpPr>
        <p:spPr bwMode="auto">
          <a:xfrm>
            <a:off x="3501498" y="5963557"/>
            <a:ext cx="208524" cy="279189"/>
          </a:xfrm>
          <a:custGeom>
            <a:avLst/>
            <a:gdLst/>
            <a:ahLst/>
            <a:cxnLst>
              <a:cxn ang="0">
                <a:pos x="73" y="110"/>
              </a:cxn>
              <a:cxn ang="0">
                <a:pos x="88" y="110"/>
              </a:cxn>
              <a:cxn ang="0">
                <a:pos x="108" y="115"/>
              </a:cxn>
              <a:cxn ang="0">
                <a:pos x="101" y="115"/>
              </a:cxn>
              <a:cxn ang="0">
                <a:pos x="90" y="116"/>
              </a:cxn>
              <a:cxn ang="0">
                <a:pos x="77" y="121"/>
              </a:cxn>
              <a:cxn ang="0">
                <a:pos x="72" y="126"/>
              </a:cxn>
              <a:cxn ang="0">
                <a:pos x="66" y="141"/>
              </a:cxn>
              <a:cxn ang="0">
                <a:pos x="53" y="138"/>
              </a:cxn>
              <a:cxn ang="0">
                <a:pos x="52" y="132"/>
              </a:cxn>
              <a:cxn ang="0">
                <a:pos x="57" y="130"/>
              </a:cxn>
              <a:cxn ang="0">
                <a:pos x="66" y="126"/>
              </a:cxn>
              <a:cxn ang="0">
                <a:pos x="61" y="119"/>
              </a:cxn>
              <a:cxn ang="0">
                <a:pos x="47" y="121"/>
              </a:cxn>
              <a:cxn ang="0">
                <a:pos x="43" y="118"/>
              </a:cxn>
              <a:cxn ang="0">
                <a:pos x="47" y="112"/>
              </a:cxn>
              <a:cxn ang="0">
                <a:pos x="47" y="105"/>
              </a:cxn>
              <a:cxn ang="0">
                <a:pos x="36" y="99"/>
              </a:cxn>
              <a:cxn ang="0">
                <a:pos x="40" y="105"/>
              </a:cxn>
              <a:cxn ang="0">
                <a:pos x="39" y="108"/>
              </a:cxn>
              <a:cxn ang="0">
                <a:pos x="33" y="102"/>
              </a:cxn>
              <a:cxn ang="0">
                <a:pos x="33" y="110"/>
              </a:cxn>
              <a:cxn ang="0">
                <a:pos x="29" y="97"/>
              </a:cxn>
              <a:cxn ang="0">
                <a:pos x="25" y="90"/>
              </a:cxn>
              <a:cxn ang="0">
                <a:pos x="27" y="87"/>
              </a:cxn>
              <a:cxn ang="0">
                <a:pos x="23" y="82"/>
              </a:cxn>
              <a:cxn ang="0">
                <a:pos x="20" y="80"/>
              </a:cxn>
              <a:cxn ang="0">
                <a:pos x="19" y="72"/>
              </a:cxn>
              <a:cxn ang="0">
                <a:pos x="24" y="66"/>
              </a:cxn>
              <a:cxn ang="0">
                <a:pos x="24" y="63"/>
              </a:cxn>
              <a:cxn ang="0">
                <a:pos x="23" y="61"/>
              </a:cxn>
              <a:cxn ang="0">
                <a:pos x="19" y="58"/>
              </a:cxn>
              <a:cxn ang="0">
                <a:pos x="20" y="49"/>
              </a:cxn>
              <a:cxn ang="0">
                <a:pos x="27" y="46"/>
              </a:cxn>
              <a:cxn ang="0">
                <a:pos x="17" y="43"/>
              </a:cxn>
              <a:cxn ang="0">
                <a:pos x="20" y="39"/>
              </a:cxn>
              <a:cxn ang="0">
                <a:pos x="28" y="39"/>
              </a:cxn>
              <a:cxn ang="0">
                <a:pos x="28" y="36"/>
              </a:cxn>
              <a:cxn ang="0">
                <a:pos x="23" y="33"/>
              </a:cxn>
              <a:cxn ang="0">
                <a:pos x="21" y="30"/>
              </a:cxn>
              <a:cxn ang="0">
                <a:pos x="21" y="24"/>
              </a:cxn>
              <a:cxn ang="0">
                <a:pos x="23" y="19"/>
              </a:cxn>
              <a:cxn ang="0">
                <a:pos x="16" y="14"/>
              </a:cxn>
              <a:cxn ang="0">
                <a:pos x="8" y="14"/>
              </a:cxn>
              <a:cxn ang="0">
                <a:pos x="3" y="16"/>
              </a:cxn>
              <a:cxn ang="0">
                <a:pos x="0" y="17"/>
              </a:cxn>
              <a:cxn ang="0">
                <a:pos x="8" y="6"/>
              </a:cxn>
              <a:cxn ang="0">
                <a:pos x="9" y="3"/>
              </a:cxn>
              <a:cxn ang="0">
                <a:pos x="15" y="0"/>
              </a:cxn>
            </a:cxnLst>
            <a:rect l="0" t="0" r="r" b="b"/>
            <a:pathLst>
              <a:path w="109" h="141">
                <a:moveTo>
                  <a:pt x="52" y="108"/>
                </a:moveTo>
                <a:lnTo>
                  <a:pt x="56" y="110"/>
                </a:lnTo>
                <a:lnTo>
                  <a:pt x="72" y="110"/>
                </a:lnTo>
                <a:lnTo>
                  <a:pt x="73" y="110"/>
                </a:lnTo>
                <a:lnTo>
                  <a:pt x="74" y="110"/>
                </a:lnTo>
                <a:lnTo>
                  <a:pt x="80" y="110"/>
                </a:lnTo>
                <a:lnTo>
                  <a:pt x="84" y="110"/>
                </a:lnTo>
                <a:lnTo>
                  <a:pt x="88" y="110"/>
                </a:lnTo>
                <a:lnTo>
                  <a:pt x="94" y="112"/>
                </a:lnTo>
                <a:lnTo>
                  <a:pt x="102" y="113"/>
                </a:lnTo>
                <a:lnTo>
                  <a:pt x="106" y="115"/>
                </a:lnTo>
                <a:lnTo>
                  <a:pt x="108" y="115"/>
                </a:lnTo>
                <a:lnTo>
                  <a:pt x="109" y="115"/>
                </a:lnTo>
                <a:lnTo>
                  <a:pt x="108" y="115"/>
                </a:lnTo>
                <a:lnTo>
                  <a:pt x="104" y="115"/>
                </a:lnTo>
                <a:lnTo>
                  <a:pt x="101" y="115"/>
                </a:lnTo>
                <a:lnTo>
                  <a:pt x="97" y="113"/>
                </a:lnTo>
                <a:lnTo>
                  <a:pt x="96" y="113"/>
                </a:lnTo>
                <a:lnTo>
                  <a:pt x="92" y="115"/>
                </a:lnTo>
                <a:lnTo>
                  <a:pt x="90" y="116"/>
                </a:lnTo>
                <a:lnTo>
                  <a:pt x="85" y="118"/>
                </a:lnTo>
                <a:lnTo>
                  <a:pt x="81" y="119"/>
                </a:lnTo>
                <a:lnTo>
                  <a:pt x="80" y="121"/>
                </a:lnTo>
                <a:lnTo>
                  <a:pt x="77" y="121"/>
                </a:lnTo>
                <a:lnTo>
                  <a:pt x="76" y="121"/>
                </a:lnTo>
                <a:lnTo>
                  <a:pt x="73" y="121"/>
                </a:lnTo>
                <a:lnTo>
                  <a:pt x="72" y="123"/>
                </a:lnTo>
                <a:lnTo>
                  <a:pt x="72" y="126"/>
                </a:lnTo>
                <a:lnTo>
                  <a:pt x="69" y="132"/>
                </a:lnTo>
                <a:lnTo>
                  <a:pt x="69" y="138"/>
                </a:lnTo>
                <a:lnTo>
                  <a:pt x="68" y="140"/>
                </a:lnTo>
                <a:lnTo>
                  <a:pt x="66" y="141"/>
                </a:lnTo>
                <a:lnTo>
                  <a:pt x="65" y="141"/>
                </a:lnTo>
                <a:lnTo>
                  <a:pt x="61" y="140"/>
                </a:lnTo>
                <a:lnTo>
                  <a:pt x="59" y="140"/>
                </a:lnTo>
                <a:lnTo>
                  <a:pt x="53" y="138"/>
                </a:lnTo>
                <a:lnTo>
                  <a:pt x="51" y="137"/>
                </a:lnTo>
                <a:lnTo>
                  <a:pt x="49" y="135"/>
                </a:lnTo>
                <a:lnTo>
                  <a:pt x="49" y="132"/>
                </a:lnTo>
                <a:lnTo>
                  <a:pt x="52" y="132"/>
                </a:lnTo>
                <a:lnTo>
                  <a:pt x="52" y="134"/>
                </a:lnTo>
                <a:lnTo>
                  <a:pt x="55" y="134"/>
                </a:lnTo>
                <a:lnTo>
                  <a:pt x="56" y="132"/>
                </a:lnTo>
                <a:lnTo>
                  <a:pt x="57" y="130"/>
                </a:lnTo>
                <a:lnTo>
                  <a:pt x="60" y="130"/>
                </a:lnTo>
                <a:lnTo>
                  <a:pt x="64" y="129"/>
                </a:lnTo>
                <a:lnTo>
                  <a:pt x="65" y="127"/>
                </a:lnTo>
                <a:lnTo>
                  <a:pt x="66" y="126"/>
                </a:lnTo>
                <a:lnTo>
                  <a:pt x="68" y="124"/>
                </a:lnTo>
                <a:lnTo>
                  <a:pt x="64" y="123"/>
                </a:lnTo>
                <a:lnTo>
                  <a:pt x="62" y="121"/>
                </a:lnTo>
                <a:lnTo>
                  <a:pt x="61" y="119"/>
                </a:lnTo>
                <a:lnTo>
                  <a:pt x="59" y="118"/>
                </a:lnTo>
                <a:lnTo>
                  <a:pt x="52" y="118"/>
                </a:lnTo>
                <a:lnTo>
                  <a:pt x="48" y="119"/>
                </a:lnTo>
                <a:lnTo>
                  <a:pt x="47" y="121"/>
                </a:lnTo>
                <a:lnTo>
                  <a:pt x="47" y="119"/>
                </a:lnTo>
                <a:lnTo>
                  <a:pt x="47" y="118"/>
                </a:lnTo>
                <a:lnTo>
                  <a:pt x="43" y="119"/>
                </a:lnTo>
                <a:lnTo>
                  <a:pt x="43" y="118"/>
                </a:lnTo>
                <a:lnTo>
                  <a:pt x="43" y="116"/>
                </a:lnTo>
                <a:lnTo>
                  <a:pt x="47" y="115"/>
                </a:lnTo>
                <a:lnTo>
                  <a:pt x="47" y="113"/>
                </a:lnTo>
                <a:lnTo>
                  <a:pt x="47" y="112"/>
                </a:lnTo>
                <a:lnTo>
                  <a:pt x="44" y="108"/>
                </a:lnTo>
                <a:lnTo>
                  <a:pt x="47" y="108"/>
                </a:lnTo>
                <a:lnTo>
                  <a:pt x="47" y="107"/>
                </a:lnTo>
                <a:lnTo>
                  <a:pt x="47" y="105"/>
                </a:lnTo>
                <a:lnTo>
                  <a:pt x="44" y="102"/>
                </a:lnTo>
                <a:lnTo>
                  <a:pt x="40" y="101"/>
                </a:lnTo>
                <a:lnTo>
                  <a:pt x="37" y="99"/>
                </a:lnTo>
                <a:lnTo>
                  <a:pt x="36" y="99"/>
                </a:lnTo>
                <a:lnTo>
                  <a:pt x="44" y="104"/>
                </a:lnTo>
                <a:lnTo>
                  <a:pt x="44" y="105"/>
                </a:lnTo>
                <a:lnTo>
                  <a:pt x="43" y="105"/>
                </a:lnTo>
                <a:lnTo>
                  <a:pt x="40" y="105"/>
                </a:lnTo>
                <a:lnTo>
                  <a:pt x="39" y="104"/>
                </a:lnTo>
                <a:lnTo>
                  <a:pt x="37" y="104"/>
                </a:lnTo>
                <a:lnTo>
                  <a:pt x="39" y="107"/>
                </a:lnTo>
                <a:lnTo>
                  <a:pt x="39" y="108"/>
                </a:lnTo>
                <a:lnTo>
                  <a:pt x="36" y="108"/>
                </a:lnTo>
                <a:lnTo>
                  <a:pt x="35" y="107"/>
                </a:lnTo>
                <a:lnTo>
                  <a:pt x="35" y="104"/>
                </a:lnTo>
                <a:lnTo>
                  <a:pt x="33" y="102"/>
                </a:lnTo>
                <a:lnTo>
                  <a:pt x="35" y="105"/>
                </a:lnTo>
                <a:lnTo>
                  <a:pt x="35" y="107"/>
                </a:lnTo>
                <a:lnTo>
                  <a:pt x="35" y="110"/>
                </a:lnTo>
                <a:lnTo>
                  <a:pt x="33" y="110"/>
                </a:lnTo>
                <a:lnTo>
                  <a:pt x="32" y="108"/>
                </a:lnTo>
                <a:lnTo>
                  <a:pt x="31" y="107"/>
                </a:lnTo>
                <a:lnTo>
                  <a:pt x="31" y="102"/>
                </a:lnTo>
                <a:lnTo>
                  <a:pt x="29" y="97"/>
                </a:lnTo>
                <a:lnTo>
                  <a:pt x="23" y="93"/>
                </a:lnTo>
                <a:lnTo>
                  <a:pt x="21" y="90"/>
                </a:lnTo>
                <a:lnTo>
                  <a:pt x="23" y="90"/>
                </a:lnTo>
                <a:lnTo>
                  <a:pt x="25" y="90"/>
                </a:lnTo>
                <a:lnTo>
                  <a:pt x="28" y="88"/>
                </a:lnTo>
                <a:lnTo>
                  <a:pt x="28" y="87"/>
                </a:lnTo>
                <a:lnTo>
                  <a:pt x="27" y="85"/>
                </a:lnTo>
                <a:lnTo>
                  <a:pt x="27" y="87"/>
                </a:lnTo>
                <a:lnTo>
                  <a:pt x="24" y="87"/>
                </a:lnTo>
                <a:lnTo>
                  <a:pt x="23" y="85"/>
                </a:lnTo>
                <a:lnTo>
                  <a:pt x="21" y="83"/>
                </a:lnTo>
                <a:lnTo>
                  <a:pt x="23" y="82"/>
                </a:lnTo>
                <a:lnTo>
                  <a:pt x="25" y="83"/>
                </a:lnTo>
                <a:lnTo>
                  <a:pt x="25" y="82"/>
                </a:lnTo>
                <a:lnTo>
                  <a:pt x="24" y="80"/>
                </a:lnTo>
                <a:lnTo>
                  <a:pt x="20" y="80"/>
                </a:lnTo>
                <a:lnTo>
                  <a:pt x="19" y="80"/>
                </a:lnTo>
                <a:lnTo>
                  <a:pt x="16" y="79"/>
                </a:lnTo>
                <a:lnTo>
                  <a:pt x="15" y="76"/>
                </a:lnTo>
                <a:lnTo>
                  <a:pt x="19" y="72"/>
                </a:lnTo>
                <a:lnTo>
                  <a:pt x="19" y="69"/>
                </a:lnTo>
                <a:lnTo>
                  <a:pt x="20" y="69"/>
                </a:lnTo>
                <a:lnTo>
                  <a:pt x="20" y="68"/>
                </a:lnTo>
                <a:lnTo>
                  <a:pt x="24" y="66"/>
                </a:lnTo>
                <a:lnTo>
                  <a:pt x="25" y="66"/>
                </a:lnTo>
                <a:lnTo>
                  <a:pt x="27" y="66"/>
                </a:lnTo>
                <a:lnTo>
                  <a:pt x="25" y="65"/>
                </a:lnTo>
                <a:lnTo>
                  <a:pt x="24" y="63"/>
                </a:lnTo>
                <a:lnTo>
                  <a:pt x="27" y="57"/>
                </a:lnTo>
                <a:lnTo>
                  <a:pt x="25" y="58"/>
                </a:lnTo>
                <a:lnTo>
                  <a:pt x="23" y="60"/>
                </a:lnTo>
                <a:lnTo>
                  <a:pt x="23" y="61"/>
                </a:lnTo>
                <a:lnTo>
                  <a:pt x="21" y="63"/>
                </a:lnTo>
                <a:lnTo>
                  <a:pt x="20" y="63"/>
                </a:lnTo>
                <a:lnTo>
                  <a:pt x="20" y="61"/>
                </a:lnTo>
                <a:lnTo>
                  <a:pt x="19" y="58"/>
                </a:lnTo>
                <a:lnTo>
                  <a:pt x="19" y="52"/>
                </a:lnTo>
                <a:lnTo>
                  <a:pt x="20" y="50"/>
                </a:lnTo>
                <a:lnTo>
                  <a:pt x="21" y="50"/>
                </a:lnTo>
                <a:lnTo>
                  <a:pt x="20" y="49"/>
                </a:lnTo>
                <a:lnTo>
                  <a:pt x="20" y="47"/>
                </a:lnTo>
                <a:lnTo>
                  <a:pt x="24" y="46"/>
                </a:lnTo>
                <a:lnTo>
                  <a:pt x="27" y="49"/>
                </a:lnTo>
                <a:lnTo>
                  <a:pt x="27" y="46"/>
                </a:lnTo>
                <a:lnTo>
                  <a:pt x="25" y="44"/>
                </a:lnTo>
                <a:lnTo>
                  <a:pt x="24" y="44"/>
                </a:lnTo>
                <a:lnTo>
                  <a:pt x="19" y="46"/>
                </a:lnTo>
                <a:lnTo>
                  <a:pt x="17" y="43"/>
                </a:lnTo>
                <a:lnTo>
                  <a:pt x="16" y="41"/>
                </a:lnTo>
                <a:lnTo>
                  <a:pt x="16" y="36"/>
                </a:lnTo>
                <a:lnTo>
                  <a:pt x="19" y="38"/>
                </a:lnTo>
                <a:lnTo>
                  <a:pt x="20" y="39"/>
                </a:lnTo>
                <a:lnTo>
                  <a:pt x="21" y="41"/>
                </a:lnTo>
                <a:lnTo>
                  <a:pt x="20" y="38"/>
                </a:lnTo>
                <a:lnTo>
                  <a:pt x="21" y="38"/>
                </a:lnTo>
                <a:lnTo>
                  <a:pt x="28" y="39"/>
                </a:lnTo>
                <a:lnTo>
                  <a:pt x="32" y="41"/>
                </a:lnTo>
                <a:lnTo>
                  <a:pt x="33" y="41"/>
                </a:lnTo>
                <a:lnTo>
                  <a:pt x="31" y="39"/>
                </a:lnTo>
                <a:lnTo>
                  <a:pt x="28" y="36"/>
                </a:lnTo>
                <a:lnTo>
                  <a:pt x="28" y="33"/>
                </a:lnTo>
                <a:lnTo>
                  <a:pt x="27" y="32"/>
                </a:lnTo>
                <a:lnTo>
                  <a:pt x="25" y="33"/>
                </a:lnTo>
                <a:lnTo>
                  <a:pt x="23" y="33"/>
                </a:lnTo>
                <a:lnTo>
                  <a:pt x="21" y="33"/>
                </a:lnTo>
                <a:lnTo>
                  <a:pt x="21" y="32"/>
                </a:lnTo>
                <a:lnTo>
                  <a:pt x="23" y="30"/>
                </a:lnTo>
                <a:lnTo>
                  <a:pt x="21" y="30"/>
                </a:lnTo>
                <a:lnTo>
                  <a:pt x="17" y="28"/>
                </a:lnTo>
                <a:lnTo>
                  <a:pt x="16" y="27"/>
                </a:lnTo>
                <a:lnTo>
                  <a:pt x="19" y="25"/>
                </a:lnTo>
                <a:lnTo>
                  <a:pt x="21" y="24"/>
                </a:lnTo>
                <a:lnTo>
                  <a:pt x="23" y="24"/>
                </a:lnTo>
                <a:lnTo>
                  <a:pt x="21" y="22"/>
                </a:lnTo>
                <a:lnTo>
                  <a:pt x="24" y="19"/>
                </a:lnTo>
                <a:lnTo>
                  <a:pt x="23" y="19"/>
                </a:lnTo>
                <a:lnTo>
                  <a:pt x="23" y="17"/>
                </a:lnTo>
                <a:lnTo>
                  <a:pt x="20" y="16"/>
                </a:lnTo>
                <a:lnTo>
                  <a:pt x="19" y="14"/>
                </a:lnTo>
                <a:lnTo>
                  <a:pt x="16" y="14"/>
                </a:lnTo>
                <a:lnTo>
                  <a:pt x="15" y="16"/>
                </a:lnTo>
                <a:lnTo>
                  <a:pt x="13" y="17"/>
                </a:lnTo>
                <a:lnTo>
                  <a:pt x="9" y="16"/>
                </a:lnTo>
                <a:lnTo>
                  <a:pt x="8" y="14"/>
                </a:lnTo>
                <a:lnTo>
                  <a:pt x="7" y="13"/>
                </a:lnTo>
                <a:lnTo>
                  <a:pt x="4" y="14"/>
                </a:lnTo>
                <a:lnTo>
                  <a:pt x="3" y="14"/>
                </a:lnTo>
                <a:lnTo>
                  <a:pt x="3" y="16"/>
                </a:lnTo>
                <a:lnTo>
                  <a:pt x="4" y="17"/>
                </a:lnTo>
                <a:lnTo>
                  <a:pt x="3" y="19"/>
                </a:lnTo>
                <a:lnTo>
                  <a:pt x="0" y="19"/>
                </a:lnTo>
                <a:lnTo>
                  <a:pt x="0" y="17"/>
                </a:lnTo>
                <a:lnTo>
                  <a:pt x="1" y="13"/>
                </a:lnTo>
                <a:lnTo>
                  <a:pt x="3" y="11"/>
                </a:lnTo>
                <a:lnTo>
                  <a:pt x="5" y="10"/>
                </a:lnTo>
                <a:lnTo>
                  <a:pt x="8" y="6"/>
                </a:lnTo>
                <a:lnTo>
                  <a:pt x="9" y="6"/>
                </a:lnTo>
                <a:lnTo>
                  <a:pt x="12" y="6"/>
                </a:lnTo>
                <a:lnTo>
                  <a:pt x="12" y="3"/>
                </a:lnTo>
                <a:lnTo>
                  <a:pt x="9" y="3"/>
                </a:lnTo>
                <a:lnTo>
                  <a:pt x="8" y="2"/>
                </a:lnTo>
                <a:lnTo>
                  <a:pt x="8" y="0"/>
                </a:lnTo>
                <a:lnTo>
                  <a:pt x="13" y="0"/>
                </a:lnTo>
                <a:lnTo>
                  <a:pt x="15" y="0"/>
                </a:lnTo>
                <a:lnTo>
                  <a:pt x="16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76" name="Freeform 1303"/>
          <p:cNvSpPr>
            <a:spLocks/>
          </p:cNvSpPr>
          <p:nvPr/>
        </p:nvSpPr>
        <p:spPr bwMode="auto">
          <a:xfrm>
            <a:off x="3645710" y="4964918"/>
            <a:ext cx="25335" cy="133151"/>
          </a:xfrm>
          <a:custGeom>
            <a:avLst/>
            <a:gdLst/>
            <a:ahLst/>
            <a:cxnLst>
              <a:cxn ang="0">
                <a:pos x="5" y="68"/>
              </a:cxn>
              <a:cxn ang="0">
                <a:pos x="4" y="60"/>
              </a:cxn>
              <a:cxn ang="0">
                <a:pos x="4" y="44"/>
              </a:cxn>
              <a:cxn ang="0">
                <a:pos x="4" y="41"/>
              </a:cxn>
              <a:cxn ang="0">
                <a:pos x="2" y="38"/>
              </a:cxn>
              <a:cxn ang="0">
                <a:pos x="2" y="28"/>
              </a:cxn>
              <a:cxn ang="0">
                <a:pos x="1" y="17"/>
              </a:cxn>
              <a:cxn ang="0">
                <a:pos x="0" y="11"/>
              </a:cxn>
              <a:cxn ang="0">
                <a:pos x="2" y="9"/>
              </a:cxn>
              <a:cxn ang="0">
                <a:pos x="8" y="8"/>
              </a:cxn>
              <a:cxn ang="0">
                <a:pos x="9" y="8"/>
              </a:cxn>
              <a:cxn ang="0">
                <a:pos x="10" y="5"/>
              </a:cxn>
              <a:cxn ang="0">
                <a:pos x="12" y="2"/>
              </a:cxn>
              <a:cxn ang="0">
                <a:pos x="13" y="0"/>
              </a:cxn>
            </a:cxnLst>
            <a:rect l="0" t="0" r="r" b="b"/>
            <a:pathLst>
              <a:path w="13" h="68">
                <a:moveTo>
                  <a:pt x="5" y="68"/>
                </a:moveTo>
                <a:lnTo>
                  <a:pt x="4" y="60"/>
                </a:lnTo>
                <a:lnTo>
                  <a:pt x="4" y="44"/>
                </a:lnTo>
                <a:lnTo>
                  <a:pt x="4" y="41"/>
                </a:lnTo>
                <a:lnTo>
                  <a:pt x="2" y="38"/>
                </a:lnTo>
                <a:lnTo>
                  <a:pt x="2" y="28"/>
                </a:lnTo>
                <a:lnTo>
                  <a:pt x="1" y="17"/>
                </a:lnTo>
                <a:lnTo>
                  <a:pt x="0" y="11"/>
                </a:lnTo>
                <a:lnTo>
                  <a:pt x="2" y="9"/>
                </a:lnTo>
                <a:lnTo>
                  <a:pt x="8" y="8"/>
                </a:lnTo>
                <a:lnTo>
                  <a:pt x="9" y="8"/>
                </a:lnTo>
                <a:lnTo>
                  <a:pt x="10" y="5"/>
                </a:lnTo>
                <a:lnTo>
                  <a:pt x="12" y="2"/>
                </a:lnTo>
                <a:lnTo>
                  <a:pt x="13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77" name="Freeform 1304"/>
          <p:cNvSpPr>
            <a:spLocks/>
          </p:cNvSpPr>
          <p:nvPr/>
        </p:nvSpPr>
        <p:spPr bwMode="auto">
          <a:xfrm>
            <a:off x="3618426" y="6193350"/>
            <a:ext cx="81851" cy="92348"/>
          </a:xfrm>
          <a:custGeom>
            <a:avLst/>
            <a:gdLst/>
            <a:ahLst/>
            <a:cxnLst>
              <a:cxn ang="0">
                <a:pos x="40" y="44"/>
              </a:cxn>
              <a:cxn ang="0">
                <a:pos x="36" y="46"/>
              </a:cxn>
              <a:cxn ang="0">
                <a:pos x="28" y="43"/>
              </a:cxn>
              <a:cxn ang="0">
                <a:pos x="22" y="44"/>
              </a:cxn>
              <a:cxn ang="0">
                <a:pos x="12" y="43"/>
              </a:cxn>
              <a:cxn ang="0">
                <a:pos x="8" y="43"/>
              </a:cxn>
              <a:cxn ang="0">
                <a:pos x="10" y="41"/>
              </a:cxn>
              <a:cxn ang="0">
                <a:pos x="8" y="41"/>
              </a:cxn>
              <a:cxn ang="0">
                <a:pos x="6" y="40"/>
              </a:cxn>
              <a:cxn ang="0">
                <a:pos x="2" y="40"/>
              </a:cxn>
              <a:cxn ang="0">
                <a:pos x="0" y="36"/>
              </a:cxn>
              <a:cxn ang="0">
                <a:pos x="6" y="35"/>
              </a:cxn>
              <a:cxn ang="0">
                <a:pos x="10" y="35"/>
              </a:cxn>
              <a:cxn ang="0">
                <a:pos x="10" y="33"/>
              </a:cxn>
              <a:cxn ang="0">
                <a:pos x="7" y="30"/>
              </a:cxn>
              <a:cxn ang="0">
                <a:pos x="18" y="35"/>
              </a:cxn>
              <a:cxn ang="0">
                <a:pos x="19" y="35"/>
              </a:cxn>
              <a:cxn ang="0">
                <a:pos x="19" y="35"/>
              </a:cxn>
              <a:cxn ang="0">
                <a:pos x="20" y="33"/>
              </a:cxn>
              <a:cxn ang="0">
                <a:pos x="24" y="33"/>
              </a:cxn>
              <a:cxn ang="0">
                <a:pos x="28" y="35"/>
              </a:cxn>
              <a:cxn ang="0">
                <a:pos x="31" y="33"/>
              </a:cxn>
              <a:cxn ang="0">
                <a:pos x="20" y="30"/>
              </a:cxn>
              <a:cxn ang="0">
                <a:pos x="20" y="22"/>
              </a:cxn>
              <a:cxn ang="0">
                <a:pos x="24" y="22"/>
              </a:cxn>
              <a:cxn ang="0">
                <a:pos x="32" y="18"/>
              </a:cxn>
              <a:cxn ang="0">
                <a:pos x="28" y="16"/>
              </a:cxn>
              <a:cxn ang="0">
                <a:pos x="19" y="18"/>
              </a:cxn>
              <a:cxn ang="0">
                <a:pos x="15" y="14"/>
              </a:cxn>
              <a:cxn ang="0">
                <a:pos x="15" y="10"/>
              </a:cxn>
              <a:cxn ang="0">
                <a:pos x="18" y="11"/>
              </a:cxn>
              <a:cxn ang="0">
                <a:pos x="20" y="10"/>
              </a:cxn>
              <a:cxn ang="0">
                <a:pos x="18" y="7"/>
              </a:cxn>
              <a:cxn ang="0">
                <a:pos x="19" y="5"/>
              </a:cxn>
              <a:cxn ang="0">
                <a:pos x="23" y="7"/>
              </a:cxn>
              <a:cxn ang="0">
                <a:pos x="27" y="2"/>
              </a:cxn>
              <a:cxn ang="0">
                <a:pos x="32" y="3"/>
              </a:cxn>
              <a:cxn ang="0">
                <a:pos x="38" y="3"/>
              </a:cxn>
              <a:cxn ang="0">
                <a:pos x="42" y="3"/>
              </a:cxn>
              <a:cxn ang="0">
                <a:pos x="43" y="44"/>
              </a:cxn>
            </a:cxnLst>
            <a:rect l="0" t="0" r="r" b="b"/>
            <a:pathLst>
              <a:path w="43" h="46">
                <a:moveTo>
                  <a:pt x="43" y="44"/>
                </a:moveTo>
                <a:lnTo>
                  <a:pt x="40" y="44"/>
                </a:lnTo>
                <a:lnTo>
                  <a:pt x="38" y="44"/>
                </a:lnTo>
                <a:lnTo>
                  <a:pt x="36" y="46"/>
                </a:lnTo>
                <a:lnTo>
                  <a:pt x="32" y="44"/>
                </a:lnTo>
                <a:lnTo>
                  <a:pt x="28" y="43"/>
                </a:lnTo>
                <a:lnTo>
                  <a:pt x="22" y="43"/>
                </a:lnTo>
                <a:lnTo>
                  <a:pt x="22" y="44"/>
                </a:lnTo>
                <a:lnTo>
                  <a:pt x="18" y="44"/>
                </a:lnTo>
                <a:lnTo>
                  <a:pt x="12" y="43"/>
                </a:lnTo>
                <a:lnTo>
                  <a:pt x="11" y="43"/>
                </a:lnTo>
                <a:lnTo>
                  <a:pt x="8" y="43"/>
                </a:lnTo>
                <a:lnTo>
                  <a:pt x="10" y="43"/>
                </a:lnTo>
                <a:lnTo>
                  <a:pt x="10" y="41"/>
                </a:lnTo>
                <a:lnTo>
                  <a:pt x="7" y="41"/>
                </a:lnTo>
                <a:lnTo>
                  <a:pt x="8" y="41"/>
                </a:lnTo>
                <a:lnTo>
                  <a:pt x="10" y="40"/>
                </a:lnTo>
                <a:lnTo>
                  <a:pt x="6" y="40"/>
                </a:lnTo>
                <a:lnTo>
                  <a:pt x="4" y="40"/>
                </a:lnTo>
                <a:lnTo>
                  <a:pt x="2" y="40"/>
                </a:lnTo>
                <a:lnTo>
                  <a:pt x="2" y="38"/>
                </a:lnTo>
                <a:lnTo>
                  <a:pt x="0" y="36"/>
                </a:lnTo>
                <a:lnTo>
                  <a:pt x="6" y="36"/>
                </a:lnTo>
                <a:lnTo>
                  <a:pt x="6" y="35"/>
                </a:lnTo>
                <a:lnTo>
                  <a:pt x="8" y="35"/>
                </a:lnTo>
                <a:lnTo>
                  <a:pt x="10" y="35"/>
                </a:lnTo>
                <a:lnTo>
                  <a:pt x="11" y="35"/>
                </a:lnTo>
                <a:lnTo>
                  <a:pt x="10" y="33"/>
                </a:lnTo>
                <a:lnTo>
                  <a:pt x="7" y="32"/>
                </a:lnTo>
                <a:lnTo>
                  <a:pt x="7" y="30"/>
                </a:lnTo>
                <a:lnTo>
                  <a:pt x="11" y="33"/>
                </a:lnTo>
                <a:lnTo>
                  <a:pt x="18" y="35"/>
                </a:lnTo>
                <a:lnTo>
                  <a:pt x="19" y="36"/>
                </a:lnTo>
                <a:lnTo>
                  <a:pt x="19" y="35"/>
                </a:lnTo>
                <a:lnTo>
                  <a:pt x="22" y="35"/>
                </a:lnTo>
                <a:lnTo>
                  <a:pt x="19" y="35"/>
                </a:lnTo>
                <a:lnTo>
                  <a:pt x="18" y="33"/>
                </a:lnTo>
                <a:lnTo>
                  <a:pt x="20" y="33"/>
                </a:lnTo>
                <a:lnTo>
                  <a:pt x="23" y="35"/>
                </a:lnTo>
                <a:lnTo>
                  <a:pt x="24" y="33"/>
                </a:lnTo>
                <a:lnTo>
                  <a:pt x="26" y="33"/>
                </a:lnTo>
                <a:lnTo>
                  <a:pt x="28" y="35"/>
                </a:lnTo>
                <a:lnTo>
                  <a:pt x="31" y="35"/>
                </a:lnTo>
                <a:lnTo>
                  <a:pt x="31" y="33"/>
                </a:lnTo>
                <a:lnTo>
                  <a:pt x="22" y="30"/>
                </a:lnTo>
                <a:lnTo>
                  <a:pt x="20" y="30"/>
                </a:lnTo>
                <a:lnTo>
                  <a:pt x="19" y="24"/>
                </a:lnTo>
                <a:lnTo>
                  <a:pt x="20" y="22"/>
                </a:lnTo>
                <a:lnTo>
                  <a:pt x="23" y="22"/>
                </a:lnTo>
                <a:lnTo>
                  <a:pt x="24" y="22"/>
                </a:lnTo>
                <a:lnTo>
                  <a:pt x="31" y="21"/>
                </a:lnTo>
                <a:lnTo>
                  <a:pt x="32" y="18"/>
                </a:lnTo>
                <a:lnTo>
                  <a:pt x="31" y="16"/>
                </a:lnTo>
                <a:lnTo>
                  <a:pt x="28" y="16"/>
                </a:lnTo>
                <a:lnTo>
                  <a:pt x="26" y="16"/>
                </a:lnTo>
                <a:lnTo>
                  <a:pt x="19" y="18"/>
                </a:lnTo>
                <a:lnTo>
                  <a:pt x="15" y="16"/>
                </a:lnTo>
                <a:lnTo>
                  <a:pt x="15" y="14"/>
                </a:lnTo>
                <a:lnTo>
                  <a:pt x="15" y="13"/>
                </a:lnTo>
                <a:lnTo>
                  <a:pt x="15" y="10"/>
                </a:lnTo>
                <a:lnTo>
                  <a:pt x="16" y="10"/>
                </a:lnTo>
                <a:lnTo>
                  <a:pt x="18" y="11"/>
                </a:lnTo>
                <a:lnTo>
                  <a:pt x="19" y="11"/>
                </a:lnTo>
                <a:lnTo>
                  <a:pt x="20" y="10"/>
                </a:lnTo>
                <a:lnTo>
                  <a:pt x="19" y="8"/>
                </a:lnTo>
                <a:lnTo>
                  <a:pt x="18" y="7"/>
                </a:lnTo>
                <a:lnTo>
                  <a:pt x="15" y="7"/>
                </a:lnTo>
                <a:lnTo>
                  <a:pt x="19" y="5"/>
                </a:lnTo>
                <a:lnTo>
                  <a:pt x="22" y="7"/>
                </a:lnTo>
                <a:lnTo>
                  <a:pt x="23" y="7"/>
                </a:lnTo>
                <a:lnTo>
                  <a:pt x="26" y="5"/>
                </a:lnTo>
                <a:lnTo>
                  <a:pt x="27" y="2"/>
                </a:lnTo>
                <a:lnTo>
                  <a:pt x="31" y="0"/>
                </a:lnTo>
                <a:lnTo>
                  <a:pt x="32" y="3"/>
                </a:lnTo>
                <a:lnTo>
                  <a:pt x="35" y="3"/>
                </a:lnTo>
                <a:lnTo>
                  <a:pt x="38" y="3"/>
                </a:lnTo>
                <a:lnTo>
                  <a:pt x="40" y="2"/>
                </a:lnTo>
                <a:lnTo>
                  <a:pt x="42" y="3"/>
                </a:lnTo>
                <a:lnTo>
                  <a:pt x="43" y="41"/>
                </a:lnTo>
                <a:lnTo>
                  <a:pt x="43" y="44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78" name="Freeform 1305"/>
          <p:cNvSpPr>
            <a:spLocks/>
          </p:cNvSpPr>
          <p:nvPr/>
        </p:nvSpPr>
        <p:spPr bwMode="auto">
          <a:xfrm>
            <a:off x="3618426" y="6193350"/>
            <a:ext cx="81851" cy="92348"/>
          </a:xfrm>
          <a:custGeom>
            <a:avLst/>
            <a:gdLst/>
            <a:ahLst/>
            <a:cxnLst>
              <a:cxn ang="0">
                <a:pos x="40" y="44"/>
              </a:cxn>
              <a:cxn ang="0">
                <a:pos x="36" y="46"/>
              </a:cxn>
              <a:cxn ang="0">
                <a:pos x="28" y="43"/>
              </a:cxn>
              <a:cxn ang="0">
                <a:pos x="22" y="44"/>
              </a:cxn>
              <a:cxn ang="0">
                <a:pos x="12" y="43"/>
              </a:cxn>
              <a:cxn ang="0">
                <a:pos x="8" y="43"/>
              </a:cxn>
              <a:cxn ang="0">
                <a:pos x="10" y="41"/>
              </a:cxn>
              <a:cxn ang="0">
                <a:pos x="8" y="41"/>
              </a:cxn>
              <a:cxn ang="0">
                <a:pos x="6" y="40"/>
              </a:cxn>
              <a:cxn ang="0">
                <a:pos x="2" y="40"/>
              </a:cxn>
              <a:cxn ang="0">
                <a:pos x="0" y="36"/>
              </a:cxn>
              <a:cxn ang="0">
                <a:pos x="6" y="35"/>
              </a:cxn>
              <a:cxn ang="0">
                <a:pos x="10" y="35"/>
              </a:cxn>
              <a:cxn ang="0">
                <a:pos x="10" y="33"/>
              </a:cxn>
              <a:cxn ang="0">
                <a:pos x="7" y="30"/>
              </a:cxn>
              <a:cxn ang="0">
                <a:pos x="18" y="35"/>
              </a:cxn>
              <a:cxn ang="0">
                <a:pos x="19" y="35"/>
              </a:cxn>
              <a:cxn ang="0">
                <a:pos x="19" y="35"/>
              </a:cxn>
              <a:cxn ang="0">
                <a:pos x="20" y="33"/>
              </a:cxn>
              <a:cxn ang="0">
                <a:pos x="24" y="33"/>
              </a:cxn>
              <a:cxn ang="0">
                <a:pos x="28" y="35"/>
              </a:cxn>
              <a:cxn ang="0">
                <a:pos x="31" y="33"/>
              </a:cxn>
              <a:cxn ang="0">
                <a:pos x="20" y="30"/>
              </a:cxn>
              <a:cxn ang="0">
                <a:pos x="20" y="22"/>
              </a:cxn>
              <a:cxn ang="0">
                <a:pos x="24" y="22"/>
              </a:cxn>
              <a:cxn ang="0">
                <a:pos x="32" y="18"/>
              </a:cxn>
              <a:cxn ang="0">
                <a:pos x="28" y="16"/>
              </a:cxn>
              <a:cxn ang="0">
                <a:pos x="19" y="18"/>
              </a:cxn>
              <a:cxn ang="0">
                <a:pos x="15" y="14"/>
              </a:cxn>
              <a:cxn ang="0">
                <a:pos x="15" y="10"/>
              </a:cxn>
              <a:cxn ang="0">
                <a:pos x="18" y="11"/>
              </a:cxn>
              <a:cxn ang="0">
                <a:pos x="20" y="10"/>
              </a:cxn>
              <a:cxn ang="0">
                <a:pos x="18" y="7"/>
              </a:cxn>
              <a:cxn ang="0">
                <a:pos x="19" y="5"/>
              </a:cxn>
              <a:cxn ang="0">
                <a:pos x="23" y="7"/>
              </a:cxn>
              <a:cxn ang="0">
                <a:pos x="27" y="2"/>
              </a:cxn>
              <a:cxn ang="0">
                <a:pos x="32" y="3"/>
              </a:cxn>
              <a:cxn ang="0">
                <a:pos x="38" y="3"/>
              </a:cxn>
              <a:cxn ang="0">
                <a:pos x="42" y="3"/>
              </a:cxn>
              <a:cxn ang="0">
                <a:pos x="43" y="44"/>
              </a:cxn>
            </a:cxnLst>
            <a:rect l="0" t="0" r="r" b="b"/>
            <a:pathLst>
              <a:path w="43" h="46">
                <a:moveTo>
                  <a:pt x="43" y="44"/>
                </a:moveTo>
                <a:lnTo>
                  <a:pt x="40" y="44"/>
                </a:lnTo>
                <a:lnTo>
                  <a:pt x="38" y="44"/>
                </a:lnTo>
                <a:lnTo>
                  <a:pt x="36" y="46"/>
                </a:lnTo>
                <a:lnTo>
                  <a:pt x="32" y="44"/>
                </a:lnTo>
                <a:lnTo>
                  <a:pt x="28" y="43"/>
                </a:lnTo>
                <a:lnTo>
                  <a:pt x="22" y="43"/>
                </a:lnTo>
                <a:lnTo>
                  <a:pt x="22" y="44"/>
                </a:lnTo>
                <a:lnTo>
                  <a:pt x="18" y="44"/>
                </a:lnTo>
                <a:lnTo>
                  <a:pt x="12" y="43"/>
                </a:lnTo>
                <a:lnTo>
                  <a:pt x="11" y="43"/>
                </a:lnTo>
                <a:lnTo>
                  <a:pt x="8" y="43"/>
                </a:lnTo>
                <a:lnTo>
                  <a:pt x="10" y="43"/>
                </a:lnTo>
                <a:lnTo>
                  <a:pt x="10" y="41"/>
                </a:lnTo>
                <a:lnTo>
                  <a:pt x="7" y="41"/>
                </a:lnTo>
                <a:lnTo>
                  <a:pt x="8" y="41"/>
                </a:lnTo>
                <a:lnTo>
                  <a:pt x="10" y="40"/>
                </a:lnTo>
                <a:lnTo>
                  <a:pt x="6" y="40"/>
                </a:lnTo>
                <a:lnTo>
                  <a:pt x="4" y="40"/>
                </a:lnTo>
                <a:lnTo>
                  <a:pt x="2" y="40"/>
                </a:lnTo>
                <a:lnTo>
                  <a:pt x="2" y="38"/>
                </a:lnTo>
                <a:lnTo>
                  <a:pt x="0" y="36"/>
                </a:lnTo>
                <a:lnTo>
                  <a:pt x="6" y="36"/>
                </a:lnTo>
                <a:lnTo>
                  <a:pt x="6" y="35"/>
                </a:lnTo>
                <a:lnTo>
                  <a:pt x="8" y="35"/>
                </a:lnTo>
                <a:lnTo>
                  <a:pt x="10" y="35"/>
                </a:lnTo>
                <a:lnTo>
                  <a:pt x="11" y="35"/>
                </a:lnTo>
                <a:lnTo>
                  <a:pt x="10" y="33"/>
                </a:lnTo>
                <a:lnTo>
                  <a:pt x="7" y="32"/>
                </a:lnTo>
                <a:lnTo>
                  <a:pt x="7" y="30"/>
                </a:lnTo>
                <a:lnTo>
                  <a:pt x="11" y="33"/>
                </a:lnTo>
                <a:lnTo>
                  <a:pt x="18" y="35"/>
                </a:lnTo>
                <a:lnTo>
                  <a:pt x="19" y="36"/>
                </a:lnTo>
                <a:lnTo>
                  <a:pt x="19" y="35"/>
                </a:lnTo>
                <a:lnTo>
                  <a:pt x="22" y="35"/>
                </a:lnTo>
                <a:lnTo>
                  <a:pt x="19" y="35"/>
                </a:lnTo>
                <a:lnTo>
                  <a:pt x="18" y="33"/>
                </a:lnTo>
                <a:lnTo>
                  <a:pt x="20" y="33"/>
                </a:lnTo>
                <a:lnTo>
                  <a:pt x="23" y="35"/>
                </a:lnTo>
                <a:lnTo>
                  <a:pt x="24" y="33"/>
                </a:lnTo>
                <a:lnTo>
                  <a:pt x="26" y="33"/>
                </a:lnTo>
                <a:lnTo>
                  <a:pt x="28" y="35"/>
                </a:lnTo>
                <a:lnTo>
                  <a:pt x="31" y="35"/>
                </a:lnTo>
                <a:lnTo>
                  <a:pt x="31" y="33"/>
                </a:lnTo>
                <a:lnTo>
                  <a:pt x="22" y="30"/>
                </a:lnTo>
                <a:lnTo>
                  <a:pt x="20" y="30"/>
                </a:lnTo>
                <a:lnTo>
                  <a:pt x="19" y="24"/>
                </a:lnTo>
                <a:lnTo>
                  <a:pt x="20" y="22"/>
                </a:lnTo>
                <a:lnTo>
                  <a:pt x="23" y="22"/>
                </a:lnTo>
                <a:lnTo>
                  <a:pt x="24" y="22"/>
                </a:lnTo>
                <a:lnTo>
                  <a:pt x="31" y="21"/>
                </a:lnTo>
                <a:lnTo>
                  <a:pt x="32" y="18"/>
                </a:lnTo>
                <a:lnTo>
                  <a:pt x="31" y="16"/>
                </a:lnTo>
                <a:lnTo>
                  <a:pt x="28" y="16"/>
                </a:lnTo>
                <a:lnTo>
                  <a:pt x="26" y="16"/>
                </a:lnTo>
                <a:lnTo>
                  <a:pt x="19" y="18"/>
                </a:lnTo>
                <a:lnTo>
                  <a:pt x="15" y="16"/>
                </a:lnTo>
                <a:lnTo>
                  <a:pt x="15" y="14"/>
                </a:lnTo>
                <a:lnTo>
                  <a:pt x="15" y="13"/>
                </a:lnTo>
                <a:lnTo>
                  <a:pt x="15" y="10"/>
                </a:lnTo>
                <a:lnTo>
                  <a:pt x="16" y="10"/>
                </a:lnTo>
                <a:lnTo>
                  <a:pt x="18" y="11"/>
                </a:lnTo>
                <a:lnTo>
                  <a:pt x="19" y="11"/>
                </a:lnTo>
                <a:lnTo>
                  <a:pt x="20" y="10"/>
                </a:lnTo>
                <a:lnTo>
                  <a:pt x="19" y="8"/>
                </a:lnTo>
                <a:lnTo>
                  <a:pt x="18" y="7"/>
                </a:lnTo>
                <a:lnTo>
                  <a:pt x="15" y="7"/>
                </a:lnTo>
                <a:lnTo>
                  <a:pt x="19" y="5"/>
                </a:lnTo>
                <a:lnTo>
                  <a:pt x="22" y="7"/>
                </a:lnTo>
                <a:lnTo>
                  <a:pt x="23" y="7"/>
                </a:lnTo>
                <a:lnTo>
                  <a:pt x="26" y="5"/>
                </a:lnTo>
                <a:lnTo>
                  <a:pt x="27" y="2"/>
                </a:lnTo>
                <a:lnTo>
                  <a:pt x="31" y="0"/>
                </a:lnTo>
                <a:lnTo>
                  <a:pt x="32" y="3"/>
                </a:lnTo>
                <a:lnTo>
                  <a:pt x="35" y="3"/>
                </a:lnTo>
                <a:lnTo>
                  <a:pt x="38" y="3"/>
                </a:lnTo>
                <a:lnTo>
                  <a:pt x="40" y="2"/>
                </a:lnTo>
                <a:lnTo>
                  <a:pt x="42" y="3"/>
                </a:lnTo>
                <a:lnTo>
                  <a:pt x="43" y="41"/>
                </a:lnTo>
                <a:lnTo>
                  <a:pt x="43" y="44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79" name="Freeform 1306"/>
          <p:cNvSpPr>
            <a:spLocks/>
          </p:cNvSpPr>
          <p:nvPr/>
        </p:nvSpPr>
        <p:spPr bwMode="auto">
          <a:xfrm>
            <a:off x="6262969" y="1874511"/>
            <a:ext cx="313759" cy="358650"/>
          </a:xfrm>
          <a:custGeom>
            <a:avLst/>
            <a:gdLst/>
            <a:ahLst/>
            <a:cxnLst>
              <a:cxn ang="0">
                <a:pos x="22" y="27"/>
              </a:cxn>
              <a:cxn ang="0">
                <a:pos x="47" y="38"/>
              </a:cxn>
              <a:cxn ang="0">
                <a:pos x="46" y="46"/>
              </a:cxn>
              <a:cxn ang="0">
                <a:pos x="46" y="54"/>
              </a:cxn>
              <a:cxn ang="0">
                <a:pos x="50" y="63"/>
              </a:cxn>
              <a:cxn ang="0">
                <a:pos x="55" y="74"/>
              </a:cxn>
              <a:cxn ang="0">
                <a:pos x="60" y="76"/>
              </a:cxn>
              <a:cxn ang="0">
                <a:pos x="72" y="82"/>
              </a:cxn>
              <a:cxn ang="0">
                <a:pos x="74" y="90"/>
              </a:cxn>
              <a:cxn ang="0">
                <a:pos x="67" y="91"/>
              </a:cxn>
              <a:cxn ang="0">
                <a:pos x="51" y="104"/>
              </a:cxn>
              <a:cxn ang="0">
                <a:pos x="31" y="118"/>
              </a:cxn>
              <a:cxn ang="0">
                <a:pos x="20" y="121"/>
              </a:cxn>
              <a:cxn ang="0">
                <a:pos x="18" y="124"/>
              </a:cxn>
              <a:cxn ang="0">
                <a:pos x="10" y="128"/>
              </a:cxn>
              <a:cxn ang="0">
                <a:pos x="8" y="135"/>
              </a:cxn>
              <a:cxn ang="0">
                <a:pos x="11" y="143"/>
              </a:cxn>
              <a:cxn ang="0">
                <a:pos x="15" y="149"/>
              </a:cxn>
              <a:cxn ang="0">
                <a:pos x="12" y="151"/>
              </a:cxn>
              <a:cxn ang="0">
                <a:pos x="14" y="157"/>
              </a:cxn>
              <a:cxn ang="0">
                <a:pos x="11" y="162"/>
              </a:cxn>
              <a:cxn ang="0">
                <a:pos x="11" y="165"/>
              </a:cxn>
              <a:cxn ang="0">
                <a:pos x="20" y="168"/>
              </a:cxn>
              <a:cxn ang="0">
                <a:pos x="28" y="173"/>
              </a:cxn>
              <a:cxn ang="0">
                <a:pos x="35" y="175"/>
              </a:cxn>
              <a:cxn ang="0">
                <a:pos x="35" y="181"/>
              </a:cxn>
              <a:cxn ang="0">
                <a:pos x="43" y="178"/>
              </a:cxn>
              <a:cxn ang="0">
                <a:pos x="52" y="178"/>
              </a:cxn>
              <a:cxn ang="0">
                <a:pos x="62" y="175"/>
              </a:cxn>
              <a:cxn ang="0">
                <a:pos x="72" y="173"/>
              </a:cxn>
              <a:cxn ang="0">
                <a:pos x="80" y="170"/>
              </a:cxn>
              <a:cxn ang="0">
                <a:pos x="91" y="170"/>
              </a:cxn>
              <a:cxn ang="0">
                <a:pos x="104" y="170"/>
              </a:cxn>
              <a:cxn ang="0">
                <a:pos x="131" y="156"/>
              </a:cxn>
              <a:cxn ang="0">
                <a:pos x="164" y="131"/>
              </a:cxn>
              <a:cxn ang="0">
                <a:pos x="159" y="120"/>
              </a:cxn>
              <a:cxn ang="0">
                <a:pos x="148" y="110"/>
              </a:cxn>
              <a:cxn ang="0">
                <a:pos x="148" y="101"/>
              </a:cxn>
              <a:cxn ang="0">
                <a:pos x="139" y="93"/>
              </a:cxn>
              <a:cxn ang="0">
                <a:pos x="141" y="82"/>
              </a:cxn>
              <a:cxn ang="0">
                <a:pos x="144" y="73"/>
              </a:cxn>
              <a:cxn ang="0">
                <a:pos x="135" y="60"/>
              </a:cxn>
              <a:cxn ang="0">
                <a:pos x="137" y="49"/>
              </a:cxn>
              <a:cxn ang="0">
                <a:pos x="133" y="35"/>
              </a:cxn>
              <a:cxn ang="0">
                <a:pos x="123" y="32"/>
              </a:cxn>
              <a:cxn ang="0">
                <a:pos x="124" y="22"/>
              </a:cxn>
              <a:cxn ang="0">
                <a:pos x="127" y="16"/>
              </a:cxn>
              <a:cxn ang="0">
                <a:pos x="131" y="7"/>
              </a:cxn>
              <a:cxn ang="0">
                <a:pos x="115" y="0"/>
              </a:cxn>
              <a:cxn ang="0">
                <a:pos x="89" y="2"/>
              </a:cxn>
              <a:cxn ang="0">
                <a:pos x="79" y="13"/>
              </a:cxn>
              <a:cxn ang="0">
                <a:pos x="72" y="21"/>
              </a:cxn>
              <a:cxn ang="0">
                <a:pos x="59" y="24"/>
              </a:cxn>
              <a:cxn ang="0">
                <a:pos x="48" y="24"/>
              </a:cxn>
              <a:cxn ang="0">
                <a:pos x="30" y="22"/>
              </a:cxn>
              <a:cxn ang="0">
                <a:pos x="15" y="13"/>
              </a:cxn>
              <a:cxn ang="0">
                <a:pos x="8" y="16"/>
              </a:cxn>
              <a:cxn ang="0">
                <a:pos x="0" y="18"/>
              </a:cxn>
            </a:cxnLst>
            <a:rect l="0" t="0" r="r" b="b"/>
            <a:pathLst>
              <a:path w="164" h="181">
                <a:moveTo>
                  <a:pt x="0" y="18"/>
                </a:moveTo>
                <a:lnTo>
                  <a:pt x="2" y="18"/>
                </a:lnTo>
                <a:lnTo>
                  <a:pt x="14" y="24"/>
                </a:lnTo>
                <a:lnTo>
                  <a:pt x="22" y="27"/>
                </a:lnTo>
                <a:lnTo>
                  <a:pt x="32" y="29"/>
                </a:lnTo>
                <a:lnTo>
                  <a:pt x="36" y="30"/>
                </a:lnTo>
                <a:lnTo>
                  <a:pt x="46" y="36"/>
                </a:lnTo>
                <a:lnTo>
                  <a:pt x="47" y="38"/>
                </a:lnTo>
                <a:lnTo>
                  <a:pt x="46" y="40"/>
                </a:lnTo>
                <a:lnTo>
                  <a:pt x="44" y="41"/>
                </a:lnTo>
                <a:lnTo>
                  <a:pt x="44" y="44"/>
                </a:lnTo>
                <a:lnTo>
                  <a:pt x="46" y="46"/>
                </a:lnTo>
                <a:lnTo>
                  <a:pt x="47" y="47"/>
                </a:lnTo>
                <a:lnTo>
                  <a:pt x="47" y="49"/>
                </a:lnTo>
                <a:lnTo>
                  <a:pt x="46" y="51"/>
                </a:lnTo>
                <a:lnTo>
                  <a:pt x="46" y="54"/>
                </a:lnTo>
                <a:lnTo>
                  <a:pt x="52" y="58"/>
                </a:lnTo>
                <a:lnTo>
                  <a:pt x="52" y="60"/>
                </a:lnTo>
                <a:lnTo>
                  <a:pt x="51" y="62"/>
                </a:lnTo>
                <a:lnTo>
                  <a:pt x="50" y="63"/>
                </a:lnTo>
                <a:lnTo>
                  <a:pt x="48" y="66"/>
                </a:lnTo>
                <a:lnTo>
                  <a:pt x="48" y="69"/>
                </a:lnTo>
                <a:lnTo>
                  <a:pt x="54" y="73"/>
                </a:lnTo>
                <a:lnTo>
                  <a:pt x="55" y="74"/>
                </a:lnTo>
                <a:lnTo>
                  <a:pt x="56" y="74"/>
                </a:lnTo>
                <a:lnTo>
                  <a:pt x="58" y="76"/>
                </a:lnTo>
                <a:lnTo>
                  <a:pt x="59" y="76"/>
                </a:lnTo>
                <a:lnTo>
                  <a:pt x="60" y="76"/>
                </a:lnTo>
                <a:lnTo>
                  <a:pt x="62" y="76"/>
                </a:lnTo>
                <a:lnTo>
                  <a:pt x="63" y="77"/>
                </a:lnTo>
                <a:lnTo>
                  <a:pt x="67" y="79"/>
                </a:lnTo>
                <a:lnTo>
                  <a:pt x="72" y="82"/>
                </a:lnTo>
                <a:lnTo>
                  <a:pt x="74" y="84"/>
                </a:lnTo>
                <a:lnTo>
                  <a:pt x="72" y="88"/>
                </a:lnTo>
                <a:lnTo>
                  <a:pt x="75" y="90"/>
                </a:lnTo>
                <a:lnTo>
                  <a:pt x="74" y="90"/>
                </a:lnTo>
                <a:lnTo>
                  <a:pt x="72" y="91"/>
                </a:lnTo>
                <a:lnTo>
                  <a:pt x="72" y="93"/>
                </a:lnTo>
                <a:lnTo>
                  <a:pt x="70" y="91"/>
                </a:lnTo>
                <a:lnTo>
                  <a:pt x="67" y="91"/>
                </a:lnTo>
                <a:lnTo>
                  <a:pt x="63" y="93"/>
                </a:lnTo>
                <a:lnTo>
                  <a:pt x="60" y="98"/>
                </a:lnTo>
                <a:lnTo>
                  <a:pt x="56" y="99"/>
                </a:lnTo>
                <a:lnTo>
                  <a:pt x="51" y="104"/>
                </a:lnTo>
                <a:lnTo>
                  <a:pt x="44" y="107"/>
                </a:lnTo>
                <a:lnTo>
                  <a:pt x="39" y="110"/>
                </a:lnTo>
                <a:lnTo>
                  <a:pt x="34" y="117"/>
                </a:lnTo>
                <a:lnTo>
                  <a:pt x="31" y="118"/>
                </a:lnTo>
                <a:lnTo>
                  <a:pt x="28" y="120"/>
                </a:lnTo>
                <a:lnTo>
                  <a:pt x="27" y="120"/>
                </a:lnTo>
                <a:lnTo>
                  <a:pt x="26" y="121"/>
                </a:lnTo>
                <a:lnTo>
                  <a:pt x="20" y="121"/>
                </a:lnTo>
                <a:lnTo>
                  <a:pt x="18" y="121"/>
                </a:lnTo>
                <a:lnTo>
                  <a:pt x="16" y="123"/>
                </a:lnTo>
                <a:lnTo>
                  <a:pt x="19" y="124"/>
                </a:lnTo>
                <a:lnTo>
                  <a:pt x="18" y="124"/>
                </a:lnTo>
                <a:lnTo>
                  <a:pt x="12" y="124"/>
                </a:lnTo>
                <a:lnTo>
                  <a:pt x="12" y="126"/>
                </a:lnTo>
                <a:lnTo>
                  <a:pt x="12" y="128"/>
                </a:lnTo>
                <a:lnTo>
                  <a:pt x="10" y="128"/>
                </a:lnTo>
                <a:lnTo>
                  <a:pt x="8" y="129"/>
                </a:lnTo>
                <a:lnTo>
                  <a:pt x="7" y="131"/>
                </a:lnTo>
                <a:lnTo>
                  <a:pt x="7" y="134"/>
                </a:lnTo>
                <a:lnTo>
                  <a:pt x="8" y="135"/>
                </a:lnTo>
                <a:lnTo>
                  <a:pt x="10" y="137"/>
                </a:lnTo>
                <a:lnTo>
                  <a:pt x="10" y="139"/>
                </a:lnTo>
                <a:lnTo>
                  <a:pt x="10" y="142"/>
                </a:lnTo>
                <a:lnTo>
                  <a:pt x="11" y="143"/>
                </a:lnTo>
                <a:lnTo>
                  <a:pt x="12" y="145"/>
                </a:lnTo>
                <a:lnTo>
                  <a:pt x="12" y="146"/>
                </a:lnTo>
                <a:lnTo>
                  <a:pt x="14" y="149"/>
                </a:lnTo>
                <a:lnTo>
                  <a:pt x="15" y="149"/>
                </a:lnTo>
                <a:lnTo>
                  <a:pt x="16" y="151"/>
                </a:lnTo>
                <a:lnTo>
                  <a:pt x="15" y="151"/>
                </a:lnTo>
                <a:lnTo>
                  <a:pt x="14" y="151"/>
                </a:lnTo>
                <a:lnTo>
                  <a:pt x="12" y="151"/>
                </a:lnTo>
                <a:lnTo>
                  <a:pt x="14" y="153"/>
                </a:lnTo>
                <a:lnTo>
                  <a:pt x="12" y="154"/>
                </a:lnTo>
                <a:lnTo>
                  <a:pt x="14" y="154"/>
                </a:lnTo>
                <a:lnTo>
                  <a:pt x="14" y="157"/>
                </a:lnTo>
                <a:lnTo>
                  <a:pt x="12" y="159"/>
                </a:lnTo>
                <a:lnTo>
                  <a:pt x="11" y="159"/>
                </a:lnTo>
                <a:lnTo>
                  <a:pt x="10" y="160"/>
                </a:lnTo>
                <a:lnTo>
                  <a:pt x="11" y="162"/>
                </a:lnTo>
                <a:lnTo>
                  <a:pt x="11" y="164"/>
                </a:lnTo>
                <a:lnTo>
                  <a:pt x="14" y="165"/>
                </a:lnTo>
                <a:lnTo>
                  <a:pt x="12" y="165"/>
                </a:lnTo>
                <a:lnTo>
                  <a:pt x="11" y="165"/>
                </a:lnTo>
                <a:lnTo>
                  <a:pt x="12" y="167"/>
                </a:lnTo>
                <a:lnTo>
                  <a:pt x="15" y="167"/>
                </a:lnTo>
                <a:lnTo>
                  <a:pt x="19" y="168"/>
                </a:lnTo>
                <a:lnTo>
                  <a:pt x="20" y="168"/>
                </a:lnTo>
                <a:lnTo>
                  <a:pt x="23" y="170"/>
                </a:lnTo>
                <a:lnTo>
                  <a:pt x="28" y="170"/>
                </a:lnTo>
                <a:lnTo>
                  <a:pt x="28" y="171"/>
                </a:lnTo>
                <a:lnTo>
                  <a:pt x="28" y="173"/>
                </a:lnTo>
                <a:lnTo>
                  <a:pt x="30" y="173"/>
                </a:lnTo>
                <a:lnTo>
                  <a:pt x="34" y="171"/>
                </a:lnTo>
                <a:lnTo>
                  <a:pt x="35" y="173"/>
                </a:lnTo>
                <a:lnTo>
                  <a:pt x="35" y="175"/>
                </a:lnTo>
                <a:lnTo>
                  <a:pt x="36" y="178"/>
                </a:lnTo>
                <a:lnTo>
                  <a:pt x="39" y="179"/>
                </a:lnTo>
                <a:lnTo>
                  <a:pt x="38" y="179"/>
                </a:lnTo>
                <a:lnTo>
                  <a:pt x="35" y="181"/>
                </a:lnTo>
                <a:lnTo>
                  <a:pt x="36" y="181"/>
                </a:lnTo>
                <a:lnTo>
                  <a:pt x="39" y="181"/>
                </a:lnTo>
                <a:lnTo>
                  <a:pt x="42" y="178"/>
                </a:lnTo>
                <a:lnTo>
                  <a:pt x="43" y="178"/>
                </a:lnTo>
                <a:lnTo>
                  <a:pt x="43" y="179"/>
                </a:lnTo>
                <a:lnTo>
                  <a:pt x="44" y="179"/>
                </a:lnTo>
                <a:lnTo>
                  <a:pt x="51" y="178"/>
                </a:lnTo>
                <a:lnTo>
                  <a:pt x="52" y="178"/>
                </a:lnTo>
                <a:lnTo>
                  <a:pt x="55" y="176"/>
                </a:lnTo>
                <a:lnTo>
                  <a:pt x="56" y="178"/>
                </a:lnTo>
                <a:lnTo>
                  <a:pt x="59" y="176"/>
                </a:lnTo>
                <a:lnTo>
                  <a:pt x="62" y="175"/>
                </a:lnTo>
                <a:lnTo>
                  <a:pt x="64" y="175"/>
                </a:lnTo>
                <a:lnTo>
                  <a:pt x="66" y="175"/>
                </a:lnTo>
                <a:lnTo>
                  <a:pt x="70" y="173"/>
                </a:lnTo>
                <a:lnTo>
                  <a:pt x="72" y="173"/>
                </a:lnTo>
                <a:lnTo>
                  <a:pt x="75" y="171"/>
                </a:lnTo>
                <a:lnTo>
                  <a:pt x="76" y="173"/>
                </a:lnTo>
                <a:lnTo>
                  <a:pt x="82" y="171"/>
                </a:lnTo>
                <a:lnTo>
                  <a:pt x="80" y="170"/>
                </a:lnTo>
                <a:lnTo>
                  <a:pt x="83" y="171"/>
                </a:lnTo>
                <a:lnTo>
                  <a:pt x="84" y="171"/>
                </a:lnTo>
                <a:lnTo>
                  <a:pt x="87" y="170"/>
                </a:lnTo>
                <a:lnTo>
                  <a:pt x="91" y="170"/>
                </a:lnTo>
                <a:lnTo>
                  <a:pt x="95" y="168"/>
                </a:lnTo>
                <a:lnTo>
                  <a:pt x="97" y="168"/>
                </a:lnTo>
                <a:lnTo>
                  <a:pt x="100" y="168"/>
                </a:lnTo>
                <a:lnTo>
                  <a:pt x="104" y="170"/>
                </a:lnTo>
                <a:lnTo>
                  <a:pt x="105" y="168"/>
                </a:lnTo>
                <a:lnTo>
                  <a:pt x="107" y="168"/>
                </a:lnTo>
                <a:lnTo>
                  <a:pt x="117" y="164"/>
                </a:lnTo>
                <a:lnTo>
                  <a:pt x="131" y="156"/>
                </a:lnTo>
                <a:lnTo>
                  <a:pt x="141" y="149"/>
                </a:lnTo>
                <a:lnTo>
                  <a:pt x="156" y="139"/>
                </a:lnTo>
                <a:lnTo>
                  <a:pt x="159" y="135"/>
                </a:lnTo>
                <a:lnTo>
                  <a:pt x="164" y="131"/>
                </a:lnTo>
                <a:lnTo>
                  <a:pt x="164" y="124"/>
                </a:lnTo>
                <a:lnTo>
                  <a:pt x="163" y="126"/>
                </a:lnTo>
                <a:lnTo>
                  <a:pt x="160" y="123"/>
                </a:lnTo>
                <a:lnTo>
                  <a:pt x="159" y="120"/>
                </a:lnTo>
                <a:lnTo>
                  <a:pt x="151" y="117"/>
                </a:lnTo>
                <a:lnTo>
                  <a:pt x="148" y="115"/>
                </a:lnTo>
                <a:lnTo>
                  <a:pt x="147" y="112"/>
                </a:lnTo>
                <a:lnTo>
                  <a:pt x="148" y="110"/>
                </a:lnTo>
                <a:lnTo>
                  <a:pt x="151" y="109"/>
                </a:lnTo>
                <a:lnTo>
                  <a:pt x="152" y="106"/>
                </a:lnTo>
                <a:lnTo>
                  <a:pt x="152" y="102"/>
                </a:lnTo>
                <a:lnTo>
                  <a:pt x="148" y="101"/>
                </a:lnTo>
                <a:lnTo>
                  <a:pt x="145" y="98"/>
                </a:lnTo>
                <a:lnTo>
                  <a:pt x="145" y="96"/>
                </a:lnTo>
                <a:lnTo>
                  <a:pt x="144" y="93"/>
                </a:lnTo>
                <a:lnTo>
                  <a:pt x="139" y="93"/>
                </a:lnTo>
                <a:lnTo>
                  <a:pt x="139" y="90"/>
                </a:lnTo>
                <a:lnTo>
                  <a:pt x="141" y="88"/>
                </a:lnTo>
                <a:lnTo>
                  <a:pt x="140" y="85"/>
                </a:lnTo>
                <a:lnTo>
                  <a:pt x="141" y="82"/>
                </a:lnTo>
                <a:lnTo>
                  <a:pt x="141" y="79"/>
                </a:lnTo>
                <a:lnTo>
                  <a:pt x="145" y="77"/>
                </a:lnTo>
                <a:lnTo>
                  <a:pt x="145" y="76"/>
                </a:lnTo>
                <a:lnTo>
                  <a:pt x="144" y="73"/>
                </a:lnTo>
                <a:lnTo>
                  <a:pt x="141" y="69"/>
                </a:lnTo>
                <a:lnTo>
                  <a:pt x="137" y="65"/>
                </a:lnTo>
                <a:lnTo>
                  <a:pt x="136" y="63"/>
                </a:lnTo>
                <a:lnTo>
                  <a:pt x="135" y="60"/>
                </a:lnTo>
                <a:lnTo>
                  <a:pt x="132" y="58"/>
                </a:lnTo>
                <a:lnTo>
                  <a:pt x="131" y="55"/>
                </a:lnTo>
                <a:lnTo>
                  <a:pt x="133" y="54"/>
                </a:lnTo>
                <a:lnTo>
                  <a:pt x="137" y="49"/>
                </a:lnTo>
                <a:lnTo>
                  <a:pt x="143" y="44"/>
                </a:lnTo>
                <a:lnTo>
                  <a:pt x="143" y="41"/>
                </a:lnTo>
                <a:lnTo>
                  <a:pt x="139" y="40"/>
                </a:lnTo>
                <a:lnTo>
                  <a:pt x="133" y="35"/>
                </a:lnTo>
                <a:lnTo>
                  <a:pt x="129" y="33"/>
                </a:lnTo>
                <a:lnTo>
                  <a:pt x="125" y="33"/>
                </a:lnTo>
                <a:lnTo>
                  <a:pt x="124" y="33"/>
                </a:lnTo>
                <a:lnTo>
                  <a:pt x="123" y="32"/>
                </a:lnTo>
                <a:lnTo>
                  <a:pt x="121" y="29"/>
                </a:lnTo>
                <a:lnTo>
                  <a:pt x="120" y="27"/>
                </a:lnTo>
                <a:lnTo>
                  <a:pt x="120" y="25"/>
                </a:lnTo>
                <a:lnTo>
                  <a:pt x="124" y="22"/>
                </a:lnTo>
                <a:lnTo>
                  <a:pt x="123" y="21"/>
                </a:lnTo>
                <a:lnTo>
                  <a:pt x="121" y="21"/>
                </a:lnTo>
                <a:lnTo>
                  <a:pt x="129" y="18"/>
                </a:lnTo>
                <a:lnTo>
                  <a:pt x="127" y="16"/>
                </a:lnTo>
                <a:lnTo>
                  <a:pt x="127" y="14"/>
                </a:lnTo>
                <a:lnTo>
                  <a:pt x="132" y="11"/>
                </a:lnTo>
                <a:lnTo>
                  <a:pt x="132" y="10"/>
                </a:lnTo>
                <a:lnTo>
                  <a:pt x="131" y="7"/>
                </a:lnTo>
                <a:lnTo>
                  <a:pt x="125" y="3"/>
                </a:lnTo>
                <a:lnTo>
                  <a:pt x="120" y="3"/>
                </a:lnTo>
                <a:lnTo>
                  <a:pt x="117" y="2"/>
                </a:lnTo>
                <a:lnTo>
                  <a:pt x="115" y="0"/>
                </a:lnTo>
                <a:lnTo>
                  <a:pt x="113" y="0"/>
                </a:lnTo>
                <a:lnTo>
                  <a:pt x="107" y="0"/>
                </a:lnTo>
                <a:lnTo>
                  <a:pt x="96" y="2"/>
                </a:lnTo>
                <a:lnTo>
                  <a:pt x="89" y="2"/>
                </a:lnTo>
                <a:lnTo>
                  <a:pt x="87" y="3"/>
                </a:lnTo>
                <a:lnTo>
                  <a:pt x="83" y="5"/>
                </a:lnTo>
                <a:lnTo>
                  <a:pt x="80" y="8"/>
                </a:lnTo>
                <a:lnTo>
                  <a:pt x="79" y="13"/>
                </a:lnTo>
                <a:lnTo>
                  <a:pt x="79" y="14"/>
                </a:lnTo>
                <a:lnTo>
                  <a:pt x="79" y="18"/>
                </a:lnTo>
                <a:lnTo>
                  <a:pt x="79" y="19"/>
                </a:lnTo>
                <a:lnTo>
                  <a:pt x="72" y="21"/>
                </a:lnTo>
                <a:lnTo>
                  <a:pt x="70" y="22"/>
                </a:lnTo>
                <a:lnTo>
                  <a:pt x="66" y="24"/>
                </a:lnTo>
                <a:lnTo>
                  <a:pt x="62" y="24"/>
                </a:lnTo>
                <a:lnTo>
                  <a:pt x="59" y="24"/>
                </a:lnTo>
                <a:lnTo>
                  <a:pt x="58" y="24"/>
                </a:lnTo>
                <a:lnTo>
                  <a:pt x="55" y="22"/>
                </a:lnTo>
                <a:lnTo>
                  <a:pt x="52" y="21"/>
                </a:lnTo>
                <a:lnTo>
                  <a:pt x="48" y="24"/>
                </a:lnTo>
                <a:lnTo>
                  <a:pt x="44" y="24"/>
                </a:lnTo>
                <a:lnTo>
                  <a:pt x="40" y="24"/>
                </a:lnTo>
                <a:lnTo>
                  <a:pt x="36" y="24"/>
                </a:lnTo>
                <a:lnTo>
                  <a:pt x="30" y="22"/>
                </a:lnTo>
                <a:lnTo>
                  <a:pt x="28" y="22"/>
                </a:lnTo>
                <a:lnTo>
                  <a:pt x="27" y="19"/>
                </a:lnTo>
                <a:lnTo>
                  <a:pt x="19" y="14"/>
                </a:lnTo>
                <a:lnTo>
                  <a:pt x="15" y="13"/>
                </a:lnTo>
                <a:lnTo>
                  <a:pt x="11" y="13"/>
                </a:lnTo>
                <a:lnTo>
                  <a:pt x="8" y="13"/>
                </a:lnTo>
                <a:lnTo>
                  <a:pt x="8" y="14"/>
                </a:lnTo>
                <a:lnTo>
                  <a:pt x="8" y="16"/>
                </a:lnTo>
                <a:lnTo>
                  <a:pt x="6" y="16"/>
                </a:lnTo>
                <a:lnTo>
                  <a:pt x="4" y="16"/>
                </a:lnTo>
                <a:lnTo>
                  <a:pt x="2" y="16"/>
                </a:lnTo>
                <a:lnTo>
                  <a:pt x="0" y="18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80" name="Freeform 1307"/>
          <p:cNvSpPr>
            <a:spLocks/>
          </p:cNvSpPr>
          <p:nvPr/>
        </p:nvSpPr>
        <p:spPr bwMode="auto">
          <a:xfrm>
            <a:off x="6262967" y="1874512"/>
            <a:ext cx="218268" cy="47248"/>
          </a:xfrm>
          <a:custGeom>
            <a:avLst/>
            <a:gdLst/>
            <a:ahLst/>
            <a:cxnLst>
              <a:cxn ang="0">
                <a:pos x="113" y="0"/>
              </a:cxn>
              <a:cxn ang="0">
                <a:pos x="107" y="0"/>
              </a:cxn>
              <a:cxn ang="0">
                <a:pos x="96" y="2"/>
              </a:cxn>
              <a:cxn ang="0">
                <a:pos x="89" y="2"/>
              </a:cxn>
              <a:cxn ang="0">
                <a:pos x="87" y="3"/>
              </a:cxn>
              <a:cxn ang="0">
                <a:pos x="83" y="5"/>
              </a:cxn>
              <a:cxn ang="0">
                <a:pos x="80" y="8"/>
              </a:cxn>
              <a:cxn ang="0">
                <a:pos x="79" y="13"/>
              </a:cxn>
              <a:cxn ang="0">
                <a:pos x="79" y="14"/>
              </a:cxn>
              <a:cxn ang="0">
                <a:pos x="79" y="18"/>
              </a:cxn>
              <a:cxn ang="0">
                <a:pos x="79" y="19"/>
              </a:cxn>
              <a:cxn ang="0">
                <a:pos x="72" y="21"/>
              </a:cxn>
              <a:cxn ang="0">
                <a:pos x="70" y="22"/>
              </a:cxn>
              <a:cxn ang="0">
                <a:pos x="66" y="24"/>
              </a:cxn>
              <a:cxn ang="0">
                <a:pos x="62" y="24"/>
              </a:cxn>
              <a:cxn ang="0">
                <a:pos x="59" y="24"/>
              </a:cxn>
              <a:cxn ang="0">
                <a:pos x="58" y="24"/>
              </a:cxn>
              <a:cxn ang="0">
                <a:pos x="55" y="22"/>
              </a:cxn>
              <a:cxn ang="0">
                <a:pos x="52" y="21"/>
              </a:cxn>
              <a:cxn ang="0">
                <a:pos x="48" y="24"/>
              </a:cxn>
              <a:cxn ang="0">
                <a:pos x="44" y="24"/>
              </a:cxn>
              <a:cxn ang="0">
                <a:pos x="40" y="24"/>
              </a:cxn>
              <a:cxn ang="0">
                <a:pos x="36" y="24"/>
              </a:cxn>
              <a:cxn ang="0">
                <a:pos x="30" y="22"/>
              </a:cxn>
              <a:cxn ang="0">
                <a:pos x="28" y="22"/>
              </a:cxn>
              <a:cxn ang="0">
                <a:pos x="27" y="19"/>
              </a:cxn>
              <a:cxn ang="0">
                <a:pos x="19" y="14"/>
              </a:cxn>
              <a:cxn ang="0">
                <a:pos x="15" y="13"/>
              </a:cxn>
              <a:cxn ang="0">
                <a:pos x="11" y="13"/>
              </a:cxn>
              <a:cxn ang="0">
                <a:pos x="8" y="13"/>
              </a:cxn>
              <a:cxn ang="0">
                <a:pos x="8" y="14"/>
              </a:cxn>
              <a:cxn ang="0">
                <a:pos x="8" y="16"/>
              </a:cxn>
              <a:cxn ang="0">
                <a:pos x="6" y="16"/>
              </a:cxn>
              <a:cxn ang="0">
                <a:pos x="4" y="16"/>
              </a:cxn>
              <a:cxn ang="0">
                <a:pos x="2" y="16"/>
              </a:cxn>
              <a:cxn ang="0">
                <a:pos x="0" y="18"/>
              </a:cxn>
            </a:cxnLst>
            <a:rect l="0" t="0" r="r" b="b"/>
            <a:pathLst>
              <a:path w="113" h="24">
                <a:moveTo>
                  <a:pt x="113" y="0"/>
                </a:moveTo>
                <a:lnTo>
                  <a:pt x="107" y="0"/>
                </a:lnTo>
                <a:lnTo>
                  <a:pt x="96" y="2"/>
                </a:lnTo>
                <a:lnTo>
                  <a:pt x="89" y="2"/>
                </a:lnTo>
                <a:lnTo>
                  <a:pt x="87" y="3"/>
                </a:lnTo>
                <a:lnTo>
                  <a:pt x="83" y="5"/>
                </a:lnTo>
                <a:lnTo>
                  <a:pt x="80" y="8"/>
                </a:lnTo>
                <a:lnTo>
                  <a:pt x="79" y="13"/>
                </a:lnTo>
                <a:lnTo>
                  <a:pt x="79" y="14"/>
                </a:lnTo>
                <a:lnTo>
                  <a:pt x="79" y="18"/>
                </a:lnTo>
                <a:lnTo>
                  <a:pt x="79" y="19"/>
                </a:lnTo>
                <a:lnTo>
                  <a:pt x="72" y="21"/>
                </a:lnTo>
                <a:lnTo>
                  <a:pt x="70" y="22"/>
                </a:lnTo>
                <a:lnTo>
                  <a:pt x="66" y="24"/>
                </a:lnTo>
                <a:lnTo>
                  <a:pt x="62" y="24"/>
                </a:lnTo>
                <a:lnTo>
                  <a:pt x="59" y="24"/>
                </a:lnTo>
                <a:lnTo>
                  <a:pt x="58" y="24"/>
                </a:lnTo>
                <a:lnTo>
                  <a:pt x="55" y="22"/>
                </a:lnTo>
                <a:lnTo>
                  <a:pt x="52" y="21"/>
                </a:lnTo>
                <a:lnTo>
                  <a:pt x="48" y="24"/>
                </a:lnTo>
                <a:lnTo>
                  <a:pt x="44" y="24"/>
                </a:lnTo>
                <a:lnTo>
                  <a:pt x="40" y="24"/>
                </a:lnTo>
                <a:lnTo>
                  <a:pt x="36" y="24"/>
                </a:lnTo>
                <a:lnTo>
                  <a:pt x="30" y="22"/>
                </a:lnTo>
                <a:lnTo>
                  <a:pt x="28" y="22"/>
                </a:lnTo>
                <a:lnTo>
                  <a:pt x="27" y="19"/>
                </a:lnTo>
                <a:lnTo>
                  <a:pt x="19" y="14"/>
                </a:lnTo>
                <a:lnTo>
                  <a:pt x="15" y="13"/>
                </a:lnTo>
                <a:lnTo>
                  <a:pt x="11" y="13"/>
                </a:lnTo>
                <a:lnTo>
                  <a:pt x="8" y="13"/>
                </a:lnTo>
                <a:lnTo>
                  <a:pt x="8" y="14"/>
                </a:lnTo>
                <a:lnTo>
                  <a:pt x="8" y="16"/>
                </a:lnTo>
                <a:lnTo>
                  <a:pt x="6" y="16"/>
                </a:lnTo>
                <a:lnTo>
                  <a:pt x="4" y="16"/>
                </a:lnTo>
                <a:lnTo>
                  <a:pt x="2" y="16"/>
                </a:lnTo>
                <a:lnTo>
                  <a:pt x="0" y="18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81" name="Freeform 1308"/>
          <p:cNvSpPr>
            <a:spLocks/>
          </p:cNvSpPr>
          <p:nvPr/>
        </p:nvSpPr>
        <p:spPr bwMode="auto">
          <a:xfrm>
            <a:off x="5869307" y="2684158"/>
            <a:ext cx="337144" cy="319994"/>
          </a:xfrm>
          <a:custGeom>
            <a:avLst/>
            <a:gdLst/>
            <a:ahLst/>
            <a:cxnLst>
              <a:cxn ang="0">
                <a:pos x="53" y="7"/>
              </a:cxn>
              <a:cxn ang="0">
                <a:pos x="51" y="12"/>
              </a:cxn>
              <a:cxn ang="0">
                <a:pos x="40" y="11"/>
              </a:cxn>
              <a:cxn ang="0">
                <a:pos x="33" y="18"/>
              </a:cxn>
              <a:cxn ang="0">
                <a:pos x="27" y="15"/>
              </a:cxn>
              <a:cxn ang="0">
                <a:pos x="20" y="17"/>
              </a:cxn>
              <a:cxn ang="0">
                <a:pos x="5" y="20"/>
              </a:cxn>
              <a:cxn ang="0">
                <a:pos x="1" y="23"/>
              </a:cxn>
              <a:cxn ang="0">
                <a:pos x="0" y="34"/>
              </a:cxn>
              <a:cxn ang="0">
                <a:pos x="3" y="39"/>
              </a:cxn>
              <a:cxn ang="0">
                <a:pos x="3" y="48"/>
              </a:cxn>
              <a:cxn ang="0">
                <a:pos x="12" y="55"/>
              </a:cxn>
              <a:cxn ang="0">
                <a:pos x="17" y="58"/>
              </a:cxn>
              <a:cxn ang="0">
                <a:pos x="25" y="50"/>
              </a:cxn>
              <a:cxn ang="0">
                <a:pos x="36" y="47"/>
              </a:cxn>
              <a:cxn ang="0">
                <a:pos x="53" y="58"/>
              </a:cxn>
              <a:cxn ang="0">
                <a:pos x="63" y="77"/>
              </a:cxn>
              <a:cxn ang="0">
                <a:pos x="70" y="81"/>
              </a:cxn>
              <a:cxn ang="0">
                <a:pos x="85" y="94"/>
              </a:cxn>
              <a:cxn ang="0">
                <a:pos x="104" y="102"/>
              </a:cxn>
              <a:cxn ang="0">
                <a:pos x="114" y="111"/>
              </a:cxn>
              <a:cxn ang="0">
                <a:pos x="121" y="113"/>
              </a:cxn>
              <a:cxn ang="0">
                <a:pos x="125" y="121"/>
              </a:cxn>
              <a:cxn ang="0">
                <a:pos x="132" y="124"/>
              </a:cxn>
              <a:cxn ang="0">
                <a:pos x="136" y="132"/>
              </a:cxn>
              <a:cxn ang="0">
                <a:pos x="138" y="147"/>
              </a:cxn>
              <a:cxn ang="0">
                <a:pos x="134" y="157"/>
              </a:cxn>
              <a:cxn ang="0">
                <a:pos x="140" y="161"/>
              </a:cxn>
              <a:cxn ang="0">
                <a:pos x="145" y="153"/>
              </a:cxn>
              <a:cxn ang="0">
                <a:pos x="149" y="146"/>
              </a:cxn>
              <a:cxn ang="0">
                <a:pos x="156" y="139"/>
              </a:cxn>
              <a:cxn ang="0">
                <a:pos x="152" y="132"/>
              </a:cxn>
              <a:cxn ang="0">
                <a:pos x="149" y="122"/>
              </a:cxn>
              <a:cxn ang="0">
                <a:pos x="161" y="119"/>
              </a:cxn>
              <a:cxn ang="0">
                <a:pos x="172" y="125"/>
              </a:cxn>
              <a:cxn ang="0">
                <a:pos x="174" y="119"/>
              </a:cxn>
              <a:cxn ang="0">
                <a:pos x="157" y="106"/>
              </a:cxn>
              <a:cxn ang="0">
                <a:pos x="140" y="99"/>
              </a:cxn>
              <a:cxn ang="0">
                <a:pos x="140" y="95"/>
              </a:cxn>
              <a:cxn ang="0">
                <a:pos x="137" y="91"/>
              </a:cxn>
              <a:cxn ang="0">
                <a:pos x="128" y="91"/>
              </a:cxn>
              <a:cxn ang="0">
                <a:pos x="120" y="88"/>
              </a:cxn>
              <a:cxn ang="0">
                <a:pos x="109" y="75"/>
              </a:cxn>
              <a:cxn ang="0">
                <a:pos x="101" y="59"/>
              </a:cxn>
              <a:cxn ang="0">
                <a:pos x="93" y="56"/>
              </a:cxn>
              <a:cxn ang="0">
                <a:pos x="84" y="47"/>
              </a:cxn>
              <a:cxn ang="0">
                <a:pos x="86" y="36"/>
              </a:cxn>
              <a:cxn ang="0">
                <a:pos x="82" y="29"/>
              </a:cxn>
              <a:cxn ang="0">
                <a:pos x="97" y="23"/>
              </a:cxn>
              <a:cxn ang="0">
                <a:pos x="105" y="25"/>
              </a:cxn>
              <a:cxn ang="0">
                <a:pos x="108" y="26"/>
              </a:cxn>
              <a:cxn ang="0">
                <a:pos x="105" y="22"/>
              </a:cxn>
              <a:cxn ang="0">
                <a:pos x="101" y="18"/>
              </a:cxn>
              <a:cxn ang="0">
                <a:pos x="100" y="14"/>
              </a:cxn>
              <a:cxn ang="0">
                <a:pos x="97" y="9"/>
              </a:cxn>
              <a:cxn ang="0">
                <a:pos x="82" y="4"/>
              </a:cxn>
              <a:cxn ang="0">
                <a:pos x="80" y="0"/>
              </a:cxn>
              <a:cxn ang="0">
                <a:pos x="69" y="1"/>
              </a:cxn>
              <a:cxn ang="0">
                <a:pos x="55" y="3"/>
              </a:cxn>
            </a:cxnLst>
            <a:rect l="0" t="0" r="r" b="b"/>
            <a:pathLst>
              <a:path w="177" h="161">
                <a:moveTo>
                  <a:pt x="55" y="3"/>
                </a:moveTo>
                <a:lnTo>
                  <a:pt x="55" y="6"/>
                </a:lnTo>
                <a:lnTo>
                  <a:pt x="55" y="7"/>
                </a:lnTo>
                <a:lnTo>
                  <a:pt x="53" y="7"/>
                </a:lnTo>
                <a:lnTo>
                  <a:pt x="51" y="7"/>
                </a:lnTo>
                <a:lnTo>
                  <a:pt x="49" y="9"/>
                </a:lnTo>
                <a:lnTo>
                  <a:pt x="49" y="11"/>
                </a:lnTo>
                <a:lnTo>
                  <a:pt x="51" y="12"/>
                </a:lnTo>
                <a:lnTo>
                  <a:pt x="51" y="14"/>
                </a:lnTo>
                <a:lnTo>
                  <a:pt x="44" y="12"/>
                </a:lnTo>
                <a:lnTo>
                  <a:pt x="41" y="12"/>
                </a:lnTo>
                <a:lnTo>
                  <a:pt x="40" y="11"/>
                </a:lnTo>
                <a:lnTo>
                  <a:pt x="37" y="11"/>
                </a:lnTo>
                <a:lnTo>
                  <a:pt x="37" y="12"/>
                </a:lnTo>
                <a:lnTo>
                  <a:pt x="35" y="17"/>
                </a:lnTo>
                <a:lnTo>
                  <a:pt x="33" y="18"/>
                </a:lnTo>
                <a:lnTo>
                  <a:pt x="33" y="20"/>
                </a:lnTo>
                <a:lnTo>
                  <a:pt x="31" y="18"/>
                </a:lnTo>
                <a:lnTo>
                  <a:pt x="29" y="17"/>
                </a:lnTo>
                <a:lnTo>
                  <a:pt x="27" y="15"/>
                </a:lnTo>
                <a:lnTo>
                  <a:pt x="24" y="11"/>
                </a:lnTo>
                <a:lnTo>
                  <a:pt x="21" y="12"/>
                </a:lnTo>
                <a:lnTo>
                  <a:pt x="20" y="14"/>
                </a:lnTo>
                <a:lnTo>
                  <a:pt x="20" y="17"/>
                </a:lnTo>
                <a:lnTo>
                  <a:pt x="19" y="17"/>
                </a:lnTo>
                <a:lnTo>
                  <a:pt x="16" y="20"/>
                </a:lnTo>
                <a:lnTo>
                  <a:pt x="12" y="18"/>
                </a:lnTo>
                <a:lnTo>
                  <a:pt x="5" y="20"/>
                </a:lnTo>
                <a:lnTo>
                  <a:pt x="4" y="20"/>
                </a:lnTo>
                <a:lnTo>
                  <a:pt x="0" y="20"/>
                </a:lnTo>
                <a:lnTo>
                  <a:pt x="0" y="22"/>
                </a:lnTo>
                <a:lnTo>
                  <a:pt x="1" y="23"/>
                </a:lnTo>
                <a:lnTo>
                  <a:pt x="4" y="29"/>
                </a:lnTo>
                <a:lnTo>
                  <a:pt x="4" y="31"/>
                </a:lnTo>
                <a:lnTo>
                  <a:pt x="1" y="33"/>
                </a:lnTo>
                <a:lnTo>
                  <a:pt x="0" y="34"/>
                </a:lnTo>
                <a:lnTo>
                  <a:pt x="0" y="36"/>
                </a:lnTo>
                <a:lnTo>
                  <a:pt x="0" y="37"/>
                </a:lnTo>
                <a:lnTo>
                  <a:pt x="0" y="39"/>
                </a:lnTo>
                <a:lnTo>
                  <a:pt x="3" y="39"/>
                </a:lnTo>
                <a:lnTo>
                  <a:pt x="3" y="40"/>
                </a:lnTo>
                <a:lnTo>
                  <a:pt x="3" y="44"/>
                </a:lnTo>
                <a:lnTo>
                  <a:pt x="3" y="45"/>
                </a:lnTo>
                <a:lnTo>
                  <a:pt x="3" y="48"/>
                </a:lnTo>
                <a:lnTo>
                  <a:pt x="5" y="50"/>
                </a:lnTo>
                <a:lnTo>
                  <a:pt x="12" y="51"/>
                </a:lnTo>
                <a:lnTo>
                  <a:pt x="12" y="53"/>
                </a:lnTo>
                <a:lnTo>
                  <a:pt x="12" y="55"/>
                </a:lnTo>
                <a:lnTo>
                  <a:pt x="12" y="56"/>
                </a:lnTo>
                <a:lnTo>
                  <a:pt x="12" y="58"/>
                </a:lnTo>
                <a:lnTo>
                  <a:pt x="15" y="58"/>
                </a:lnTo>
                <a:lnTo>
                  <a:pt x="17" y="58"/>
                </a:lnTo>
                <a:lnTo>
                  <a:pt x="21" y="55"/>
                </a:lnTo>
                <a:lnTo>
                  <a:pt x="21" y="53"/>
                </a:lnTo>
                <a:lnTo>
                  <a:pt x="24" y="50"/>
                </a:lnTo>
                <a:lnTo>
                  <a:pt x="25" y="50"/>
                </a:lnTo>
                <a:lnTo>
                  <a:pt x="27" y="48"/>
                </a:lnTo>
                <a:lnTo>
                  <a:pt x="31" y="47"/>
                </a:lnTo>
                <a:lnTo>
                  <a:pt x="33" y="47"/>
                </a:lnTo>
                <a:lnTo>
                  <a:pt x="36" y="47"/>
                </a:lnTo>
                <a:lnTo>
                  <a:pt x="47" y="53"/>
                </a:lnTo>
                <a:lnTo>
                  <a:pt x="52" y="55"/>
                </a:lnTo>
                <a:lnTo>
                  <a:pt x="52" y="56"/>
                </a:lnTo>
                <a:lnTo>
                  <a:pt x="53" y="58"/>
                </a:lnTo>
                <a:lnTo>
                  <a:pt x="56" y="67"/>
                </a:lnTo>
                <a:lnTo>
                  <a:pt x="57" y="69"/>
                </a:lnTo>
                <a:lnTo>
                  <a:pt x="57" y="70"/>
                </a:lnTo>
                <a:lnTo>
                  <a:pt x="63" y="77"/>
                </a:lnTo>
                <a:lnTo>
                  <a:pt x="65" y="78"/>
                </a:lnTo>
                <a:lnTo>
                  <a:pt x="66" y="83"/>
                </a:lnTo>
                <a:lnTo>
                  <a:pt x="69" y="81"/>
                </a:lnTo>
                <a:lnTo>
                  <a:pt x="70" y="81"/>
                </a:lnTo>
                <a:lnTo>
                  <a:pt x="73" y="83"/>
                </a:lnTo>
                <a:lnTo>
                  <a:pt x="77" y="88"/>
                </a:lnTo>
                <a:lnTo>
                  <a:pt x="80" y="89"/>
                </a:lnTo>
                <a:lnTo>
                  <a:pt x="85" y="94"/>
                </a:lnTo>
                <a:lnTo>
                  <a:pt x="88" y="97"/>
                </a:lnTo>
                <a:lnTo>
                  <a:pt x="94" y="103"/>
                </a:lnTo>
                <a:lnTo>
                  <a:pt x="96" y="102"/>
                </a:lnTo>
                <a:lnTo>
                  <a:pt x="104" y="102"/>
                </a:lnTo>
                <a:lnTo>
                  <a:pt x="105" y="103"/>
                </a:lnTo>
                <a:lnTo>
                  <a:pt x="109" y="106"/>
                </a:lnTo>
                <a:lnTo>
                  <a:pt x="110" y="110"/>
                </a:lnTo>
                <a:lnTo>
                  <a:pt x="114" y="111"/>
                </a:lnTo>
                <a:lnTo>
                  <a:pt x="116" y="111"/>
                </a:lnTo>
                <a:lnTo>
                  <a:pt x="114" y="114"/>
                </a:lnTo>
                <a:lnTo>
                  <a:pt x="120" y="113"/>
                </a:lnTo>
                <a:lnTo>
                  <a:pt x="121" y="113"/>
                </a:lnTo>
                <a:lnTo>
                  <a:pt x="122" y="114"/>
                </a:lnTo>
                <a:lnTo>
                  <a:pt x="124" y="117"/>
                </a:lnTo>
                <a:lnTo>
                  <a:pt x="124" y="119"/>
                </a:lnTo>
                <a:lnTo>
                  <a:pt x="125" y="121"/>
                </a:lnTo>
                <a:lnTo>
                  <a:pt x="128" y="122"/>
                </a:lnTo>
                <a:lnTo>
                  <a:pt x="129" y="124"/>
                </a:lnTo>
                <a:lnTo>
                  <a:pt x="130" y="125"/>
                </a:lnTo>
                <a:lnTo>
                  <a:pt x="132" y="124"/>
                </a:lnTo>
                <a:lnTo>
                  <a:pt x="133" y="124"/>
                </a:lnTo>
                <a:lnTo>
                  <a:pt x="136" y="125"/>
                </a:lnTo>
                <a:lnTo>
                  <a:pt x="136" y="127"/>
                </a:lnTo>
                <a:lnTo>
                  <a:pt x="136" y="132"/>
                </a:lnTo>
                <a:lnTo>
                  <a:pt x="140" y="136"/>
                </a:lnTo>
                <a:lnTo>
                  <a:pt x="141" y="141"/>
                </a:lnTo>
                <a:lnTo>
                  <a:pt x="142" y="146"/>
                </a:lnTo>
                <a:lnTo>
                  <a:pt x="138" y="147"/>
                </a:lnTo>
                <a:lnTo>
                  <a:pt x="137" y="149"/>
                </a:lnTo>
                <a:lnTo>
                  <a:pt x="137" y="152"/>
                </a:lnTo>
                <a:lnTo>
                  <a:pt x="136" y="153"/>
                </a:lnTo>
                <a:lnTo>
                  <a:pt x="134" y="157"/>
                </a:lnTo>
                <a:lnTo>
                  <a:pt x="134" y="160"/>
                </a:lnTo>
                <a:lnTo>
                  <a:pt x="136" y="161"/>
                </a:lnTo>
                <a:lnTo>
                  <a:pt x="137" y="161"/>
                </a:lnTo>
                <a:lnTo>
                  <a:pt x="140" y="161"/>
                </a:lnTo>
                <a:lnTo>
                  <a:pt x="141" y="161"/>
                </a:lnTo>
                <a:lnTo>
                  <a:pt x="142" y="157"/>
                </a:lnTo>
                <a:lnTo>
                  <a:pt x="144" y="155"/>
                </a:lnTo>
                <a:lnTo>
                  <a:pt x="145" y="153"/>
                </a:lnTo>
                <a:lnTo>
                  <a:pt x="148" y="153"/>
                </a:lnTo>
                <a:lnTo>
                  <a:pt x="148" y="152"/>
                </a:lnTo>
                <a:lnTo>
                  <a:pt x="148" y="146"/>
                </a:lnTo>
                <a:lnTo>
                  <a:pt x="149" y="146"/>
                </a:lnTo>
                <a:lnTo>
                  <a:pt x="152" y="144"/>
                </a:lnTo>
                <a:lnTo>
                  <a:pt x="154" y="142"/>
                </a:lnTo>
                <a:lnTo>
                  <a:pt x="156" y="142"/>
                </a:lnTo>
                <a:lnTo>
                  <a:pt x="156" y="139"/>
                </a:lnTo>
                <a:lnTo>
                  <a:pt x="156" y="138"/>
                </a:lnTo>
                <a:lnTo>
                  <a:pt x="156" y="135"/>
                </a:lnTo>
                <a:lnTo>
                  <a:pt x="154" y="133"/>
                </a:lnTo>
                <a:lnTo>
                  <a:pt x="152" y="132"/>
                </a:lnTo>
                <a:lnTo>
                  <a:pt x="150" y="130"/>
                </a:lnTo>
                <a:lnTo>
                  <a:pt x="148" y="130"/>
                </a:lnTo>
                <a:lnTo>
                  <a:pt x="148" y="127"/>
                </a:lnTo>
                <a:lnTo>
                  <a:pt x="149" y="122"/>
                </a:lnTo>
                <a:lnTo>
                  <a:pt x="150" y="119"/>
                </a:lnTo>
                <a:lnTo>
                  <a:pt x="154" y="116"/>
                </a:lnTo>
                <a:lnTo>
                  <a:pt x="157" y="116"/>
                </a:lnTo>
                <a:lnTo>
                  <a:pt x="161" y="119"/>
                </a:lnTo>
                <a:lnTo>
                  <a:pt x="165" y="119"/>
                </a:lnTo>
                <a:lnTo>
                  <a:pt x="169" y="121"/>
                </a:lnTo>
                <a:lnTo>
                  <a:pt x="169" y="124"/>
                </a:lnTo>
                <a:lnTo>
                  <a:pt x="172" y="125"/>
                </a:lnTo>
                <a:lnTo>
                  <a:pt x="174" y="127"/>
                </a:lnTo>
                <a:lnTo>
                  <a:pt x="177" y="124"/>
                </a:lnTo>
                <a:lnTo>
                  <a:pt x="176" y="121"/>
                </a:lnTo>
                <a:lnTo>
                  <a:pt x="174" y="119"/>
                </a:lnTo>
                <a:lnTo>
                  <a:pt x="172" y="116"/>
                </a:lnTo>
                <a:lnTo>
                  <a:pt x="169" y="111"/>
                </a:lnTo>
                <a:lnTo>
                  <a:pt x="158" y="108"/>
                </a:lnTo>
                <a:lnTo>
                  <a:pt x="157" y="106"/>
                </a:lnTo>
                <a:lnTo>
                  <a:pt x="153" y="105"/>
                </a:lnTo>
                <a:lnTo>
                  <a:pt x="144" y="100"/>
                </a:lnTo>
                <a:lnTo>
                  <a:pt x="141" y="100"/>
                </a:lnTo>
                <a:lnTo>
                  <a:pt x="140" y="99"/>
                </a:lnTo>
                <a:lnTo>
                  <a:pt x="138" y="99"/>
                </a:lnTo>
                <a:lnTo>
                  <a:pt x="137" y="99"/>
                </a:lnTo>
                <a:lnTo>
                  <a:pt x="137" y="97"/>
                </a:lnTo>
                <a:lnTo>
                  <a:pt x="140" y="95"/>
                </a:lnTo>
                <a:lnTo>
                  <a:pt x="141" y="94"/>
                </a:lnTo>
                <a:lnTo>
                  <a:pt x="141" y="92"/>
                </a:lnTo>
                <a:lnTo>
                  <a:pt x="140" y="89"/>
                </a:lnTo>
                <a:lnTo>
                  <a:pt x="137" y="91"/>
                </a:lnTo>
                <a:lnTo>
                  <a:pt x="136" y="91"/>
                </a:lnTo>
                <a:lnTo>
                  <a:pt x="138" y="91"/>
                </a:lnTo>
                <a:lnTo>
                  <a:pt x="136" y="91"/>
                </a:lnTo>
                <a:lnTo>
                  <a:pt x="128" y="91"/>
                </a:lnTo>
                <a:lnTo>
                  <a:pt x="128" y="92"/>
                </a:lnTo>
                <a:lnTo>
                  <a:pt x="124" y="89"/>
                </a:lnTo>
                <a:lnTo>
                  <a:pt x="121" y="88"/>
                </a:lnTo>
                <a:lnTo>
                  <a:pt x="120" y="88"/>
                </a:lnTo>
                <a:lnTo>
                  <a:pt x="118" y="86"/>
                </a:lnTo>
                <a:lnTo>
                  <a:pt x="112" y="81"/>
                </a:lnTo>
                <a:lnTo>
                  <a:pt x="110" y="78"/>
                </a:lnTo>
                <a:lnTo>
                  <a:pt x="109" y="75"/>
                </a:lnTo>
                <a:lnTo>
                  <a:pt x="106" y="70"/>
                </a:lnTo>
                <a:lnTo>
                  <a:pt x="104" y="64"/>
                </a:lnTo>
                <a:lnTo>
                  <a:pt x="102" y="61"/>
                </a:lnTo>
                <a:lnTo>
                  <a:pt x="101" y="59"/>
                </a:lnTo>
                <a:lnTo>
                  <a:pt x="100" y="59"/>
                </a:lnTo>
                <a:lnTo>
                  <a:pt x="98" y="59"/>
                </a:lnTo>
                <a:lnTo>
                  <a:pt x="94" y="58"/>
                </a:lnTo>
                <a:lnTo>
                  <a:pt x="93" y="56"/>
                </a:lnTo>
                <a:lnTo>
                  <a:pt x="88" y="53"/>
                </a:lnTo>
                <a:lnTo>
                  <a:pt x="85" y="51"/>
                </a:lnTo>
                <a:lnTo>
                  <a:pt x="84" y="50"/>
                </a:lnTo>
                <a:lnTo>
                  <a:pt x="84" y="47"/>
                </a:lnTo>
                <a:lnTo>
                  <a:pt x="84" y="44"/>
                </a:lnTo>
                <a:lnTo>
                  <a:pt x="84" y="39"/>
                </a:lnTo>
                <a:lnTo>
                  <a:pt x="85" y="37"/>
                </a:lnTo>
                <a:lnTo>
                  <a:pt x="86" y="36"/>
                </a:lnTo>
                <a:lnTo>
                  <a:pt x="85" y="34"/>
                </a:lnTo>
                <a:lnTo>
                  <a:pt x="82" y="34"/>
                </a:lnTo>
                <a:lnTo>
                  <a:pt x="82" y="31"/>
                </a:lnTo>
                <a:lnTo>
                  <a:pt x="82" y="29"/>
                </a:lnTo>
                <a:lnTo>
                  <a:pt x="86" y="28"/>
                </a:lnTo>
                <a:lnTo>
                  <a:pt x="88" y="28"/>
                </a:lnTo>
                <a:lnTo>
                  <a:pt x="89" y="28"/>
                </a:lnTo>
                <a:lnTo>
                  <a:pt x="97" y="23"/>
                </a:lnTo>
                <a:lnTo>
                  <a:pt x="100" y="23"/>
                </a:lnTo>
                <a:lnTo>
                  <a:pt x="102" y="23"/>
                </a:lnTo>
                <a:lnTo>
                  <a:pt x="104" y="23"/>
                </a:lnTo>
                <a:lnTo>
                  <a:pt x="105" y="25"/>
                </a:lnTo>
                <a:lnTo>
                  <a:pt x="104" y="26"/>
                </a:lnTo>
                <a:lnTo>
                  <a:pt x="105" y="26"/>
                </a:lnTo>
                <a:lnTo>
                  <a:pt x="106" y="26"/>
                </a:lnTo>
                <a:lnTo>
                  <a:pt x="108" y="26"/>
                </a:lnTo>
                <a:lnTo>
                  <a:pt x="108" y="25"/>
                </a:lnTo>
                <a:lnTo>
                  <a:pt x="108" y="23"/>
                </a:lnTo>
                <a:lnTo>
                  <a:pt x="106" y="23"/>
                </a:lnTo>
                <a:lnTo>
                  <a:pt x="105" y="22"/>
                </a:lnTo>
                <a:lnTo>
                  <a:pt x="104" y="22"/>
                </a:lnTo>
                <a:lnTo>
                  <a:pt x="102" y="22"/>
                </a:lnTo>
                <a:lnTo>
                  <a:pt x="102" y="20"/>
                </a:lnTo>
                <a:lnTo>
                  <a:pt x="101" y="18"/>
                </a:lnTo>
                <a:lnTo>
                  <a:pt x="101" y="15"/>
                </a:lnTo>
                <a:lnTo>
                  <a:pt x="102" y="14"/>
                </a:lnTo>
                <a:lnTo>
                  <a:pt x="101" y="15"/>
                </a:lnTo>
                <a:lnTo>
                  <a:pt x="100" y="14"/>
                </a:lnTo>
                <a:lnTo>
                  <a:pt x="101" y="12"/>
                </a:lnTo>
                <a:lnTo>
                  <a:pt x="104" y="9"/>
                </a:lnTo>
                <a:lnTo>
                  <a:pt x="101" y="9"/>
                </a:lnTo>
                <a:lnTo>
                  <a:pt x="97" y="9"/>
                </a:lnTo>
                <a:lnTo>
                  <a:pt x="89" y="7"/>
                </a:lnTo>
                <a:lnTo>
                  <a:pt x="86" y="6"/>
                </a:lnTo>
                <a:lnTo>
                  <a:pt x="85" y="6"/>
                </a:lnTo>
                <a:lnTo>
                  <a:pt x="82" y="4"/>
                </a:lnTo>
                <a:lnTo>
                  <a:pt x="81" y="3"/>
                </a:lnTo>
                <a:lnTo>
                  <a:pt x="81" y="1"/>
                </a:lnTo>
                <a:lnTo>
                  <a:pt x="81" y="0"/>
                </a:lnTo>
                <a:lnTo>
                  <a:pt x="80" y="0"/>
                </a:lnTo>
                <a:lnTo>
                  <a:pt x="78" y="0"/>
                </a:lnTo>
                <a:lnTo>
                  <a:pt x="77" y="0"/>
                </a:lnTo>
                <a:lnTo>
                  <a:pt x="74" y="1"/>
                </a:lnTo>
                <a:lnTo>
                  <a:pt x="69" y="1"/>
                </a:lnTo>
                <a:lnTo>
                  <a:pt x="64" y="3"/>
                </a:lnTo>
                <a:lnTo>
                  <a:pt x="60" y="4"/>
                </a:lnTo>
                <a:lnTo>
                  <a:pt x="59" y="4"/>
                </a:lnTo>
                <a:lnTo>
                  <a:pt x="55" y="3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82" name="Freeform 1309"/>
          <p:cNvSpPr>
            <a:spLocks/>
          </p:cNvSpPr>
          <p:nvPr/>
        </p:nvSpPr>
        <p:spPr bwMode="auto">
          <a:xfrm>
            <a:off x="5869307" y="2690602"/>
            <a:ext cx="337144" cy="313550"/>
          </a:xfrm>
          <a:custGeom>
            <a:avLst/>
            <a:gdLst/>
            <a:ahLst/>
            <a:cxnLst>
              <a:cxn ang="0">
                <a:pos x="53" y="4"/>
              </a:cxn>
              <a:cxn ang="0">
                <a:pos x="51" y="9"/>
              </a:cxn>
              <a:cxn ang="0">
                <a:pos x="40" y="8"/>
              </a:cxn>
              <a:cxn ang="0">
                <a:pos x="33" y="15"/>
              </a:cxn>
              <a:cxn ang="0">
                <a:pos x="27" y="12"/>
              </a:cxn>
              <a:cxn ang="0">
                <a:pos x="20" y="14"/>
              </a:cxn>
              <a:cxn ang="0">
                <a:pos x="5" y="17"/>
              </a:cxn>
              <a:cxn ang="0">
                <a:pos x="1" y="20"/>
              </a:cxn>
              <a:cxn ang="0">
                <a:pos x="0" y="31"/>
              </a:cxn>
              <a:cxn ang="0">
                <a:pos x="3" y="36"/>
              </a:cxn>
              <a:cxn ang="0">
                <a:pos x="3" y="45"/>
              </a:cxn>
              <a:cxn ang="0">
                <a:pos x="12" y="52"/>
              </a:cxn>
              <a:cxn ang="0">
                <a:pos x="17" y="55"/>
              </a:cxn>
              <a:cxn ang="0">
                <a:pos x="25" y="47"/>
              </a:cxn>
              <a:cxn ang="0">
                <a:pos x="36" y="44"/>
              </a:cxn>
              <a:cxn ang="0">
                <a:pos x="53" y="55"/>
              </a:cxn>
              <a:cxn ang="0">
                <a:pos x="63" y="74"/>
              </a:cxn>
              <a:cxn ang="0">
                <a:pos x="70" y="78"/>
              </a:cxn>
              <a:cxn ang="0">
                <a:pos x="85" y="91"/>
              </a:cxn>
              <a:cxn ang="0">
                <a:pos x="104" y="99"/>
              </a:cxn>
              <a:cxn ang="0">
                <a:pos x="114" y="108"/>
              </a:cxn>
              <a:cxn ang="0">
                <a:pos x="121" y="110"/>
              </a:cxn>
              <a:cxn ang="0">
                <a:pos x="125" y="118"/>
              </a:cxn>
              <a:cxn ang="0">
                <a:pos x="132" y="121"/>
              </a:cxn>
              <a:cxn ang="0">
                <a:pos x="136" y="129"/>
              </a:cxn>
              <a:cxn ang="0">
                <a:pos x="138" y="144"/>
              </a:cxn>
              <a:cxn ang="0">
                <a:pos x="134" y="154"/>
              </a:cxn>
              <a:cxn ang="0">
                <a:pos x="140" y="158"/>
              </a:cxn>
              <a:cxn ang="0">
                <a:pos x="145" y="150"/>
              </a:cxn>
              <a:cxn ang="0">
                <a:pos x="149" y="143"/>
              </a:cxn>
              <a:cxn ang="0">
                <a:pos x="156" y="136"/>
              </a:cxn>
              <a:cxn ang="0">
                <a:pos x="152" y="129"/>
              </a:cxn>
              <a:cxn ang="0">
                <a:pos x="149" y="119"/>
              </a:cxn>
              <a:cxn ang="0">
                <a:pos x="161" y="116"/>
              </a:cxn>
              <a:cxn ang="0">
                <a:pos x="172" y="122"/>
              </a:cxn>
              <a:cxn ang="0">
                <a:pos x="174" y="116"/>
              </a:cxn>
              <a:cxn ang="0">
                <a:pos x="157" y="103"/>
              </a:cxn>
              <a:cxn ang="0">
                <a:pos x="140" y="96"/>
              </a:cxn>
              <a:cxn ang="0">
                <a:pos x="140" y="92"/>
              </a:cxn>
              <a:cxn ang="0">
                <a:pos x="137" y="88"/>
              </a:cxn>
              <a:cxn ang="0">
                <a:pos x="128" y="88"/>
              </a:cxn>
              <a:cxn ang="0">
                <a:pos x="120" y="85"/>
              </a:cxn>
              <a:cxn ang="0">
                <a:pos x="109" y="72"/>
              </a:cxn>
              <a:cxn ang="0">
                <a:pos x="101" y="56"/>
              </a:cxn>
              <a:cxn ang="0">
                <a:pos x="93" y="53"/>
              </a:cxn>
              <a:cxn ang="0">
                <a:pos x="84" y="44"/>
              </a:cxn>
              <a:cxn ang="0">
                <a:pos x="86" y="33"/>
              </a:cxn>
              <a:cxn ang="0">
                <a:pos x="82" y="26"/>
              </a:cxn>
              <a:cxn ang="0">
                <a:pos x="97" y="20"/>
              </a:cxn>
            </a:cxnLst>
            <a:rect l="0" t="0" r="r" b="b"/>
            <a:pathLst>
              <a:path w="177" h="158">
                <a:moveTo>
                  <a:pt x="55" y="0"/>
                </a:moveTo>
                <a:lnTo>
                  <a:pt x="55" y="3"/>
                </a:lnTo>
                <a:lnTo>
                  <a:pt x="55" y="4"/>
                </a:lnTo>
                <a:lnTo>
                  <a:pt x="53" y="4"/>
                </a:lnTo>
                <a:lnTo>
                  <a:pt x="51" y="4"/>
                </a:lnTo>
                <a:lnTo>
                  <a:pt x="49" y="6"/>
                </a:lnTo>
                <a:lnTo>
                  <a:pt x="49" y="8"/>
                </a:lnTo>
                <a:lnTo>
                  <a:pt x="51" y="9"/>
                </a:lnTo>
                <a:lnTo>
                  <a:pt x="51" y="11"/>
                </a:lnTo>
                <a:lnTo>
                  <a:pt x="44" y="9"/>
                </a:lnTo>
                <a:lnTo>
                  <a:pt x="41" y="9"/>
                </a:lnTo>
                <a:lnTo>
                  <a:pt x="40" y="8"/>
                </a:lnTo>
                <a:lnTo>
                  <a:pt x="37" y="8"/>
                </a:lnTo>
                <a:lnTo>
                  <a:pt x="37" y="9"/>
                </a:lnTo>
                <a:lnTo>
                  <a:pt x="35" y="14"/>
                </a:lnTo>
                <a:lnTo>
                  <a:pt x="33" y="15"/>
                </a:lnTo>
                <a:lnTo>
                  <a:pt x="33" y="17"/>
                </a:lnTo>
                <a:lnTo>
                  <a:pt x="31" y="15"/>
                </a:lnTo>
                <a:lnTo>
                  <a:pt x="29" y="14"/>
                </a:lnTo>
                <a:lnTo>
                  <a:pt x="27" y="12"/>
                </a:lnTo>
                <a:lnTo>
                  <a:pt x="24" y="8"/>
                </a:lnTo>
                <a:lnTo>
                  <a:pt x="21" y="9"/>
                </a:lnTo>
                <a:lnTo>
                  <a:pt x="20" y="11"/>
                </a:lnTo>
                <a:lnTo>
                  <a:pt x="20" y="14"/>
                </a:lnTo>
                <a:lnTo>
                  <a:pt x="19" y="14"/>
                </a:lnTo>
                <a:lnTo>
                  <a:pt x="16" y="17"/>
                </a:lnTo>
                <a:lnTo>
                  <a:pt x="12" y="15"/>
                </a:lnTo>
                <a:lnTo>
                  <a:pt x="5" y="17"/>
                </a:lnTo>
                <a:lnTo>
                  <a:pt x="4" y="17"/>
                </a:lnTo>
                <a:lnTo>
                  <a:pt x="0" y="17"/>
                </a:lnTo>
                <a:lnTo>
                  <a:pt x="0" y="19"/>
                </a:lnTo>
                <a:lnTo>
                  <a:pt x="1" y="20"/>
                </a:lnTo>
                <a:lnTo>
                  <a:pt x="4" y="26"/>
                </a:lnTo>
                <a:lnTo>
                  <a:pt x="4" y="28"/>
                </a:lnTo>
                <a:lnTo>
                  <a:pt x="1" y="30"/>
                </a:lnTo>
                <a:lnTo>
                  <a:pt x="0" y="31"/>
                </a:lnTo>
                <a:lnTo>
                  <a:pt x="0" y="33"/>
                </a:lnTo>
                <a:lnTo>
                  <a:pt x="0" y="34"/>
                </a:lnTo>
                <a:lnTo>
                  <a:pt x="0" y="36"/>
                </a:lnTo>
                <a:lnTo>
                  <a:pt x="3" y="36"/>
                </a:lnTo>
                <a:lnTo>
                  <a:pt x="3" y="37"/>
                </a:lnTo>
                <a:lnTo>
                  <a:pt x="3" y="41"/>
                </a:lnTo>
                <a:lnTo>
                  <a:pt x="3" y="42"/>
                </a:lnTo>
                <a:lnTo>
                  <a:pt x="3" y="45"/>
                </a:lnTo>
                <a:lnTo>
                  <a:pt x="5" y="47"/>
                </a:lnTo>
                <a:lnTo>
                  <a:pt x="12" y="48"/>
                </a:lnTo>
                <a:lnTo>
                  <a:pt x="12" y="50"/>
                </a:lnTo>
                <a:lnTo>
                  <a:pt x="12" y="52"/>
                </a:lnTo>
                <a:lnTo>
                  <a:pt x="12" y="53"/>
                </a:lnTo>
                <a:lnTo>
                  <a:pt x="12" y="55"/>
                </a:lnTo>
                <a:lnTo>
                  <a:pt x="15" y="55"/>
                </a:lnTo>
                <a:lnTo>
                  <a:pt x="17" y="55"/>
                </a:lnTo>
                <a:lnTo>
                  <a:pt x="21" y="52"/>
                </a:lnTo>
                <a:lnTo>
                  <a:pt x="21" y="50"/>
                </a:lnTo>
                <a:lnTo>
                  <a:pt x="24" y="47"/>
                </a:lnTo>
                <a:lnTo>
                  <a:pt x="25" y="47"/>
                </a:lnTo>
                <a:lnTo>
                  <a:pt x="27" y="45"/>
                </a:lnTo>
                <a:lnTo>
                  <a:pt x="31" y="44"/>
                </a:lnTo>
                <a:lnTo>
                  <a:pt x="33" y="44"/>
                </a:lnTo>
                <a:lnTo>
                  <a:pt x="36" y="44"/>
                </a:lnTo>
                <a:lnTo>
                  <a:pt x="47" y="50"/>
                </a:lnTo>
                <a:lnTo>
                  <a:pt x="52" y="52"/>
                </a:lnTo>
                <a:lnTo>
                  <a:pt x="52" y="53"/>
                </a:lnTo>
                <a:lnTo>
                  <a:pt x="53" y="55"/>
                </a:lnTo>
                <a:lnTo>
                  <a:pt x="56" y="64"/>
                </a:lnTo>
                <a:lnTo>
                  <a:pt x="57" y="66"/>
                </a:lnTo>
                <a:lnTo>
                  <a:pt x="57" y="67"/>
                </a:lnTo>
                <a:lnTo>
                  <a:pt x="63" y="74"/>
                </a:lnTo>
                <a:lnTo>
                  <a:pt x="65" y="75"/>
                </a:lnTo>
                <a:lnTo>
                  <a:pt x="66" y="80"/>
                </a:lnTo>
                <a:lnTo>
                  <a:pt x="69" y="78"/>
                </a:lnTo>
                <a:lnTo>
                  <a:pt x="70" y="78"/>
                </a:lnTo>
                <a:lnTo>
                  <a:pt x="73" y="80"/>
                </a:lnTo>
                <a:lnTo>
                  <a:pt x="77" y="85"/>
                </a:lnTo>
                <a:lnTo>
                  <a:pt x="80" y="86"/>
                </a:lnTo>
                <a:lnTo>
                  <a:pt x="85" y="91"/>
                </a:lnTo>
                <a:lnTo>
                  <a:pt x="88" y="94"/>
                </a:lnTo>
                <a:lnTo>
                  <a:pt x="94" y="100"/>
                </a:lnTo>
                <a:lnTo>
                  <a:pt x="96" y="99"/>
                </a:lnTo>
                <a:lnTo>
                  <a:pt x="104" y="99"/>
                </a:lnTo>
                <a:lnTo>
                  <a:pt x="105" y="100"/>
                </a:lnTo>
                <a:lnTo>
                  <a:pt x="109" y="103"/>
                </a:lnTo>
                <a:lnTo>
                  <a:pt x="110" y="107"/>
                </a:lnTo>
                <a:lnTo>
                  <a:pt x="114" y="108"/>
                </a:lnTo>
                <a:lnTo>
                  <a:pt x="116" y="108"/>
                </a:lnTo>
                <a:lnTo>
                  <a:pt x="114" y="111"/>
                </a:lnTo>
                <a:lnTo>
                  <a:pt x="120" y="110"/>
                </a:lnTo>
                <a:lnTo>
                  <a:pt x="121" y="110"/>
                </a:lnTo>
                <a:lnTo>
                  <a:pt x="122" y="111"/>
                </a:lnTo>
                <a:lnTo>
                  <a:pt x="124" y="114"/>
                </a:lnTo>
                <a:lnTo>
                  <a:pt x="124" y="116"/>
                </a:lnTo>
                <a:lnTo>
                  <a:pt x="125" y="118"/>
                </a:lnTo>
                <a:lnTo>
                  <a:pt x="128" y="119"/>
                </a:lnTo>
                <a:lnTo>
                  <a:pt x="129" y="121"/>
                </a:lnTo>
                <a:lnTo>
                  <a:pt x="130" y="122"/>
                </a:lnTo>
                <a:lnTo>
                  <a:pt x="132" y="121"/>
                </a:lnTo>
                <a:lnTo>
                  <a:pt x="133" y="121"/>
                </a:lnTo>
                <a:lnTo>
                  <a:pt x="136" y="122"/>
                </a:lnTo>
                <a:lnTo>
                  <a:pt x="136" y="124"/>
                </a:lnTo>
                <a:lnTo>
                  <a:pt x="136" y="129"/>
                </a:lnTo>
                <a:lnTo>
                  <a:pt x="140" y="133"/>
                </a:lnTo>
                <a:lnTo>
                  <a:pt x="141" y="138"/>
                </a:lnTo>
                <a:lnTo>
                  <a:pt x="142" y="143"/>
                </a:lnTo>
                <a:lnTo>
                  <a:pt x="138" y="144"/>
                </a:lnTo>
                <a:lnTo>
                  <a:pt x="137" y="146"/>
                </a:lnTo>
                <a:lnTo>
                  <a:pt x="137" y="149"/>
                </a:lnTo>
                <a:lnTo>
                  <a:pt x="136" y="150"/>
                </a:lnTo>
                <a:lnTo>
                  <a:pt x="134" y="154"/>
                </a:lnTo>
                <a:lnTo>
                  <a:pt x="134" y="157"/>
                </a:lnTo>
                <a:lnTo>
                  <a:pt x="136" y="158"/>
                </a:lnTo>
                <a:lnTo>
                  <a:pt x="137" y="158"/>
                </a:lnTo>
                <a:lnTo>
                  <a:pt x="140" y="158"/>
                </a:lnTo>
                <a:lnTo>
                  <a:pt x="141" y="158"/>
                </a:lnTo>
                <a:lnTo>
                  <a:pt x="142" y="154"/>
                </a:lnTo>
                <a:lnTo>
                  <a:pt x="144" y="152"/>
                </a:lnTo>
                <a:lnTo>
                  <a:pt x="145" y="150"/>
                </a:lnTo>
                <a:lnTo>
                  <a:pt x="148" y="150"/>
                </a:lnTo>
                <a:lnTo>
                  <a:pt x="148" y="149"/>
                </a:lnTo>
                <a:lnTo>
                  <a:pt x="148" y="143"/>
                </a:lnTo>
                <a:lnTo>
                  <a:pt x="149" y="143"/>
                </a:lnTo>
                <a:lnTo>
                  <a:pt x="152" y="141"/>
                </a:lnTo>
                <a:lnTo>
                  <a:pt x="154" y="139"/>
                </a:lnTo>
                <a:lnTo>
                  <a:pt x="156" y="139"/>
                </a:lnTo>
                <a:lnTo>
                  <a:pt x="156" y="136"/>
                </a:lnTo>
                <a:lnTo>
                  <a:pt x="156" y="135"/>
                </a:lnTo>
                <a:lnTo>
                  <a:pt x="156" y="132"/>
                </a:lnTo>
                <a:lnTo>
                  <a:pt x="154" y="130"/>
                </a:lnTo>
                <a:lnTo>
                  <a:pt x="152" y="129"/>
                </a:lnTo>
                <a:lnTo>
                  <a:pt x="150" y="127"/>
                </a:lnTo>
                <a:lnTo>
                  <a:pt x="148" y="127"/>
                </a:lnTo>
                <a:lnTo>
                  <a:pt x="148" y="124"/>
                </a:lnTo>
                <a:lnTo>
                  <a:pt x="149" y="119"/>
                </a:lnTo>
                <a:lnTo>
                  <a:pt x="150" y="116"/>
                </a:lnTo>
                <a:lnTo>
                  <a:pt x="154" y="113"/>
                </a:lnTo>
                <a:lnTo>
                  <a:pt x="157" y="113"/>
                </a:lnTo>
                <a:lnTo>
                  <a:pt x="161" y="116"/>
                </a:lnTo>
                <a:lnTo>
                  <a:pt x="165" y="116"/>
                </a:lnTo>
                <a:lnTo>
                  <a:pt x="169" y="118"/>
                </a:lnTo>
                <a:lnTo>
                  <a:pt x="169" y="121"/>
                </a:lnTo>
                <a:lnTo>
                  <a:pt x="172" y="122"/>
                </a:lnTo>
                <a:lnTo>
                  <a:pt x="174" y="124"/>
                </a:lnTo>
                <a:lnTo>
                  <a:pt x="177" y="121"/>
                </a:lnTo>
                <a:lnTo>
                  <a:pt x="176" y="118"/>
                </a:lnTo>
                <a:lnTo>
                  <a:pt x="174" y="116"/>
                </a:lnTo>
                <a:lnTo>
                  <a:pt x="172" y="113"/>
                </a:lnTo>
                <a:lnTo>
                  <a:pt x="169" y="108"/>
                </a:lnTo>
                <a:lnTo>
                  <a:pt x="158" y="105"/>
                </a:lnTo>
                <a:lnTo>
                  <a:pt x="157" y="103"/>
                </a:lnTo>
                <a:lnTo>
                  <a:pt x="153" y="102"/>
                </a:lnTo>
                <a:lnTo>
                  <a:pt x="144" y="97"/>
                </a:lnTo>
                <a:lnTo>
                  <a:pt x="141" y="97"/>
                </a:lnTo>
                <a:lnTo>
                  <a:pt x="140" y="96"/>
                </a:lnTo>
                <a:lnTo>
                  <a:pt x="138" y="96"/>
                </a:lnTo>
                <a:lnTo>
                  <a:pt x="137" y="96"/>
                </a:lnTo>
                <a:lnTo>
                  <a:pt x="137" y="94"/>
                </a:lnTo>
                <a:lnTo>
                  <a:pt x="140" y="92"/>
                </a:lnTo>
                <a:lnTo>
                  <a:pt x="141" y="91"/>
                </a:lnTo>
                <a:lnTo>
                  <a:pt x="141" y="89"/>
                </a:lnTo>
                <a:lnTo>
                  <a:pt x="140" y="86"/>
                </a:lnTo>
                <a:lnTo>
                  <a:pt x="137" y="88"/>
                </a:lnTo>
                <a:lnTo>
                  <a:pt x="136" y="88"/>
                </a:lnTo>
                <a:lnTo>
                  <a:pt x="138" y="88"/>
                </a:lnTo>
                <a:lnTo>
                  <a:pt x="136" y="88"/>
                </a:lnTo>
                <a:lnTo>
                  <a:pt x="128" y="88"/>
                </a:lnTo>
                <a:lnTo>
                  <a:pt x="128" y="89"/>
                </a:lnTo>
                <a:lnTo>
                  <a:pt x="124" y="86"/>
                </a:lnTo>
                <a:lnTo>
                  <a:pt x="121" y="85"/>
                </a:lnTo>
                <a:lnTo>
                  <a:pt x="120" y="85"/>
                </a:lnTo>
                <a:lnTo>
                  <a:pt x="118" y="83"/>
                </a:lnTo>
                <a:lnTo>
                  <a:pt x="112" y="78"/>
                </a:lnTo>
                <a:lnTo>
                  <a:pt x="110" y="75"/>
                </a:lnTo>
                <a:lnTo>
                  <a:pt x="109" y="72"/>
                </a:lnTo>
                <a:lnTo>
                  <a:pt x="106" y="67"/>
                </a:lnTo>
                <a:lnTo>
                  <a:pt x="104" y="61"/>
                </a:lnTo>
                <a:lnTo>
                  <a:pt x="102" y="58"/>
                </a:lnTo>
                <a:lnTo>
                  <a:pt x="101" y="56"/>
                </a:lnTo>
                <a:lnTo>
                  <a:pt x="100" y="56"/>
                </a:lnTo>
                <a:lnTo>
                  <a:pt x="98" y="56"/>
                </a:lnTo>
                <a:lnTo>
                  <a:pt x="94" y="55"/>
                </a:lnTo>
                <a:lnTo>
                  <a:pt x="93" y="53"/>
                </a:lnTo>
                <a:lnTo>
                  <a:pt x="88" y="50"/>
                </a:lnTo>
                <a:lnTo>
                  <a:pt x="85" y="48"/>
                </a:lnTo>
                <a:lnTo>
                  <a:pt x="84" y="47"/>
                </a:lnTo>
                <a:lnTo>
                  <a:pt x="84" y="44"/>
                </a:lnTo>
                <a:lnTo>
                  <a:pt x="84" y="41"/>
                </a:lnTo>
                <a:lnTo>
                  <a:pt x="84" y="36"/>
                </a:lnTo>
                <a:lnTo>
                  <a:pt x="85" y="34"/>
                </a:lnTo>
                <a:lnTo>
                  <a:pt x="86" y="33"/>
                </a:lnTo>
                <a:lnTo>
                  <a:pt x="85" y="31"/>
                </a:lnTo>
                <a:lnTo>
                  <a:pt x="82" y="31"/>
                </a:lnTo>
                <a:lnTo>
                  <a:pt x="82" y="28"/>
                </a:lnTo>
                <a:lnTo>
                  <a:pt x="82" y="26"/>
                </a:lnTo>
                <a:lnTo>
                  <a:pt x="86" y="25"/>
                </a:lnTo>
                <a:lnTo>
                  <a:pt x="88" y="25"/>
                </a:lnTo>
                <a:lnTo>
                  <a:pt x="89" y="25"/>
                </a:lnTo>
                <a:lnTo>
                  <a:pt x="97" y="20"/>
                </a:lnTo>
                <a:lnTo>
                  <a:pt x="100" y="2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92D050"/>
              </a:solidFill>
            </a:endParaRPr>
          </a:p>
        </p:txBody>
      </p:sp>
      <p:sp>
        <p:nvSpPr>
          <p:cNvPr id="1383" name="Freeform 1310"/>
          <p:cNvSpPr>
            <a:spLocks/>
          </p:cNvSpPr>
          <p:nvPr/>
        </p:nvSpPr>
        <p:spPr bwMode="auto">
          <a:xfrm>
            <a:off x="5972594" y="2684158"/>
            <a:ext cx="99391" cy="51542"/>
          </a:xfrm>
          <a:custGeom>
            <a:avLst/>
            <a:gdLst/>
            <a:ahLst/>
            <a:cxnLst>
              <a:cxn ang="0">
                <a:pos x="45" y="23"/>
              </a:cxn>
              <a:cxn ang="0">
                <a:pos x="47" y="23"/>
              </a:cxn>
              <a:cxn ang="0">
                <a:pos x="49" y="23"/>
              </a:cxn>
              <a:cxn ang="0">
                <a:pos x="50" y="25"/>
              </a:cxn>
              <a:cxn ang="0">
                <a:pos x="49" y="26"/>
              </a:cxn>
              <a:cxn ang="0">
                <a:pos x="50" y="26"/>
              </a:cxn>
              <a:cxn ang="0">
                <a:pos x="51" y="26"/>
              </a:cxn>
              <a:cxn ang="0">
                <a:pos x="53" y="26"/>
              </a:cxn>
              <a:cxn ang="0">
                <a:pos x="53" y="25"/>
              </a:cxn>
              <a:cxn ang="0">
                <a:pos x="53" y="23"/>
              </a:cxn>
              <a:cxn ang="0">
                <a:pos x="51" y="23"/>
              </a:cxn>
              <a:cxn ang="0">
                <a:pos x="50" y="22"/>
              </a:cxn>
              <a:cxn ang="0">
                <a:pos x="49" y="22"/>
              </a:cxn>
              <a:cxn ang="0">
                <a:pos x="47" y="22"/>
              </a:cxn>
              <a:cxn ang="0">
                <a:pos x="47" y="20"/>
              </a:cxn>
              <a:cxn ang="0">
                <a:pos x="46" y="18"/>
              </a:cxn>
              <a:cxn ang="0">
                <a:pos x="46" y="15"/>
              </a:cxn>
              <a:cxn ang="0">
                <a:pos x="47" y="14"/>
              </a:cxn>
              <a:cxn ang="0">
                <a:pos x="46" y="15"/>
              </a:cxn>
              <a:cxn ang="0">
                <a:pos x="45" y="14"/>
              </a:cxn>
              <a:cxn ang="0">
                <a:pos x="46" y="12"/>
              </a:cxn>
              <a:cxn ang="0">
                <a:pos x="49" y="9"/>
              </a:cxn>
              <a:cxn ang="0">
                <a:pos x="46" y="9"/>
              </a:cxn>
              <a:cxn ang="0">
                <a:pos x="42" y="9"/>
              </a:cxn>
              <a:cxn ang="0">
                <a:pos x="34" y="7"/>
              </a:cxn>
              <a:cxn ang="0">
                <a:pos x="31" y="6"/>
              </a:cxn>
              <a:cxn ang="0">
                <a:pos x="30" y="6"/>
              </a:cxn>
              <a:cxn ang="0">
                <a:pos x="27" y="4"/>
              </a:cxn>
              <a:cxn ang="0">
                <a:pos x="26" y="3"/>
              </a:cxn>
              <a:cxn ang="0">
                <a:pos x="26" y="1"/>
              </a:cxn>
              <a:cxn ang="0">
                <a:pos x="26" y="0"/>
              </a:cxn>
              <a:cxn ang="0">
                <a:pos x="25" y="0"/>
              </a:cxn>
              <a:cxn ang="0">
                <a:pos x="23" y="0"/>
              </a:cxn>
              <a:cxn ang="0">
                <a:pos x="22" y="0"/>
              </a:cxn>
              <a:cxn ang="0">
                <a:pos x="19" y="1"/>
              </a:cxn>
              <a:cxn ang="0">
                <a:pos x="14" y="1"/>
              </a:cxn>
              <a:cxn ang="0">
                <a:pos x="9" y="3"/>
              </a:cxn>
              <a:cxn ang="0">
                <a:pos x="5" y="4"/>
              </a:cxn>
              <a:cxn ang="0">
                <a:pos x="4" y="4"/>
              </a:cxn>
              <a:cxn ang="0">
                <a:pos x="0" y="3"/>
              </a:cxn>
            </a:cxnLst>
            <a:rect l="0" t="0" r="r" b="b"/>
            <a:pathLst>
              <a:path w="53" h="26">
                <a:moveTo>
                  <a:pt x="45" y="23"/>
                </a:moveTo>
                <a:lnTo>
                  <a:pt x="47" y="23"/>
                </a:lnTo>
                <a:lnTo>
                  <a:pt x="49" y="23"/>
                </a:lnTo>
                <a:lnTo>
                  <a:pt x="50" y="25"/>
                </a:lnTo>
                <a:lnTo>
                  <a:pt x="49" y="26"/>
                </a:lnTo>
                <a:lnTo>
                  <a:pt x="50" y="26"/>
                </a:lnTo>
                <a:lnTo>
                  <a:pt x="51" y="26"/>
                </a:lnTo>
                <a:lnTo>
                  <a:pt x="53" y="26"/>
                </a:lnTo>
                <a:lnTo>
                  <a:pt x="53" y="25"/>
                </a:lnTo>
                <a:lnTo>
                  <a:pt x="53" y="23"/>
                </a:lnTo>
                <a:lnTo>
                  <a:pt x="51" y="23"/>
                </a:lnTo>
                <a:lnTo>
                  <a:pt x="50" y="22"/>
                </a:lnTo>
                <a:lnTo>
                  <a:pt x="49" y="22"/>
                </a:lnTo>
                <a:lnTo>
                  <a:pt x="47" y="22"/>
                </a:lnTo>
                <a:lnTo>
                  <a:pt x="47" y="20"/>
                </a:lnTo>
                <a:lnTo>
                  <a:pt x="46" y="18"/>
                </a:lnTo>
                <a:lnTo>
                  <a:pt x="46" y="15"/>
                </a:lnTo>
                <a:lnTo>
                  <a:pt x="47" y="14"/>
                </a:lnTo>
                <a:lnTo>
                  <a:pt x="46" y="15"/>
                </a:lnTo>
                <a:lnTo>
                  <a:pt x="45" y="14"/>
                </a:lnTo>
                <a:lnTo>
                  <a:pt x="46" y="12"/>
                </a:lnTo>
                <a:lnTo>
                  <a:pt x="49" y="9"/>
                </a:lnTo>
                <a:lnTo>
                  <a:pt x="46" y="9"/>
                </a:lnTo>
                <a:lnTo>
                  <a:pt x="42" y="9"/>
                </a:lnTo>
                <a:lnTo>
                  <a:pt x="34" y="7"/>
                </a:lnTo>
                <a:lnTo>
                  <a:pt x="31" y="6"/>
                </a:lnTo>
                <a:lnTo>
                  <a:pt x="30" y="6"/>
                </a:lnTo>
                <a:lnTo>
                  <a:pt x="27" y="4"/>
                </a:lnTo>
                <a:lnTo>
                  <a:pt x="26" y="3"/>
                </a:lnTo>
                <a:lnTo>
                  <a:pt x="26" y="1"/>
                </a:lnTo>
                <a:lnTo>
                  <a:pt x="26" y="0"/>
                </a:lnTo>
                <a:lnTo>
                  <a:pt x="25" y="0"/>
                </a:lnTo>
                <a:lnTo>
                  <a:pt x="23" y="0"/>
                </a:lnTo>
                <a:lnTo>
                  <a:pt x="22" y="0"/>
                </a:lnTo>
                <a:lnTo>
                  <a:pt x="19" y="1"/>
                </a:lnTo>
                <a:lnTo>
                  <a:pt x="14" y="1"/>
                </a:lnTo>
                <a:lnTo>
                  <a:pt x="9" y="3"/>
                </a:lnTo>
                <a:lnTo>
                  <a:pt x="5" y="4"/>
                </a:lnTo>
                <a:lnTo>
                  <a:pt x="4" y="4"/>
                </a:lnTo>
                <a:lnTo>
                  <a:pt x="0" y="3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84" name="Freeform 1311"/>
          <p:cNvSpPr>
            <a:spLocks/>
          </p:cNvSpPr>
          <p:nvPr/>
        </p:nvSpPr>
        <p:spPr bwMode="auto">
          <a:xfrm>
            <a:off x="6122653" y="2742145"/>
            <a:ext cx="114979" cy="103085"/>
          </a:xfrm>
          <a:custGeom>
            <a:avLst/>
            <a:gdLst/>
            <a:ahLst/>
            <a:cxnLst>
              <a:cxn ang="0">
                <a:pos x="42" y="49"/>
              </a:cxn>
              <a:cxn ang="0">
                <a:pos x="42" y="49"/>
              </a:cxn>
              <a:cxn ang="0">
                <a:pos x="36" y="46"/>
              </a:cxn>
              <a:cxn ang="0">
                <a:pos x="32" y="44"/>
              </a:cxn>
              <a:cxn ang="0">
                <a:pos x="31" y="43"/>
              </a:cxn>
              <a:cxn ang="0">
                <a:pos x="28" y="43"/>
              </a:cxn>
              <a:cxn ang="0">
                <a:pos x="24" y="37"/>
              </a:cxn>
              <a:cxn ang="0">
                <a:pos x="23" y="32"/>
              </a:cxn>
              <a:cxn ang="0">
                <a:pos x="15" y="27"/>
              </a:cxn>
              <a:cxn ang="0">
                <a:pos x="12" y="22"/>
              </a:cxn>
              <a:cxn ang="0">
                <a:pos x="8" y="19"/>
              </a:cxn>
              <a:cxn ang="0">
                <a:pos x="7" y="18"/>
              </a:cxn>
              <a:cxn ang="0">
                <a:pos x="7" y="16"/>
              </a:cxn>
              <a:cxn ang="0">
                <a:pos x="6" y="13"/>
              </a:cxn>
              <a:cxn ang="0">
                <a:pos x="3" y="10"/>
              </a:cxn>
              <a:cxn ang="0">
                <a:pos x="2" y="8"/>
              </a:cxn>
              <a:cxn ang="0">
                <a:pos x="2" y="2"/>
              </a:cxn>
              <a:cxn ang="0">
                <a:pos x="6" y="2"/>
              </a:cxn>
              <a:cxn ang="0">
                <a:pos x="12" y="2"/>
              </a:cxn>
              <a:cxn ang="0">
                <a:pos x="19" y="0"/>
              </a:cxn>
              <a:cxn ang="0">
                <a:pos x="24" y="2"/>
              </a:cxn>
              <a:cxn ang="0">
                <a:pos x="30" y="4"/>
              </a:cxn>
              <a:cxn ang="0">
                <a:pos x="32" y="5"/>
              </a:cxn>
              <a:cxn ang="0">
                <a:pos x="35" y="4"/>
              </a:cxn>
              <a:cxn ang="0">
                <a:pos x="38" y="4"/>
              </a:cxn>
              <a:cxn ang="0">
                <a:pos x="42" y="4"/>
              </a:cxn>
              <a:cxn ang="0">
                <a:pos x="43" y="4"/>
              </a:cxn>
              <a:cxn ang="0">
                <a:pos x="47" y="7"/>
              </a:cxn>
              <a:cxn ang="0">
                <a:pos x="51" y="8"/>
              </a:cxn>
              <a:cxn ang="0">
                <a:pos x="56" y="7"/>
              </a:cxn>
              <a:cxn ang="0">
                <a:pos x="56" y="10"/>
              </a:cxn>
              <a:cxn ang="0">
                <a:pos x="53" y="15"/>
              </a:cxn>
              <a:cxn ang="0">
                <a:pos x="53" y="16"/>
              </a:cxn>
              <a:cxn ang="0">
                <a:pos x="52" y="18"/>
              </a:cxn>
              <a:cxn ang="0">
                <a:pos x="55" y="19"/>
              </a:cxn>
              <a:cxn ang="0">
                <a:pos x="57" y="21"/>
              </a:cxn>
              <a:cxn ang="0">
                <a:pos x="59" y="22"/>
              </a:cxn>
              <a:cxn ang="0">
                <a:pos x="60" y="24"/>
              </a:cxn>
              <a:cxn ang="0">
                <a:pos x="56" y="24"/>
              </a:cxn>
              <a:cxn ang="0">
                <a:pos x="56" y="26"/>
              </a:cxn>
              <a:cxn ang="0">
                <a:pos x="59" y="29"/>
              </a:cxn>
              <a:cxn ang="0">
                <a:pos x="57" y="30"/>
              </a:cxn>
              <a:cxn ang="0">
                <a:pos x="56" y="30"/>
              </a:cxn>
              <a:cxn ang="0">
                <a:pos x="53" y="32"/>
              </a:cxn>
              <a:cxn ang="0">
                <a:pos x="51" y="32"/>
              </a:cxn>
              <a:cxn ang="0">
                <a:pos x="49" y="33"/>
              </a:cxn>
              <a:cxn ang="0">
                <a:pos x="51" y="35"/>
              </a:cxn>
              <a:cxn ang="0">
                <a:pos x="52" y="37"/>
              </a:cxn>
              <a:cxn ang="0">
                <a:pos x="49" y="37"/>
              </a:cxn>
              <a:cxn ang="0">
                <a:pos x="48" y="35"/>
              </a:cxn>
              <a:cxn ang="0">
                <a:pos x="45" y="38"/>
              </a:cxn>
              <a:cxn ang="0">
                <a:pos x="44" y="41"/>
              </a:cxn>
              <a:cxn ang="0">
                <a:pos x="43" y="44"/>
              </a:cxn>
              <a:cxn ang="0">
                <a:pos x="43" y="46"/>
              </a:cxn>
              <a:cxn ang="0">
                <a:pos x="42" y="49"/>
              </a:cxn>
            </a:cxnLst>
            <a:rect l="0" t="0" r="r" b="b"/>
            <a:pathLst>
              <a:path w="60" h="51">
                <a:moveTo>
                  <a:pt x="42" y="51"/>
                </a:moveTo>
                <a:lnTo>
                  <a:pt x="42" y="49"/>
                </a:lnTo>
                <a:lnTo>
                  <a:pt x="40" y="49"/>
                </a:lnTo>
                <a:lnTo>
                  <a:pt x="42" y="49"/>
                </a:lnTo>
                <a:lnTo>
                  <a:pt x="39" y="48"/>
                </a:lnTo>
                <a:lnTo>
                  <a:pt x="36" y="46"/>
                </a:lnTo>
                <a:lnTo>
                  <a:pt x="35" y="46"/>
                </a:lnTo>
                <a:lnTo>
                  <a:pt x="32" y="44"/>
                </a:lnTo>
                <a:lnTo>
                  <a:pt x="32" y="43"/>
                </a:lnTo>
                <a:lnTo>
                  <a:pt x="31" y="43"/>
                </a:lnTo>
                <a:lnTo>
                  <a:pt x="28" y="44"/>
                </a:lnTo>
                <a:lnTo>
                  <a:pt x="28" y="43"/>
                </a:lnTo>
                <a:lnTo>
                  <a:pt x="30" y="41"/>
                </a:lnTo>
                <a:lnTo>
                  <a:pt x="24" y="37"/>
                </a:lnTo>
                <a:lnTo>
                  <a:pt x="23" y="33"/>
                </a:lnTo>
                <a:lnTo>
                  <a:pt x="23" y="32"/>
                </a:lnTo>
                <a:lnTo>
                  <a:pt x="20" y="32"/>
                </a:lnTo>
                <a:lnTo>
                  <a:pt x="15" y="27"/>
                </a:lnTo>
                <a:lnTo>
                  <a:pt x="15" y="26"/>
                </a:lnTo>
                <a:lnTo>
                  <a:pt x="12" y="22"/>
                </a:lnTo>
                <a:lnTo>
                  <a:pt x="11" y="22"/>
                </a:lnTo>
                <a:lnTo>
                  <a:pt x="8" y="19"/>
                </a:lnTo>
                <a:lnTo>
                  <a:pt x="7" y="19"/>
                </a:lnTo>
                <a:lnTo>
                  <a:pt x="7" y="18"/>
                </a:lnTo>
                <a:lnTo>
                  <a:pt x="8" y="18"/>
                </a:lnTo>
                <a:lnTo>
                  <a:pt x="7" y="16"/>
                </a:lnTo>
                <a:lnTo>
                  <a:pt x="7" y="15"/>
                </a:lnTo>
                <a:lnTo>
                  <a:pt x="6" y="13"/>
                </a:lnTo>
                <a:lnTo>
                  <a:pt x="4" y="10"/>
                </a:lnTo>
                <a:lnTo>
                  <a:pt x="3" y="10"/>
                </a:lnTo>
                <a:lnTo>
                  <a:pt x="0" y="8"/>
                </a:lnTo>
                <a:lnTo>
                  <a:pt x="2" y="8"/>
                </a:lnTo>
                <a:lnTo>
                  <a:pt x="2" y="7"/>
                </a:lnTo>
                <a:lnTo>
                  <a:pt x="2" y="2"/>
                </a:lnTo>
                <a:lnTo>
                  <a:pt x="3" y="0"/>
                </a:lnTo>
                <a:lnTo>
                  <a:pt x="6" y="2"/>
                </a:lnTo>
                <a:lnTo>
                  <a:pt x="10" y="5"/>
                </a:lnTo>
                <a:lnTo>
                  <a:pt x="12" y="2"/>
                </a:lnTo>
                <a:lnTo>
                  <a:pt x="18" y="2"/>
                </a:lnTo>
                <a:lnTo>
                  <a:pt x="19" y="0"/>
                </a:lnTo>
                <a:lnTo>
                  <a:pt x="23" y="2"/>
                </a:lnTo>
                <a:lnTo>
                  <a:pt x="24" y="2"/>
                </a:lnTo>
                <a:lnTo>
                  <a:pt x="26" y="4"/>
                </a:lnTo>
                <a:lnTo>
                  <a:pt x="30" y="4"/>
                </a:lnTo>
                <a:lnTo>
                  <a:pt x="31" y="4"/>
                </a:lnTo>
                <a:lnTo>
                  <a:pt x="32" y="5"/>
                </a:lnTo>
                <a:lnTo>
                  <a:pt x="34" y="5"/>
                </a:lnTo>
                <a:lnTo>
                  <a:pt x="35" y="4"/>
                </a:lnTo>
                <a:lnTo>
                  <a:pt x="36" y="4"/>
                </a:lnTo>
                <a:lnTo>
                  <a:pt x="38" y="4"/>
                </a:lnTo>
                <a:lnTo>
                  <a:pt x="39" y="4"/>
                </a:lnTo>
                <a:lnTo>
                  <a:pt x="42" y="4"/>
                </a:lnTo>
                <a:lnTo>
                  <a:pt x="43" y="5"/>
                </a:lnTo>
                <a:lnTo>
                  <a:pt x="43" y="4"/>
                </a:lnTo>
                <a:lnTo>
                  <a:pt x="45" y="4"/>
                </a:lnTo>
                <a:lnTo>
                  <a:pt x="47" y="7"/>
                </a:lnTo>
                <a:lnTo>
                  <a:pt x="48" y="8"/>
                </a:lnTo>
                <a:lnTo>
                  <a:pt x="51" y="8"/>
                </a:lnTo>
                <a:lnTo>
                  <a:pt x="52" y="7"/>
                </a:lnTo>
                <a:lnTo>
                  <a:pt x="56" y="7"/>
                </a:lnTo>
                <a:lnTo>
                  <a:pt x="56" y="8"/>
                </a:lnTo>
                <a:lnTo>
                  <a:pt x="56" y="10"/>
                </a:lnTo>
                <a:lnTo>
                  <a:pt x="55" y="11"/>
                </a:lnTo>
                <a:lnTo>
                  <a:pt x="53" y="15"/>
                </a:lnTo>
                <a:lnTo>
                  <a:pt x="52" y="15"/>
                </a:lnTo>
                <a:lnTo>
                  <a:pt x="53" y="16"/>
                </a:lnTo>
                <a:lnTo>
                  <a:pt x="52" y="16"/>
                </a:lnTo>
                <a:lnTo>
                  <a:pt x="52" y="18"/>
                </a:lnTo>
                <a:lnTo>
                  <a:pt x="53" y="18"/>
                </a:lnTo>
                <a:lnTo>
                  <a:pt x="55" y="19"/>
                </a:lnTo>
                <a:lnTo>
                  <a:pt x="56" y="19"/>
                </a:lnTo>
                <a:lnTo>
                  <a:pt x="57" y="21"/>
                </a:lnTo>
                <a:lnTo>
                  <a:pt x="57" y="22"/>
                </a:lnTo>
                <a:lnTo>
                  <a:pt x="59" y="22"/>
                </a:lnTo>
                <a:lnTo>
                  <a:pt x="60" y="22"/>
                </a:lnTo>
                <a:lnTo>
                  <a:pt x="60" y="24"/>
                </a:lnTo>
                <a:lnTo>
                  <a:pt x="59" y="24"/>
                </a:lnTo>
                <a:lnTo>
                  <a:pt x="56" y="24"/>
                </a:lnTo>
                <a:lnTo>
                  <a:pt x="55" y="24"/>
                </a:lnTo>
                <a:lnTo>
                  <a:pt x="56" y="26"/>
                </a:lnTo>
                <a:lnTo>
                  <a:pt x="57" y="29"/>
                </a:lnTo>
                <a:lnTo>
                  <a:pt x="59" y="29"/>
                </a:lnTo>
                <a:lnTo>
                  <a:pt x="59" y="30"/>
                </a:lnTo>
                <a:lnTo>
                  <a:pt x="57" y="30"/>
                </a:lnTo>
                <a:lnTo>
                  <a:pt x="57" y="32"/>
                </a:lnTo>
                <a:lnTo>
                  <a:pt x="56" y="30"/>
                </a:lnTo>
                <a:lnTo>
                  <a:pt x="55" y="32"/>
                </a:lnTo>
                <a:lnTo>
                  <a:pt x="53" y="32"/>
                </a:lnTo>
                <a:lnTo>
                  <a:pt x="52" y="32"/>
                </a:lnTo>
                <a:lnTo>
                  <a:pt x="51" y="32"/>
                </a:lnTo>
                <a:lnTo>
                  <a:pt x="49" y="32"/>
                </a:lnTo>
                <a:lnTo>
                  <a:pt x="49" y="33"/>
                </a:lnTo>
                <a:lnTo>
                  <a:pt x="51" y="33"/>
                </a:lnTo>
                <a:lnTo>
                  <a:pt x="51" y="35"/>
                </a:lnTo>
                <a:lnTo>
                  <a:pt x="52" y="35"/>
                </a:lnTo>
                <a:lnTo>
                  <a:pt x="52" y="37"/>
                </a:lnTo>
                <a:lnTo>
                  <a:pt x="51" y="37"/>
                </a:lnTo>
                <a:lnTo>
                  <a:pt x="49" y="37"/>
                </a:lnTo>
                <a:lnTo>
                  <a:pt x="49" y="35"/>
                </a:lnTo>
                <a:lnTo>
                  <a:pt x="48" y="35"/>
                </a:lnTo>
                <a:lnTo>
                  <a:pt x="45" y="37"/>
                </a:lnTo>
                <a:lnTo>
                  <a:pt x="45" y="38"/>
                </a:lnTo>
                <a:lnTo>
                  <a:pt x="45" y="41"/>
                </a:lnTo>
                <a:lnTo>
                  <a:pt x="44" y="41"/>
                </a:lnTo>
                <a:lnTo>
                  <a:pt x="43" y="41"/>
                </a:lnTo>
                <a:lnTo>
                  <a:pt x="43" y="44"/>
                </a:lnTo>
                <a:lnTo>
                  <a:pt x="42" y="44"/>
                </a:lnTo>
                <a:lnTo>
                  <a:pt x="43" y="46"/>
                </a:lnTo>
                <a:lnTo>
                  <a:pt x="43" y="48"/>
                </a:lnTo>
                <a:lnTo>
                  <a:pt x="42" y="49"/>
                </a:lnTo>
                <a:lnTo>
                  <a:pt x="42" y="51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85" name="Freeform 1312"/>
          <p:cNvSpPr>
            <a:spLocks/>
          </p:cNvSpPr>
          <p:nvPr/>
        </p:nvSpPr>
        <p:spPr bwMode="auto">
          <a:xfrm>
            <a:off x="6122653" y="2742145"/>
            <a:ext cx="114979" cy="103085"/>
          </a:xfrm>
          <a:custGeom>
            <a:avLst/>
            <a:gdLst/>
            <a:ahLst/>
            <a:cxnLst>
              <a:cxn ang="0">
                <a:pos x="42" y="49"/>
              </a:cxn>
              <a:cxn ang="0">
                <a:pos x="42" y="49"/>
              </a:cxn>
              <a:cxn ang="0">
                <a:pos x="36" y="46"/>
              </a:cxn>
              <a:cxn ang="0">
                <a:pos x="32" y="44"/>
              </a:cxn>
              <a:cxn ang="0">
                <a:pos x="31" y="43"/>
              </a:cxn>
              <a:cxn ang="0">
                <a:pos x="28" y="43"/>
              </a:cxn>
              <a:cxn ang="0">
                <a:pos x="24" y="37"/>
              </a:cxn>
              <a:cxn ang="0">
                <a:pos x="23" y="32"/>
              </a:cxn>
              <a:cxn ang="0">
                <a:pos x="15" y="27"/>
              </a:cxn>
              <a:cxn ang="0">
                <a:pos x="12" y="22"/>
              </a:cxn>
              <a:cxn ang="0">
                <a:pos x="8" y="19"/>
              </a:cxn>
              <a:cxn ang="0">
                <a:pos x="7" y="18"/>
              </a:cxn>
              <a:cxn ang="0">
                <a:pos x="7" y="16"/>
              </a:cxn>
              <a:cxn ang="0">
                <a:pos x="6" y="13"/>
              </a:cxn>
              <a:cxn ang="0">
                <a:pos x="3" y="10"/>
              </a:cxn>
              <a:cxn ang="0">
                <a:pos x="2" y="8"/>
              </a:cxn>
              <a:cxn ang="0">
                <a:pos x="2" y="2"/>
              </a:cxn>
              <a:cxn ang="0">
                <a:pos x="6" y="2"/>
              </a:cxn>
              <a:cxn ang="0">
                <a:pos x="12" y="2"/>
              </a:cxn>
              <a:cxn ang="0">
                <a:pos x="19" y="0"/>
              </a:cxn>
              <a:cxn ang="0">
                <a:pos x="24" y="2"/>
              </a:cxn>
              <a:cxn ang="0">
                <a:pos x="30" y="4"/>
              </a:cxn>
              <a:cxn ang="0">
                <a:pos x="32" y="5"/>
              </a:cxn>
              <a:cxn ang="0">
                <a:pos x="35" y="4"/>
              </a:cxn>
              <a:cxn ang="0">
                <a:pos x="38" y="4"/>
              </a:cxn>
              <a:cxn ang="0">
                <a:pos x="42" y="4"/>
              </a:cxn>
              <a:cxn ang="0">
                <a:pos x="43" y="4"/>
              </a:cxn>
              <a:cxn ang="0">
                <a:pos x="47" y="7"/>
              </a:cxn>
              <a:cxn ang="0">
                <a:pos x="51" y="8"/>
              </a:cxn>
              <a:cxn ang="0">
                <a:pos x="56" y="7"/>
              </a:cxn>
              <a:cxn ang="0">
                <a:pos x="56" y="10"/>
              </a:cxn>
              <a:cxn ang="0">
                <a:pos x="53" y="15"/>
              </a:cxn>
              <a:cxn ang="0">
                <a:pos x="53" y="16"/>
              </a:cxn>
              <a:cxn ang="0">
                <a:pos x="52" y="18"/>
              </a:cxn>
              <a:cxn ang="0">
                <a:pos x="55" y="19"/>
              </a:cxn>
              <a:cxn ang="0">
                <a:pos x="57" y="21"/>
              </a:cxn>
              <a:cxn ang="0">
                <a:pos x="59" y="22"/>
              </a:cxn>
              <a:cxn ang="0">
                <a:pos x="60" y="24"/>
              </a:cxn>
              <a:cxn ang="0">
                <a:pos x="56" y="24"/>
              </a:cxn>
              <a:cxn ang="0">
                <a:pos x="56" y="26"/>
              </a:cxn>
              <a:cxn ang="0">
                <a:pos x="59" y="29"/>
              </a:cxn>
              <a:cxn ang="0">
                <a:pos x="57" y="30"/>
              </a:cxn>
              <a:cxn ang="0">
                <a:pos x="56" y="30"/>
              </a:cxn>
              <a:cxn ang="0">
                <a:pos x="53" y="32"/>
              </a:cxn>
              <a:cxn ang="0">
                <a:pos x="51" y="32"/>
              </a:cxn>
              <a:cxn ang="0">
                <a:pos x="49" y="33"/>
              </a:cxn>
              <a:cxn ang="0">
                <a:pos x="51" y="35"/>
              </a:cxn>
              <a:cxn ang="0">
                <a:pos x="52" y="37"/>
              </a:cxn>
              <a:cxn ang="0">
                <a:pos x="49" y="37"/>
              </a:cxn>
              <a:cxn ang="0">
                <a:pos x="48" y="35"/>
              </a:cxn>
              <a:cxn ang="0">
                <a:pos x="45" y="38"/>
              </a:cxn>
              <a:cxn ang="0">
                <a:pos x="44" y="41"/>
              </a:cxn>
              <a:cxn ang="0">
                <a:pos x="43" y="44"/>
              </a:cxn>
              <a:cxn ang="0">
                <a:pos x="43" y="46"/>
              </a:cxn>
              <a:cxn ang="0">
                <a:pos x="42" y="49"/>
              </a:cxn>
            </a:cxnLst>
            <a:rect l="0" t="0" r="r" b="b"/>
            <a:pathLst>
              <a:path w="60" h="51">
                <a:moveTo>
                  <a:pt x="42" y="51"/>
                </a:moveTo>
                <a:lnTo>
                  <a:pt x="42" y="49"/>
                </a:lnTo>
                <a:lnTo>
                  <a:pt x="40" y="49"/>
                </a:lnTo>
                <a:lnTo>
                  <a:pt x="42" y="49"/>
                </a:lnTo>
                <a:lnTo>
                  <a:pt x="39" y="48"/>
                </a:lnTo>
                <a:lnTo>
                  <a:pt x="36" y="46"/>
                </a:lnTo>
                <a:lnTo>
                  <a:pt x="35" y="46"/>
                </a:lnTo>
                <a:lnTo>
                  <a:pt x="32" y="44"/>
                </a:lnTo>
                <a:lnTo>
                  <a:pt x="32" y="43"/>
                </a:lnTo>
                <a:lnTo>
                  <a:pt x="31" y="43"/>
                </a:lnTo>
                <a:lnTo>
                  <a:pt x="28" y="44"/>
                </a:lnTo>
                <a:lnTo>
                  <a:pt x="28" y="43"/>
                </a:lnTo>
                <a:lnTo>
                  <a:pt x="30" y="41"/>
                </a:lnTo>
                <a:lnTo>
                  <a:pt x="24" y="37"/>
                </a:lnTo>
                <a:lnTo>
                  <a:pt x="23" y="33"/>
                </a:lnTo>
                <a:lnTo>
                  <a:pt x="23" y="32"/>
                </a:lnTo>
                <a:lnTo>
                  <a:pt x="20" y="32"/>
                </a:lnTo>
                <a:lnTo>
                  <a:pt x="15" y="27"/>
                </a:lnTo>
                <a:lnTo>
                  <a:pt x="15" y="26"/>
                </a:lnTo>
                <a:lnTo>
                  <a:pt x="12" y="22"/>
                </a:lnTo>
                <a:lnTo>
                  <a:pt x="11" y="22"/>
                </a:lnTo>
                <a:lnTo>
                  <a:pt x="8" y="19"/>
                </a:lnTo>
                <a:lnTo>
                  <a:pt x="7" y="19"/>
                </a:lnTo>
                <a:lnTo>
                  <a:pt x="7" y="18"/>
                </a:lnTo>
                <a:lnTo>
                  <a:pt x="8" y="18"/>
                </a:lnTo>
                <a:lnTo>
                  <a:pt x="7" y="16"/>
                </a:lnTo>
                <a:lnTo>
                  <a:pt x="7" y="15"/>
                </a:lnTo>
                <a:lnTo>
                  <a:pt x="6" y="13"/>
                </a:lnTo>
                <a:lnTo>
                  <a:pt x="4" y="10"/>
                </a:lnTo>
                <a:lnTo>
                  <a:pt x="3" y="10"/>
                </a:lnTo>
                <a:lnTo>
                  <a:pt x="0" y="8"/>
                </a:lnTo>
                <a:lnTo>
                  <a:pt x="2" y="8"/>
                </a:lnTo>
                <a:lnTo>
                  <a:pt x="2" y="7"/>
                </a:lnTo>
                <a:lnTo>
                  <a:pt x="2" y="2"/>
                </a:lnTo>
                <a:lnTo>
                  <a:pt x="3" y="0"/>
                </a:lnTo>
                <a:lnTo>
                  <a:pt x="6" y="2"/>
                </a:lnTo>
                <a:lnTo>
                  <a:pt x="10" y="5"/>
                </a:lnTo>
                <a:lnTo>
                  <a:pt x="12" y="2"/>
                </a:lnTo>
                <a:lnTo>
                  <a:pt x="18" y="2"/>
                </a:lnTo>
                <a:lnTo>
                  <a:pt x="19" y="0"/>
                </a:lnTo>
                <a:lnTo>
                  <a:pt x="23" y="2"/>
                </a:lnTo>
                <a:lnTo>
                  <a:pt x="24" y="2"/>
                </a:lnTo>
                <a:lnTo>
                  <a:pt x="26" y="4"/>
                </a:lnTo>
                <a:lnTo>
                  <a:pt x="30" y="4"/>
                </a:lnTo>
                <a:lnTo>
                  <a:pt x="31" y="4"/>
                </a:lnTo>
                <a:lnTo>
                  <a:pt x="32" y="5"/>
                </a:lnTo>
                <a:lnTo>
                  <a:pt x="34" y="5"/>
                </a:lnTo>
                <a:lnTo>
                  <a:pt x="35" y="4"/>
                </a:lnTo>
                <a:lnTo>
                  <a:pt x="36" y="4"/>
                </a:lnTo>
                <a:lnTo>
                  <a:pt x="38" y="4"/>
                </a:lnTo>
                <a:lnTo>
                  <a:pt x="39" y="4"/>
                </a:lnTo>
                <a:lnTo>
                  <a:pt x="42" y="4"/>
                </a:lnTo>
                <a:lnTo>
                  <a:pt x="43" y="5"/>
                </a:lnTo>
                <a:lnTo>
                  <a:pt x="43" y="4"/>
                </a:lnTo>
                <a:lnTo>
                  <a:pt x="45" y="4"/>
                </a:lnTo>
                <a:lnTo>
                  <a:pt x="47" y="7"/>
                </a:lnTo>
                <a:lnTo>
                  <a:pt x="48" y="8"/>
                </a:lnTo>
                <a:lnTo>
                  <a:pt x="51" y="8"/>
                </a:lnTo>
                <a:lnTo>
                  <a:pt x="52" y="7"/>
                </a:lnTo>
                <a:lnTo>
                  <a:pt x="56" y="7"/>
                </a:lnTo>
                <a:lnTo>
                  <a:pt x="56" y="8"/>
                </a:lnTo>
                <a:lnTo>
                  <a:pt x="56" y="10"/>
                </a:lnTo>
                <a:lnTo>
                  <a:pt x="55" y="11"/>
                </a:lnTo>
                <a:lnTo>
                  <a:pt x="53" y="15"/>
                </a:lnTo>
                <a:lnTo>
                  <a:pt x="52" y="15"/>
                </a:lnTo>
                <a:lnTo>
                  <a:pt x="53" y="16"/>
                </a:lnTo>
                <a:lnTo>
                  <a:pt x="52" y="16"/>
                </a:lnTo>
                <a:lnTo>
                  <a:pt x="52" y="18"/>
                </a:lnTo>
                <a:lnTo>
                  <a:pt x="53" y="18"/>
                </a:lnTo>
                <a:lnTo>
                  <a:pt x="55" y="19"/>
                </a:lnTo>
                <a:lnTo>
                  <a:pt x="56" y="19"/>
                </a:lnTo>
                <a:lnTo>
                  <a:pt x="57" y="21"/>
                </a:lnTo>
                <a:lnTo>
                  <a:pt x="57" y="22"/>
                </a:lnTo>
                <a:lnTo>
                  <a:pt x="59" y="22"/>
                </a:lnTo>
                <a:lnTo>
                  <a:pt x="60" y="22"/>
                </a:lnTo>
                <a:lnTo>
                  <a:pt x="60" y="24"/>
                </a:lnTo>
                <a:lnTo>
                  <a:pt x="59" y="24"/>
                </a:lnTo>
                <a:lnTo>
                  <a:pt x="56" y="24"/>
                </a:lnTo>
                <a:lnTo>
                  <a:pt x="55" y="24"/>
                </a:lnTo>
                <a:lnTo>
                  <a:pt x="56" y="26"/>
                </a:lnTo>
                <a:lnTo>
                  <a:pt x="57" y="29"/>
                </a:lnTo>
                <a:lnTo>
                  <a:pt x="59" y="29"/>
                </a:lnTo>
                <a:lnTo>
                  <a:pt x="59" y="30"/>
                </a:lnTo>
                <a:lnTo>
                  <a:pt x="57" y="30"/>
                </a:lnTo>
                <a:lnTo>
                  <a:pt x="57" y="32"/>
                </a:lnTo>
                <a:lnTo>
                  <a:pt x="56" y="30"/>
                </a:lnTo>
                <a:lnTo>
                  <a:pt x="55" y="32"/>
                </a:lnTo>
                <a:lnTo>
                  <a:pt x="53" y="32"/>
                </a:lnTo>
                <a:lnTo>
                  <a:pt x="52" y="32"/>
                </a:lnTo>
                <a:lnTo>
                  <a:pt x="51" y="32"/>
                </a:lnTo>
                <a:lnTo>
                  <a:pt x="49" y="32"/>
                </a:lnTo>
                <a:lnTo>
                  <a:pt x="49" y="33"/>
                </a:lnTo>
                <a:lnTo>
                  <a:pt x="51" y="33"/>
                </a:lnTo>
                <a:lnTo>
                  <a:pt x="51" y="35"/>
                </a:lnTo>
                <a:lnTo>
                  <a:pt x="52" y="35"/>
                </a:lnTo>
                <a:lnTo>
                  <a:pt x="52" y="37"/>
                </a:lnTo>
                <a:lnTo>
                  <a:pt x="51" y="37"/>
                </a:lnTo>
                <a:lnTo>
                  <a:pt x="49" y="37"/>
                </a:lnTo>
                <a:lnTo>
                  <a:pt x="49" y="35"/>
                </a:lnTo>
                <a:lnTo>
                  <a:pt x="48" y="35"/>
                </a:lnTo>
                <a:lnTo>
                  <a:pt x="45" y="37"/>
                </a:lnTo>
                <a:lnTo>
                  <a:pt x="45" y="38"/>
                </a:lnTo>
                <a:lnTo>
                  <a:pt x="45" y="41"/>
                </a:lnTo>
                <a:lnTo>
                  <a:pt x="44" y="41"/>
                </a:lnTo>
                <a:lnTo>
                  <a:pt x="43" y="41"/>
                </a:lnTo>
                <a:lnTo>
                  <a:pt x="43" y="44"/>
                </a:lnTo>
                <a:lnTo>
                  <a:pt x="42" y="44"/>
                </a:lnTo>
                <a:lnTo>
                  <a:pt x="43" y="46"/>
                </a:lnTo>
                <a:lnTo>
                  <a:pt x="43" y="48"/>
                </a:lnTo>
                <a:lnTo>
                  <a:pt x="42" y="49"/>
                </a:lnTo>
                <a:lnTo>
                  <a:pt x="42" y="5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86" name="Freeform 1313"/>
          <p:cNvSpPr>
            <a:spLocks/>
          </p:cNvSpPr>
          <p:nvPr/>
        </p:nvSpPr>
        <p:spPr bwMode="auto">
          <a:xfrm>
            <a:off x="6253223" y="2871001"/>
            <a:ext cx="185138" cy="143888"/>
          </a:xfrm>
          <a:custGeom>
            <a:avLst/>
            <a:gdLst/>
            <a:ahLst/>
            <a:cxnLst>
              <a:cxn ang="0">
                <a:pos x="87" y="17"/>
              </a:cxn>
              <a:cxn ang="0">
                <a:pos x="71" y="16"/>
              </a:cxn>
              <a:cxn ang="0">
                <a:pos x="67" y="16"/>
              </a:cxn>
              <a:cxn ang="0">
                <a:pos x="61" y="17"/>
              </a:cxn>
              <a:cxn ang="0">
                <a:pos x="53" y="20"/>
              </a:cxn>
              <a:cxn ang="0">
                <a:pos x="59" y="23"/>
              </a:cxn>
              <a:cxn ang="0">
                <a:pos x="63" y="28"/>
              </a:cxn>
              <a:cxn ang="0">
                <a:pos x="55" y="25"/>
              </a:cxn>
              <a:cxn ang="0">
                <a:pos x="57" y="28"/>
              </a:cxn>
              <a:cxn ang="0">
                <a:pos x="55" y="30"/>
              </a:cxn>
              <a:cxn ang="0">
                <a:pos x="51" y="27"/>
              </a:cxn>
              <a:cxn ang="0">
                <a:pos x="51" y="30"/>
              </a:cxn>
              <a:cxn ang="0">
                <a:pos x="51" y="33"/>
              </a:cxn>
              <a:cxn ang="0">
                <a:pos x="47" y="27"/>
              </a:cxn>
              <a:cxn ang="0">
                <a:pos x="40" y="22"/>
              </a:cxn>
              <a:cxn ang="0">
                <a:pos x="37" y="22"/>
              </a:cxn>
              <a:cxn ang="0">
                <a:pos x="37" y="28"/>
              </a:cxn>
              <a:cxn ang="0">
                <a:pos x="39" y="33"/>
              </a:cxn>
              <a:cxn ang="0">
                <a:pos x="45" y="42"/>
              </a:cxn>
              <a:cxn ang="0">
                <a:pos x="47" y="47"/>
              </a:cxn>
              <a:cxn ang="0">
                <a:pos x="44" y="47"/>
              </a:cxn>
              <a:cxn ang="0">
                <a:pos x="44" y="44"/>
              </a:cxn>
              <a:cxn ang="0">
                <a:pos x="40" y="45"/>
              </a:cxn>
              <a:cxn ang="0">
                <a:pos x="41" y="50"/>
              </a:cxn>
              <a:cxn ang="0">
                <a:pos x="39" y="50"/>
              </a:cxn>
              <a:cxn ang="0">
                <a:pos x="37" y="52"/>
              </a:cxn>
              <a:cxn ang="0">
                <a:pos x="43" y="53"/>
              </a:cxn>
              <a:cxn ang="0">
                <a:pos x="47" y="55"/>
              </a:cxn>
              <a:cxn ang="0">
                <a:pos x="51" y="58"/>
              </a:cxn>
              <a:cxn ang="0">
                <a:pos x="55" y="61"/>
              </a:cxn>
              <a:cxn ang="0">
                <a:pos x="57" y="63"/>
              </a:cxn>
              <a:cxn ang="0">
                <a:pos x="55" y="70"/>
              </a:cxn>
              <a:cxn ang="0">
                <a:pos x="48" y="67"/>
              </a:cxn>
              <a:cxn ang="0">
                <a:pos x="41" y="66"/>
              </a:cxn>
              <a:cxn ang="0">
                <a:pos x="45" y="64"/>
              </a:cxn>
              <a:cxn ang="0">
                <a:pos x="37" y="59"/>
              </a:cxn>
              <a:cxn ang="0">
                <a:pos x="33" y="59"/>
              </a:cxn>
              <a:cxn ang="0">
                <a:pos x="27" y="59"/>
              </a:cxn>
              <a:cxn ang="0">
                <a:pos x="19" y="59"/>
              </a:cxn>
              <a:cxn ang="0">
                <a:pos x="16" y="59"/>
              </a:cxn>
              <a:cxn ang="0">
                <a:pos x="13" y="59"/>
              </a:cxn>
              <a:cxn ang="0">
                <a:pos x="9" y="52"/>
              </a:cxn>
              <a:cxn ang="0">
                <a:pos x="15" y="52"/>
              </a:cxn>
              <a:cxn ang="0">
                <a:pos x="9" y="47"/>
              </a:cxn>
              <a:cxn ang="0">
                <a:pos x="4" y="44"/>
              </a:cxn>
              <a:cxn ang="0">
                <a:pos x="0" y="38"/>
              </a:cxn>
              <a:cxn ang="0">
                <a:pos x="0" y="38"/>
              </a:cxn>
              <a:cxn ang="0">
                <a:pos x="4" y="33"/>
              </a:cxn>
              <a:cxn ang="0">
                <a:pos x="7" y="28"/>
              </a:cxn>
              <a:cxn ang="0">
                <a:pos x="13" y="22"/>
              </a:cxn>
              <a:cxn ang="0">
                <a:pos x="12" y="16"/>
              </a:cxn>
              <a:cxn ang="0">
                <a:pos x="25" y="12"/>
              </a:cxn>
              <a:cxn ang="0">
                <a:pos x="36" y="11"/>
              </a:cxn>
              <a:cxn ang="0">
                <a:pos x="41" y="6"/>
              </a:cxn>
              <a:cxn ang="0">
                <a:pos x="49" y="6"/>
              </a:cxn>
              <a:cxn ang="0">
                <a:pos x="64" y="3"/>
              </a:cxn>
              <a:cxn ang="0">
                <a:pos x="71" y="5"/>
              </a:cxn>
              <a:cxn ang="0">
                <a:pos x="85" y="8"/>
              </a:cxn>
              <a:cxn ang="0">
                <a:pos x="90" y="0"/>
              </a:cxn>
              <a:cxn ang="0">
                <a:pos x="94" y="0"/>
              </a:cxn>
              <a:cxn ang="0">
                <a:pos x="96" y="5"/>
              </a:cxn>
              <a:cxn ang="0">
                <a:pos x="93" y="11"/>
              </a:cxn>
              <a:cxn ang="0">
                <a:pos x="89" y="19"/>
              </a:cxn>
            </a:cxnLst>
            <a:rect l="0" t="0" r="r" b="b"/>
            <a:pathLst>
              <a:path w="96" h="72">
                <a:moveTo>
                  <a:pt x="89" y="19"/>
                </a:moveTo>
                <a:lnTo>
                  <a:pt x="87" y="17"/>
                </a:lnTo>
                <a:lnTo>
                  <a:pt x="73" y="14"/>
                </a:lnTo>
                <a:lnTo>
                  <a:pt x="71" y="16"/>
                </a:lnTo>
                <a:lnTo>
                  <a:pt x="69" y="16"/>
                </a:lnTo>
                <a:lnTo>
                  <a:pt x="67" y="16"/>
                </a:lnTo>
                <a:lnTo>
                  <a:pt x="64" y="14"/>
                </a:lnTo>
                <a:lnTo>
                  <a:pt x="61" y="17"/>
                </a:lnTo>
                <a:lnTo>
                  <a:pt x="57" y="17"/>
                </a:lnTo>
                <a:lnTo>
                  <a:pt x="53" y="20"/>
                </a:lnTo>
                <a:lnTo>
                  <a:pt x="55" y="22"/>
                </a:lnTo>
                <a:lnTo>
                  <a:pt x="59" y="23"/>
                </a:lnTo>
                <a:lnTo>
                  <a:pt x="61" y="27"/>
                </a:lnTo>
                <a:lnTo>
                  <a:pt x="63" y="28"/>
                </a:lnTo>
                <a:lnTo>
                  <a:pt x="60" y="25"/>
                </a:lnTo>
                <a:lnTo>
                  <a:pt x="55" y="25"/>
                </a:lnTo>
                <a:lnTo>
                  <a:pt x="53" y="27"/>
                </a:lnTo>
                <a:lnTo>
                  <a:pt x="57" y="28"/>
                </a:lnTo>
                <a:lnTo>
                  <a:pt x="57" y="31"/>
                </a:lnTo>
                <a:lnTo>
                  <a:pt x="55" y="30"/>
                </a:lnTo>
                <a:lnTo>
                  <a:pt x="53" y="28"/>
                </a:lnTo>
                <a:lnTo>
                  <a:pt x="51" y="27"/>
                </a:lnTo>
                <a:lnTo>
                  <a:pt x="49" y="27"/>
                </a:lnTo>
                <a:lnTo>
                  <a:pt x="51" y="30"/>
                </a:lnTo>
                <a:lnTo>
                  <a:pt x="53" y="31"/>
                </a:lnTo>
                <a:lnTo>
                  <a:pt x="51" y="33"/>
                </a:lnTo>
                <a:lnTo>
                  <a:pt x="48" y="30"/>
                </a:lnTo>
                <a:lnTo>
                  <a:pt x="47" y="27"/>
                </a:lnTo>
                <a:lnTo>
                  <a:pt x="40" y="23"/>
                </a:lnTo>
                <a:lnTo>
                  <a:pt x="40" y="22"/>
                </a:lnTo>
                <a:lnTo>
                  <a:pt x="41" y="20"/>
                </a:lnTo>
                <a:lnTo>
                  <a:pt x="37" y="22"/>
                </a:lnTo>
                <a:lnTo>
                  <a:pt x="37" y="25"/>
                </a:lnTo>
                <a:lnTo>
                  <a:pt x="37" y="28"/>
                </a:lnTo>
                <a:lnTo>
                  <a:pt x="37" y="31"/>
                </a:lnTo>
                <a:lnTo>
                  <a:pt x="39" y="33"/>
                </a:lnTo>
                <a:lnTo>
                  <a:pt x="40" y="38"/>
                </a:lnTo>
                <a:lnTo>
                  <a:pt x="45" y="42"/>
                </a:lnTo>
                <a:lnTo>
                  <a:pt x="47" y="44"/>
                </a:lnTo>
                <a:lnTo>
                  <a:pt x="47" y="47"/>
                </a:lnTo>
                <a:lnTo>
                  <a:pt x="45" y="47"/>
                </a:lnTo>
                <a:lnTo>
                  <a:pt x="44" y="47"/>
                </a:lnTo>
                <a:lnTo>
                  <a:pt x="45" y="45"/>
                </a:lnTo>
                <a:lnTo>
                  <a:pt x="44" y="44"/>
                </a:lnTo>
                <a:lnTo>
                  <a:pt x="41" y="44"/>
                </a:lnTo>
                <a:lnTo>
                  <a:pt x="40" y="45"/>
                </a:lnTo>
                <a:lnTo>
                  <a:pt x="43" y="48"/>
                </a:lnTo>
                <a:lnTo>
                  <a:pt x="41" y="50"/>
                </a:lnTo>
                <a:lnTo>
                  <a:pt x="40" y="50"/>
                </a:lnTo>
                <a:lnTo>
                  <a:pt x="39" y="50"/>
                </a:lnTo>
                <a:lnTo>
                  <a:pt x="36" y="50"/>
                </a:lnTo>
                <a:lnTo>
                  <a:pt x="37" y="52"/>
                </a:lnTo>
                <a:lnTo>
                  <a:pt x="40" y="53"/>
                </a:lnTo>
                <a:lnTo>
                  <a:pt x="43" y="53"/>
                </a:lnTo>
                <a:lnTo>
                  <a:pt x="44" y="55"/>
                </a:lnTo>
                <a:lnTo>
                  <a:pt x="47" y="55"/>
                </a:lnTo>
                <a:lnTo>
                  <a:pt x="48" y="58"/>
                </a:lnTo>
                <a:lnTo>
                  <a:pt x="51" y="58"/>
                </a:lnTo>
                <a:lnTo>
                  <a:pt x="52" y="59"/>
                </a:lnTo>
                <a:lnTo>
                  <a:pt x="55" y="61"/>
                </a:lnTo>
                <a:lnTo>
                  <a:pt x="56" y="61"/>
                </a:lnTo>
                <a:lnTo>
                  <a:pt x="57" y="63"/>
                </a:lnTo>
                <a:lnTo>
                  <a:pt x="59" y="72"/>
                </a:lnTo>
                <a:lnTo>
                  <a:pt x="55" y="70"/>
                </a:lnTo>
                <a:lnTo>
                  <a:pt x="52" y="67"/>
                </a:lnTo>
                <a:lnTo>
                  <a:pt x="48" y="67"/>
                </a:lnTo>
                <a:lnTo>
                  <a:pt x="44" y="67"/>
                </a:lnTo>
                <a:lnTo>
                  <a:pt x="41" y="66"/>
                </a:lnTo>
                <a:lnTo>
                  <a:pt x="44" y="66"/>
                </a:lnTo>
                <a:lnTo>
                  <a:pt x="45" y="64"/>
                </a:lnTo>
                <a:lnTo>
                  <a:pt x="41" y="63"/>
                </a:lnTo>
                <a:lnTo>
                  <a:pt x="37" y="59"/>
                </a:lnTo>
                <a:lnTo>
                  <a:pt x="36" y="61"/>
                </a:lnTo>
                <a:lnTo>
                  <a:pt x="33" y="59"/>
                </a:lnTo>
                <a:lnTo>
                  <a:pt x="31" y="61"/>
                </a:lnTo>
                <a:lnTo>
                  <a:pt x="27" y="59"/>
                </a:lnTo>
                <a:lnTo>
                  <a:pt x="21" y="61"/>
                </a:lnTo>
                <a:lnTo>
                  <a:pt x="19" y="59"/>
                </a:lnTo>
                <a:lnTo>
                  <a:pt x="17" y="59"/>
                </a:lnTo>
                <a:lnTo>
                  <a:pt x="16" y="59"/>
                </a:lnTo>
                <a:lnTo>
                  <a:pt x="15" y="61"/>
                </a:lnTo>
                <a:lnTo>
                  <a:pt x="13" y="59"/>
                </a:lnTo>
                <a:lnTo>
                  <a:pt x="12" y="56"/>
                </a:lnTo>
                <a:lnTo>
                  <a:pt x="9" y="52"/>
                </a:lnTo>
                <a:lnTo>
                  <a:pt x="12" y="52"/>
                </a:lnTo>
                <a:lnTo>
                  <a:pt x="15" y="52"/>
                </a:lnTo>
                <a:lnTo>
                  <a:pt x="13" y="48"/>
                </a:lnTo>
                <a:lnTo>
                  <a:pt x="9" y="47"/>
                </a:lnTo>
                <a:lnTo>
                  <a:pt x="8" y="50"/>
                </a:lnTo>
                <a:lnTo>
                  <a:pt x="4" y="44"/>
                </a:lnTo>
                <a:lnTo>
                  <a:pt x="1" y="41"/>
                </a:lnTo>
                <a:lnTo>
                  <a:pt x="0" y="38"/>
                </a:lnTo>
                <a:lnTo>
                  <a:pt x="0" y="36"/>
                </a:lnTo>
                <a:lnTo>
                  <a:pt x="0" y="38"/>
                </a:lnTo>
                <a:lnTo>
                  <a:pt x="3" y="34"/>
                </a:lnTo>
                <a:lnTo>
                  <a:pt x="4" y="33"/>
                </a:lnTo>
                <a:lnTo>
                  <a:pt x="4" y="31"/>
                </a:lnTo>
                <a:lnTo>
                  <a:pt x="7" y="28"/>
                </a:lnTo>
                <a:lnTo>
                  <a:pt x="9" y="25"/>
                </a:lnTo>
                <a:lnTo>
                  <a:pt x="13" y="22"/>
                </a:lnTo>
                <a:lnTo>
                  <a:pt x="13" y="19"/>
                </a:lnTo>
                <a:lnTo>
                  <a:pt x="12" y="16"/>
                </a:lnTo>
                <a:lnTo>
                  <a:pt x="23" y="14"/>
                </a:lnTo>
                <a:lnTo>
                  <a:pt x="25" y="12"/>
                </a:lnTo>
                <a:lnTo>
                  <a:pt x="31" y="11"/>
                </a:lnTo>
                <a:lnTo>
                  <a:pt x="36" y="11"/>
                </a:lnTo>
                <a:lnTo>
                  <a:pt x="40" y="6"/>
                </a:lnTo>
                <a:lnTo>
                  <a:pt x="41" y="6"/>
                </a:lnTo>
                <a:lnTo>
                  <a:pt x="45" y="6"/>
                </a:lnTo>
                <a:lnTo>
                  <a:pt x="49" y="6"/>
                </a:lnTo>
                <a:lnTo>
                  <a:pt x="56" y="6"/>
                </a:lnTo>
                <a:lnTo>
                  <a:pt x="64" y="3"/>
                </a:lnTo>
                <a:lnTo>
                  <a:pt x="68" y="3"/>
                </a:lnTo>
                <a:lnTo>
                  <a:pt x="71" y="5"/>
                </a:lnTo>
                <a:lnTo>
                  <a:pt x="80" y="8"/>
                </a:lnTo>
                <a:lnTo>
                  <a:pt x="85" y="8"/>
                </a:lnTo>
                <a:lnTo>
                  <a:pt x="89" y="5"/>
                </a:lnTo>
                <a:lnTo>
                  <a:pt x="90" y="0"/>
                </a:lnTo>
                <a:lnTo>
                  <a:pt x="93" y="0"/>
                </a:lnTo>
                <a:lnTo>
                  <a:pt x="94" y="0"/>
                </a:lnTo>
                <a:lnTo>
                  <a:pt x="96" y="3"/>
                </a:lnTo>
                <a:lnTo>
                  <a:pt x="96" y="5"/>
                </a:lnTo>
                <a:lnTo>
                  <a:pt x="93" y="8"/>
                </a:lnTo>
                <a:lnTo>
                  <a:pt x="93" y="11"/>
                </a:lnTo>
                <a:lnTo>
                  <a:pt x="92" y="14"/>
                </a:lnTo>
                <a:lnTo>
                  <a:pt x="89" y="19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87" name="Freeform 1314"/>
          <p:cNvSpPr>
            <a:spLocks/>
          </p:cNvSpPr>
          <p:nvPr/>
        </p:nvSpPr>
        <p:spPr bwMode="auto">
          <a:xfrm>
            <a:off x="6253223" y="2871001"/>
            <a:ext cx="185138" cy="143888"/>
          </a:xfrm>
          <a:custGeom>
            <a:avLst/>
            <a:gdLst/>
            <a:ahLst/>
            <a:cxnLst>
              <a:cxn ang="0">
                <a:pos x="87" y="17"/>
              </a:cxn>
              <a:cxn ang="0">
                <a:pos x="71" y="16"/>
              </a:cxn>
              <a:cxn ang="0">
                <a:pos x="67" y="16"/>
              </a:cxn>
              <a:cxn ang="0">
                <a:pos x="61" y="17"/>
              </a:cxn>
              <a:cxn ang="0">
                <a:pos x="53" y="20"/>
              </a:cxn>
              <a:cxn ang="0">
                <a:pos x="59" y="23"/>
              </a:cxn>
              <a:cxn ang="0">
                <a:pos x="63" y="28"/>
              </a:cxn>
              <a:cxn ang="0">
                <a:pos x="55" y="25"/>
              </a:cxn>
              <a:cxn ang="0">
                <a:pos x="57" y="28"/>
              </a:cxn>
              <a:cxn ang="0">
                <a:pos x="55" y="30"/>
              </a:cxn>
              <a:cxn ang="0">
                <a:pos x="51" y="27"/>
              </a:cxn>
              <a:cxn ang="0">
                <a:pos x="51" y="30"/>
              </a:cxn>
              <a:cxn ang="0">
                <a:pos x="51" y="33"/>
              </a:cxn>
              <a:cxn ang="0">
                <a:pos x="47" y="27"/>
              </a:cxn>
              <a:cxn ang="0">
                <a:pos x="40" y="22"/>
              </a:cxn>
              <a:cxn ang="0">
                <a:pos x="37" y="22"/>
              </a:cxn>
              <a:cxn ang="0">
                <a:pos x="37" y="28"/>
              </a:cxn>
              <a:cxn ang="0">
                <a:pos x="39" y="33"/>
              </a:cxn>
              <a:cxn ang="0">
                <a:pos x="45" y="42"/>
              </a:cxn>
              <a:cxn ang="0">
                <a:pos x="47" y="47"/>
              </a:cxn>
              <a:cxn ang="0">
                <a:pos x="44" y="47"/>
              </a:cxn>
              <a:cxn ang="0">
                <a:pos x="44" y="44"/>
              </a:cxn>
              <a:cxn ang="0">
                <a:pos x="40" y="45"/>
              </a:cxn>
              <a:cxn ang="0">
                <a:pos x="41" y="50"/>
              </a:cxn>
              <a:cxn ang="0">
                <a:pos x="39" y="50"/>
              </a:cxn>
              <a:cxn ang="0">
                <a:pos x="37" y="52"/>
              </a:cxn>
              <a:cxn ang="0">
                <a:pos x="43" y="53"/>
              </a:cxn>
              <a:cxn ang="0">
                <a:pos x="47" y="55"/>
              </a:cxn>
              <a:cxn ang="0">
                <a:pos x="51" y="58"/>
              </a:cxn>
              <a:cxn ang="0">
                <a:pos x="55" y="61"/>
              </a:cxn>
              <a:cxn ang="0">
                <a:pos x="57" y="63"/>
              </a:cxn>
              <a:cxn ang="0">
                <a:pos x="55" y="70"/>
              </a:cxn>
              <a:cxn ang="0">
                <a:pos x="48" y="67"/>
              </a:cxn>
              <a:cxn ang="0">
                <a:pos x="41" y="66"/>
              </a:cxn>
              <a:cxn ang="0">
                <a:pos x="45" y="64"/>
              </a:cxn>
              <a:cxn ang="0">
                <a:pos x="37" y="59"/>
              </a:cxn>
              <a:cxn ang="0">
                <a:pos x="33" y="59"/>
              </a:cxn>
              <a:cxn ang="0">
                <a:pos x="27" y="59"/>
              </a:cxn>
              <a:cxn ang="0">
                <a:pos x="19" y="59"/>
              </a:cxn>
              <a:cxn ang="0">
                <a:pos x="16" y="59"/>
              </a:cxn>
              <a:cxn ang="0">
                <a:pos x="13" y="59"/>
              </a:cxn>
              <a:cxn ang="0">
                <a:pos x="9" y="52"/>
              </a:cxn>
              <a:cxn ang="0">
                <a:pos x="15" y="52"/>
              </a:cxn>
              <a:cxn ang="0">
                <a:pos x="9" y="47"/>
              </a:cxn>
              <a:cxn ang="0">
                <a:pos x="4" y="44"/>
              </a:cxn>
              <a:cxn ang="0">
                <a:pos x="0" y="38"/>
              </a:cxn>
              <a:cxn ang="0">
                <a:pos x="0" y="38"/>
              </a:cxn>
              <a:cxn ang="0">
                <a:pos x="4" y="33"/>
              </a:cxn>
              <a:cxn ang="0">
                <a:pos x="7" y="28"/>
              </a:cxn>
              <a:cxn ang="0">
                <a:pos x="13" y="22"/>
              </a:cxn>
              <a:cxn ang="0">
                <a:pos x="12" y="16"/>
              </a:cxn>
              <a:cxn ang="0">
                <a:pos x="25" y="12"/>
              </a:cxn>
              <a:cxn ang="0">
                <a:pos x="36" y="11"/>
              </a:cxn>
              <a:cxn ang="0">
                <a:pos x="41" y="6"/>
              </a:cxn>
              <a:cxn ang="0">
                <a:pos x="49" y="6"/>
              </a:cxn>
              <a:cxn ang="0">
                <a:pos x="64" y="3"/>
              </a:cxn>
              <a:cxn ang="0">
                <a:pos x="71" y="5"/>
              </a:cxn>
              <a:cxn ang="0">
                <a:pos x="85" y="8"/>
              </a:cxn>
              <a:cxn ang="0">
                <a:pos x="90" y="0"/>
              </a:cxn>
              <a:cxn ang="0">
                <a:pos x="94" y="0"/>
              </a:cxn>
              <a:cxn ang="0">
                <a:pos x="96" y="5"/>
              </a:cxn>
              <a:cxn ang="0">
                <a:pos x="93" y="11"/>
              </a:cxn>
              <a:cxn ang="0">
                <a:pos x="89" y="19"/>
              </a:cxn>
            </a:cxnLst>
            <a:rect l="0" t="0" r="r" b="b"/>
            <a:pathLst>
              <a:path w="96" h="72">
                <a:moveTo>
                  <a:pt x="89" y="19"/>
                </a:moveTo>
                <a:lnTo>
                  <a:pt x="87" y="17"/>
                </a:lnTo>
                <a:lnTo>
                  <a:pt x="73" y="14"/>
                </a:lnTo>
                <a:lnTo>
                  <a:pt x="71" y="16"/>
                </a:lnTo>
                <a:lnTo>
                  <a:pt x="69" y="16"/>
                </a:lnTo>
                <a:lnTo>
                  <a:pt x="67" y="16"/>
                </a:lnTo>
                <a:lnTo>
                  <a:pt x="64" y="14"/>
                </a:lnTo>
                <a:lnTo>
                  <a:pt x="61" y="17"/>
                </a:lnTo>
                <a:lnTo>
                  <a:pt x="57" y="17"/>
                </a:lnTo>
                <a:lnTo>
                  <a:pt x="53" y="20"/>
                </a:lnTo>
                <a:lnTo>
                  <a:pt x="55" y="22"/>
                </a:lnTo>
                <a:lnTo>
                  <a:pt x="59" y="23"/>
                </a:lnTo>
                <a:lnTo>
                  <a:pt x="61" y="27"/>
                </a:lnTo>
                <a:lnTo>
                  <a:pt x="63" y="28"/>
                </a:lnTo>
                <a:lnTo>
                  <a:pt x="60" y="25"/>
                </a:lnTo>
                <a:lnTo>
                  <a:pt x="55" y="25"/>
                </a:lnTo>
                <a:lnTo>
                  <a:pt x="53" y="27"/>
                </a:lnTo>
                <a:lnTo>
                  <a:pt x="57" y="28"/>
                </a:lnTo>
                <a:lnTo>
                  <a:pt x="57" y="31"/>
                </a:lnTo>
                <a:lnTo>
                  <a:pt x="55" y="30"/>
                </a:lnTo>
                <a:lnTo>
                  <a:pt x="53" y="28"/>
                </a:lnTo>
                <a:lnTo>
                  <a:pt x="51" y="27"/>
                </a:lnTo>
                <a:lnTo>
                  <a:pt x="49" y="27"/>
                </a:lnTo>
                <a:lnTo>
                  <a:pt x="51" y="30"/>
                </a:lnTo>
                <a:lnTo>
                  <a:pt x="53" y="31"/>
                </a:lnTo>
                <a:lnTo>
                  <a:pt x="51" y="33"/>
                </a:lnTo>
                <a:lnTo>
                  <a:pt x="48" y="30"/>
                </a:lnTo>
                <a:lnTo>
                  <a:pt x="47" y="27"/>
                </a:lnTo>
                <a:lnTo>
                  <a:pt x="40" y="23"/>
                </a:lnTo>
                <a:lnTo>
                  <a:pt x="40" y="22"/>
                </a:lnTo>
                <a:lnTo>
                  <a:pt x="41" y="20"/>
                </a:lnTo>
                <a:lnTo>
                  <a:pt x="37" y="22"/>
                </a:lnTo>
                <a:lnTo>
                  <a:pt x="37" y="25"/>
                </a:lnTo>
                <a:lnTo>
                  <a:pt x="37" y="28"/>
                </a:lnTo>
                <a:lnTo>
                  <a:pt x="37" y="31"/>
                </a:lnTo>
                <a:lnTo>
                  <a:pt x="39" y="33"/>
                </a:lnTo>
                <a:lnTo>
                  <a:pt x="40" y="38"/>
                </a:lnTo>
                <a:lnTo>
                  <a:pt x="45" y="42"/>
                </a:lnTo>
                <a:lnTo>
                  <a:pt x="47" y="44"/>
                </a:lnTo>
                <a:lnTo>
                  <a:pt x="47" y="47"/>
                </a:lnTo>
                <a:lnTo>
                  <a:pt x="45" y="47"/>
                </a:lnTo>
                <a:lnTo>
                  <a:pt x="44" y="47"/>
                </a:lnTo>
                <a:lnTo>
                  <a:pt x="45" y="45"/>
                </a:lnTo>
                <a:lnTo>
                  <a:pt x="44" y="44"/>
                </a:lnTo>
                <a:lnTo>
                  <a:pt x="41" y="44"/>
                </a:lnTo>
                <a:lnTo>
                  <a:pt x="40" y="45"/>
                </a:lnTo>
                <a:lnTo>
                  <a:pt x="43" y="48"/>
                </a:lnTo>
                <a:lnTo>
                  <a:pt x="41" y="50"/>
                </a:lnTo>
                <a:lnTo>
                  <a:pt x="40" y="50"/>
                </a:lnTo>
                <a:lnTo>
                  <a:pt x="39" y="50"/>
                </a:lnTo>
                <a:lnTo>
                  <a:pt x="36" y="50"/>
                </a:lnTo>
                <a:lnTo>
                  <a:pt x="37" y="52"/>
                </a:lnTo>
                <a:lnTo>
                  <a:pt x="40" y="53"/>
                </a:lnTo>
                <a:lnTo>
                  <a:pt x="43" y="53"/>
                </a:lnTo>
                <a:lnTo>
                  <a:pt x="44" y="55"/>
                </a:lnTo>
                <a:lnTo>
                  <a:pt x="47" y="55"/>
                </a:lnTo>
                <a:lnTo>
                  <a:pt x="48" y="58"/>
                </a:lnTo>
                <a:lnTo>
                  <a:pt x="51" y="58"/>
                </a:lnTo>
                <a:lnTo>
                  <a:pt x="52" y="59"/>
                </a:lnTo>
                <a:lnTo>
                  <a:pt x="55" y="61"/>
                </a:lnTo>
                <a:lnTo>
                  <a:pt x="56" y="61"/>
                </a:lnTo>
                <a:lnTo>
                  <a:pt x="57" y="63"/>
                </a:lnTo>
                <a:lnTo>
                  <a:pt x="59" y="72"/>
                </a:lnTo>
                <a:lnTo>
                  <a:pt x="55" y="70"/>
                </a:lnTo>
                <a:lnTo>
                  <a:pt x="52" y="67"/>
                </a:lnTo>
                <a:lnTo>
                  <a:pt x="48" y="67"/>
                </a:lnTo>
                <a:lnTo>
                  <a:pt x="44" y="67"/>
                </a:lnTo>
                <a:lnTo>
                  <a:pt x="41" y="66"/>
                </a:lnTo>
                <a:lnTo>
                  <a:pt x="44" y="66"/>
                </a:lnTo>
                <a:lnTo>
                  <a:pt x="45" y="64"/>
                </a:lnTo>
                <a:lnTo>
                  <a:pt x="41" y="63"/>
                </a:lnTo>
                <a:lnTo>
                  <a:pt x="37" y="59"/>
                </a:lnTo>
                <a:lnTo>
                  <a:pt x="36" y="61"/>
                </a:lnTo>
                <a:lnTo>
                  <a:pt x="33" y="59"/>
                </a:lnTo>
                <a:lnTo>
                  <a:pt x="31" y="61"/>
                </a:lnTo>
                <a:lnTo>
                  <a:pt x="27" y="59"/>
                </a:lnTo>
                <a:lnTo>
                  <a:pt x="21" y="61"/>
                </a:lnTo>
                <a:lnTo>
                  <a:pt x="19" y="59"/>
                </a:lnTo>
                <a:lnTo>
                  <a:pt x="17" y="59"/>
                </a:lnTo>
                <a:lnTo>
                  <a:pt x="16" y="59"/>
                </a:lnTo>
                <a:lnTo>
                  <a:pt x="15" y="61"/>
                </a:lnTo>
                <a:lnTo>
                  <a:pt x="13" y="59"/>
                </a:lnTo>
                <a:lnTo>
                  <a:pt x="12" y="56"/>
                </a:lnTo>
                <a:lnTo>
                  <a:pt x="9" y="52"/>
                </a:lnTo>
                <a:lnTo>
                  <a:pt x="12" y="52"/>
                </a:lnTo>
                <a:lnTo>
                  <a:pt x="15" y="52"/>
                </a:lnTo>
                <a:lnTo>
                  <a:pt x="13" y="48"/>
                </a:lnTo>
                <a:lnTo>
                  <a:pt x="9" y="47"/>
                </a:lnTo>
                <a:lnTo>
                  <a:pt x="8" y="50"/>
                </a:lnTo>
                <a:lnTo>
                  <a:pt x="4" y="44"/>
                </a:lnTo>
                <a:lnTo>
                  <a:pt x="1" y="41"/>
                </a:lnTo>
                <a:lnTo>
                  <a:pt x="0" y="38"/>
                </a:lnTo>
                <a:lnTo>
                  <a:pt x="0" y="36"/>
                </a:lnTo>
                <a:lnTo>
                  <a:pt x="0" y="38"/>
                </a:lnTo>
                <a:lnTo>
                  <a:pt x="3" y="34"/>
                </a:lnTo>
                <a:lnTo>
                  <a:pt x="4" y="33"/>
                </a:lnTo>
                <a:lnTo>
                  <a:pt x="4" y="31"/>
                </a:lnTo>
                <a:lnTo>
                  <a:pt x="7" y="28"/>
                </a:lnTo>
                <a:lnTo>
                  <a:pt x="9" y="25"/>
                </a:lnTo>
                <a:lnTo>
                  <a:pt x="13" y="22"/>
                </a:lnTo>
                <a:lnTo>
                  <a:pt x="13" y="19"/>
                </a:lnTo>
                <a:lnTo>
                  <a:pt x="12" y="16"/>
                </a:lnTo>
                <a:lnTo>
                  <a:pt x="23" y="14"/>
                </a:lnTo>
                <a:lnTo>
                  <a:pt x="25" y="12"/>
                </a:lnTo>
                <a:lnTo>
                  <a:pt x="31" y="11"/>
                </a:lnTo>
                <a:lnTo>
                  <a:pt x="36" y="11"/>
                </a:lnTo>
                <a:lnTo>
                  <a:pt x="40" y="6"/>
                </a:lnTo>
                <a:lnTo>
                  <a:pt x="41" y="6"/>
                </a:lnTo>
                <a:lnTo>
                  <a:pt x="45" y="6"/>
                </a:lnTo>
                <a:lnTo>
                  <a:pt x="49" y="6"/>
                </a:lnTo>
                <a:lnTo>
                  <a:pt x="56" y="6"/>
                </a:lnTo>
                <a:lnTo>
                  <a:pt x="64" y="3"/>
                </a:lnTo>
                <a:lnTo>
                  <a:pt x="68" y="3"/>
                </a:lnTo>
                <a:lnTo>
                  <a:pt x="71" y="5"/>
                </a:lnTo>
                <a:lnTo>
                  <a:pt x="80" y="8"/>
                </a:lnTo>
                <a:lnTo>
                  <a:pt x="85" y="8"/>
                </a:lnTo>
                <a:lnTo>
                  <a:pt x="89" y="5"/>
                </a:lnTo>
                <a:lnTo>
                  <a:pt x="90" y="0"/>
                </a:lnTo>
                <a:lnTo>
                  <a:pt x="93" y="0"/>
                </a:lnTo>
                <a:lnTo>
                  <a:pt x="94" y="0"/>
                </a:lnTo>
                <a:lnTo>
                  <a:pt x="96" y="3"/>
                </a:lnTo>
                <a:lnTo>
                  <a:pt x="96" y="5"/>
                </a:lnTo>
                <a:lnTo>
                  <a:pt x="93" y="8"/>
                </a:lnTo>
                <a:lnTo>
                  <a:pt x="93" y="11"/>
                </a:lnTo>
                <a:lnTo>
                  <a:pt x="92" y="14"/>
                </a:lnTo>
                <a:lnTo>
                  <a:pt x="89" y="19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88" name="Freeform 1315"/>
          <p:cNvSpPr>
            <a:spLocks/>
          </p:cNvSpPr>
          <p:nvPr/>
        </p:nvSpPr>
        <p:spPr bwMode="auto">
          <a:xfrm>
            <a:off x="6680015" y="3117976"/>
            <a:ext cx="48719" cy="60133"/>
          </a:xfrm>
          <a:custGeom>
            <a:avLst/>
            <a:gdLst/>
            <a:ahLst/>
            <a:cxnLst>
              <a:cxn ang="0">
                <a:pos x="8" y="28"/>
              </a:cxn>
              <a:cxn ang="0">
                <a:pos x="11" y="25"/>
              </a:cxn>
              <a:cxn ang="0">
                <a:pos x="12" y="25"/>
              </a:cxn>
              <a:cxn ang="0">
                <a:pos x="14" y="23"/>
              </a:cxn>
              <a:cxn ang="0">
                <a:pos x="15" y="22"/>
              </a:cxn>
              <a:cxn ang="0">
                <a:pos x="16" y="22"/>
              </a:cxn>
              <a:cxn ang="0">
                <a:pos x="16" y="20"/>
              </a:cxn>
              <a:cxn ang="0">
                <a:pos x="14" y="20"/>
              </a:cxn>
              <a:cxn ang="0">
                <a:pos x="15" y="19"/>
              </a:cxn>
              <a:cxn ang="0">
                <a:pos x="15" y="17"/>
              </a:cxn>
              <a:cxn ang="0">
                <a:pos x="16" y="17"/>
              </a:cxn>
              <a:cxn ang="0">
                <a:pos x="20" y="17"/>
              </a:cxn>
              <a:cxn ang="0">
                <a:pos x="22" y="17"/>
              </a:cxn>
              <a:cxn ang="0">
                <a:pos x="22" y="16"/>
              </a:cxn>
              <a:cxn ang="0">
                <a:pos x="20" y="16"/>
              </a:cxn>
              <a:cxn ang="0">
                <a:pos x="20" y="14"/>
              </a:cxn>
              <a:cxn ang="0">
                <a:pos x="22" y="14"/>
              </a:cxn>
              <a:cxn ang="0">
                <a:pos x="22" y="12"/>
              </a:cxn>
              <a:cxn ang="0">
                <a:pos x="23" y="12"/>
              </a:cxn>
              <a:cxn ang="0">
                <a:pos x="24" y="11"/>
              </a:cxn>
              <a:cxn ang="0">
                <a:pos x="24" y="9"/>
              </a:cxn>
              <a:cxn ang="0">
                <a:pos x="26" y="9"/>
              </a:cxn>
              <a:cxn ang="0">
                <a:pos x="24" y="9"/>
              </a:cxn>
              <a:cxn ang="0">
                <a:pos x="26" y="8"/>
              </a:cxn>
              <a:cxn ang="0">
                <a:pos x="24" y="6"/>
              </a:cxn>
              <a:cxn ang="0">
                <a:pos x="23" y="5"/>
              </a:cxn>
              <a:cxn ang="0">
                <a:pos x="23" y="3"/>
              </a:cxn>
              <a:cxn ang="0">
                <a:pos x="22" y="3"/>
              </a:cxn>
              <a:cxn ang="0">
                <a:pos x="22" y="1"/>
              </a:cxn>
              <a:cxn ang="0">
                <a:pos x="23" y="1"/>
              </a:cxn>
              <a:cxn ang="0">
                <a:pos x="22" y="1"/>
              </a:cxn>
              <a:cxn ang="0">
                <a:pos x="20" y="0"/>
              </a:cxn>
              <a:cxn ang="0">
                <a:pos x="20" y="1"/>
              </a:cxn>
              <a:cxn ang="0">
                <a:pos x="15" y="1"/>
              </a:cxn>
              <a:cxn ang="0">
                <a:pos x="15" y="3"/>
              </a:cxn>
              <a:cxn ang="0">
                <a:pos x="12" y="5"/>
              </a:cxn>
              <a:cxn ang="0">
                <a:pos x="11" y="8"/>
              </a:cxn>
              <a:cxn ang="0">
                <a:pos x="8" y="14"/>
              </a:cxn>
              <a:cxn ang="0">
                <a:pos x="7" y="14"/>
              </a:cxn>
              <a:cxn ang="0">
                <a:pos x="7" y="16"/>
              </a:cxn>
              <a:cxn ang="0">
                <a:pos x="6" y="17"/>
              </a:cxn>
              <a:cxn ang="0">
                <a:pos x="4" y="19"/>
              </a:cxn>
              <a:cxn ang="0">
                <a:pos x="4" y="20"/>
              </a:cxn>
              <a:cxn ang="0">
                <a:pos x="3" y="23"/>
              </a:cxn>
              <a:cxn ang="0">
                <a:pos x="2" y="27"/>
              </a:cxn>
              <a:cxn ang="0">
                <a:pos x="0" y="28"/>
              </a:cxn>
              <a:cxn ang="0">
                <a:pos x="0" y="30"/>
              </a:cxn>
              <a:cxn ang="0">
                <a:pos x="3" y="30"/>
              </a:cxn>
              <a:cxn ang="0">
                <a:pos x="4" y="31"/>
              </a:cxn>
              <a:cxn ang="0">
                <a:pos x="6" y="30"/>
              </a:cxn>
              <a:cxn ang="0">
                <a:pos x="7" y="31"/>
              </a:cxn>
              <a:cxn ang="0">
                <a:pos x="7" y="27"/>
              </a:cxn>
              <a:cxn ang="0">
                <a:pos x="8" y="27"/>
              </a:cxn>
              <a:cxn ang="0">
                <a:pos x="8" y="28"/>
              </a:cxn>
            </a:cxnLst>
            <a:rect l="0" t="0" r="r" b="b"/>
            <a:pathLst>
              <a:path w="26" h="31">
                <a:moveTo>
                  <a:pt x="8" y="28"/>
                </a:moveTo>
                <a:lnTo>
                  <a:pt x="11" y="25"/>
                </a:lnTo>
                <a:lnTo>
                  <a:pt x="12" y="25"/>
                </a:lnTo>
                <a:lnTo>
                  <a:pt x="14" y="23"/>
                </a:lnTo>
                <a:lnTo>
                  <a:pt x="15" y="22"/>
                </a:lnTo>
                <a:lnTo>
                  <a:pt x="16" y="22"/>
                </a:lnTo>
                <a:lnTo>
                  <a:pt x="16" y="20"/>
                </a:lnTo>
                <a:lnTo>
                  <a:pt x="14" y="20"/>
                </a:lnTo>
                <a:lnTo>
                  <a:pt x="15" y="19"/>
                </a:lnTo>
                <a:lnTo>
                  <a:pt x="15" y="17"/>
                </a:lnTo>
                <a:lnTo>
                  <a:pt x="16" y="17"/>
                </a:lnTo>
                <a:lnTo>
                  <a:pt x="20" y="17"/>
                </a:lnTo>
                <a:lnTo>
                  <a:pt x="22" y="17"/>
                </a:lnTo>
                <a:lnTo>
                  <a:pt x="22" y="16"/>
                </a:lnTo>
                <a:lnTo>
                  <a:pt x="20" y="16"/>
                </a:lnTo>
                <a:lnTo>
                  <a:pt x="20" y="14"/>
                </a:lnTo>
                <a:lnTo>
                  <a:pt x="22" y="14"/>
                </a:lnTo>
                <a:lnTo>
                  <a:pt x="22" y="12"/>
                </a:lnTo>
                <a:lnTo>
                  <a:pt x="23" y="12"/>
                </a:lnTo>
                <a:lnTo>
                  <a:pt x="24" y="11"/>
                </a:lnTo>
                <a:lnTo>
                  <a:pt x="24" y="9"/>
                </a:lnTo>
                <a:lnTo>
                  <a:pt x="26" y="9"/>
                </a:lnTo>
                <a:lnTo>
                  <a:pt x="24" y="9"/>
                </a:lnTo>
                <a:lnTo>
                  <a:pt x="26" y="8"/>
                </a:lnTo>
                <a:lnTo>
                  <a:pt x="24" y="6"/>
                </a:lnTo>
                <a:lnTo>
                  <a:pt x="23" y="5"/>
                </a:lnTo>
                <a:lnTo>
                  <a:pt x="23" y="3"/>
                </a:lnTo>
                <a:lnTo>
                  <a:pt x="22" y="3"/>
                </a:lnTo>
                <a:lnTo>
                  <a:pt x="22" y="1"/>
                </a:lnTo>
                <a:lnTo>
                  <a:pt x="23" y="1"/>
                </a:lnTo>
                <a:lnTo>
                  <a:pt x="22" y="1"/>
                </a:lnTo>
                <a:lnTo>
                  <a:pt x="20" y="0"/>
                </a:lnTo>
                <a:lnTo>
                  <a:pt x="20" y="1"/>
                </a:lnTo>
                <a:lnTo>
                  <a:pt x="15" y="1"/>
                </a:lnTo>
                <a:lnTo>
                  <a:pt x="15" y="3"/>
                </a:lnTo>
                <a:lnTo>
                  <a:pt x="12" y="5"/>
                </a:lnTo>
                <a:lnTo>
                  <a:pt x="11" y="8"/>
                </a:lnTo>
                <a:lnTo>
                  <a:pt x="8" y="14"/>
                </a:lnTo>
                <a:lnTo>
                  <a:pt x="7" y="14"/>
                </a:lnTo>
                <a:lnTo>
                  <a:pt x="7" y="16"/>
                </a:lnTo>
                <a:lnTo>
                  <a:pt x="6" y="17"/>
                </a:lnTo>
                <a:lnTo>
                  <a:pt x="4" y="19"/>
                </a:lnTo>
                <a:lnTo>
                  <a:pt x="4" y="20"/>
                </a:lnTo>
                <a:lnTo>
                  <a:pt x="3" y="23"/>
                </a:lnTo>
                <a:lnTo>
                  <a:pt x="2" y="27"/>
                </a:lnTo>
                <a:lnTo>
                  <a:pt x="0" y="28"/>
                </a:lnTo>
                <a:lnTo>
                  <a:pt x="0" y="30"/>
                </a:lnTo>
                <a:lnTo>
                  <a:pt x="3" y="30"/>
                </a:lnTo>
                <a:lnTo>
                  <a:pt x="4" y="31"/>
                </a:lnTo>
                <a:lnTo>
                  <a:pt x="6" y="30"/>
                </a:lnTo>
                <a:lnTo>
                  <a:pt x="7" y="31"/>
                </a:lnTo>
                <a:lnTo>
                  <a:pt x="7" y="27"/>
                </a:lnTo>
                <a:lnTo>
                  <a:pt x="8" y="27"/>
                </a:lnTo>
                <a:lnTo>
                  <a:pt x="8" y="28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89" name="Freeform 1316"/>
          <p:cNvSpPr>
            <a:spLocks/>
          </p:cNvSpPr>
          <p:nvPr/>
        </p:nvSpPr>
        <p:spPr bwMode="auto">
          <a:xfrm>
            <a:off x="6680015" y="3117976"/>
            <a:ext cx="48719" cy="60133"/>
          </a:xfrm>
          <a:custGeom>
            <a:avLst/>
            <a:gdLst/>
            <a:ahLst/>
            <a:cxnLst>
              <a:cxn ang="0">
                <a:pos x="8" y="28"/>
              </a:cxn>
              <a:cxn ang="0">
                <a:pos x="11" y="25"/>
              </a:cxn>
              <a:cxn ang="0">
                <a:pos x="12" y="25"/>
              </a:cxn>
              <a:cxn ang="0">
                <a:pos x="14" y="23"/>
              </a:cxn>
              <a:cxn ang="0">
                <a:pos x="15" y="22"/>
              </a:cxn>
              <a:cxn ang="0">
                <a:pos x="16" y="22"/>
              </a:cxn>
              <a:cxn ang="0">
                <a:pos x="16" y="20"/>
              </a:cxn>
              <a:cxn ang="0">
                <a:pos x="14" y="20"/>
              </a:cxn>
              <a:cxn ang="0">
                <a:pos x="15" y="19"/>
              </a:cxn>
              <a:cxn ang="0">
                <a:pos x="15" y="17"/>
              </a:cxn>
              <a:cxn ang="0">
                <a:pos x="16" y="17"/>
              </a:cxn>
              <a:cxn ang="0">
                <a:pos x="20" y="17"/>
              </a:cxn>
              <a:cxn ang="0">
                <a:pos x="22" y="17"/>
              </a:cxn>
              <a:cxn ang="0">
                <a:pos x="22" y="16"/>
              </a:cxn>
              <a:cxn ang="0">
                <a:pos x="20" y="16"/>
              </a:cxn>
              <a:cxn ang="0">
                <a:pos x="20" y="14"/>
              </a:cxn>
              <a:cxn ang="0">
                <a:pos x="22" y="14"/>
              </a:cxn>
              <a:cxn ang="0">
                <a:pos x="22" y="12"/>
              </a:cxn>
              <a:cxn ang="0">
                <a:pos x="23" y="12"/>
              </a:cxn>
              <a:cxn ang="0">
                <a:pos x="24" y="11"/>
              </a:cxn>
              <a:cxn ang="0">
                <a:pos x="24" y="9"/>
              </a:cxn>
              <a:cxn ang="0">
                <a:pos x="26" y="9"/>
              </a:cxn>
              <a:cxn ang="0">
                <a:pos x="24" y="9"/>
              </a:cxn>
              <a:cxn ang="0">
                <a:pos x="26" y="8"/>
              </a:cxn>
              <a:cxn ang="0">
                <a:pos x="24" y="6"/>
              </a:cxn>
              <a:cxn ang="0">
                <a:pos x="23" y="5"/>
              </a:cxn>
              <a:cxn ang="0">
                <a:pos x="23" y="3"/>
              </a:cxn>
              <a:cxn ang="0">
                <a:pos x="22" y="3"/>
              </a:cxn>
              <a:cxn ang="0">
                <a:pos x="22" y="1"/>
              </a:cxn>
              <a:cxn ang="0">
                <a:pos x="23" y="1"/>
              </a:cxn>
              <a:cxn ang="0">
                <a:pos x="22" y="1"/>
              </a:cxn>
              <a:cxn ang="0">
                <a:pos x="20" y="0"/>
              </a:cxn>
              <a:cxn ang="0">
                <a:pos x="20" y="1"/>
              </a:cxn>
              <a:cxn ang="0">
                <a:pos x="15" y="1"/>
              </a:cxn>
              <a:cxn ang="0">
                <a:pos x="15" y="3"/>
              </a:cxn>
              <a:cxn ang="0">
                <a:pos x="12" y="5"/>
              </a:cxn>
              <a:cxn ang="0">
                <a:pos x="11" y="8"/>
              </a:cxn>
              <a:cxn ang="0">
                <a:pos x="8" y="14"/>
              </a:cxn>
              <a:cxn ang="0">
                <a:pos x="7" y="14"/>
              </a:cxn>
              <a:cxn ang="0">
                <a:pos x="7" y="16"/>
              </a:cxn>
              <a:cxn ang="0">
                <a:pos x="6" y="17"/>
              </a:cxn>
              <a:cxn ang="0">
                <a:pos x="4" y="19"/>
              </a:cxn>
              <a:cxn ang="0">
                <a:pos x="4" y="20"/>
              </a:cxn>
              <a:cxn ang="0">
                <a:pos x="3" y="23"/>
              </a:cxn>
              <a:cxn ang="0">
                <a:pos x="2" y="27"/>
              </a:cxn>
              <a:cxn ang="0">
                <a:pos x="0" y="28"/>
              </a:cxn>
              <a:cxn ang="0">
                <a:pos x="0" y="30"/>
              </a:cxn>
              <a:cxn ang="0">
                <a:pos x="3" y="30"/>
              </a:cxn>
              <a:cxn ang="0">
                <a:pos x="4" y="31"/>
              </a:cxn>
              <a:cxn ang="0">
                <a:pos x="6" y="30"/>
              </a:cxn>
              <a:cxn ang="0">
                <a:pos x="7" y="31"/>
              </a:cxn>
              <a:cxn ang="0">
                <a:pos x="7" y="27"/>
              </a:cxn>
              <a:cxn ang="0">
                <a:pos x="8" y="27"/>
              </a:cxn>
              <a:cxn ang="0">
                <a:pos x="8" y="28"/>
              </a:cxn>
            </a:cxnLst>
            <a:rect l="0" t="0" r="r" b="b"/>
            <a:pathLst>
              <a:path w="26" h="31">
                <a:moveTo>
                  <a:pt x="8" y="28"/>
                </a:moveTo>
                <a:lnTo>
                  <a:pt x="11" y="25"/>
                </a:lnTo>
                <a:lnTo>
                  <a:pt x="12" y="25"/>
                </a:lnTo>
                <a:lnTo>
                  <a:pt x="14" y="23"/>
                </a:lnTo>
                <a:lnTo>
                  <a:pt x="15" y="22"/>
                </a:lnTo>
                <a:lnTo>
                  <a:pt x="16" y="22"/>
                </a:lnTo>
                <a:lnTo>
                  <a:pt x="16" y="20"/>
                </a:lnTo>
                <a:lnTo>
                  <a:pt x="14" y="20"/>
                </a:lnTo>
                <a:lnTo>
                  <a:pt x="15" y="19"/>
                </a:lnTo>
                <a:lnTo>
                  <a:pt x="15" y="17"/>
                </a:lnTo>
                <a:lnTo>
                  <a:pt x="16" y="17"/>
                </a:lnTo>
                <a:lnTo>
                  <a:pt x="20" y="17"/>
                </a:lnTo>
                <a:lnTo>
                  <a:pt x="22" y="17"/>
                </a:lnTo>
                <a:lnTo>
                  <a:pt x="22" y="16"/>
                </a:lnTo>
                <a:lnTo>
                  <a:pt x="20" y="16"/>
                </a:lnTo>
                <a:lnTo>
                  <a:pt x="20" y="14"/>
                </a:lnTo>
                <a:lnTo>
                  <a:pt x="22" y="14"/>
                </a:lnTo>
                <a:lnTo>
                  <a:pt x="22" y="12"/>
                </a:lnTo>
                <a:lnTo>
                  <a:pt x="23" y="12"/>
                </a:lnTo>
                <a:lnTo>
                  <a:pt x="24" y="11"/>
                </a:lnTo>
                <a:lnTo>
                  <a:pt x="24" y="9"/>
                </a:lnTo>
                <a:lnTo>
                  <a:pt x="26" y="9"/>
                </a:lnTo>
                <a:lnTo>
                  <a:pt x="24" y="9"/>
                </a:lnTo>
                <a:lnTo>
                  <a:pt x="26" y="8"/>
                </a:lnTo>
                <a:lnTo>
                  <a:pt x="24" y="6"/>
                </a:lnTo>
                <a:lnTo>
                  <a:pt x="23" y="5"/>
                </a:lnTo>
                <a:lnTo>
                  <a:pt x="23" y="3"/>
                </a:lnTo>
                <a:lnTo>
                  <a:pt x="22" y="3"/>
                </a:lnTo>
                <a:lnTo>
                  <a:pt x="22" y="1"/>
                </a:lnTo>
                <a:lnTo>
                  <a:pt x="23" y="1"/>
                </a:lnTo>
                <a:lnTo>
                  <a:pt x="22" y="1"/>
                </a:lnTo>
                <a:lnTo>
                  <a:pt x="20" y="0"/>
                </a:lnTo>
                <a:lnTo>
                  <a:pt x="20" y="1"/>
                </a:lnTo>
                <a:lnTo>
                  <a:pt x="15" y="1"/>
                </a:lnTo>
                <a:lnTo>
                  <a:pt x="15" y="3"/>
                </a:lnTo>
                <a:lnTo>
                  <a:pt x="12" y="5"/>
                </a:lnTo>
                <a:lnTo>
                  <a:pt x="11" y="8"/>
                </a:lnTo>
                <a:lnTo>
                  <a:pt x="8" y="14"/>
                </a:lnTo>
                <a:lnTo>
                  <a:pt x="7" y="14"/>
                </a:lnTo>
                <a:lnTo>
                  <a:pt x="7" y="16"/>
                </a:lnTo>
                <a:lnTo>
                  <a:pt x="6" y="17"/>
                </a:lnTo>
                <a:lnTo>
                  <a:pt x="4" y="19"/>
                </a:lnTo>
                <a:lnTo>
                  <a:pt x="4" y="20"/>
                </a:lnTo>
                <a:lnTo>
                  <a:pt x="3" y="23"/>
                </a:lnTo>
                <a:lnTo>
                  <a:pt x="2" y="27"/>
                </a:lnTo>
                <a:lnTo>
                  <a:pt x="0" y="28"/>
                </a:lnTo>
                <a:lnTo>
                  <a:pt x="0" y="30"/>
                </a:lnTo>
                <a:lnTo>
                  <a:pt x="3" y="30"/>
                </a:lnTo>
                <a:lnTo>
                  <a:pt x="4" y="31"/>
                </a:lnTo>
                <a:lnTo>
                  <a:pt x="6" y="30"/>
                </a:lnTo>
                <a:lnTo>
                  <a:pt x="7" y="31"/>
                </a:lnTo>
                <a:lnTo>
                  <a:pt x="7" y="27"/>
                </a:lnTo>
                <a:lnTo>
                  <a:pt x="8" y="27"/>
                </a:lnTo>
                <a:lnTo>
                  <a:pt x="8" y="28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90" name="Freeform 1317"/>
          <p:cNvSpPr>
            <a:spLocks/>
          </p:cNvSpPr>
          <p:nvPr/>
        </p:nvSpPr>
        <p:spPr bwMode="auto">
          <a:xfrm>
            <a:off x="7286095" y="3416495"/>
            <a:ext cx="7795" cy="21476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0" y="7"/>
              </a:cxn>
              <a:cxn ang="0">
                <a:pos x="1" y="9"/>
              </a:cxn>
              <a:cxn ang="0">
                <a:pos x="0" y="11"/>
              </a:cxn>
              <a:cxn ang="0">
                <a:pos x="1" y="11"/>
              </a:cxn>
              <a:cxn ang="0">
                <a:pos x="2" y="11"/>
              </a:cxn>
              <a:cxn ang="0">
                <a:pos x="4" y="7"/>
              </a:cxn>
              <a:cxn ang="0">
                <a:pos x="4" y="4"/>
              </a:cxn>
              <a:cxn ang="0">
                <a:pos x="4" y="3"/>
              </a:cxn>
              <a:cxn ang="0">
                <a:pos x="5" y="3"/>
              </a:cxn>
              <a:cxn ang="0">
                <a:pos x="5" y="1"/>
              </a:cxn>
              <a:cxn ang="0">
                <a:pos x="4" y="0"/>
              </a:cxn>
              <a:cxn ang="0">
                <a:pos x="2" y="1"/>
              </a:cxn>
              <a:cxn ang="0">
                <a:pos x="1" y="1"/>
              </a:cxn>
              <a:cxn ang="0">
                <a:pos x="0" y="4"/>
              </a:cxn>
            </a:cxnLst>
            <a:rect l="0" t="0" r="r" b="b"/>
            <a:pathLst>
              <a:path w="5" h="11">
                <a:moveTo>
                  <a:pt x="0" y="4"/>
                </a:moveTo>
                <a:lnTo>
                  <a:pt x="0" y="7"/>
                </a:lnTo>
                <a:lnTo>
                  <a:pt x="1" y="9"/>
                </a:lnTo>
                <a:lnTo>
                  <a:pt x="0" y="11"/>
                </a:lnTo>
                <a:lnTo>
                  <a:pt x="1" y="11"/>
                </a:lnTo>
                <a:lnTo>
                  <a:pt x="2" y="11"/>
                </a:lnTo>
                <a:lnTo>
                  <a:pt x="4" y="7"/>
                </a:lnTo>
                <a:lnTo>
                  <a:pt x="4" y="4"/>
                </a:lnTo>
                <a:lnTo>
                  <a:pt x="4" y="3"/>
                </a:lnTo>
                <a:lnTo>
                  <a:pt x="5" y="3"/>
                </a:lnTo>
                <a:lnTo>
                  <a:pt x="5" y="1"/>
                </a:lnTo>
                <a:lnTo>
                  <a:pt x="4" y="0"/>
                </a:lnTo>
                <a:lnTo>
                  <a:pt x="2" y="1"/>
                </a:lnTo>
                <a:lnTo>
                  <a:pt x="1" y="1"/>
                </a:lnTo>
                <a:lnTo>
                  <a:pt x="0" y="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91" name="Freeform 1318"/>
          <p:cNvSpPr>
            <a:spLocks/>
          </p:cNvSpPr>
          <p:nvPr/>
        </p:nvSpPr>
        <p:spPr bwMode="auto">
          <a:xfrm>
            <a:off x="7286095" y="3416495"/>
            <a:ext cx="7795" cy="21476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0" y="7"/>
              </a:cxn>
              <a:cxn ang="0">
                <a:pos x="1" y="9"/>
              </a:cxn>
              <a:cxn ang="0">
                <a:pos x="0" y="11"/>
              </a:cxn>
              <a:cxn ang="0">
                <a:pos x="1" y="11"/>
              </a:cxn>
              <a:cxn ang="0">
                <a:pos x="2" y="11"/>
              </a:cxn>
              <a:cxn ang="0">
                <a:pos x="4" y="7"/>
              </a:cxn>
              <a:cxn ang="0">
                <a:pos x="4" y="4"/>
              </a:cxn>
              <a:cxn ang="0">
                <a:pos x="4" y="3"/>
              </a:cxn>
              <a:cxn ang="0">
                <a:pos x="5" y="3"/>
              </a:cxn>
              <a:cxn ang="0">
                <a:pos x="5" y="1"/>
              </a:cxn>
              <a:cxn ang="0">
                <a:pos x="4" y="0"/>
              </a:cxn>
              <a:cxn ang="0">
                <a:pos x="2" y="1"/>
              </a:cxn>
              <a:cxn ang="0">
                <a:pos x="1" y="1"/>
              </a:cxn>
              <a:cxn ang="0">
                <a:pos x="0" y="4"/>
              </a:cxn>
            </a:cxnLst>
            <a:rect l="0" t="0" r="r" b="b"/>
            <a:pathLst>
              <a:path w="5" h="11">
                <a:moveTo>
                  <a:pt x="0" y="4"/>
                </a:moveTo>
                <a:lnTo>
                  <a:pt x="0" y="7"/>
                </a:lnTo>
                <a:lnTo>
                  <a:pt x="1" y="9"/>
                </a:lnTo>
                <a:lnTo>
                  <a:pt x="0" y="11"/>
                </a:lnTo>
                <a:lnTo>
                  <a:pt x="1" y="11"/>
                </a:lnTo>
                <a:lnTo>
                  <a:pt x="2" y="11"/>
                </a:lnTo>
                <a:lnTo>
                  <a:pt x="4" y="7"/>
                </a:lnTo>
                <a:lnTo>
                  <a:pt x="4" y="4"/>
                </a:lnTo>
                <a:lnTo>
                  <a:pt x="4" y="3"/>
                </a:lnTo>
                <a:lnTo>
                  <a:pt x="5" y="3"/>
                </a:lnTo>
                <a:lnTo>
                  <a:pt x="5" y="1"/>
                </a:lnTo>
                <a:lnTo>
                  <a:pt x="4" y="0"/>
                </a:lnTo>
                <a:lnTo>
                  <a:pt x="2" y="1"/>
                </a:lnTo>
                <a:lnTo>
                  <a:pt x="1" y="1"/>
                </a:lnTo>
                <a:lnTo>
                  <a:pt x="0" y="4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92" name="Freeform 1319"/>
          <p:cNvSpPr>
            <a:spLocks/>
          </p:cNvSpPr>
          <p:nvPr/>
        </p:nvSpPr>
        <p:spPr bwMode="auto">
          <a:xfrm>
            <a:off x="7631036" y="3072876"/>
            <a:ext cx="843836" cy="985750"/>
          </a:xfrm>
          <a:custGeom>
            <a:avLst/>
            <a:gdLst/>
            <a:ahLst/>
            <a:cxnLst>
              <a:cxn ang="0">
                <a:pos x="97" y="391"/>
              </a:cxn>
              <a:cxn ang="0">
                <a:pos x="126" y="476"/>
              </a:cxn>
              <a:cxn ang="0">
                <a:pos x="153" y="480"/>
              </a:cxn>
              <a:cxn ang="0">
                <a:pos x="175" y="443"/>
              </a:cxn>
              <a:cxn ang="0">
                <a:pos x="182" y="399"/>
              </a:cxn>
              <a:cxn ang="0">
                <a:pos x="194" y="359"/>
              </a:cxn>
              <a:cxn ang="0">
                <a:pos x="230" y="325"/>
              </a:cxn>
              <a:cxn ang="0">
                <a:pos x="279" y="281"/>
              </a:cxn>
              <a:cxn ang="0">
                <a:pos x="301" y="248"/>
              </a:cxn>
              <a:cxn ang="0">
                <a:pos x="311" y="257"/>
              </a:cxn>
              <a:cxn ang="0">
                <a:pos x="308" y="226"/>
              </a:cxn>
              <a:cxn ang="0">
                <a:pos x="299" y="195"/>
              </a:cxn>
              <a:cxn ang="0">
                <a:pos x="304" y="174"/>
              </a:cxn>
              <a:cxn ang="0">
                <a:pos x="323" y="174"/>
              </a:cxn>
              <a:cxn ang="0">
                <a:pos x="364" y="196"/>
              </a:cxn>
              <a:cxn ang="0">
                <a:pos x="355" y="231"/>
              </a:cxn>
              <a:cxn ang="0">
                <a:pos x="372" y="248"/>
              </a:cxn>
              <a:cxn ang="0">
                <a:pos x="380" y="218"/>
              </a:cxn>
              <a:cxn ang="0">
                <a:pos x="408" y="182"/>
              </a:cxn>
              <a:cxn ang="0">
                <a:pos x="437" y="147"/>
              </a:cxn>
              <a:cxn ang="0">
                <a:pos x="422" y="122"/>
              </a:cxn>
              <a:cxn ang="0">
                <a:pos x="392" y="126"/>
              </a:cxn>
              <a:cxn ang="0">
                <a:pos x="361" y="152"/>
              </a:cxn>
              <a:cxn ang="0">
                <a:pos x="329" y="166"/>
              </a:cxn>
              <a:cxn ang="0">
                <a:pos x="311" y="154"/>
              </a:cxn>
              <a:cxn ang="0">
                <a:pos x="300" y="155"/>
              </a:cxn>
              <a:cxn ang="0">
                <a:pos x="284" y="171"/>
              </a:cxn>
              <a:cxn ang="0">
                <a:pos x="239" y="154"/>
              </a:cxn>
              <a:cxn ang="0">
                <a:pos x="212" y="147"/>
              </a:cxn>
              <a:cxn ang="0">
                <a:pos x="184" y="132"/>
              </a:cxn>
              <a:cxn ang="0">
                <a:pos x="184" y="111"/>
              </a:cxn>
              <a:cxn ang="0">
                <a:pos x="188" y="99"/>
              </a:cxn>
              <a:cxn ang="0">
                <a:pos x="172" y="89"/>
              </a:cxn>
              <a:cxn ang="0">
                <a:pos x="160" y="80"/>
              </a:cxn>
              <a:cxn ang="0">
                <a:pos x="160" y="60"/>
              </a:cxn>
              <a:cxn ang="0">
                <a:pos x="170" y="63"/>
              </a:cxn>
              <a:cxn ang="0">
                <a:pos x="163" y="44"/>
              </a:cxn>
              <a:cxn ang="0">
                <a:pos x="176" y="28"/>
              </a:cxn>
              <a:cxn ang="0">
                <a:pos x="183" y="9"/>
              </a:cxn>
              <a:cxn ang="0">
                <a:pos x="170" y="0"/>
              </a:cxn>
              <a:cxn ang="0">
                <a:pos x="147" y="9"/>
              </a:cxn>
              <a:cxn ang="0">
                <a:pos x="121" y="25"/>
              </a:cxn>
              <a:cxn ang="0">
                <a:pos x="102" y="23"/>
              </a:cxn>
              <a:cxn ang="0">
                <a:pos x="89" y="31"/>
              </a:cxn>
              <a:cxn ang="0">
                <a:pos x="89" y="49"/>
              </a:cxn>
              <a:cxn ang="0">
                <a:pos x="105" y="63"/>
              </a:cxn>
              <a:cxn ang="0">
                <a:pos x="99" y="74"/>
              </a:cxn>
              <a:cxn ang="0">
                <a:pos x="98" y="89"/>
              </a:cxn>
              <a:cxn ang="0">
                <a:pos x="79" y="110"/>
              </a:cxn>
              <a:cxn ang="0">
                <a:pos x="54" y="144"/>
              </a:cxn>
              <a:cxn ang="0">
                <a:pos x="33" y="144"/>
              </a:cxn>
              <a:cxn ang="0">
                <a:pos x="30" y="168"/>
              </a:cxn>
              <a:cxn ang="0">
                <a:pos x="38" y="188"/>
              </a:cxn>
              <a:cxn ang="0">
                <a:pos x="46" y="207"/>
              </a:cxn>
              <a:cxn ang="0">
                <a:pos x="29" y="210"/>
              </a:cxn>
              <a:cxn ang="0">
                <a:pos x="10" y="213"/>
              </a:cxn>
              <a:cxn ang="0">
                <a:pos x="13" y="234"/>
              </a:cxn>
              <a:cxn ang="0">
                <a:pos x="20" y="243"/>
              </a:cxn>
              <a:cxn ang="0">
                <a:pos x="50" y="268"/>
              </a:cxn>
              <a:cxn ang="0">
                <a:pos x="66" y="246"/>
              </a:cxn>
              <a:cxn ang="0">
                <a:pos x="70" y="276"/>
              </a:cxn>
              <a:cxn ang="0">
                <a:pos x="71" y="306"/>
              </a:cxn>
              <a:cxn ang="0">
                <a:pos x="79" y="353"/>
              </a:cxn>
            </a:cxnLst>
            <a:rect l="0" t="0" r="r" b="b"/>
            <a:pathLst>
              <a:path w="441" h="496">
                <a:moveTo>
                  <a:pt x="83" y="361"/>
                </a:moveTo>
                <a:lnTo>
                  <a:pt x="85" y="366"/>
                </a:lnTo>
                <a:lnTo>
                  <a:pt x="86" y="366"/>
                </a:lnTo>
                <a:lnTo>
                  <a:pt x="86" y="364"/>
                </a:lnTo>
                <a:lnTo>
                  <a:pt x="87" y="366"/>
                </a:lnTo>
                <a:lnTo>
                  <a:pt x="86" y="367"/>
                </a:lnTo>
                <a:lnTo>
                  <a:pt x="86" y="369"/>
                </a:lnTo>
                <a:lnTo>
                  <a:pt x="89" y="375"/>
                </a:lnTo>
                <a:lnTo>
                  <a:pt x="90" y="378"/>
                </a:lnTo>
                <a:lnTo>
                  <a:pt x="93" y="380"/>
                </a:lnTo>
                <a:lnTo>
                  <a:pt x="95" y="386"/>
                </a:lnTo>
                <a:lnTo>
                  <a:pt x="97" y="391"/>
                </a:lnTo>
                <a:lnTo>
                  <a:pt x="98" y="394"/>
                </a:lnTo>
                <a:lnTo>
                  <a:pt x="99" y="399"/>
                </a:lnTo>
                <a:lnTo>
                  <a:pt x="102" y="408"/>
                </a:lnTo>
                <a:lnTo>
                  <a:pt x="105" y="421"/>
                </a:lnTo>
                <a:lnTo>
                  <a:pt x="105" y="422"/>
                </a:lnTo>
                <a:lnTo>
                  <a:pt x="107" y="427"/>
                </a:lnTo>
                <a:lnTo>
                  <a:pt x="110" y="429"/>
                </a:lnTo>
                <a:lnTo>
                  <a:pt x="115" y="436"/>
                </a:lnTo>
                <a:lnTo>
                  <a:pt x="117" y="443"/>
                </a:lnTo>
                <a:lnTo>
                  <a:pt x="118" y="451"/>
                </a:lnTo>
                <a:lnTo>
                  <a:pt x="125" y="468"/>
                </a:lnTo>
                <a:lnTo>
                  <a:pt x="126" y="476"/>
                </a:lnTo>
                <a:lnTo>
                  <a:pt x="129" y="480"/>
                </a:lnTo>
                <a:lnTo>
                  <a:pt x="131" y="487"/>
                </a:lnTo>
                <a:lnTo>
                  <a:pt x="135" y="493"/>
                </a:lnTo>
                <a:lnTo>
                  <a:pt x="139" y="496"/>
                </a:lnTo>
                <a:lnTo>
                  <a:pt x="145" y="496"/>
                </a:lnTo>
                <a:lnTo>
                  <a:pt x="146" y="495"/>
                </a:lnTo>
                <a:lnTo>
                  <a:pt x="146" y="493"/>
                </a:lnTo>
                <a:lnTo>
                  <a:pt x="149" y="491"/>
                </a:lnTo>
                <a:lnTo>
                  <a:pt x="150" y="490"/>
                </a:lnTo>
                <a:lnTo>
                  <a:pt x="150" y="488"/>
                </a:lnTo>
                <a:lnTo>
                  <a:pt x="150" y="487"/>
                </a:lnTo>
                <a:lnTo>
                  <a:pt x="153" y="480"/>
                </a:lnTo>
                <a:lnTo>
                  <a:pt x="158" y="477"/>
                </a:lnTo>
                <a:lnTo>
                  <a:pt x="163" y="476"/>
                </a:lnTo>
                <a:lnTo>
                  <a:pt x="163" y="473"/>
                </a:lnTo>
                <a:lnTo>
                  <a:pt x="163" y="469"/>
                </a:lnTo>
                <a:lnTo>
                  <a:pt x="167" y="463"/>
                </a:lnTo>
                <a:lnTo>
                  <a:pt x="167" y="462"/>
                </a:lnTo>
                <a:lnTo>
                  <a:pt x="168" y="457"/>
                </a:lnTo>
                <a:lnTo>
                  <a:pt x="172" y="457"/>
                </a:lnTo>
                <a:lnTo>
                  <a:pt x="174" y="458"/>
                </a:lnTo>
                <a:lnTo>
                  <a:pt x="176" y="458"/>
                </a:lnTo>
                <a:lnTo>
                  <a:pt x="176" y="452"/>
                </a:lnTo>
                <a:lnTo>
                  <a:pt x="175" y="443"/>
                </a:lnTo>
                <a:lnTo>
                  <a:pt x="175" y="433"/>
                </a:lnTo>
                <a:lnTo>
                  <a:pt x="176" y="430"/>
                </a:lnTo>
                <a:lnTo>
                  <a:pt x="179" y="422"/>
                </a:lnTo>
                <a:lnTo>
                  <a:pt x="180" y="418"/>
                </a:lnTo>
                <a:lnTo>
                  <a:pt x="183" y="410"/>
                </a:lnTo>
                <a:lnTo>
                  <a:pt x="183" y="407"/>
                </a:lnTo>
                <a:lnTo>
                  <a:pt x="183" y="402"/>
                </a:lnTo>
                <a:lnTo>
                  <a:pt x="182" y="400"/>
                </a:lnTo>
                <a:lnTo>
                  <a:pt x="182" y="399"/>
                </a:lnTo>
                <a:lnTo>
                  <a:pt x="180" y="399"/>
                </a:lnTo>
                <a:lnTo>
                  <a:pt x="182" y="397"/>
                </a:lnTo>
                <a:lnTo>
                  <a:pt x="182" y="399"/>
                </a:lnTo>
                <a:lnTo>
                  <a:pt x="180" y="388"/>
                </a:lnTo>
                <a:lnTo>
                  <a:pt x="180" y="385"/>
                </a:lnTo>
                <a:lnTo>
                  <a:pt x="180" y="381"/>
                </a:lnTo>
                <a:lnTo>
                  <a:pt x="179" y="380"/>
                </a:lnTo>
                <a:lnTo>
                  <a:pt x="179" y="375"/>
                </a:lnTo>
                <a:lnTo>
                  <a:pt x="179" y="369"/>
                </a:lnTo>
                <a:lnTo>
                  <a:pt x="182" y="366"/>
                </a:lnTo>
                <a:lnTo>
                  <a:pt x="183" y="361"/>
                </a:lnTo>
                <a:lnTo>
                  <a:pt x="186" y="359"/>
                </a:lnTo>
                <a:lnTo>
                  <a:pt x="188" y="359"/>
                </a:lnTo>
                <a:lnTo>
                  <a:pt x="191" y="361"/>
                </a:lnTo>
                <a:lnTo>
                  <a:pt x="194" y="359"/>
                </a:lnTo>
                <a:lnTo>
                  <a:pt x="195" y="356"/>
                </a:lnTo>
                <a:lnTo>
                  <a:pt x="196" y="352"/>
                </a:lnTo>
                <a:lnTo>
                  <a:pt x="198" y="352"/>
                </a:lnTo>
                <a:lnTo>
                  <a:pt x="200" y="350"/>
                </a:lnTo>
                <a:lnTo>
                  <a:pt x="204" y="350"/>
                </a:lnTo>
                <a:lnTo>
                  <a:pt x="211" y="347"/>
                </a:lnTo>
                <a:lnTo>
                  <a:pt x="212" y="345"/>
                </a:lnTo>
                <a:lnTo>
                  <a:pt x="212" y="341"/>
                </a:lnTo>
                <a:lnTo>
                  <a:pt x="215" y="338"/>
                </a:lnTo>
                <a:lnTo>
                  <a:pt x="218" y="336"/>
                </a:lnTo>
                <a:lnTo>
                  <a:pt x="224" y="330"/>
                </a:lnTo>
                <a:lnTo>
                  <a:pt x="230" y="325"/>
                </a:lnTo>
                <a:lnTo>
                  <a:pt x="234" y="320"/>
                </a:lnTo>
                <a:lnTo>
                  <a:pt x="238" y="317"/>
                </a:lnTo>
                <a:lnTo>
                  <a:pt x="240" y="316"/>
                </a:lnTo>
                <a:lnTo>
                  <a:pt x="240" y="314"/>
                </a:lnTo>
                <a:lnTo>
                  <a:pt x="242" y="314"/>
                </a:lnTo>
                <a:lnTo>
                  <a:pt x="244" y="311"/>
                </a:lnTo>
                <a:lnTo>
                  <a:pt x="254" y="298"/>
                </a:lnTo>
                <a:lnTo>
                  <a:pt x="258" y="295"/>
                </a:lnTo>
                <a:lnTo>
                  <a:pt x="266" y="289"/>
                </a:lnTo>
                <a:lnTo>
                  <a:pt x="271" y="287"/>
                </a:lnTo>
                <a:lnTo>
                  <a:pt x="273" y="286"/>
                </a:lnTo>
                <a:lnTo>
                  <a:pt x="279" y="281"/>
                </a:lnTo>
                <a:lnTo>
                  <a:pt x="280" y="278"/>
                </a:lnTo>
                <a:lnTo>
                  <a:pt x="281" y="276"/>
                </a:lnTo>
                <a:lnTo>
                  <a:pt x="284" y="273"/>
                </a:lnTo>
                <a:lnTo>
                  <a:pt x="283" y="265"/>
                </a:lnTo>
                <a:lnTo>
                  <a:pt x="284" y="261"/>
                </a:lnTo>
                <a:lnTo>
                  <a:pt x="293" y="256"/>
                </a:lnTo>
                <a:lnTo>
                  <a:pt x="296" y="254"/>
                </a:lnTo>
                <a:lnTo>
                  <a:pt x="297" y="253"/>
                </a:lnTo>
                <a:lnTo>
                  <a:pt x="299" y="251"/>
                </a:lnTo>
                <a:lnTo>
                  <a:pt x="299" y="250"/>
                </a:lnTo>
                <a:lnTo>
                  <a:pt x="301" y="246"/>
                </a:lnTo>
                <a:lnTo>
                  <a:pt x="301" y="248"/>
                </a:lnTo>
                <a:lnTo>
                  <a:pt x="301" y="251"/>
                </a:lnTo>
                <a:lnTo>
                  <a:pt x="301" y="254"/>
                </a:lnTo>
                <a:lnTo>
                  <a:pt x="301" y="256"/>
                </a:lnTo>
                <a:lnTo>
                  <a:pt x="301" y="254"/>
                </a:lnTo>
                <a:lnTo>
                  <a:pt x="303" y="256"/>
                </a:lnTo>
                <a:lnTo>
                  <a:pt x="304" y="257"/>
                </a:lnTo>
                <a:lnTo>
                  <a:pt x="305" y="257"/>
                </a:lnTo>
                <a:lnTo>
                  <a:pt x="308" y="256"/>
                </a:lnTo>
                <a:lnTo>
                  <a:pt x="309" y="254"/>
                </a:lnTo>
                <a:lnTo>
                  <a:pt x="309" y="253"/>
                </a:lnTo>
                <a:lnTo>
                  <a:pt x="311" y="256"/>
                </a:lnTo>
                <a:lnTo>
                  <a:pt x="311" y="257"/>
                </a:lnTo>
                <a:lnTo>
                  <a:pt x="313" y="256"/>
                </a:lnTo>
                <a:lnTo>
                  <a:pt x="312" y="251"/>
                </a:lnTo>
                <a:lnTo>
                  <a:pt x="312" y="250"/>
                </a:lnTo>
                <a:lnTo>
                  <a:pt x="311" y="245"/>
                </a:lnTo>
                <a:lnTo>
                  <a:pt x="311" y="243"/>
                </a:lnTo>
                <a:lnTo>
                  <a:pt x="311" y="240"/>
                </a:lnTo>
                <a:lnTo>
                  <a:pt x="309" y="239"/>
                </a:lnTo>
                <a:lnTo>
                  <a:pt x="308" y="237"/>
                </a:lnTo>
                <a:lnTo>
                  <a:pt x="308" y="234"/>
                </a:lnTo>
                <a:lnTo>
                  <a:pt x="309" y="232"/>
                </a:lnTo>
                <a:lnTo>
                  <a:pt x="309" y="228"/>
                </a:lnTo>
                <a:lnTo>
                  <a:pt x="308" y="226"/>
                </a:lnTo>
                <a:lnTo>
                  <a:pt x="308" y="221"/>
                </a:lnTo>
                <a:lnTo>
                  <a:pt x="307" y="220"/>
                </a:lnTo>
                <a:lnTo>
                  <a:pt x="307" y="218"/>
                </a:lnTo>
                <a:lnTo>
                  <a:pt x="307" y="215"/>
                </a:lnTo>
                <a:lnTo>
                  <a:pt x="307" y="207"/>
                </a:lnTo>
                <a:lnTo>
                  <a:pt x="305" y="206"/>
                </a:lnTo>
                <a:lnTo>
                  <a:pt x="303" y="204"/>
                </a:lnTo>
                <a:lnTo>
                  <a:pt x="300" y="202"/>
                </a:lnTo>
                <a:lnTo>
                  <a:pt x="297" y="201"/>
                </a:lnTo>
                <a:lnTo>
                  <a:pt x="297" y="199"/>
                </a:lnTo>
                <a:lnTo>
                  <a:pt x="297" y="198"/>
                </a:lnTo>
                <a:lnTo>
                  <a:pt x="299" y="195"/>
                </a:lnTo>
                <a:lnTo>
                  <a:pt x="301" y="195"/>
                </a:lnTo>
                <a:lnTo>
                  <a:pt x="303" y="193"/>
                </a:lnTo>
                <a:lnTo>
                  <a:pt x="304" y="191"/>
                </a:lnTo>
                <a:lnTo>
                  <a:pt x="309" y="191"/>
                </a:lnTo>
                <a:lnTo>
                  <a:pt x="309" y="188"/>
                </a:lnTo>
                <a:lnTo>
                  <a:pt x="308" y="188"/>
                </a:lnTo>
                <a:lnTo>
                  <a:pt x="308" y="187"/>
                </a:lnTo>
                <a:lnTo>
                  <a:pt x="304" y="187"/>
                </a:lnTo>
                <a:lnTo>
                  <a:pt x="303" y="185"/>
                </a:lnTo>
                <a:lnTo>
                  <a:pt x="301" y="182"/>
                </a:lnTo>
                <a:lnTo>
                  <a:pt x="300" y="180"/>
                </a:lnTo>
                <a:lnTo>
                  <a:pt x="304" y="174"/>
                </a:lnTo>
                <a:lnTo>
                  <a:pt x="305" y="169"/>
                </a:lnTo>
                <a:lnTo>
                  <a:pt x="307" y="169"/>
                </a:lnTo>
                <a:lnTo>
                  <a:pt x="309" y="174"/>
                </a:lnTo>
                <a:lnTo>
                  <a:pt x="311" y="176"/>
                </a:lnTo>
                <a:lnTo>
                  <a:pt x="311" y="174"/>
                </a:lnTo>
                <a:lnTo>
                  <a:pt x="312" y="171"/>
                </a:lnTo>
                <a:lnTo>
                  <a:pt x="313" y="171"/>
                </a:lnTo>
                <a:lnTo>
                  <a:pt x="315" y="176"/>
                </a:lnTo>
                <a:lnTo>
                  <a:pt x="316" y="179"/>
                </a:lnTo>
                <a:lnTo>
                  <a:pt x="317" y="177"/>
                </a:lnTo>
                <a:lnTo>
                  <a:pt x="320" y="179"/>
                </a:lnTo>
                <a:lnTo>
                  <a:pt x="323" y="174"/>
                </a:lnTo>
                <a:lnTo>
                  <a:pt x="323" y="176"/>
                </a:lnTo>
                <a:lnTo>
                  <a:pt x="324" y="182"/>
                </a:lnTo>
                <a:lnTo>
                  <a:pt x="325" y="187"/>
                </a:lnTo>
                <a:lnTo>
                  <a:pt x="327" y="190"/>
                </a:lnTo>
                <a:lnTo>
                  <a:pt x="329" y="191"/>
                </a:lnTo>
                <a:lnTo>
                  <a:pt x="341" y="191"/>
                </a:lnTo>
                <a:lnTo>
                  <a:pt x="343" y="191"/>
                </a:lnTo>
                <a:lnTo>
                  <a:pt x="347" y="191"/>
                </a:lnTo>
                <a:lnTo>
                  <a:pt x="353" y="191"/>
                </a:lnTo>
                <a:lnTo>
                  <a:pt x="360" y="193"/>
                </a:lnTo>
                <a:lnTo>
                  <a:pt x="364" y="195"/>
                </a:lnTo>
                <a:lnTo>
                  <a:pt x="364" y="196"/>
                </a:lnTo>
                <a:lnTo>
                  <a:pt x="361" y="198"/>
                </a:lnTo>
                <a:lnTo>
                  <a:pt x="360" y="201"/>
                </a:lnTo>
                <a:lnTo>
                  <a:pt x="356" y="206"/>
                </a:lnTo>
                <a:lnTo>
                  <a:pt x="353" y="209"/>
                </a:lnTo>
                <a:lnTo>
                  <a:pt x="349" y="210"/>
                </a:lnTo>
                <a:lnTo>
                  <a:pt x="347" y="213"/>
                </a:lnTo>
                <a:lnTo>
                  <a:pt x="345" y="215"/>
                </a:lnTo>
                <a:lnTo>
                  <a:pt x="347" y="220"/>
                </a:lnTo>
                <a:lnTo>
                  <a:pt x="348" y="226"/>
                </a:lnTo>
                <a:lnTo>
                  <a:pt x="351" y="226"/>
                </a:lnTo>
                <a:lnTo>
                  <a:pt x="352" y="229"/>
                </a:lnTo>
                <a:lnTo>
                  <a:pt x="355" y="231"/>
                </a:lnTo>
                <a:lnTo>
                  <a:pt x="356" y="229"/>
                </a:lnTo>
                <a:lnTo>
                  <a:pt x="357" y="223"/>
                </a:lnTo>
                <a:lnTo>
                  <a:pt x="360" y="218"/>
                </a:lnTo>
                <a:lnTo>
                  <a:pt x="361" y="218"/>
                </a:lnTo>
                <a:lnTo>
                  <a:pt x="364" y="223"/>
                </a:lnTo>
                <a:lnTo>
                  <a:pt x="365" y="228"/>
                </a:lnTo>
                <a:lnTo>
                  <a:pt x="367" y="231"/>
                </a:lnTo>
                <a:lnTo>
                  <a:pt x="367" y="232"/>
                </a:lnTo>
                <a:lnTo>
                  <a:pt x="368" y="242"/>
                </a:lnTo>
                <a:lnTo>
                  <a:pt x="369" y="251"/>
                </a:lnTo>
                <a:lnTo>
                  <a:pt x="371" y="250"/>
                </a:lnTo>
                <a:lnTo>
                  <a:pt x="372" y="248"/>
                </a:lnTo>
                <a:lnTo>
                  <a:pt x="375" y="250"/>
                </a:lnTo>
                <a:lnTo>
                  <a:pt x="376" y="250"/>
                </a:lnTo>
                <a:lnTo>
                  <a:pt x="377" y="246"/>
                </a:lnTo>
                <a:lnTo>
                  <a:pt x="377" y="245"/>
                </a:lnTo>
                <a:lnTo>
                  <a:pt x="376" y="245"/>
                </a:lnTo>
                <a:lnTo>
                  <a:pt x="376" y="242"/>
                </a:lnTo>
                <a:lnTo>
                  <a:pt x="375" y="237"/>
                </a:lnTo>
                <a:lnTo>
                  <a:pt x="376" y="234"/>
                </a:lnTo>
                <a:lnTo>
                  <a:pt x="379" y="234"/>
                </a:lnTo>
                <a:lnTo>
                  <a:pt x="380" y="232"/>
                </a:lnTo>
                <a:lnTo>
                  <a:pt x="381" y="226"/>
                </a:lnTo>
                <a:lnTo>
                  <a:pt x="380" y="218"/>
                </a:lnTo>
                <a:lnTo>
                  <a:pt x="383" y="217"/>
                </a:lnTo>
                <a:lnTo>
                  <a:pt x="386" y="215"/>
                </a:lnTo>
                <a:lnTo>
                  <a:pt x="389" y="217"/>
                </a:lnTo>
                <a:lnTo>
                  <a:pt x="392" y="217"/>
                </a:lnTo>
                <a:lnTo>
                  <a:pt x="393" y="215"/>
                </a:lnTo>
                <a:lnTo>
                  <a:pt x="394" y="209"/>
                </a:lnTo>
                <a:lnTo>
                  <a:pt x="400" y="198"/>
                </a:lnTo>
                <a:lnTo>
                  <a:pt x="401" y="195"/>
                </a:lnTo>
                <a:lnTo>
                  <a:pt x="400" y="191"/>
                </a:lnTo>
                <a:lnTo>
                  <a:pt x="402" y="190"/>
                </a:lnTo>
                <a:lnTo>
                  <a:pt x="406" y="187"/>
                </a:lnTo>
                <a:lnTo>
                  <a:pt x="408" y="182"/>
                </a:lnTo>
                <a:lnTo>
                  <a:pt x="408" y="174"/>
                </a:lnTo>
                <a:lnTo>
                  <a:pt x="409" y="169"/>
                </a:lnTo>
                <a:lnTo>
                  <a:pt x="413" y="166"/>
                </a:lnTo>
                <a:lnTo>
                  <a:pt x="417" y="165"/>
                </a:lnTo>
                <a:lnTo>
                  <a:pt x="420" y="162"/>
                </a:lnTo>
                <a:lnTo>
                  <a:pt x="422" y="158"/>
                </a:lnTo>
                <a:lnTo>
                  <a:pt x="428" y="157"/>
                </a:lnTo>
                <a:lnTo>
                  <a:pt x="430" y="155"/>
                </a:lnTo>
                <a:lnTo>
                  <a:pt x="436" y="157"/>
                </a:lnTo>
                <a:lnTo>
                  <a:pt x="436" y="155"/>
                </a:lnTo>
                <a:lnTo>
                  <a:pt x="436" y="151"/>
                </a:lnTo>
                <a:lnTo>
                  <a:pt x="437" y="147"/>
                </a:lnTo>
                <a:lnTo>
                  <a:pt x="440" y="146"/>
                </a:lnTo>
                <a:lnTo>
                  <a:pt x="441" y="144"/>
                </a:lnTo>
                <a:lnTo>
                  <a:pt x="441" y="140"/>
                </a:lnTo>
                <a:lnTo>
                  <a:pt x="440" y="137"/>
                </a:lnTo>
                <a:lnTo>
                  <a:pt x="437" y="135"/>
                </a:lnTo>
                <a:lnTo>
                  <a:pt x="433" y="135"/>
                </a:lnTo>
                <a:lnTo>
                  <a:pt x="430" y="135"/>
                </a:lnTo>
                <a:lnTo>
                  <a:pt x="426" y="135"/>
                </a:lnTo>
                <a:lnTo>
                  <a:pt x="426" y="130"/>
                </a:lnTo>
                <a:lnTo>
                  <a:pt x="426" y="126"/>
                </a:lnTo>
                <a:lnTo>
                  <a:pt x="424" y="126"/>
                </a:lnTo>
                <a:lnTo>
                  <a:pt x="422" y="122"/>
                </a:lnTo>
                <a:lnTo>
                  <a:pt x="424" y="119"/>
                </a:lnTo>
                <a:lnTo>
                  <a:pt x="420" y="116"/>
                </a:lnTo>
                <a:lnTo>
                  <a:pt x="417" y="118"/>
                </a:lnTo>
                <a:lnTo>
                  <a:pt x="413" y="121"/>
                </a:lnTo>
                <a:lnTo>
                  <a:pt x="409" y="121"/>
                </a:lnTo>
                <a:lnTo>
                  <a:pt x="404" y="121"/>
                </a:lnTo>
                <a:lnTo>
                  <a:pt x="401" y="121"/>
                </a:lnTo>
                <a:lnTo>
                  <a:pt x="400" y="119"/>
                </a:lnTo>
                <a:lnTo>
                  <a:pt x="398" y="119"/>
                </a:lnTo>
                <a:lnTo>
                  <a:pt x="396" y="121"/>
                </a:lnTo>
                <a:lnTo>
                  <a:pt x="393" y="122"/>
                </a:lnTo>
                <a:lnTo>
                  <a:pt x="392" y="126"/>
                </a:lnTo>
                <a:lnTo>
                  <a:pt x="386" y="130"/>
                </a:lnTo>
                <a:lnTo>
                  <a:pt x="383" y="132"/>
                </a:lnTo>
                <a:lnTo>
                  <a:pt x="379" y="137"/>
                </a:lnTo>
                <a:lnTo>
                  <a:pt x="376" y="138"/>
                </a:lnTo>
                <a:lnTo>
                  <a:pt x="372" y="141"/>
                </a:lnTo>
                <a:lnTo>
                  <a:pt x="368" y="143"/>
                </a:lnTo>
                <a:lnTo>
                  <a:pt x="360" y="144"/>
                </a:lnTo>
                <a:lnTo>
                  <a:pt x="356" y="146"/>
                </a:lnTo>
                <a:lnTo>
                  <a:pt x="356" y="147"/>
                </a:lnTo>
                <a:lnTo>
                  <a:pt x="356" y="149"/>
                </a:lnTo>
                <a:lnTo>
                  <a:pt x="356" y="151"/>
                </a:lnTo>
                <a:lnTo>
                  <a:pt x="361" y="152"/>
                </a:lnTo>
                <a:lnTo>
                  <a:pt x="363" y="155"/>
                </a:lnTo>
                <a:lnTo>
                  <a:pt x="363" y="158"/>
                </a:lnTo>
                <a:lnTo>
                  <a:pt x="363" y="160"/>
                </a:lnTo>
                <a:lnTo>
                  <a:pt x="360" y="162"/>
                </a:lnTo>
                <a:lnTo>
                  <a:pt x="355" y="163"/>
                </a:lnTo>
                <a:lnTo>
                  <a:pt x="351" y="163"/>
                </a:lnTo>
                <a:lnTo>
                  <a:pt x="345" y="165"/>
                </a:lnTo>
                <a:lnTo>
                  <a:pt x="343" y="165"/>
                </a:lnTo>
                <a:lnTo>
                  <a:pt x="340" y="165"/>
                </a:lnTo>
                <a:lnTo>
                  <a:pt x="337" y="163"/>
                </a:lnTo>
                <a:lnTo>
                  <a:pt x="336" y="163"/>
                </a:lnTo>
                <a:lnTo>
                  <a:pt x="329" y="166"/>
                </a:lnTo>
                <a:lnTo>
                  <a:pt x="324" y="166"/>
                </a:lnTo>
                <a:lnTo>
                  <a:pt x="319" y="165"/>
                </a:lnTo>
                <a:lnTo>
                  <a:pt x="315" y="163"/>
                </a:lnTo>
                <a:lnTo>
                  <a:pt x="313" y="163"/>
                </a:lnTo>
                <a:lnTo>
                  <a:pt x="313" y="160"/>
                </a:lnTo>
                <a:lnTo>
                  <a:pt x="312" y="160"/>
                </a:lnTo>
                <a:lnTo>
                  <a:pt x="311" y="160"/>
                </a:lnTo>
                <a:lnTo>
                  <a:pt x="311" y="158"/>
                </a:lnTo>
                <a:lnTo>
                  <a:pt x="313" y="155"/>
                </a:lnTo>
                <a:lnTo>
                  <a:pt x="312" y="155"/>
                </a:lnTo>
                <a:lnTo>
                  <a:pt x="312" y="154"/>
                </a:lnTo>
                <a:lnTo>
                  <a:pt x="311" y="154"/>
                </a:lnTo>
                <a:lnTo>
                  <a:pt x="311" y="151"/>
                </a:lnTo>
                <a:lnTo>
                  <a:pt x="312" y="147"/>
                </a:lnTo>
                <a:lnTo>
                  <a:pt x="312" y="146"/>
                </a:lnTo>
                <a:lnTo>
                  <a:pt x="311" y="143"/>
                </a:lnTo>
                <a:lnTo>
                  <a:pt x="309" y="141"/>
                </a:lnTo>
                <a:lnTo>
                  <a:pt x="308" y="141"/>
                </a:lnTo>
                <a:lnTo>
                  <a:pt x="305" y="143"/>
                </a:lnTo>
                <a:lnTo>
                  <a:pt x="304" y="143"/>
                </a:lnTo>
                <a:lnTo>
                  <a:pt x="301" y="144"/>
                </a:lnTo>
                <a:lnTo>
                  <a:pt x="300" y="147"/>
                </a:lnTo>
                <a:lnTo>
                  <a:pt x="299" y="151"/>
                </a:lnTo>
                <a:lnTo>
                  <a:pt x="300" y="155"/>
                </a:lnTo>
                <a:lnTo>
                  <a:pt x="299" y="158"/>
                </a:lnTo>
                <a:lnTo>
                  <a:pt x="297" y="160"/>
                </a:lnTo>
                <a:lnTo>
                  <a:pt x="297" y="162"/>
                </a:lnTo>
                <a:lnTo>
                  <a:pt x="300" y="162"/>
                </a:lnTo>
                <a:lnTo>
                  <a:pt x="301" y="165"/>
                </a:lnTo>
                <a:lnTo>
                  <a:pt x="301" y="168"/>
                </a:lnTo>
                <a:lnTo>
                  <a:pt x="300" y="171"/>
                </a:lnTo>
                <a:lnTo>
                  <a:pt x="296" y="171"/>
                </a:lnTo>
                <a:lnTo>
                  <a:pt x="293" y="171"/>
                </a:lnTo>
                <a:lnTo>
                  <a:pt x="289" y="171"/>
                </a:lnTo>
                <a:lnTo>
                  <a:pt x="287" y="171"/>
                </a:lnTo>
                <a:lnTo>
                  <a:pt x="284" y="171"/>
                </a:lnTo>
                <a:lnTo>
                  <a:pt x="281" y="169"/>
                </a:lnTo>
                <a:lnTo>
                  <a:pt x="280" y="169"/>
                </a:lnTo>
                <a:lnTo>
                  <a:pt x="267" y="168"/>
                </a:lnTo>
                <a:lnTo>
                  <a:pt x="266" y="166"/>
                </a:lnTo>
                <a:lnTo>
                  <a:pt x="263" y="165"/>
                </a:lnTo>
                <a:lnTo>
                  <a:pt x="259" y="165"/>
                </a:lnTo>
                <a:lnTo>
                  <a:pt x="254" y="165"/>
                </a:lnTo>
                <a:lnTo>
                  <a:pt x="251" y="162"/>
                </a:lnTo>
                <a:lnTo>
                  <a:pt x="248" y="160"/>
                </a:lnTo>
                <a:lnTo>
                  <a:pt x="246" y="157"/>
                </a:lnTo>
                <a:lnTo>
                  <a:pt x="244" y="155"/>
                </a:lnTo>
                <a:lnTo>
                  <a:pt x="239" y="154"/>
                </a:lnTo>
                <a:lnTo>
                  <a:pt x="238" y="155"/>
                </a:lnTo>
                <a:lnTo>
                  <a:pt x="236" y="155"/>
                </a:lnTo>
                <a:lnTo>
                  <a:pt x="234" y="154"/>
                </a:lnTo>
                <a:lnTo>
                  <a:pt x="231" y="154"/>
                </a:lnTo>
                <a:lnTo>
                  <a:pt x="228" y="155"/>
                </a:lnTo>
                <a:lnTo>
                  <a:pt x="227" y="155"/>
                </a:lnTo>
                <a:lnTo>
                  <a:pt x="222" y="154"/>
                </a:lnTo>
                <a:lnTo>
                  <a:pt x="219" y="151"/>
                </a:lnTo>
                <a:lnTo>
                  <a:pt x="218" y="149"/>
                </a:lnTo>
                <a:lnTo>
                  <a:pt x="215" y="149"/>
                </a:lnTo>
                <a:lnTo>
                  <a:pt x="214" y="149"/>
                </a:lnTo>
                <a:lnTo>
                  <a:pt x="212" y="147"/>
                </a:lnTo>
                <a:lnTo>
                  <a:pt x="208" y="146"/>
                </a:lnTo>
                <a:lnTo>
                  <a:pt x="206" y="146"/>
                </a:lnTo>
                <a:lnTo>
                  <a:pt x="203" y="144"/>
                </a:lnTo>
                <a:lnTo>
                  <a:pt x="202" y="143"/>
                </a:lnTo>
                <a:lnTo>
                  <a:pt x="199" y="138"/>
                </a:lnTo>
                <a:lnTo>
                  <a:pt x="196" y="137"/>
                </a:lnTo>
                <a:lnTo>
                  <a:pt x="194" y="137"/>
                </a:lnTo>
                <a:lnTo>
                  <a:pt x="192" y="135"/>
                </a:lnTo>
                <a:lnTo>
                  <a:pt x="188" y="133"/>
                </a:lnTo>
                <a:lnTo>
                  <a:pt x="187" y="133"/>
                </a:lnTo>
                <a:lnTo>
                  <a:pt x="186" y="133"/>
                </a:lnTo>
                <a:lnTo>
                  <a:pt x="184" y="132"/>
                </a:lnTo>
                <a:lnTo>
                  <a:pt x="184" y="130"/>
                </a:lnTo>
                <a:lnTo>
                  <a:pt x="180" y="129"/>
                </a:lnTo>
                <a:lnTo>
                  <a:pt x="180" y="127"/>
                </a:lnTo>
                <a:lnTo>
                  <a:pt x="182" y="124"/>
                </a:lnTo>
                <a:lnTo>
                  <a:pt x="183" y="124"/>
                </a:lnTo>
                <a:lnTo>
                  <a:pt x="183" y="122"/>
                </a:lnTo>
                <a:lnTo>
                  <a:pt x="184" y="121"/>
                </a:lnTo>
                <a:lnTo>
                  <a:pt x="183" y="119"/>
                </a:lnTo>
                <a:lnTo>
                  <a:pt x="184" y="116"/>
                </a:lnTo>
                <a:lnTo>
                  <a:pt x="186" y="115"/>
                </a:lnTo>
                <a:lnTo>
                  <a:pt x="184" y="113"/>
                </a:lnTo>
                <a:lnTo>
                  <a:pt x="184" y="111"/>
                </a:lnTo>
                <a:lnTo>
                  <a:pt x="186" y="110"/>
                </a:lnTo>
                <a:lnTo>
                  <a:pt x="188" y="110"/>
                </a:lnTo>
                <a:lnTo>
                  <a:pt x="188" y="108"/>
                </a:lnTo>
                <a:lnTo>
                  <a:pt x="191" y="107"/>
                </a:lnTo>
                <a:lnTo>
                  <a:pt x="192" y="105"/>
                </a:lnTo>
                <a:lnTo>
                  <a:pt x="192" y="104"/>
                </a:lnTo>
                <a:lnTo>
                  <a:pt x="194" y="104"/>
                </a:lnTo>
                <a:lnTo>
                  <a:pt x="195" y="104"/>
                </a:lnTo>
                <a:lnTo>
                  <a:pt x="194" y="102"/>
                </a:lnTo>
                <a:lnTo>
                  <a:pt x="190" y="102"/>
                </a:lnTo>
                <a:lnTo>
                  <a:pt x="188" y="100"/>
                </a:lnTo>
                <a:lnTo>
                  <a:pt x="188" y="99"/>
                </a:lnTo>
                <a:lnTo>
                  <a:pt x="187" y="99"/>
                </a:lnTo>
                <a:lnTo>
                  <a:pt x="183" y="96"/>
                </a:lnTo>
                <a:lnTo>
                  <a:pt x="182" y="96"/>
                </a:lnTo>
                <a:lnTo>
                  <a:pt x="180" y="96"/>
                </a:lnTo>
                <a:lnTo>
                  <a:pt x="179" y="94"/>
                </a:lnTo>
                <a:lnTo>
                  <a:pt x="179" y="93"/>
                </a:lnTo>
                <a:lnTo>
                  <a:pt x="178" y="91"/>
                </a:lnTo>
                <a:lnTo>
                  <a:pt x="176" y="91"/>
                </a:lnTo>
                <a:lnTo>
                  <a:pt x="175" y="91"/>
                </a:lnTo>
                <a:lnTo>
                  <a:pt x="174" y="91"/>
                </a:lnTo>
                <a:lnTo>
                  <a:pt x="172" y="91"/>
                </a:lnTo>
                <a:lnTo>
                  <a:pt x="172" y="89"/>
                </a:lnTo>
                <a:lnTo>
                  <a:pt x="171" y="89"/>
                </a:lnTo>
                <a:lnTo>
                  <a:pt x="170" y="89"/>
                </a:lnTo>
                <a:lnTo>
                  <a:pt x="168" y="89"/>
                </a:lnTo>
                <a:lnTo>
                  <a:pt x="167" y="89"/>
                </a:lnTo>
                <a:lnTo>
                  <a:pt x="164" y="89"/>
                </a:lnTo>
                <a:lnTo>
                  <a:pt x="163" y="89"/>
                </a:lnTo>
                <a:lnTo>
                  <a:pt x="164" y="86"/>
                </a:lnTo>
                <a:lnTo>
                  <a:pt x="162" y="86"/>
                </a:lnTo>
                <a:lnTo>
                  <a:pt x="162" y="85"/>
                </a:lnTo>
                <a:lnTo>
                  <a:pt x="162" y="83"/>
                </a:lnTo>
                <a:lnTo>
                  <a:pt x="160" y="82"/>
                </a:lnTo>
                <a:lnTo>
                  <a:pt x="160" y="80"/>
                </a:lnTo>
                <a:lnTo>
                  <a:pt x="160" y="78"/>
                </a:lnTo>
                <a:lnTo>
                  <a:pt x="160" y="77"/>
                </a:lnTo>
                <a:lnTo>
                  <a:pt x="160" y="75"/>
                </a:lnTo>
                <a:lnTo>
                  <a:pt x="160" y="74"/>
                </a:lnTo>
                <a:lnTo>
                  <a:pt x="160" y="72"/>
                </a:lnTo>
                <a:lnTo>
                  <a:pt x="159" y="69"/>
                </a:lnTo>
                <a:lnTo>
                  <a:pt x="157" y="67"/>
                </a:lnTo>
                <a:lnTo>
                  <a:pt x="157" y="64"/>
                </a:lnTo>
                <a:lnTo>
                  <a:pt x="157" y="63"/>
                </a:lnTo>
                <a:lnTo>
                  <a:pt x="157" y="61"/>
                </a:lnTo>
                <a:lnTo>
                  <a:pt x="159" y="61"/>
                </a:lnTo>
                <a:lnTo>
                  <a:pt x="160" y="60"/>
                </a:lnTo>
                <a:lnTo>
                  <a:pt x="160" y="61"/>
                </a:lnTo>
                <a:lnTo>
                  <a:pt x="160" y="63"/>
                </a:lnTo>
                <a:lnTo>
                  <a:pt x="162" y="64"/>
                </a:lnTo>
                <a:lnTo>
                  <a:pt x="164" y="66"/>
                </a:lnTo>
                <a:lnTo>
                  <a:pt x="164" y="64"/>
                </a:lnTo>
                <a:lnTo>
                  <a:pt x="166" y="64"/>
                </a:lnTo>
                <a:lnTo>
                  <a:pt x="167" y="64"/>
                </a:lnTo>
                <a:lnTo>
                  <a:pt x="167" y="63"/>
                </a:lnTo>
                <a:lnTo>
                  <a:pt x="168" y="63"/>
                </a:lnTo>
                <a:lnTo>
                  <a:pt x="168" y="61"/>
                </a:lnTo>
                <a:lnTo>
                  <a:pt x="170" y="61"/>
                </a:lnTo>
                <a:lnTo>
                  <a:pt x="170" y="63"/>
                </a:lnTo>
                <a:lnTo>
                  <a:pt x="171" y="63"/>
                </a:lnTo>
                <a:lnTo>
                  <a:pt x="174" y="60"/>
                </a:lnTo>
                <a:lnTo>
                  <a:pt x="174" y="58"/>
                </a:lnTo>
                <a:lnTo>
                  <a:pt x="172" y="56"/>
                </a:lnTo>
                <a:lnTo>
                  <a:pt x="171" y="55"/>
                </a:lnTo>
                <a:lnTo>
                  <a:pt x="170" y="53"/>
                </a:lnTo>
                <a:lnTo>
                  <a:pt x="171" y="53"/>
                </a:lnTo>
                <a:lnTo>
                  <a:pt x="171" y="52"/>
                </a:lnTo>
                <a:lnTo>
                  <a:pt x="167" y="50"/>
                </a:lnTo>
                <a:lnTo>
                  <a:pt x="166" y="50"/>
                </a:lnTo>
                <a:lnTo>
                  <a:pt x="163" y="47"/>
                </a:lnTo>
                <a:lnTo>
                  <a:pt x="163" y="44"/>
                </a:lnTo>
                <a:lnTo>
                  <a:pt x="164" y="44"/>
                </a:lnTo>
                <a:lnTo>
                  <a:pt x="164" y="41"/>
                </a:lnTo>
                <a:lnTo>
                  <a:pt x="163" y="38"/>
                </a:lnTo>
                <a:lnTo>
                  <a:pt x="163" y="36"/>
                </a:lnTo>
                <a:lnTo>
                  <a:pt x="166" y="36"/>
                </a:lnTo>
                <a:lnTo>
                  <a:pt x="167" y="36"/>
                </a:lnTo>
                <a:lnTo>
                  <a:pt x="170" y="36"/>
                </a:lnTo>
                <a:lnTo>
                  <a:pt x="171" y="36"/>
                </a:lnTo>
                <a:lnTo>
                  <a:pt x="172" y="34"/>
                </a:lnTo>
                <a:lnTo>
                  <a:pt x="174" y="31"/>
                </a:lnTo>
                <a:lnTo>
                  <a:pt x="174" y="28"/>
                </a:lnTo>
                <a:lnTo>
                  <a:pt x="176" y="28"/>
                </a:lnTo>
                <a:lnTo>
                  <a:pt x="176" y="27"/>
                </a:lnTo>
                <a:lnTo>
                  <a:pt x="178" y="27"/>
                </a:lnTo>
                <a:lnTo>
                  <a:pt x="178" y="25"/>
                </a:lnTo>
                <a:lnTo>
                  <a:pt x="179" y="23"/>
                </a:lnTo>
                <a:lnTo>
                  <a:pt x="180" y="23"/>
                </a:lnTo>
                <a:lnTo>
                  <a:pt x="180" y="22"/>
                </a:lnTo>
                <a:lnTo>
                  <a:pt x="182" y="20"/>
                </a:lnTo>
                <a:lnTo>
                  <a:pt x="183" y="14"/>
                </a:lnTo>
                <a:lnTo>
                  <a:pt x="183" y="12"/>
                </a:lnTo>
                <a:lnTo>
                  <a:pt x="186" y="11"/>
                </a:lnTo>
                <a:lnTo>
                  <a:pt x="184" y="9"/>
                </a:lnTo>
                <a:lnTo>
                  <a:pt x="183" y="9"/>
                </a:lnTo>
                <a:lnTo>
                  <a:pt x="180" y="11"/>
                </a:lnTo>
                <a:lnTo>
                  <a:pt x="179" y="9"/>
                </a:lnTo>
                <a:lnTo>
                  <a:pt x="179" y="6"/>
                </a:lnTo>
                <a:lnTo>
                  <a:pt x="178" y="8"/>
                </a:lnTo>
                <a:lnTo>
                  <a:pt x="176" y="8"/>
                </a:lnTo>
                <a:lnTo>
                  <a:pt x="176" y="6"/>
                </a:lnTo>
                <a:lnTo>
                  <a:pt x="175" y="6"/>
                </a:lnTo>
                <a:lnTo>
                  <a:pt x="174" y="3"/>
                </a:lnTo>
                <a:lnTo>
                  <a:pt x="172" y="3"/>
                </a:lnTo>
                <a:lnTo>
                  <a:pt x="171" y="3"/>
                </a:lnTo>
                <a:lnTo>
                  <a:pt x="170" y="1"/>
                </a:lnTo>
                <a:lnTo>
                  <a:pt x="170" y="0"/>
                </a:lnTo>
                <a:lnTo>
                  <a:pt x="168" y="0"/>
                </a:lnTo>
                <a:lnTo>
                  <a:pt x="167" y="1"/>
                </a:lnTo>
                <a:lnTo>
                  <a:pt x="166" y="1"/>
                </a:lnTo>
                <a:lnTo>
                  <a:pt x="164" y="1"/>
                </a:lnTo>
                <a:lnTo>
                  <a:pt x="160" y="3"/>
                </a:lnTo>
                <a:lnTo>
                  <a:pt x="158" y="5"/>
                </a:lnTo>
                <a:lnTo>
                  <a:pt x="155" y="6"/>
                </a:lnTo>
                <a:lnTo>
                  <a:pt x="153" y="8"/>
                </a:lnTo>
                <a:lnTo>
                  <a:pt x="151" y="9"/>
                </a:lnTo>
                <a:lnTo>
                  <a:pt x="150" y="9"/>
                </a:lnTo>
                <a:lnTo>
                  <a:pt x="149" y="9"/>
                </a:lnTo>
                <a:lnTo>
                  <a:pt x="147" y="9"/>
                </a:lnTo>
                <a:lnTo>
                  <a:pt x="146" y="11"/>
                </a:lnTo>
                <a:lnTo>
                  <a:pt x="145" y="9"/>
                </a:lnTo>
                <a:lnTo>
                  <a:pt x="135" y="17"/>
                </a:lnTo>
                <a:lnTo>
                  <a:pt x="134" y="19"/>
                </a:lnTo>
                <a:lnTo>
                  <a:pt x="133" y="22"/>
                </a:lnTo>
                <a:lnTo>
                  <a:pt x="133" y="23"/>
                </a:lnTo>
                <a:lnTo>
                  <a:pt x="131" y="22"/>
                </a:lnTo>
                <a:lnTo>
                  <a:pt x="130" y="22"/>
                </a:lnTo>
                <a:lnTo>
                  <a:pt x="125" y="22"/>
                </a:lnTo>
                <a:lnTo>
                  <a:pt x="123" y="23"/>
                </a:lnTo>
                <a:lnTo>
                  <a:pt x="122" y="25"/>
                </a:lnTo>
                <a:lnTo>
                  <a:pt x="121" y="25"/>
                </a:lnTo>
                <a:lnTo>
                  <a:pt x="119" y="23"/>
                </a:lnTo>
                <a:lnTo>
                  <a:pt x="118" y="23"/>
                </a:lnTo>
                <a:lnTo>
                  <a:pt x="117" y="25"/>
                </a:lnTo>
                <a:lnTo>
                  <a:pt x="117" y="27"/>
                </a:lnTo>
                <a:lnTo>
                  <a:pt x="115" y="27"/>
                </a:lnTo>
                <a:lnTo>
                  <a:pt x="114" y="25"/>
                </a:lnTo>
                <a:lnTo>
                  <a:pt x="113" y="27"/>
                </a:lnTo>
                <a:lnTo>
                  <a:pt x="111" y="25"/>
                </a:lnTo>
                <a:lnTo>
                  <a:pt x="109" y="25"/>
                </a:lnTo>
                <a:lnTo>
                  <a:pt x="107" y="25"/>
                </a:lnTo>
                <a:lnTo>
                  <a:pt x="106" y="25"/>
                </a:lnTo>
                <a:lnTo>
                  <a:pt x="102" y="23"/>
                </a:lnTo>
                <a:lnTo>
                  <a:pt x="98" y="22"/>
                </a:lnTo>
                <a:lnTo>
                  <a:pt x="94" y="20"/>
                </a:lnTo>
                <a:lnTo>
                  <a:pt x="93" y="20"/>
                </a:lnTo>
                <a:lnTo>
                  <a:pt x="91" y="22"/>
                </a:lnTo>
                <a:lnTo>
                  <a:pt x="89" y="22"/>
                </a:lnTo>
                <a:lnTo>
                  <a:pt x="87" y="22"/>
                </a:lnTo>
                <a:lnTo>
                  <a:pt x="87" y="25"/>
                </a:lnTo>
                <a:lnTo>
                  <a:pt x="86" y="28"/>
                </a:lnTo>
                <a:lnTo>
                  <a:pt x="86" y="30"/>
                </a:lnTo>
                <a:lnTo>
                  <a:pt x="87" y="30"/>
                </a:lnTo>
                <a:lnTo>
                  <a:pt x="89" y="30"/>
                </a:lnTo>
                <a:lnTo>
                  <a:pt x="89" y="31"/>
                </a:lnTo>
                <a:lnTo>
                  <a:pt x="87" y="31"/>
                </a:lnTo>
                <a:lnTo>
                  <a:pt x="87" y="33"/>
                </a:lnTo>
                <a:lnTo>
                  <a:pt x="87" y="34"/>
                </a:lnTo>
                <a:lnTo>
                  <a:pt x="89" y="34"/>
                </a:lnTo>
                <a:lnTo>
                  <a:pt x="91" y="34"/>
                </a:lnTo>
                <a:lnTo>
                  <a:pt x="93" y="34"/>
                </a:lnTo>
                <a:lnTo>
                  <a:pt x="93" y="36"/>
                </a:lnTo>
                <a:lnTo>
                  <a:pt x="91" y="38"/>
                </a:lnTo>
                <a:lnTo>
                  <a:pt x="89" y="39"/>
                </a:lnTo>
                <a:lnTo>
                  <a:pt x="93" y="42"/>
                </a:lnTo>
                <a:lnTo>
                  <a:pt x="93" y="45"/>
                </a:lnTo>
                <a:lnTo>
                  <a:pt x="89" y="49"/>
                </a:lnTo>
                <a:lnTo>
                  <a:pt x="90" y="50"/>
                </a:lnTo>
                <a:lnTo>
                  <a:pt x="91" y="53"/>
                </a:lnTo>
                <a:lnTo>
                  <a:pt x="94" y="55"/>
                </a:lnTo>
                <a:lnTo>
                  <a:pt x="94" y="56"/>
                </a:lnTo>
                <a:lnTo>
                  <a:pt x="95" y="56"/>
                </a:lnTo>
                <a:lnTo>
                  <a:pt x="97" y="58"/>
                </a:lnTo>
                <a:lnTo>
                  <a:pt x="98" y="56"/>
                </a:lnTo>
                <a:lnTo>
                  <a:pt x="99" y="58"/>
                </a:lnTo>
                <a:lnTo>
                  <a:pt x="99" y="60"/>
                </a:lnTo>
                <a:lnTo>
                  <a:pt x="99" y="63"/>
                </a:lnTo>
                <a:lnTo>
                  <a:pt x="101" y="63"/>
                </a:lnTo>
                <a:lnTo>
                  <a:pt x="105" y="63"/>
                </a:lnTo>
                <a:lnTo>
                  <a:pt x="107" y="64"/>
                </a:lnTo>
                <a:lnTo>
                  <a:pt x="109" y="64"/>
                </a:lnTo>
                <a:lnTo>
                  <a:pt x="110" y="66"/>
                </a:lnTo>
                <a:lnTo>
                  <a:pt x="109" y="67"/>
                </a:lnTo>
                <a:lnTo>
                  <a:pt x="110" y="69"/>
                </a:lnTo>
                <a:lnTo>
                  <a:pt x="109" y="69"/>
                </a:lnTo>
                <a:lnTo>
                  <a:pt x="107" y="71"/>
                </a:lnTo>
                <a:lnTo>
                  <a:pt x="106" y="71"/>
                </a:lnTo>
                <a:lnTo>
                  <a:pt x="105" y="71"/>
                </a:lnTo>
                <a:lnTo>
                  <a:pt x="102" y="71"/>
                </a:lnTo>
                <a:lnTo>
                  <a:pt x="102" y="72"/>
                </a:lnTo>
                <a:lnTo>
                  <a:pt x="99" y="74"/>
                </a:lnTo>
                <a:lnTo>
                  <a:pt x="98" y="75"/>
                </a:lnTo>
                <a:lnTo>
                  <a:pt x="98" y="78"/>
                </a:lnTo>
                <a:lnTo>
                  <a:pt x="99" y="80"/>
                </a:lnTo>
                <a:lnTo>
                  <a:pt x="99" y="82"/>
                </a:lnTo>
                <a:lnTo>
                  <a:pt x="99" y="83"/>
                </a:lnTo>
                <a:lnTo>
                  <a:pt x="98" y="85"/>
                </a:lnTo>
                <a:lnTo>
                  <a:pt x="98" y="86"/>
                </a:lnTo>
                <a:lnTo>
                  <a:pt x="101" y="88"/>
                </a:lnTo>
                <a:lnTo>
                  <a:pt x="102" y="89"/>
                </a:lnTo>
                <a:lnTo>
                  <a:pt x="101" y="89"/>
                </a:lnTo>
                <a:lnTo>
                  <a:pt x="99" y="89"/>
                </a:lnTo>
                <a:lnTo>
                  <a:pt x="98" y="89"/>
                </a:lnTo>
                <a:lnTo>
                  <a:pt x="98" y="91"/>
                </a:lnTo>
                <a:lnTo>
                  <a:pt x="94" y="93"/>
                </a:lnTo>
                <a:lnTo>
                  <a:pt x="91" y="97"/>
                </a:lnTo>
                <a:lnTo>
                  <a:pt x="89" y="97"/>
                </a:lnTo>
                <a:lnTo>
                  <a:pt x="87" y="99"/>
                </a:lnTo>
                <a:lnTo>
                  <a:pt x="87" y="100"/>
                </a:lnTo>
                <a:lnTo>
                  <a:pt x="86" y="102"/>
                </a:lnTo>
                <a:lnTo>
                  <a:pt x="87" y="105"/>
                </a:lnTo>
                <a:lnTo>
                  <a:pt x="86" y="107"/>
                </a:lnTo>
                <a:lnTo>
                  <a:pt x="83" y="108"/>
                </a:lnTo>
                <a:lnTo>
                  <a:pt x="82" y="108"/>
                </a:lnTo>
                <a:lnTo>
                  <a:pt x="79" y="110"/>
                </a:lnTo>
                <a:lnTo>
                  <a:pt x="78" y="111"/>
                </a:lnTo>
                <a:lnTo>
                  <a:pt x="78" y="115"/>
                </a:lnTo>
                <a:lnTo>
                  <a:pt x="75" y="118"/>
                </a:lnTo>
                <a:lnTo>
                  <a:pt x="71" y="124"/>
                </a:lnTo>
                <a:lnTo>
                  <a:pt x="70" y="127"/>
                </a:lnTo>
                <a:lnTo>
                  <a:pt x="66" y="129"/>
                </a:lnTo>
                <a:lnTo>
                  <a:pt x="63" y="132"/>
                </a:lnTo>
                <a:lnTo>
                  <a:pt x="62" y="132"/>
                </a:lnTo>
                <a:lnTo>
                  <a:pt x="59" y="137"/>
                </a:lnTo>
                <a:lnTo>
                  <a:pt x="58" y="140"/>
                </a:lnTo>
                <a:lnTo>
                  <a:pt x="55" y="144"/>
                </a:lnTo>
                <a:lnTo>
                  <a:pt x="54" y="144"/>
                </a:lnTo>
                <a:lnTo>
                  <a:pt x="53" y="146"/>
                </a:lnTo>
                <a:lnTo>
                  <a:pt x="47" y="144"/>
                </a:lnTo>
                <a:lnTo>
                  <a:pt x="46" y="146"/>
                </a:lnTo>
                <a:lnTo>
                  <a:pt x="44" y="146"/>
                </a:lnTo>
                <a:lnTo>
                  <a:pt x="42" y="147"/>
                </a:lnTo>
                <a:lnTo>
                  <a:pt x="41" y="149"/>
                </a:lnTo>
                <a:lnTo>
                  <a:pt x="41" y="147"/>
                </a:lnTo>
                <a:lnTo>
                  <a:pt x="41" y="146"/>
                </a:lnTo>
                <a:lnTo>
                  <a:pt x="38" y="143"/>
                </a:lnTo>
                <a:lnTo>
                  <a:pt x="37" y="143"/>
                </a:lnTo>
                <a:lnTo>
                  <a:pt x="36" y="143"/>
                </a:lnTo>
                <a:lnTo>
                  <a:pt x="33" y="144"/>
                </a:lnTo>
                <a:lnTo>
                  <a:pt x="33" y="146"/>
                </a:lnTo>
                <a:lnTo>
                  <a:pt x="29" y="149"/>
                </a:lnTo>
                <a:lnTo>
                  <a:pt x="25" y="155"/>
                </a:lnTo>
                <a:lnTo>
                  <a:pt x="24" y="157"/>
                </a:lnTo>
                <a:lnTo>
                  <a:pt x="22" y="158"/>
                </a:lnTo>
                <a:lnTo>
                  <a:pt x="21" y="163"/>
                </a:lnTo>
                <a:lnTo>
                  <a:pt x="21" y="165"/>
                </a:lnTo>
                <a:lnTo>
                  <a:pt x="22" y="166"/>
                </a:lnTo>
                <a:lnTo>
                  <a:pt x="24" y="168"/>
                </a:lnTo>
                <a:lnTo>
                  <a:pt x="26" y="168"/>
                </a:lnTo>
                <a:lnTo>
                  <a:pt x="28" y="168"/>
                </a:lnTo>
                <a:lnTo>
                  <a:pt x="30" y="168"/>
                </a:lnTo>
                <a:lnTo>
                  <a:pt x="32" y="168"/>
                </a:lnTo>
                <a:lnTo>
                  <a:pt x="32" y="169"/>
                </a:lnTo>
                <a:lnTo>
                  <a:pt x="33" y="171"/>
                </a:lnTo>
                <a:lnTo>
                  <a:pt x="33" y="173"/>
                </a:lnTo>
                <a:lnTo>
                  <a:pt x="30" y="177"/>
                </a:lnTo>
                <a:lnTo>
                  <a:pt x="30" y="179"/>
                </a:lnTo>
                <a:lnTo>
                  <a:pt x="32" y="180"/>
                </a:lnTo>
                <a:lnTo>
                  <a:pt x="34" y="184"/>
                </a:lnTo>
                <a:lnTo>
                  <a:pt x="37" y="184"/>
                </a:lnTo>
                <a:lnTo>
                  <a:pt x="38" y="184"/>
                </a:lnTo>
                <a:lnTo>
                  <a:pt x="38" y="185"/>
                </a:lnTo>
                <a:lnTo>
                  <a:pt x="38" y="188"/>
                </a:lnTo>
                <a:lnTo>
                  <a:pt x="40" y="190"/>
                </a:lnTo>
                <a:lnTo>
                  <a:pt x="41" y="193"/>
                </a:lnTo>
                <a:lnTo>
                  <a:pt x="41" y="195"/>
                </a:lnTo>
                <a:lnTo>
                  <a:pt x="42" y="196"/>
                </a:lnTo>
                <a:lnTo>
                  <a:pt x="44" y="198"/>
                </a:lnTo>
                <a:lnTo>
                  <a:pt x="44" y="199"/>
                </a:lnTo>
                <a:lnTo>
                  <a:pt x="45" y="199"/>
                </a:lnTo>
                <a:lnTo>
                  <a:pt x="45" y="201"/>
                </a:lnTo>
                <a:lnTo>
                  <a:pt x="44" y="202"/>
                </a:lnTo>
                <a:lnTo>
                  <a:pt x="44" y="206"/>
                </a:lnTo>
                <a:lnTo>
                  <a:pt x="45" y="207"/>
                </a:lnTo>
                <a:lnTo>
                  <a:pt x="46" y="207"/>
                </a:lnTo>
                <a:lnTo>
                  <a:pt x="44" y="207"/>
                </a:lnTo>
                <a:lnTo>
                  <a:pt x="42" y="209"/>
                </a:lnTo>
                <a:lnTo>
                  <a:pt x="41" y="210"/>
                </a:lnTo>
                <a:lnTo>
                  <a:pt x="40" y="210"/>
                </a:lnTo>
                <a:lnTo>
                  <a:pt x="38" y="209"/>
                </a:lnTo>
                <a:lnTo>
                  <a:pt x="38" y="207"/>
                </a:lnTo>
                <a:lnTo>
                  <a:pt x="38" y="206"/>
                </a:lnTo>
                <a:lnTo>
                  <a:pt x="36" y="206"/>
                </a:lnTo>
                <a:lnTo>
                  <a:pt x="34" y="207"/>
                </a:lnTo>
                <a:lnTo>
                  <a:pt x="32" y="209"/>
                </a:lnTo>
                <a:lnTo>
                  <a:pt x="30" y="210"/>
                </a:lnTo>
                <a:lnTo>
                  <a:pt x="29" y="210"/>
                </a:lnTo>
                <a:lnTo>
                  <a:pt x="25" y="210"/>
                </a:lnTo>
                <a:lnTo>
                  <a:pt x="22" y="209"/>
                </a:lnTo>
                <a:lnTo>
                  <a:pt x="21" y="209"/>
                </a:lnTo>
                <a:lnTo>
                  <a:pt x="20" y="209"/>
                </a:lnTo>
                <a:lnTo>
                  <a:pt x="17" y="209"/>
                </a:lnTo>
                <a:lnTo>
                  <a:pt x="16" y="209"/>
                </a:lnTo>
                <a:lnTo>
                  <a:pt x="14" y="209"/>
                </a:lnTo>
                <a:lnTo>
                  <a:pt x="13" y="209"/>
                </a:lnTo>
                <a:lnTo>
                  <a:pt x="12" y="209"/>
                </a:lnTo>
                <a:lnTo>
                  <a:pt x="12" y="207"/>
                </a:lnTo>
                <a:lnTo>
                  <a:pt x="10" y="209"/>
                </a:lnTo>
                <a:lnTo>
                  <a:pt x="10" y="213"/>
                </a:lnTo>
                <a:lnTo>
                  <a:pt x="5" y="213"/>
                </a:lnTo>
                <a:lnTo>
                  <a:pt x="4" y="215"/>
                </a:lnTo>
                <a:lnTo>
                  <a:pt x="2" y="213"/>
                </a:lnTo>
                <a:lnTo>
                  <a:pt x="2" y="215"/>
                </a:lnTo>
                <a:lnTo>
                  <a:pt x="1" y="217"/>
                </a:lnTo>
                <a:lnTo>
                  <a:pt x="0" y="218"/>
                </a:lnTo>
                <a:lnTo>
                  <a:pt x="1" y="221"/>
                </a:lnTo>
                <a:lnTo>
                  <a:pt x="2" y="221"/>
                </a:lnTo>
                <a:lnTo>
                  <a:pt x="4" y="224"/>
                </a:lnTo>
                <a:lnTo>
                  <a:pt x="8" y="229"/>
                </a:lnTo>
                <a:lnTo>
                  <a:pt x="10" y="232"/>
                </a:lnTo>
                <a:lnTo>
                  <a:pt x="13" y="234"/>
                </a:lnTo>
                <a:lnTo>
                  <a:pt x="18" y="235"/>
                </a:lnTo>
                <a:lnTo>
                  <a:pt x="24" y="234"/>
                </a:lnTo>
                <a:lnTo>
                  <a:pt x="29" y="234"/>
                </a:lnTo>
                <a:lnTo>
                  <a:pt x="32" y="232"/>
                </a:lnTo>
                <a:lnTo>
                  <a:pt x="32" y="229"/>
                </a:lnTo>
                <a:lnTo>
                  <a:pt x="33" y="229"/>
                </a:lnTo>
                <a:lnTo>
                  <a:pt x="34" y="231"/>
                </a:lnTo>
                <a:lnTo>
                  <a:pt x="32" y="237"/>
                </a:lnTo>
                <a:lnTo>
                  <a:pt x="29" y="240"/>
                </a:lnTo>
                <a:lnTo>
                  <a:pt x="26" y="242"/>
                </a:lnTo>
                <a:lnTo>
                  <a:pt x="24" y="243"/>
                </a:lnTo>
                <a:lnTo>
                  <a:pt x="20" y="243"/>
                </a:lnTo>
                <a:lnTo>
                  <a:pt x="16" y="243"/>
                </a:lnTo>
                <a:lnTo>
                  <a:pt x="14" y="242"/>
                </a:lnTo>
                <a:lnTo>
                  <a:pt x="13" y="243"/>
                </a:lnTo>
                <a:lnTo>
                  <a:pt x="13" y="248"/>
                </a:lnTo>
                <a:lnTo>
                  <a:pt x="25" y="261"/>
                </a:lnTo>
                <a:lnTo>
                  <a:pt x="28" y="265"/>
                </a:lnTo>
                <a:lnTo>
                  <a:pt x="34" y="270"/>
                </a:lnTo>
                <a:lnTo>
                  <a:pt x="36" y="270"/>
                </a:lnTo>
                <a:lnTo>
                  <a:pt x="42" y="272"/>
                </a:lnTo>
                <a:lnTo>
                  <a:pt x="46" y="270"/>
                </a:lnTo>
                <a:lnTo>
                  <a:pt x="47" y="270"/>
                </a:lnTo>
                <a:lnTo>
                  <a:pt x="50" y="268"/>
                </a:lnTo>
                <a:lnTo>
                  <a:pt x="51" y="267"/>
                </a:lnTo>
                <a:lnTo>
                  <a:pt x="57" y="264"/>
                </a:lnTo>
                <a:lnTo>
                  <a:pt x="58" y="262"/>
                </a:lnTo>
                <a:lnTo>
                  <a:pt x="59" y="259"/>
                </a:lnTo>
                <a:lnTo>
                  <a:pt x="59" y="251"/>
                </a:lnTo>
                <a:lnTo>
                  <a:pt x="61" y="246"/>
                </a:lnTo>
                <a:lnTo>
                  <a:pt x="61" y="242"/>
                </a:lnTo>
                <a:lnTo>
                  <a:pt x="62" y="243"/>
                </a:lnTo>
                <a:lnTo>
                  <a:pt x="63" y="243"/>
                </a:lnTo>
                <a:lnTo>
                  <a:pt x="71" y="245"/>
                </a:lnTo>
                <a:lnTo>
                  <a:pt x="70" y="246"/>
                </a:lnTo>
                <a:lnTo>
                  <a:pt x="66" y="246"/>
                </a:lnTo>
                <a:lnTo>
                  <a:pt x="65" y="251"/>
                </a:lnTo>
                <a:lnTo>
                  <a:pt x="66" y="251"/>
                </a:lnTo>
                <a:lnTo>
                  <a:pt x="66" y="254"/>
                </a:lnTo>
                <a:lnTo>
                  <a:pt x="66" y="256"/>
                </a:lnTo>
                <a:lnTo>
                  <a:pt x="67" y="256"/>
                </a:lnTo>
                <a:lnTo>
                  <a:pt x="66" y="261"/>
                </a:lnTo>
                <a:lnTo>
                  <a:pt x="66" y="264"/>
                </a:lnTo>
                <a:lnTo>
                  <a:pt x="67" y="264"/>
                </a:lnTo>
                <a:lnTo>
                  <a:pt x="69" y="265"/>
                </a:lnTo>
                <a:lnTo>
                  <a:pt x="67" y="267"/>
                </a:lnTo>
                <a:lnTo>
                  <a:pt x="70" y="273"/>
                </a:lnTo>
                <a:lnTo>
                  <a:pt x="70" y="276"/>
                </a:lnTo>
                <a:lnTo>
                  <a:pt x="70" y="279"/>
                </a:lnTo>
                <a:lnTo>
                  <a:pt x="69" y="284"/>
                </a:lnTo>
                <a:lnTo>
                  <a:pt x="67" y="287"/>
                </a:lnTo>
                <a:lnTo>
                  <a:pt x="67" y="290"/>
                </a:lnTo>
                <a:lnTo>
                  <a:pt x="69" y="295"/>
                </a:lnTo>
                <a:lnTo>
                  <a:pt x="69" y="297"/>
                </a:lnTo>
                <a:lnTo>
                  <a:pt x="70" y="301"/>
                </a:lnTo>
                <a:lnTo>
                  <a:pt x="71" y="300"/>
                </a:lnTo>
                <a:lnTo>
                  <a:pt x="71" y="301"/>
                </a:lnTo>
                <a:lnTo>
                  <a:pt x="71" y="303"/>
                </a:lnTo>
                <a:lnTo>
                  <a:pt x="71" y="305"/>
                </a:lnTo>
                <a:lnTo>
                  <a:pt x="71" y="306"/>
                </a:lnTo>
                <a:lnTo>
                  <a:pt x="71" y="308"/>
                </a:lnTo>
                <a:lnTo>
                  <a:pt x="70" y="314"/>
                </a:lnTo>
                <a:lnTo>
                  <a:pt x="71" y="316"/>
                </a:lnTo>
                <a:lnTo>
                  <a:pt x="71" y="317"/>
                </a:lnTo>
                <a:lnTo>
                  <a:pt x="73" y="322"/>
                </a:lnTo>
                <a:lnTo>
                  <a:pt x="75" y="331"/>
                </a:lnTo>
                <a:lnTo>
                  <a:pt x="75" y="333"/>
                </a:lnTo>
                <a:lnTo>
                  <a:pt x="75" y="336"/>
                </a:lnTo>
                <a:lnTo>
                  <a:pt x="77" y="338"/>
                </a:lnTo>
                <a:lnTo>
                  <a:pt x="77" y="347"/>
                </a:lnTo>
                <a:lnTo>
                  <a:pt x="78" y="350"/>
                </a:lnTo>
                <a:lnTo>
                  <a:pt x="79" y="353"/>
                </a:lnTo>
                <a:lnTo>
                  <a:pt x="81" y="353"/>
                </a:lnTo>
                <a:lnTo>
                  <a:pt x="81" y="358"/>
                </a:lnTo>
                <a:lnTo>
                  <a:pt x="83" y="361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93" name="Freeform 1320"/>
          <p:cNvSpPr>
            <a:spLocks/>
          </p:cNvSpPr>
          <p:nvPr/>
        </p:nvSpPr>
        <p:spPr bwMode="auto">
          <a:xfrm>
            <a:off x="7788888" y="3407902"/>
            <a:ext cx="537873" cy="650724"/>
          </a:xfrm>
          <a:custGeom>
            <a:avLst/>
            <a:gdLst/>
            <a:ahLst/>
            <a:cxnLst>
              <a:cxn ang="0">
                <a:pos x="3" y="195"/>
              </a:cxn>
              <a:cxn ang="0">
                <a:pos x="6" y="206"/>
              </a:cxn>
              <a:cxn ang="0">
                <a:pos x="14" y="222"/>
              </a:cxn>
              <a:cxn ang="0">
                <a:pos x="22" y="252"/>
              </a:cxn>
              <a:cxn ang="0">
                <a:pos x="32" y="267"/>
              </a:cxn>
              <a:cxn ang="0">
                <a:pos x="43" y="307"/>
              </a:cxn>
              <a:cxn ang="0">
                <a:pos x="56" y="327"/>
              </a:cxn>
              <a:cxn ang="0">
                <a:pos x="66" y="322"/>
              </a:cxn>
              <a:cxn ang="0">
                <a:pos x="70" y="311"/>
              </a:cxn>
              <a:cxn ang="0">
                <a:pos x="80" y="300"/>
              </a:cxn>
              <a:cxn ang="0">
                <a:pos x="89" y="288"/>
              </a:cxn>
              <a:cxn ang="0">
                <a:pos x="92" y="274"/>
              </a:cxn>
              <a:cxn ang="0">
                <a:pos x="97" y="249"/>
              </a:cxn>
              <a:cxn ang="0">
                <a:pos x="99" y="231"/>
              </a:cxn>
              <a:cxn ang="0">
                <a:pos x="99" y="230"/>
              </a:cxn>
              <a:cxn ang="0">
                <a:pos x="96" y="211"/>
              </a:cxn>
              <a:cxn ang="0">
                <a:pos x="100" y="192"/>
              </a:cxn>
              <a:cxn ang="0">
                <a:pos x="111" y="190"/>
              </a:cxn>
              <a:cxn ang="0">
                <a:pos x="117" y="181"/>
              </a:cxn>
              <a:cxn ang="0">
                <a:pos x="129" y="172"/>
              </a:cxn>
              <a:cxn ang="0">
                <a:pos x="147" y="156"/>
              </a:cxn>
              <a:cxn ang="0">
                <a:pos x="157" y="145"/>
              </a:cxn>
              <a:cxn ang="0">
                <a:pos x="175" y="126"/>
              </a:cxn>
              <a:cxn ang="0">
                <a:pos x="196" y="112"/>
              </a:cxn>
              <a:cxn ang="0">
                <a:pos x="200" y="96"/>
              </a:cxn>
              <a:cxn ang="0">
                <a:pos x="214" y="84"/>
              </a:cxn>
              <a:cxn ang="0">
                <a:pos x="218" y="79"/>
              </a:cxn>
              <a:cxn ang="0">
                <a:pos x="218" y="85"/>
              </a:cxn>
              <a:cxn ang="0">
                <a:pos x="225" y="87"/>
              </a:cxn>
              <a:cxn ang="0">
                <a:pos x="228" y="88"/>
              </a:cxn>
              <a:cxn ang="0">
                <a:pos x="228" y="76"/>
              </a:cxn>
              <a:cxn ang="0">
                <a:pos x="225" y="68"/>
              </a:cxn>
              <a:cxn ang="0">
                <a:pos x="225" y="57"/>
              </a:cxn>
              <a:cxn ang="0">
                <a:pos x="224" y="46"/>
              </a:cxn>
              <a:cxn ang="0">
                <a:pos x="217" y="33"/>
              </a:cxn>
              <a:cxn ang="0">
                <a:pos x="216" y="26"/>
              </a:cxn>
              <a:cxn ang="0">
                <a:pos x="226" y="22"/>
              </a:cxn>
              <a:cxn ang="0">
                <a:pos x="221" y="18"/>
              </a:cxn>
              <a:cxn ang="0">
                <a:pos x="221" y="5"/>
              </a:cxn>
              <a:cxn ang="0">
                <a:pos x="228" y="7"/>
              </a:cxn>
              <a:cxn ang="0">
                <a:pos x="232" y="7"/>
              </a:cxn>
              <a:cxn ang="0">
                <a:pos x="240" y="5"/>
              </a:cxn>
              <a:cxn ang="0">
                <a:pos x="244" y="21"/>
              </a:cxn>
              <a:cxn ang="0">
                <a:pos x="264" y="22"/>
              </a:cxn>
              <a:cxn ang="0">
                <a:pos x="281" y="27"/>
              </a:cxn>
              <a:cxn ang="0">
                <a:pos x="270" y="40"/>
              </a:cxn>
              <a:cxn ang="0">
                <a:pos x="264" y="51"/>
              </a:cxn>
              <a:cxn ang="0">
                <a:pos x="272" y="62"/>
              </a:cxn>
              <a:cxn ang="0">
                <a:pos x="278" y="49"/>
              </a:cxn>
            </a:cxnLst>
            <a:rect l="0" t="0" r="r" b="b"/>
            <a:pathLst>
              <a:path w="281" h="327">
                <a:moveTo>
                  <a:pt x="0" y="192"/>
                </a:moveTo>
                <a:lnTo>
                  <a:pt x="2" y="197"/>
                </a:lnTo>
                <a:lnTo>
                  <a:pt x="3" y="197"/>
                </a:lnTo>
                <a:lnTo>
                  <a:pt x="3" y="195"/>
                </a:lnTo>
                <a:lnTo>
                  <a:pt x="4" y="197"/>
                </a:lnTo>
                <a:lnTo>
                  <a:pt x="3" y="198"/>
                </a:lnTo>
                <a:lnTo>
                  <a:pt x="3" y="200"/>
                </a:lnTo>
                <a:lnTo>
                  <a:pt x="6" y="206"/>
                </a:lnTo>
                <a:lnTo>
                  <a:pt x="7" y="209"/>
                </a:lnTo>
                <a:lnTo>
                  <a:pt x="10" y="211"/>
                </a:lnTo>
                <a:lnTo>
                  <a:pt x="12" y="217"/>
                </a:lnTo>
                <a:lnTo>
                  <a:pt x="14" y="222"/>
                </a:lnTo>
                <a:lnTo>
                  <a:pt x="15" y="225"/>
                </a:lnTo>
                <a:lnTo>
                  <a:pt x="16" y="230"/>
                </a:lnTo>
                <a:lnTo>
                  <a:pt x="19" y="239"/>
                </a:lnTo>
                <a:lnTo>
                  <a:pt x="22" y="252"/>
                </a:lnTo>
                <a:lnTo>
                  <a:pt x="22" y="253"/>
                </a:lnTo>
                <a:lnTo>
                  <a:pt x="24" y="258"/>
                </a:lnTo>
                <a:lnTo>
                  <a:pt x="27" y="260"/>
                </a:lnTo>
                <a:lnTo>
                  <a:pt x="32" y="267"/>
                </a:lnTo>
                <a:lnTo>
                  <a:pt x="34" y="274"/>
                </a:lnTo>
                <a:lnTo>
                  <a:pt x="35" y="282"/>
                </a:lnTo>
                <a:lnTo>
                  <a:pt x="42" y="299"/>
                </a:lnTo>
                <a:lnTo>
                  <a:pt x="43" y="307"/>
                </a:lnTo>
                <a:lnTo>
                  <a:pt x="46" y="311"/>
                </a:lnTo>
                <a:lnTo>
                  <a:pt x="48" y="318"/>
                </a:lnTo>
                <a:lnTo>
                  <a:pt x="52" y="324"/>
                </a:lnTo>
                <a:lnTo>
                  <a:pt x="56" y="327"/>
                </a:lnTo>
                <a:lnTo>
                  <a:pt x="62" y="327"/>
                </a:lnTo>
                <a:lnTo>
                  <a:pt x="63" y="326"/>
                </a:lnTo>
                <a:lnTo>
                  <a:pt x="63" y="324"/>
                </a:lnTo>
                <a:lnTo>
                  <a:pt x="66" y="322"/>
                </a:lnTo>
                <a:lnTo>
                  <a:pt x="67" y="321"/>
                </a:lnTo>
                <a:lnTo>
                  <a:pt x="67" y="319"/>
                </a:lnTo>
                <a:lnTo>
                  <a:pt x="67" y="318"/>
                </a:lnTo>
                <a:lnTo>
                  <a:pt x="70" y="311"/>
                </a:lnTo>
                <a:lnTo>
                  <a:pt x="75" y="308"/>
                </a:lnTo>
                <a:lnTo>
                  <a:pt x="80" y="307"/>
                </a:lnTo>
                <a:lnTo>
                  <a:pt x="80" y="304"/>
                </a:lnTo>
                <a:lnTo>
                  <a:pt x="80" y="300"/>
                </a:lnTo>
                <a:lnTo>
                  <a:pt x="84" y="294"/>
                </a:lnTo>
                <a:lnTo>
                  <a:pt x="84" y="293"/>
                </a:lnTo>
                <a:lnTo>
                  <a:pt x="85" y="288"/>
                </a:lnTo>
                <a:lnTo>
                  <a:pt x="89" y="288"/>
                </a:lnTo>
                <a:lnTo>
                  <a:pt x="91" y="289"/>
                </a:lnTo>
                <a:lnTo>
                  <a:pt x="93" y="289"/>
                </a:lnTo>
                <a:lnTo>
                  <a:pt x="93" y="283"/>
                </a:lnTo>
                <a:lnTo>
                  <a:pt x="92" y="274"/>
                </a:lnTo>
                <a:lnTo>
                  <a:pt x="92" y="264"/>
                </a:lnTo>
                <a:lnTo>
                  <a:pt x="93" y="261"/>
                </a:lnTo>
                <a:lnTo>
                  <a:pt x="96" y="253"/>
                </a:lnTo>
                <a:lnTo>
                  <a:pt x="97" y="249"/>
                </a:lnTo>
                <a:lnTo>
                  <a:pt x="100" y="241"/>
                </a:lnTo>
                <a:lnTo>
                  <a:pt x="100" y="238"/>
                </a:lnTo>
                <a:lnTo>
                  <a:pt x="100" y="233"/>
                </a:lnTo>
                <a:lnTo>
                  <a:pt x="99" y="231"/>
                </a:lnTo>
                <a:lnTo>
                  <a:pt x="99" y="230"/>
                </a:lnTo>
                <a:lnTo>
                  <a:pt x="97" y="230"/>
                </a:lnTo>
                <a:lnTo>
                  <a:pt x="99" y="228"/>
                </a:lnTo>
                <a:lnTo>
                  <a:pt x="99" y="230"/>
                </a:lnTo>
                <a:lnTo>
                  <a:pt x="97" y="219"/>
                </a:lnTo>
                <a:lnTo>
                  <a:pt x="97" y="216"/>
                </a:lnTo>
                <a:lnTo>
                  <a:pt x="97" y="212"/>
                </a:lnTo>
                <a:lnTo>
                  <a:pt x="96" y="211"/>
                </a:lnTo>
                <a:lnTo>
                  <a:pt x="96" y="206"/>
                </a:lnTo>
                <a:lnTo>
                  <a:pt x="96" y="200"/>
                </a:lnTo>
                <a:lnTo>
                  <a:pt x="99" y="197"/>
                </a:lnTo>
                <a:lnTo>
                  <a:pt x="100" y="192"/>
                </a:lnTo>
                <a:lnTo>
                  <a:pt x="103" y="190"/>
                </a:lnTo>
                <a:lnTo>
                  <a:pt x="105" y="190"/>
                </a:lnTo>
                <a:lnTo>
                  <a:pt x="108" y="192"/>
                </a:lnTo>
                <a:lnTo>
                  <a:pt x="111" y="190"/>
                </a:lnTo>
                <a:lnTo>
                  <a:pt x="112" y="187"/>
                </a:lnTo>
                <a:lnTo>
                  <a:pt x="113" y="183"/>
                </a:lnTo>
                <a:lnTo>
                  <a:pt x="115" y="183"/>
                </a:lnTo>
                <a:lnTo>
                  <a:pt x="117" y="181"/>
                </a:lnTo>
                <a:lnTo>
                  <a:pt x="121" y="181"/>
                </a:lnTo>
                <a:lnTo>
                  <a:pt x="128" y="178"/>
                </a:lnTo>
                <a:lnTo>
                  <a:pt x="129" y="176"/>
                </a:lnTo>
                <a:lnTo>
                  <a:pt x="129" y="172"/>
                </a:lnTo>
                <a:lnTo>
                  <a:pt x="132" y="169"/>
                </a:lnTo>
                <a:lnTo>
                  <a:pt x="135" y="167"/>
                </a:lnTo>
                <a:lnTo>
                  <a:pt x="141" y="161"/>
                </a:lnTo>
                <a:lnTo>
                  <a:pt x="147" y="156"/>
                </a:lnTo>
                <a:lnTo>
                  <a:pt x="151" y="151"/>
                </a:lnTo>
                <a:lnTo>
                  <a:pt x="155" y="148"/>
                </a:lnTo>
                <a:lnTo>
                  <a:pt x="157" y="147"/>
                </a:lnTo>
                <a:lnTo>
                  <a:pt x="157" y="145"/>
                </a:lnTo>
                <a:lnTo>
                  <a:pt x="159" y="145"/>
                </a:lnTo>
                <a:lnTo>
                  <a:pt x="161" y="142"/>
                </a:lnTo>
                <a:lnTo>
                  <a:pt x="171" y="129"/>
                </a:lnTo>
                <a:lnTo>
                  <a:pt x="175" y="126"/>
                </a:lnTo>
                <a:lnTo>
                  <a:pt x="183" y="120"/>
                </a:lnTo>
                <a:lnTo>
                  <a:pt x="188" y="118"/>
                </a:lnTo>
                <a:lnTo>
                  <a:pt x="190" y="117"/>
                </a:lnTo>
                <a:lnTo>
                  <a:pt x="196" y="112"/>
                </a:lnTo>
                <a:lnTo>
                  <a:pt x="197" y="109"/>
                </a:lnTo>
                <a:lnTo>
                  <a:pt x="198" y="107"/>
                </a:lnTo>
                <a:lnTo>
                  <a:pt x="201" y="104"/>
                </a:lnTo>
                <a:lnTo>
                  <a:pt x="200" y="96"/>
                </a:lnTo>
                <a:lnTo>
                  <a:pt x="201" y="92"/>
                </a:lnTo>
                <a:lnTo>
                  <a:pt x="210" y="87"/>
                </a:lnTo>
                <a:lnTo>
                  <a:pt x="213" y="85"/>
                </a:lnTo>
                <a:lnTo>
                  <a:pt x="214" y="84"/>
                </a:lnTo>
                <a:lnTo>
                  <a:pt x="216" y="82"/>
                </a:lnTo>
                <a:lnTo>
                  <a:pt x="216" y="81"/>
                </a:lnTo>
                <a:lnTo>
                  <a:pt x="218" y="77"/>
                </a:lnTo>
                <a:lnTo>
                  <a:pt x="218" y="79"/>
                </a:lnTo>
                <a:lnTo>
                  <a:pt x="218" y="82"/>
                </a:lnTo>
                <a:lnTo>
                  <a:pt x="218" y="85"/>
                </a:lnTo>
                <a:lnTo>
                  <a:pt x="218" y="87"/>
                </a:lnTo>
                <a:lnTo>
                  <a:pt x="218" y="85"/>
                </a:lnTo>
                <a:lnTo>
                  <a:pt x="220" y="87"/>
                </a:lnTo>
                <a:lnTo>
                  <a:pt x="221" y="88"/>
                </a:lnTo>
                <a:lnTo>
                  <a:pt x="222" y="88"/>
                </a:lnTo>
                <a:lnTo>
                  <a:pt x="225" y="87"/>
                </a:lnTo>
                <a:lnTo>
                  <a:pt x="226" y="85"/>
                </a:lnTo>
                <a:lnTo>
                  <a:pt x="226" y="84"/>
                </a:lnTo>
                <a:lnTo>
                  <a:pt x="228" y="87"/>
                </a:lnTo>
                <a:lnTo>
                  <a:pt x="228" y="88"/>
                </a:lnTo>
                <a:lnTo>
                  <a:pt x="230" y="87"/>
                </a:lnTo>
                <a:lnTo>
                  <a:pt x="229" y="82"/>
                </a:lnTo>
                <a:lnTo>
                  <a:pt x="229" y="81"/>
                </a:lnTo>
                <a:lnTo>
                  <a:pt x="228" y="76"/>
                </a:lnTo>
                <a:lnTo>
                  <a:pt x="228" y="74"/>
                </a:lnTo>
                <a:lnTo>
                  <a:pt x="228" y="71"/>
                </a:lnTo>
                <a:lnTo>
                  <a:pt x="226" y="70"/>
                </a:lnTo>
                <a:lnTo>
                  <a:pt x="225" y="68"/>
                </a:lnTo>
                <a:lnTo>
                  <a:pt x="225" y="65"/>
                </a:lnTo>
                <a:lnTo>
                  <a:pt x="226" y="63"/>
                </a:lnTo>
                <a:lnTo>
                  <a:pt x="226" y="59"/>
                </a:lnTo>
                <a:lnTo>
                  <a:pt x="225" y="57"/>
                </a:lnTo>
                <a:lnTo>
                  <a:pt x="225" y="52"/>
                </a:lnTo>
                <a:lnTo>
                  <a:pt x="224" y="51"/>
                </a:lnTo>
                <a:lnTo>
                  <a:pt x="224" y="49"/>
                </a:lnTo>
                <a:lnTo>
                  <a:pt x="224" y="46"/>
                </a:lnTo>
                <a:lnTo>
                  <a:pt x="224" y="38"/>
                </a:lnTo>
                <a:lnTo>
                  <a:pt x="222" y="37"/>
                </a:lnTo>
                <a:lnTo>
                  <a:pt x="220" y="35"/>
                </a:lnTo>
                <a:lnTo>
                  <a:pt x="217" y="33"/>
                </a:lnTo>
                <a:lnTo>
                  <a:pt x="214" y="32"/>
                </a:lnTo>
                <a:lnTo>
                  <a:pt x="214" y="30"/>
                </a:lnTo>
                <a:lnTo>
                  <a:pt x="214" y="29"/>
                </a:lnTo>
                <a:lnTo>
                  <a:pt x="216" y="26"/>
                </a:lnTo>
                <a:lnTo>
                  <a:pt x="218" y="26"/>
                </a:lnTo>
                <a:lnTo>
                  <a:pt x="220" y="24"/>
                </a:lnTo>
                <a:lnTo>
                  <a:pt x="221" y="22"/>
                </a:lnTo>
                <a:lnTo>
                  <a:pt x="226" y="22"/>
                </a:lnTo>
                <a:lnTo>
                  <a:pt x="226" y="19"/>
                </a:lnTo>
                <a:lnTo>
                  <a:pt x="225" y="19"/>
                </a:lnTo>
                <a:lnTo>
                  <a:pt x="225" y="18"/>
                </a:lnTo>
                <a:lnTo>
                  <a:pt x="221" y="18"/>
                </a:lnTo>
                <a:lnTo>
                  <a:pt x="220" y="16"/>
                </a:lnTo>
                <a:lnTo>
                  <a:pt x="218" y="13"/>
                </a:lnTo>
                <a:lnTo>
                  <a:pt x="217" y="11"/>
                </a:lnTo>
                <a:lnTo>
                  <a:pt x="221" y="5"/>
                </a:lnTo>
                <a:lnTo>
                  <a:pt x="222" y="0"/>
                </a:lnTo>
                <a:lnTo>
                  <a:pt x="224" y="0"/>
                </a:lnTo>
                <a:lnTo>
                  <a:pt x="226" y="5"/>
                </a:lnTo>
                <a:lnTo>
                  <a:pt x="228" y="7"/>
                </a:lnTo>
                <a:lnTo>
                  <a:pt x="228" y="5"/>
                </a:lnTo>
                <a:lnTo>
                  <a:pt x="229" y="2"/>
                </a:lnTo>
                <a:lnTo>
                  <a:pt x="230" y="2"/>
                </a:lnTo>
                <a:lnTo>
                  <a:pt x="232" y="7"/>
                </a:lnTo>
                <a:lnTo>
                  <a:pt x="233" y="10"/>
                </a:lnTo>
                <a:lnTo>
                  <a:pt x="234" y="8"/>
                </a:lnTo>
                <a:lnTo>
                  <a:pt x="237" y="10"/>
                </a:lnTo>
                <a:lnTo>
                  <a:pt x="240" y="5"/>
                </a:lnTo>
                <a:lnTo>
                  <a:pt x="240" y="7"/>
                </a:lnTo>
                <a:lnTo>
                  <a:pt x="241" y="13"/>
                </a:lnTo>
                <a:lnTo>
                  <a:pt x="242" y="18"/>
                </a:lnTo>
                <a:lnTo>
                  <a:pt x="244" y="21"/>
                </a:lnTo>
                <a:lnTo>
                  <a:pt x="246" y="22"/>
                </a:lnTo>
                <a:lnTo>
                  <a:pt x="258" y="22"/>
                </a:lnTo>
                <a:lnTo>
                  <a:pt x="260" y="22"/>
                </a:lnTo>
                <a:lnTo>
                  <a:pt x="264" y="22"/>
                </a:lnTo>
                <a:lnTo>
                  <a:pt x="270" y="22"/>
                </a:lnTo>
                <a:lnTo>
                  <a:pt x="277" y="24"/>
                </a:lnTo>
                <a:lnTo>
                  <a:pt x="281" y="26"/>
                </a:lnTo>
                <a:lnTo>
                  <a:pt x="281" y="27"/>
                </a:lnTo>
                <a:lnTo>
                  <a:pt x="278" y="29"/>
                </a:lnTo>
                <a:lnTo>
                  <a:pt x="277" y="32"/>
                </a:lnTo>
                <a:lnTo>
                  <a:pt x="273" y="37"/>
                </a:lnTo>
                <a:lnTo>
                  <a:pt x="270" y="40"/>
                </a:lnTo>
                <a:lnTo>
                  <a:pt x="266" y="41"/>
                </a:lnTo>
                <a:lnTo>
                  <a:pt x="264" y="44"/>
                </a:lnTo>
                <a:lnTo>
                  <a:pt x="262" y="46"/>
                </a:lnTo>
                <a:lnTo>
                  <a:pt x="264" y="51"/>
                </a:lnTo>
                <a:lnTo>
                  <a:pt x="265" y="57"/>
                </a:lnTo>
                <a:lnTo>
                  <a:pt x="268" y="57"/>
                </a:lnTo>
                <a:lnTo>
                  <a:pt x="269" y="60"/>
                </a:lnTo>
                <a:lnTo>
                  <a:pt x="272" y="62"/>
                </a:lnTo>
                <a:lnTo>
                  <a:pt x="273" y="60"/>
                </a:lnTo>
                <a:lnTo>
                  <a:pt x="274" y="54"/>
                </a:lnTo>
                <a:lnTo>
                  <a:pt x="277" y="49"/>
                </a:lnTo>
                <a:lnTo>
                  <a:pt x="278" y="49"/>
                </a:lnTo>
                <a:lnTo>
                  <a:pt x="281" y="54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94" name="Freeform 1321"/>
          <p:cNvSpPr>
            <a:spLocks/>
          </p:cNvSpPr>
          <p:nvPr/>
        </p:nvSpPr>
        <p:spPr bwMode="auto">
          <a:xfrm>
            <a:off x="7966231" y="3253275"/>
            <a:ext cx="508640" cy="317846"/>
          </a:xfrm>
          <a:custGeom>
            <a:avLst/>
            <a:gdLst/>
            <a:ahLst/>
            <a:cxnLst>
              <a:cxn ang="0">
                <a:pos x="192" y="141"/>
              </a:cxn>
              <a:cxn ang="0">
                <a:pos x="197" y="157"/>
              </a:cxn>
              <a:cxn ang="0">
                <a:pos x="202" y="154"/>
              </a:cxn>
              <a:cxn ang="0">
                <a:pos x="201" y="143"/>
              </a:cxn>
              <a:cxn ang="0">
                <a:pos x="205" y="127"/>
              </a:cxn>
              <a:cxn ang="0">
                <a:pos x="217" y="126"/>
              </a:cxn>
              <a:cxn ang="0">
                <a:pos x="226" y="104"/>
              </a:cxn>
              <a:cxn ang="0">
                <a:pos x="233" y="91"/>
              </a:cxn>
              <a:cxn ang="0">
                <a:pos x="242" y="74"/>
              </a:cxn>
              <a:cxn ang="0">
                <a:pos x="255" y="64"/>
              </a:cxn>
              <a:cxn ang="0">
                <a:pos x="262" y="56"/>
              </a:cxn>
              <a:cxn ang="0">
                <a:pos x="265" y="46"/>
              </a:cxn>
              <a:cxn ang="0">
                <a:pos x="251" y="44"/>
              </a:cxn>
              <a:cxn ang="0">
                <a:pos x="247" y="31"/>
              </a:cxn>
              <a:cxn ang="0">
                <a:pos x="238" y="30"/>
              </a:cxn>
              <a:cxn ang="0">
                <a:pos x="225" y="28"/>
              </a:cxn>
              <a:cxn ang="0">
                <a:pos x="217" y="35"/>
              </a:cxn>
              <a:cxn ang="0">
                <a:pos x="201" y="47"/>
              </a:cxn>
              <a:cxn ang="0">
                <a:pos x="181" y="55"/>
              </a:cxn>
              <a:cxn ang="0">
                <a:pos x="186" y="61"/>
              </a:cxn>
              <a:cxn ang="0">
                <a:pos x="185" y="71"/>
              </a:cxn>
              <a:cxn ang="0">
                <a:pos x="168" y="74"/>
              </a:cxn>
              <a:cxn ang="0">
                <a:pos x="154" y="75"/>
              </a:cxn>
              <a:cxn ang="0">
                <a:pos x="138" y="72"/>
              </a:cxn>
              <a:cxn ang="0">
                <a:pos x="136" y="67"/>
              </a:cxn>
              <a:cxn ang="0">
                <a:pos x="136" y="63"/>
              </a:cxn>
              <a:cxn ang="0">
                <a:pos x="136" y="52"/>
              </a:cxn>
              <a:cxn ang="0">
                <a:pos x="129" y="52"/>
              </a:cxn>
              <a:cxn ang="0">
                <a:pos x="125" y="64"/>
              </a:cxn>
              <a:cxn ang="0">
                <a:pos x="125" y="71"/>
              </a:cxn>
              <a:cxn ang="0">
                <a:pos x="121" y="80"/>
              </a:cxn>
              <a:cxn ang="0">
                <a:pos x="109" y="80"/>
              </a:cxn>
              <a:cxn ang="0">
                <a:pos x="91" y="75"/>
              </a:cxn>
              <a:cxn ang="0">
                <a:pos x="76" y="71"/>
              </a:cxn>
              <a:cxn ang="0">
                <a:pos x="64" y="63"/>
              </a:cxn>
              <a:cxn ang="0">
                <a:pos x="56" y="63"/>
              </a:cxn>
              <a:cxn ang="0">
                <a:pos x="44" y="60"/>
              </a:cxn>
              <a:cxn ang="0">
                <a:pos x="37" y="56"/>
              </a:cxn>
              <a:cxn ang="0">
                <a:pos x="27" y="52"/>
              </a:cxn>
              <a:cxn ang="0">
                <a:pos x="17" y="44"/>
              </a:cxn>
              <a:cxn ang="0">
                <a:pos x="9" y="41"/>
              </a:cxn>
              <a:cxn ang="0">
                <a:pos x="7" y="33"/>
              </a:cxn>
              <a:cxn ang="0">
                <a:pos x="8" y="28"/>
              </a:cxn>
              <a:cxn ang="0">
                <a:pos x="9" y="20"/>
              </a:cxn>
              <a:cxn ang="0">
                <a:pos x="16" y="16"/>
              </a:cxn>
              <a:cxn ang="0">
                <a:pos x="20" y="13"/>
              </a:cxn>
              <a:cxn ang="0">
                <a:pos x="13" y="8"/>
              </a:cxn>
              <a:cxn ang="0">
                <a:pos x="5" y="5"/>
              </a:cxn>
              <a:cxn ang="0">
                <a:pos x="1" y="0"/>
              </a:cxn>
            </a:cxnLst>
            <a:rect l="0" t="0" r="r" b="b"/>
            <a:pathLst>
              <a:path w="266" h="160">
                <a:moveTo>
                  <a:pt x="189" y="132"/>
                </a:moveTo>
                <a:lnTo>
                  <a:pt x="190" y="137"/>
                </a:lnTo>
                <a:lnTo>
                  <a:pt x="192" y="140"/>
                </a:lnTo>
                <a:lnTo>
                  <a:pt x="192" y="141"/>
                </a:lnTo>
                <a:lnTo>
                  <a:pt x="193" y="151"/>
                </a:lnTo>
                <a:lnTo>
                  <a:pt x="194" y="160"/>
                </a:lnTo>
                <a:lnTo>
                  <a:pt x="196" y="159"/>
                </a:lnTo>
                <a:lnTo>
                  <a:pt x="197" y="157"/>
                </a:lnTo>
                <a:lnTo>
                  <a:pt x="200" y="159"/>
                </a:lnTo>
                <a:lnTo>
                  <a:pt x="201" y="159"/>
                </a:lnTo>
                <a:lnTo>
                  <a:pt x="202" y="155"/>
                </a:lnTo>
                <a:lnTo>
                  <a:pt x="202" y="154"/>
                </a:lnTo>
                <a:lnTo>
                  <a:pt x="201" y="154"/>
                </a:lnTo>
                <a:lnTo>
                  <a:pt x="201" y="151"/>
                </a:lnTo>
                <a:lnTo>
                  <a:pt x="200" y="146"/>
                </a:lnTo>
                <a:lnTo>
                  <a:pt x="201" y="143"/>
                </a:lnTo>
                <a:lnTo>
                  <a:pt x="204" y="143"/>
                </a:lnTo>
                <a:lnTo>
                  <a:pt x="205" y="141"/>
                </a:lnTo>
                <a:lnTo>
                  <a:pt x="206" y="135"/>
                </a:lnTo>
                <a:lnTo>
                  <a:pt x="205" y="127"/>
                </a:lnTo>
                <a:lnTo>
                  <a:pt x="208" y="126"/>
                </a:lnTo>
                <a:lnTo>
                  <a:pt x="211" y="124"/>
                </a:lnTo>
                <a:lnTo>
                  <a:pt x="214" y="126"/>
                </a:lnTo>
                <a:lnTo>
                  <a:pt x="217" y="126"/>
                </a:lnTo>
                <a:lnTo>
                  <a:pt x="218" y="124"/>
                </a:lnTo>
                <a:lnTo>
                  <a:pt x="219" y="118"/>
                </a:lnTo>
                <a:lnTo>
                  <a:pt x="225" y="107"/>
                </a:lnTo>
                <a:lnTo>
                  <a:pt x="226" y="104"/>
                </a:lnTo>
                <a:lnTo>
                  <a:pt x="225" y="100"/>
                </a:lnTo>
                <a:lnTo>
                  <a:pt x="227" y="99"/>
                </a:lnTo>
                <a:lnTo>
                  <a:pt x="231" y="96"/>
                </a:lnTo>
                <a:lnTo>
                  <a:pt x="233" y="91"/>
                </a:lnTo>
                <a:lnTo>
                  <a:pt x="233" y="83"/>
                </a:lnTo>
                <a:lnTo>
                  <a:pt x="234" y="78"/>
                </a:lnTo>
                <a:lnTo>
                  <a:pt x="238" y="75"/>
                </a:lnTo>
                <a:lnTo>
                  <a:pt x="242" y="74"/>
                </a:lnTo>
                <a:lnTo>
                  <a:pt x="245" y="71"/>
                </a:lnTo>
                <a:lnTo>
                  <a:pt x="247" y="67"/>
                </a:lnTo>
                <a:lnTo>
                  <a:pt x="253" y="66"/>
                </a:lnTo>
                <a:lnTo>
                  <a:pt x="255" y="64"/>
                </a:lnTo>
                <a:lnTo>
                  <a:pt x="261" y="66"/>
                </a:lnTo>
                <a:lnTo>
                  <a:pt x="261" y="64"/>
                </a:lnTo>
                <a:lnTo>
                  <a:pt x="261" y="60"/>
                </a:lnTo>
                <a:lnTo>
                  <a:pt x="262" y="56"/>
                </a:lnTo>
                <a:lnTo>
                  <a:pt x="265" y="55"/>
                </a:lnTo>
                <a:lnTo>
                  <a:pt x="266" y="53"/>
                </a:lnTo>
                <a:lnTo>
                  <a:pt x="266" y="49"/>
                </a:lnTo>
                <a:lnTo>
                  <a:pt x="265" y="46"/>
                </a:lnTo>
                <a:lnTo>
                  <a:pt x="262" y="44"/>
                </a:lnTo>
                <a:lnTo>
                  <a:pt x="258" y="44"/>
                </a:lnTo>
                <a:lnTo>
                  <a:pt x="255" y="44"/>
                </a:lnTo>
                <a:lnTo>
                  <a:pt x="251" y="44"/>
                </a:lnTo>
                <a:lnTo>
                  <a:pt x="251" y="39"/>
                </a:lnTo>
                <a:lnTo>
                  <a:pt x="251" y="35"/>
                </a:lnTo>
                <a:lnTo>
                  <a:pt x="249" y="35"/>
                </a:lnTo>
                <a:lnTo>
                  <a:pt x="247" y="31"/>
                </a:lnTo>
                <a:lnTo>
                  <a:pt x="249" y="28"/>
                </a:lnTo>
                <a:lnTo>
                  <a:pt x="245" y="25"/>
                </a:lnTo>
                <a:lnTo>
                  <a:pt x="242" y="27"/>
                </a:lnTo>
                <a:lnTo>
                  <a:pt x="238" y="30"/>
                </a:lnTo>
                <a:lnTo>
                  <a:pt x="234" y="30"/>
                </a:lnTo>
                <a:lnTo>
                  <a:pt x="229" y="30"/>
                </a:lnTo>
                <a:lnTo>
                  <a:pt x="226" y="30"/>
                </a:lnTo>
                <a:lnTo>
                  <a:pt x="225" y="28"/>
                </a:lnTo>
                <a:lnTo>
                  <a:pt x="223" y="28"/>
                </a:lnTo>
                <a:lnTo>
                  <a:pt x="221" y="30"/>
                </a:lnTo>
                <a:lnTo>
                  <a:pt x="218" y="31"/>
                </a:lnTo>
                <a:lnTo>
                  <a:pt x="217" y="35"/>
                </a:lnTo>
                <a:lnTo>
                  <a:pt x="211" y="39"/>
                </a:lnTo>
                <a:lnTo>
                  <a:pt x="208" y="41"/>
                </a:lnTo>
                <a:lnTo>
                  <a:pt x="204" y="46"/>
                </a:lnTo>
                <a:lnTo>
                  <a:pt x="201" y="47"/>
                </a:lnTo>
                <a:lnTo>
                  <a:pt x="197" y="50"/>
                </a:lnTo>
                <a:lnTo>
                  <a:pt x="193" y="52"/>
                </a:lnTo>
                <a:lnTo>
                  <a:pt x="185" y="53"/>
                </a:lnTo>
                <a:lnTo>
                  <a:pt x="181" y="55"/>
                </a:lnTo>
                <a:lnTo>
                  <a:pt x="181" y="56"/>
                </a:lnTo>
                <a:lnTo>
                  <a:pt x="181" y="58"/>
                </a:lnTo>
                <a:lnTo>
                  <a:pt x="181" y="60"/>
                </a:lnTo>
                <a:lnTo>
                  <a:pt x="186" y="61"/>
                </a:lnTo>
                <a:lnTo>
                  <a:pt x="188" y="64"/>
                </a:lnTo>
                <a:lnTo>
                  <a:pt x="188" y="67"/>
                </a:lnTo>
                <a:lnTo>
                  <a:pt x="188" y="69"/>
                </a:lnTo>
                <a:lnTo>
                  <a:pt x="185" y="71"/>
                </a:lnTo>
                <a:lnTo>
                  <a:pt x="180" y="72"/>
                </a:lnTo>
                <a:lnTo>
                  <a:pt x="176" y="72"/>
                </a:lnTo>
                <a:lnTo>
                  <a:pt x="170" y="74"/>
                </a:lnTo>
                <a:lnTo>
                  <a:pt x="168" y="74"/>
                </a:lnTo>
                <a:lnTo>
                  <a:pt x="165" y="74"/>
                </a:lnTo>
                <a:lnTo>
                  <a:pt x="162" y="72"/>
                </a:lnTo>
                <a:lnTo>
                  <a:pt x="161" y="72"/>
                </a:lnTo>
                <a:lnTo>
                  <a:pt x="154" y="75"/>
                </a:lnTo>
                <a:lnTo>
                  <a:pt x="149" y="75"/>
                </a:lnTo>
                <a:lnTo>
                  <a:pt x="144" y="74"/>
                </a:lnTo>
                <a:lnTo>
                  <a:pt x="140" y="72"/>
                </a:lnTo>
                <a:lnTo>
                  <a:pt x="138" y="72"/>
                </a:lnTo>
                <a:lnTo>
                  <a:pt x="138" y="69"/>
                </a:lnTo>
                <a:lnTo>
                  <a:pt x="137" y="69"/>
                </a:lnTo>
                <a:lnTo>
                  <a:pt x="136" y="69"/>
                </a:lnTo>
                <a:lnTo>
                  <a:pt x="136" y="67"/>
                </a:lnTo>
                <a:lnTo>
                  <a:pt x="138" y="64"/>
                </a:lnTo>
                <a:lnTo>
                  <a:pt x="137" y="64"/>
                </a:lnTo>
                <a:lnTo>
                  <a:pt x="137" y="63"/>
                </a:lnTo>
                <a:lnTo>
                  <a:pt x="136" y="63"/>
                </a:lnTo>
                <a:lnTo>
                  <a:pt x="136" y="60"/>
                </a:lnTo>
                <a:lnTo>
                  <a:pt x="137" y="56"/>
                </a:lnTo>
                <a:lnTo>
                  <a:pt x="137" y="55"/>
                </a:lnTo>
                <a:lnTo>
                  <a:pt x="136" y="52"/>
                </a:lnTo>
                <a:lnTo>
                  <a:pt x="134" y="50"/>
                </a:lnTo>
                <a:lnTo>
                  <a:pt x="133" y="50"/>
                </a:lnTo>
                <a:lnTo>
                  <a:pt x="130" y="52"/>
                </a:lnTo>
                <a:lnTo>
                  <a:pt x="129" y="52"/>
                </a:lnTo>
                <a:lnTo>
                  <a:pt x="126" y="53"/>
                </a:lnTo>
                <a:lnTo>
                  <a:pt x="125" y="56"/>
                </a:lnTo>
                <a:lnTo>
                  <a:pt x="124" y="60"/>
                </a:lnTo>
                <a:lnTo>
                  <a:pt x="125" y="64"/>
                </a:lnTo>
                <a:lnTo>
                  <a:pt x="124" y="67"/>
                </a:lnTo>
                <a:lnTo>
                  <a:pt x="122" y="69"/>
                </a:lnTo>
                <a:lnTo>
                  <a:pt x="122" y="71"/>
                </a:lnTo>
                <a:lnTo>
                  <a:pt x="125" y="71"/>
                </a:lnTo>
                <a:lnTo>
                  <a:pt x="126" y="74"/>
                </a:lnTo>
                <a:lnTo>
                  <a:pt x="126" y="77"/>
                </a:lnTo>
                <a:lnTo>
                  <a:pt x="125" y="80"/>
                </a:lnTo>
                <a:lnTo>
                  <a:pt x="121" y="80"/>
                </a:lnTo>
                <a:lnTo>
                  <a:pt x="118" y="80"/>
                </a:lnTo>
                <a:lnTo>
                  <a:pt x="114" y="80"/>
                </a:lnTo>
                <a:lnTo>
                  <a:pt x="112" y="80"/>
                </a:lnTo>
                <a:lnTo>
                  <a:pt x="109" y="80"/>
                </a:lnTo>
                <a:lnTo>
                  <a:pt x="106" y="78"/>
                </a:lnTo>
                <a:lnTo>
                  <a:pt x="105" y="78"/>
                </a:lnTo>
                <a:lnTo>
                  <a:pt x="92" y="77"/>
                </a:lnTo>
                <a:lnTo>
                  <a:pt x="91" y="75"/>
                </a:lnTo>
                <a:lnTo>
                  <a:pt x="88" y="74"/>
                </a:lnTo>
                <a:lnTo>
                  <a:pt x="84" y="74"/>
                </a:lnTo>
                <a:lnTo>
                  <a:pt x="79" y="74"/>
                </a:lnTo>
                <a:lnTo>
                  <a:pt x="76" y="71"/>
                </a:lnTo>
                <a:lnTo>
                  <a:pt x="73" y="69"/>
                </a:lnTo>
                <a:lnTo>
                  <a:pt x="71" y="66"/>
                </a:lnTo>
                <a:lnTo>
                  <a:pt x="69" y="64"/>
                </a:lnTo>
                <a:lnTo>
                  <a:pt x="64" y="63"/>
                </a:lnTo>
                <a:lnTo>
                  <a:pt x="63" y="64"/>
                </a:lnTo>
                <a:lnTo>
                  <a:pt x="61" y="64"/>
                </a:lnTo>
                <a:lnTo>
                  <a:pt x="59" y="63"/>
                </a:lnTo>
                <a:lnTo>
                  <a:pt x="56" y="63"/>
                </a:lnTo>
                <a:lnTo>
                  <a:pt x="53" y="64"/>
                </a:lnTo>
                <a:lnTo>
                  <a:pt x="52" y="64"/>
                </a:lnTo>
                <a:lnTo>
                  <a:pt x="47" y="63"/>
                </a:lnTo>
                <a:lnTo>
                  <a:pt x="44" y="60"/>
                </a:lnTo>
                <a:lnTo>
                  <a:pt x="43" y="58"/>
                </a:lnTo>
                <a:lnTo>
                  <a:pt x="40" y="58"/>
                </a:lnTo>
                <a:lnTo>
                  <a:pt x="39" y="58"/>
                </a:lnTo>
                <a:lnTo>
                  <a:pt x="37" y="56"/>
                </a:lnTo>
                <a:lnTo>
                  <a:pt x="33" y="55"/>
                </a:lnTo>
                <a:lnTo>
                  <a:pt x="31" y="55"/>
                </a:lnTo>
                <a:lnTo>
                  <a:pt x="28" y="53"/>
                </a:lnTo>
                <a:lnTo>
                  <a:pt x="27" y="52"/>
                </a:lnTo>
                <a:lnTo>
                  <a:pt x="24" y="47"/>
                </a:lnTo>
                <a:lnTo>
                  <a:pt x="21" y="46"/>
                </a:lnTo>
                <a:lnTo>
                  <a:pt x="19" y="46"/>
                </a:lnTo>
                <a:lnTo>
                  <a:pt x="17" y="44"/>
                </a:lnTo>
                <a:lnTo>
                  <a:pt x="13" y="42"/>
                </a:lnTo>
                <a:lnTo>
                  <a:pt x="12" y="42"/>
                </a:lnTo>
                <a:lnTo>
                  <a:pt x="11" y="42"/>
                </a:lnTo>
                <a:lnTo>
                  <a:pt x="9" y="41"/>
                </a:lnTo>
                <a:lnTo>
                  <a:pt x="9" y="39"/>
                </a:lnTo>
                <a:lnTo>
                  <a:pt x="5" y="38"/>
                </a:lnTo>
                <a:lnTo>
                  <a:pt x="5" y="36"/>
                </a:lnTo>
                <a:lnTo>
                  <a:pt x="7" y="33"/>
                </a:lnTo>
                <a:lnTo>
                  <a:pt x="8" y="33"/>
                </a:lnTo>
                <a:lnTo>
                  <a:pt x="8" y="31"/>
                </a:lnTo>
                <a:lnTo>
                  <a:pt x="9" y="30"/>
                </a:lnTo>
                <a:lnTo>
                  <a:pt x="8" y="28"/>
                </a:lnTo>
                <a:lnTo>
                  <a:pt x="9" y="25"/>
                </a:lnTo>
                <a:lnTo>
                  <a:pt x="11" y="24"/>
                </a:lnTo>
                <a:lnTo>
                  <a:pt x="9" y="22"/>
                </a:lnTo>
                <a:lnTo>
                  <a:pt x="9" y="20"/>
                </a:lnTo>
                <a:lnTo>
                  <a:pt x="11" y="19"/>
                </a:lnTo>
                <a:lnTo>
                  <a:pt x="13" y="19"/>
                </a:lnTo>
                <a:lnTo>
                  <a:pt x="13" y="17"/>
                </a:lnTo>
                <a:lnTo>
                  <a:pt x="16" y="16"/>
                </a:lnTo>
                <a:lnTo>
                  <a:pt x="17" y="14"/>
                </a:lnTo>
                <a:lnTo>
                  <a:pt x="17" y="13"/>
                </a:lnTo>
                <a:lnTo>
                  <a:pt x="19" y="13"/>
                </a:lnTo>
                <a:lnTo>
                  <a:pt x="20" y="13"/>
                </a:lnTo>
                <a:lnTo>
                  <a:pt x="19" y="11"/>
                </a:lnTo>
                <a:lnTo>
                  <a:pt x="15" y="11"/>
                </a:lnTo>
                <a:lnTo>
                  <a:pt x="13" y="9"/>
                </a:lnTo>
                <a:lnTo>
                  <a:pt x="13" y="8"/>
                </a:lnTo>
                <a:lnTo>
                  <a:pt x="12" y="8"/>
                </a:lnTo>
                <a:lnTo>
                  <a:pt x="8" y="5"/>
                </a:lnTo>
                <a:lnTo>
                  <a:pt x="7" y="5"/>
                </a:lnTo>
                <a:lnTo>
                  <a:pt x="5" y="5"/>
                </a:lnTo>
                <a:lnTo>
                  <a:pt x="4" y="3"/>
                </a:lnTo>
                <a:lnTo>
                  <a:pt x="4" y="2"/>
                </a:lnTo>
                <a:lnTo>
                  <a:pt x="3" y="0"/>
                </a:lnTo>
                <a:lnTo>
                  <a:pt x="1" y="0"/>
                </a:lnTo>
                <a:lnTo>
                  <a:pt x="0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95" name="Freeform 1322"/>
          <p:cNvSpPr>
            <a:spLocks/>
          </p:cNvSpPr>
          <p:nvPr/>
        </p:nvSpPr>
        <p:spPr bwMode="auto">
          <a:xfrm>
            <a:off x="7781093" y="3072876"/>
            <a:ext cx="206575" cy="221203"/>
          </a:xfrm>
          <a:custGeom>
            <a:avLst/>
            <a:gdLst/>
            <a:ahLst/>
            <a:cxnLst>
              <a:cxn ang="0">
                <a:pos x="94" y="89"/>
              </a:cxn>
              <a:cxn ang="0">
                <a:pos x="89" y="89"/>
              </a:cxn>
              <a:cxn ang="0">
                <a:pos x="84" y="86"/>
              </a:cxn>
              <a:cxn ang="0">
                <a:pos x="82" y="80"/>
              </a:cxn>
              <a:cxn ang="0">
                <a:pos x="82" y="74"/>
              </a:cxn>
              <a:cxn ang="0">
                <a:pos x="79" y="64"/>
              </a:cxn>
              <a:cxn ang="0">
                <a:pos x="82" y="60"/>
              </a:cxn>
              <a:cxn ang="0">
                <a:pos x="86" y="66"/>
              </a:cxn>
              <a:cxn ang="0">
                <a:pos x="89" y="63"/>
              </a:cxn>
              <a:cxn ang="0">
                <a:pos x="92" y="63"/>
              </a:cxn>
              <a:cxn ang="0">
                <a:pos x="94" y="56"/>
              </a:cxn>
              <a:cxn ang="0">
                <a:pos x="93" y="52"/>
              </a:cxn>
              <a:cxn ang="0">
                <a:pos x="85" y="44"/>
              </a:cxn>
              <a:cxn ang="0">
                <a:pos x="85" y="36"/>
              </a:cxn>
              <a:cxn ang="0">
                <a:pos x="93" y="36"/>
              </a:cxn>
              <a:cxn ang="0">
                <a:pos x="98" y="28"/>
              </a:cxn>
              <a:cxn ang="0">
                <a:pos x="101" y="23"/>
              </a:cxn>
              <a:cxn ang="0">
                <a:pos x="105" y="14"/>
              </a:cxn>
              <a:cxn ang="0">
                <a:pos x="105" y="9"/>
              </a:cxn>
              <a:cxn ang="0">
                <a:pos x="100" y="8"/>
              </a:cxn>
              <a:cxn ang="0">
                <a:pos x="96" y="3"/>
              </a:cxn>
              <a:cxn ang="0">
                <a:pos x="92" y="0"/>
              </a:cxn>
              <a:cxn ang="0">
                <a:pos x="86" y="1"/>
              </a:cxn>
              <a:cxn ang="0">
                <a:pos x="75" y="8"/>
              </a:cxn>
              <a:cxn ang="0">
                <a:pos x="69" y="9"/>
              </a:cxn>
              <a:cxn ang="0">
                <a:pos x="56" y="19"/>
              </a:cxn>
              <a:cxn ang="0">
                <a:pos x="52" y="22"/>
              </a:cxn>
              <a:cxn ang="0">
                <a:pos x="43" y="25"/>
              </a:cxn>
              <a:cxn ang="0">
                <a:pos x="39" y="27"/>
              </a:cxn>
              <a:cxn ang="0">
                <a:pos x="33" y="25"/>
              </a:cxn>
              <a:cxn ang="0">
                <a:pos x="24" y="23"/>
              </a:cxn>
              <a:cxn ang="0">
                <a:pos x="13" y="22"/>
              </a:cxn>
              <a:cxn ang="0">
                <a:pos x="8" y="28"/>
              </a:cxn>
              <a:cxn ang="0">
                <a:pos x="11" y="31"/>
              </a:cxn>
              <a:cxn ang="0">
                <a:pos x="11" y="34"/>
              </a:cxn>
              <a:cxn ang="0">
                <a:pos x="13" y="38"/>
              </a:cxn>
              <a:cxn ang="0">
                <a:pos x="11" y="49"/>
              </a:cxn>
              <a:cxn ang="0">
                <a:pos x="16" y="56"/>
              </a:cxn>
              <a:cxn ang="0">
                <a:pos x="21" y="58"/>
              </a:cxn>
              <a:cxn ang="0">
                <a:pos x="27" y="63"/>
              </a:cxn>
              <a:cxn ang="0">
                <a:pos x="31" y="67"/>
              </a:cxn>
              <a:cxn ang="0">
                <a:pos x="28" y="71"/>
              </a:cxn>
              <a:cxn ang="0">
                <a:pos x="21" y="74"/>
              </a:cxn>
              <a:cxn ang="0">
                <a:pos x="21" y="82"/>
              </a:cxn>
              <a:cxn ang="0">
                <a:pos x="23" y="88"/>
              </a:cxn>
              <a:cxn ang="0">
                <a:pos x="20" y="89"/>
              </a:cxn>
              <a:cxn ang="0">
                <a:pos x="11" y="97"/>
              </a:cxn>
              <a:cxn ang="0">
                <a:pos x="9" y="105"/>
              </a:cxn>
              <a:cxn ang="0">
                <a:pos x="1" y="110"/>
              </a:cxn>
            </a:cxnLst>
            <a:rect l="0" t="0" r="r" b="b"/>
            <a:pathLst>
              <a:path w="108" h="111">
                <a:moveTo>
                  <a:pt x="97" y="91"/>
                </a:moveTo>
                <a:lnTo>
                  <a:pt x="96" y="91"/>
                </a:lnTo>
                <a:lnTo>
                  <a:pt x="94" y="91"/>
                </a:lnTo>
                <a:lnTo>
                  <a:pt x="94" y="89"/>
                </a:lnTo>
                <a:lnTo>
                  <a:pt x="93" y="89"/>
                </a:lnTo>
                <a:lnTo>
                  <a:pt x="92" y="89"/>
                </a:lnTo>
                <a:lnTo>
                  <a:pt x="90" y="89"/>
                </a:lnTo>
                <a:lnTo>
                  <a:pt x="89" y="89"/>
                </a:lnTo>
                <a:lnTo>
                  <a:pt x="86" y="89"/>
                </a:lnTo>
                <a:lnTo>
                  <a:pt x="85" y="89"/>
                </a:lnTo>
                <a:lnTo>
                  <a:pt x="86" y="86"/>
                </a:lnTo>
                <a:lnTo>
                  <a:pt x="84" y="86"/>
                </a:lnTo>
                <a:lnTo>
                  <a:pt x="84" y="85"/>
                </a:lnTo>
                <a:lnTo>
                  <a:pt x="84" y="83"/>
                </a:lnTo>
                <a:lnTo>
                  <a:pt x="82" y="82"/>
                </a:lnTo>
                <a:lnTo>
                  <a:pt x="82" y="80"/>
                </a:lnTo>
                <a:lnTo>
                  <a:pt x="82" y="78"/>
                </a:lnTo>
                <a:lnTo>
                  <a:pt x="82" y="77"/>
                </a:lnTo>
                <a:lnTo>
                  <a:pt x="82" y="75"/>
                </a:lnTo>
                <a:lnTo>
                  <a:pt x="82" y="74"/>
                </a:lnTo>
                <a:lnTo>
                  <a:pt x="82" y="72"/>
                </a:lnTo>
                <a:lnTo>
                  <a:pt x="81" y="69"/>
                </a:lnTo>
                <a:lnTo>
                  <a:pt x="79" y="67"/>
                </a:lnTo>
                <a:lnTo>
                  <a:pt x="79" y="64"/>
                </a:lnTo>
                <a:lnTo>
                  <a:pt x="79" y="63"/>
                </a:lnTo>
                <a:lnTo>
                  <a:pt x="79" y="61"/>
                </a:lnTo>
                <a:lnTo>
                  <a:pt x="81" y="61"/>
                </a:lnTo>
                <a:lnTo>
                  <a:pt x="82" y="60"/>
                </a:lnTo>
                <a:lnTo>
                  <a:pt x="82" y="61"/>
                </a:lnTo>
                <a:lnTo>
                  <a:pt x="82" y="63"/>
                </a:lnTo>
                <a:lnTo>
                  <a:pt x="84" y="64"/>
                </a:lnTo>
                <a:lnTo>
                  <a:pt x="86" y="66"/>
                </a:lnTo>
                <a:lnTo>
                  <a:pt x="86" y="64"/>
                </a:lnTo>
                <a:lnTo>
                  <a:pt x="88" y="64"/>
                </a:lnTo>
                <a:lnTo>
                  <a:pt x="89" y="64"/>
                </a:lnTo>
                <a:lnTo>
                  <a:pt x="89" y="63"/>
                </a:lnTo>
                <a:lnTo>
                  <a:pt x="90" y="63"/>
                </a:lnTo>
                <a:lnTo>
                  <a:pt x="90" y="61"/>
                </a:lnTo>
                <a:lnTo>
                  <a:pt x="92" y="61"/>
                </a:lnTo>
                <a:lnTo>
                  <a:pt x="92" y="63"/>
                </a:lnTo>
                <a:lnTo>
                  <a:pt x="93" y="63"/>
                </a:lnTo>
                <a:lnTo>
                  <a:pt x="96" y="60"/>
                </a:lnTo>
                <a:lnTo>
                  <a:pt x="96" y="58"/>
                </a:lnTo>
                <a:lnTo>
                  <a:pt x="94" y="56"/>
                </a:lnTo>
                <a:lnTo>
                  <a:pt x="93" y="55"/>
                </a:lnTo>
                <a:lnTo>
                  <a:pt x="92" y="53"/>
                </a:lnTo>
                <a:lnTo>
                  <a:pt x="93" y="53"/>
                </a:lnTo>
                <a:lnTo>
                  <a:pt x="93" y="52"/>
                </a:lnTo>
                <a:lnTo>
                  <a:pt x="89" y="50"/>
                </a:lnTo>
                <a:lnTo>
                  <a:pt x="88" y="50"/>
                </a:lnTo>
                <a:lnTo>
                  <a:pt x="85" y="47"/>
                </a:lnTo>
                <a:lnTo>
                  <a:pt x="85" y="44"/>
                </a:lnTo>
                <a:lnTo>
                  <a:pt x="86" y="44"/>
                </a:lnTo>
                <a:lnTo>
                  <a:pt x="86" y="41"/>
                </a:lnTo>
                <a:lnTo>
                  <a:pt x="85" y="38"/>
                </a:lnTo>
                <a:lnTo>
                  <a:pt x="85" y="36"/>
                </a:lnTo>
                <a:lnTo>
                  <a:pt x="88" y="36"/>
                </a:lnTo>
                <a:lnTo>
                  <a:pt x="89" y="36"/>
                </a:lnTo>
                <a:lnTo>
                  <a:pt x="92" y="36"/>
                </a:lnTo>
                <a:lnTo>
                  <a:pt x="93" y="36"/>
                </a:lnTo>
                <a:lnTo>
                  <a:pt x="94" y="34"/>
                </a:lnTo>
                <a:lnTo>
                  <a:pt x="96" y="31"/>
                </a:lnTo>
                <a:lnTo>
                  <a:pt x="96" y="28"/>
                </a:lnTo>
                <a:lnTo>
                  <a:pt x="98" y="28"/>
                </a:lnTo>
                <a:lnTo>
                  <a:pt x="98" y="27"/>
                </a:lnTo>
                <a:lnTo>
                  <a:pt x="100" y="27"/>
                </a:lnTo>
                <a:lnTo>
                  <a:pt x="100" y="25"/>
                </a:lnTo>
                <a:lnTo>
                  <a:pt x="101" y="23"/>
                </a:lnTo>
                <a:lnTo>
                  <a:pt x="102" y="23"/>
                </a:lnTo>
                <a:lnTo>
                  <a:pt x="102" y="22"/>
                </a:lnTo>
                <a:lnTo>
                  <a:pt x="104" y="20"/>
                </a:lnTo>
                <a:lnTo>
                  <a:pt x="105" y="14"/>
                </a:lnTo>
                <a:lnTo>
                  <a:pt x="105" y="12"/>
                </a:lnTo>
                <a:lnTo>
                  <a:pt x="108" y="11"/>
                </a:lnTo>
                <a:lnTo>
                  <a:pt x="106" y="9"/>
                </a:lnTo>
                <a:lnTo>
                  <a:pt x="105" y="9"/>
                </a:lnTo>
                <a:lnTo>
                  <a:pt x="102" y="11"/>
                </a:lnTo>
                <a:lnTo>
                  <a:pt x="101" y="9"/>
                </a:lnTo>
                <a:lnTo>
                  <a:pt x="101" y="6"/>
                </a:lnTo>
                <a:lnTo>
                  <a:pt x="100" y="8"/>
                </a:lnTo>
                <a:lnTo>
                  <a:pt x="98" y="8"/>
                </a:lnTo>
                <a:lnTo>
                  <a:pt x="98" y="6"/>
                </a:lnTo>
                <a:lnTo>
                  <a:pt x="97" y="6"/>
                </a:lnTo>
                <a:lnTo>
                  <a:pt x="96" y="3"/>
                </a:lnTo>
                <a:lnTo>
                  <a:pt x="94" y="3"/>
                </a:lnTo>
                <a:lnTo>
                  <a:pt x="93" y="3"/>
                </a:lnTo>
                <a:lnTo>
                  <a:pt x="92" y="1"/>
                </a:lnTo>
                <a:lnTo>
                  <a:pt x="92" y="0"/>
                </a:lnTo>
                <a:lnTo>
                  <a:pt x="90" y="0"/>
                </a:lnTo>
                <a:lnTo>
                  <a:pt x="89" y="1"/>
                </a:lnTo>
                <a:lnTo>
                  <a:pt x="88" y="1"/>
                </a:lnTo>
                <a:lnTo>
                  <a:pt x="86" y="1"/>
                </a:lnTo>
                <a:lnTo>
                  <a:pt x="82" y="3"/>
                </a:lnTo>
                <a:lnTo>
                  <a:pt x="80" y="5"/>
                </a:lnTo>
                <a:lnTo>
                  <a:pt x="77" y="6"/>
                </a:lnTo>
                <a:lnTo>
                  <a:pt x="75" y="8"/>
                </a:lnTo>
                <a:lnTo>
                  <a:pt x="73" y="9"/>
                </a:lnTo>
                <a:lnTo>
                  <a:pt x="72" y="9"/>
                </a:lnTo>
                <a:lnTo>
                  <a:pt x="71" y="9"/>
                </a:lnTo>
                <a:lnTo>
                  <a:pt x="69" y="9"/>
                </a:lnTo>
                <a:lnTo>
                  <a:pt x="68" y="11"/>
                </a:lnTo>
                <a:lnTo>
                  <a:pt x="67" y="9"/>
                </a:lnTo>
                <a:lnTo>
                  <a:pt x="57" y="17"/>
                </a:lnTo>
                <a:lnTo>
                  <a:pt x="56" y="19"/>
                </a:lnTo>
                <a:lnTo>
                  <a:pt x="55" y="22"/>
                </a:lnTo>
                <a:lnTo>
                  <a:pt x="55" y="23"/>
                </a:lnTo>
                <a:lnTo>
                  <a:pt x="53" y="22"/>
                </a:lnTo>
                <a:lnTo>
                  <a:pt x="52" y="22"/>
                </a:lnTo>
                <a:lnTo>
                  <a:pt x="47" y="22"/>
                </a:lnTo>
                <a:lnTo>
                  <a:pt x="45" y="23"/>
                </a:lnTo>
                <a:lnTo>
                  <a:pt x="44" y="25"/>
                </a:lnTo>
                <a:lnTo>
                  <a:pt x="43" y="25"/>
                </a:lnTo>
                <a:lnTo>
                  <a:pt x="41" y="23"/>
                </a:lnTo>
                <a:lnTo>
                  <a:pt x="40" y="23"/>
                </a:lnTo>
                <a:lnTo>
                  <a:pt x="39" y="25"/>
                </a:lnTo>
                <a:lnTo>
                  <a:pt x="39" y="27"/>
                </a:lnTo>
                <a:lnTo>
                  <a:pt x="37" y="27"/>
                </a:lnTo>
                <a:lnTo>
                  <a:pt x="36" y="25"/>
                </a:lnTo>
                <a:lnTo>
                  <a:pt x="35" y="27"/>
                </a:lnTo>
                <a:lnTo>
                  <a:pt x="33" y="25"/>
                </a:lnTo>
                <a:lnTo>
                  <a:pt x="31" y="25"/>
                </a:lnTo>
                <a:lnTo>
                  <a:pt x="29" y="25"/>
                </a:lnTo>
                <a:lnTo>
                  <a:pt x="28" y="25"/>
                </a:lnTo>
                <a:lnTo>
                  <a:pt x="24" y="23"/>
                </a:lnTo>
                <a:lnTo>
                  <a:pt x="20" y="22"/>
                </a:lnTo>
                <a:lnTo>
                  <a:pt x="16" y="20"/>
                </a:lnTo>
                <a:lnTo>
                  <a:pt x="15" y="20"/>
                </a:lnTo>
                <a:lnTo>
                  <a:pt x="13" y="22"/>
                </a:lnTo>
                <a:lnTo>
                  <a:pt x="11" y="22"/>
                </a:lnTo>
                <a:lnTo>
                  <a:pt x="9" y="22"/>
                </a:lnTo>
                <a:lnTo>
                  <a:pt x="9" y="25"/>
                </a:lnTo>
                <a:lnTo>
                  <a:pt x="8" y="28"/>
                </a:lnTo>
                <a:lnTo>
                  <a:pt x="8" y="30"/>
                </a:lnTo>
                <a:lnTo>
                  <a:pt x="9" y="30"/>
                </a:lnTo>
                <a:lnTo>
                  <a:pt x="11" y="30"/>
                </a:lnTo>
                <a:lnTo>
                  <a:pt x="11" y="31"/>
                </a:lnTo>
                <a:lnTo>
                  <a:pt x="9" y="31"/>
                </a:lnTo>
                <a:lnTo>
                  <a:pt x="9" y="33"/>
                </a:lnTo>
                <a:lnTo>
                  <a:pt x="9" y="34"/>
                </a:lnTo>
                <a:lnTo>
                  <a:pt x="11" y="34"/>
                </a:lnTo>
                <a:lnTo>
                  <a:pt x="13" y="34"/>
                </a:lnTo>
                <a:lnTo>
                  <a:pt x="15" y="34"/>
                </a:lnTo>
                <a:lnTo>
                  <a:pt x="15" y="36"/>
                </a:lnTo>
                <a:lnTo>
                  <a:pt x="13" y="38"/>
                </a:lnTo>
                <a:lnTo>
                  <a:pt x="11" y="39"/>
                </a:lnTo>
                <a:lnTo>
                  <a:pt x="15" y="42"/>
                </a:lnTo>
                <a:lnTo>
                  <a:pt x="15" y="45"/>
                </a:lnTo>
                <a:lnTo>
                  <a:pt x="11" y="49"/>
                </a:lnTo>
                <a:lnTo>
                  <a:pt x="12" y="50"/>
                </a:lnTo>
                <a:lnTo>
                  <a:pt x="13" y="53"/>
                </a:lnTo>
                <a:lnTo>
                  <a:pt x="16" y="55"/>
                </a:lnTo>
                <a:lnTo>
                  <a:pt x="16" y="56"/>
                </a:lnTo>
                <a:lnTo>
                  <a:pt x="17" y="56"/>
                </a:lnTo>
                <a:lnTo>
                  <a:pt x="19" y="58"/>
                </a:lnTo>
                <a:lnTo>
                  <a:pt x="20" y="56"/>
                </a:lnTo>
                <a:lnTo>
                  <a:pt x="21" y="58"/>
                </a:lnTo>
                <a:lnTo>
                  <a:pt x="21" y="60"/>
                </a:lnTo>
                <a:lnTo>
                  <a:pt x="21" y="63"/>
                </a:lnTo>
                <a:lnTo>
                  <a:pt x="23" y="63"/>
                </a:lnTo>
                <a:lnTo>
                  <a:pt x="27" y="63"/>
                </a:lnTo>
                <a:lnTo>
                  <a:pt x="29" y="64"/>
                </a:lnTo>
                <a:lnTo>
                  <a:pt x="31" y="64"/>
                </a:lnTo>
                <a:lnTo>
                  <a:pt x="32" y="66"/>
                </a:lnTo>
                <a:lnTo>
                  <a:pt x="31" y="67"/>
                </a:lnTo>
                <a:lnTo>
                  <a:pt x="32" y="69"/>
                </a:lnTo>
                <a:lnTo>
                  <a:pt x="31" y="69"/>
                </a:lnTo>
                <a:lnTo>
                  <a:pt x="29" y="71"/>
                </a:lnTo>
                <a:lnTo>
                  <a:pt x="28" y="71"/>
                </a:lnTo>
                <a:lnTo>
                  <a:pt x="27" y="71"/>
                </a:lnTo>
                <a:lnTo>
                  <a:pt x="24" y="71"/>
                </a:lnTo>
                <a:lnTo>
                  <a:pt x="24" y="72"/>
                </a:lnTo>
                <a:lnTo>
                  <a:pt x="21" y="74"/>
                </a:lnTo>
                <a:lnTo>
                  <a:pt x="20" y="75"/>
                </a:lnTo>
                <a:lnTo>
                  <a:pt x="20" y="78"/>
                </a:lnTo>
                <a:lnTo>
                  <a:pt x="21" y="80"/>
                </a:lnTo>
                <a:lnTo>
                  <a:pt x="21" y="82"/>
                </a:lnTo>
                <a:lnTo>
                  <a:pt x="21" y="83"/>
                </a:lnTo>
                <a:lnTo>
                  <a:pt x="20" y="85"/>
                </a:lnTo>
                <a:lnTo>
                  <a:pt x="20" y="86"/>
                </a:lnTo>
                <a:lnTo>
                  <a:pt x="23" y="88"/>
                </a:lnTo>
                <a:lnTo>
                  <a:pt x="24" y="89"/>
                </a:lnTo>
                <a:lnTo>
                  <a:pt x="23" y="89"/>
                </a:lnTo>
                <a:lnTo>
                  <a:pt x="21" y="89"/>
                </a:lnTo>
                <a:lnTo>
                  <a:pt x="20" y="89"/>
                </a:lnTo>
                <a:lnTo>
                  <a:pt x="20" y="91"/>
                </a:lnTo>
                <a:lnTo>
                  <a:pt x="16" y="93"/>
                </a:lnTo>
                <a:lnTo>
                  <a:pt x="13" y="97"/>
                </a:lnTo>
                <a:lnTo>
                  <a:pt x="11" y="97"/>
                </a:lnTo>
                <a:lnTo>
                  <a:pt x="9" y="99"/>
                </a:lnTo>
                <a:lnTo>
                  <a:pt x="9" y="100"/>
                </a:lnTo>
                <a:lnTo>
                  <a:pt x="8" y="102"/>
                </a:lnTo>
                <a:lnTo>
                  <a:pt x="9" y="105"/>
                </a:lnTo>
                <a:lnTo>
                  <a:pt x="8" y="107"/>
                </a:lnTo>
                <a:lnTo>
                  <a:pt x="5" y="108"/>
                </a:lnTo>
                <a:lnTo>
                  <a:pt x="4" y="108"/>
                </a:lnTo>
                <a:lnTo>
                  <a:pt x="1" y="110"/>
                </a:lnTo>
                <a:lnTo>
                  <a:pt x="0" y="111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96" name="Freeform 1323"/>
          <p:cNvSpPr>
            <a:spLocks/>
          </p:cNvSpPr>
          <p:nvPr/>
        </p:nvSpPr>
        <p:spPr bwMode="auto">
          <a:xfrm>
            <a:off x="7631036" y="3294081"/>
            <a:ext cx="157854" cy="496097"/>
          </a:xfrm>
          <a:custGeom>
            <a:avLst/>
            <a:gdLst/>
            <a:ahLst/>
            <a:cxnLst>
              <a:cxn ang="0">
                <a:pos x="75" y="7"/>
              </a:cxn>
              <a:cxn ang="0">
                <a:pos x="66" y="18"/>
              </a:cxn>
              <a:cxn ang="0">
                <a:pos x="59" y="26"/>
              </a:cxn>
              <a:cxn ang="0">
                <a:pos x="54" y="33"/>
              </a:cxn>
              <a:cxn ang="0">
                <a:pos x="46" y="35"/>
              </a:cxn>
              <a:cxn ang="0">
                <a:pos x="41" y="38"/>
              </a:cxn>
              <a:cxn ang="0">
                <a:pos x="38" y="32"/>
              </a:cxn>
              <a:cxn ang="0">
                <a:pos x="33" y="33"/>
              </a:cxn>
              <a:cxn ang="0">
                <a:pos x="25" y="44"/>
              </a:cxn>
              <a:cxn ang="0">
                <a:pos x="21" y="52"/>
              </a:cxn>
              <a:cxn ang="0">
                <a:pos x="24" y="57"/>
              </a:cxn>
              <a:cxn ang="0">
                <a:pos x="30" y="57"/>
              </a:cxn>
              <a:cxn ang="0">
                <a:pos x="33" y="60"/>
              </a:cxn>
              <a:cxn ang="0">
                <a:pos x="30" y="68"/>
              </a:cxn>
              <a:cxn ang="0">
                <a:pos x="37" y="73"/>
              </a:cxn>
              <a:cxn ang="0">
                <a:pos x="38" y="77"/>
              </a:cxn>
              <a:cxn ang="0">
                <a:pos x="41" y="84"/>
              </a:cxn>
              <a:cxn ang="0">
                <a:pos x="44" y="88"/>
              </a:cxn>
              <a:cxn ang="0">
                <a:pos x="44" y="91"/>
              </a:cxn>
              <a:cxn ang="0">
                <a:pos x="46" y="96"/>
              </a:cxn>
              <a:cxn ang="0">
                <a:pos x="41" y="99"/>
              </a:cxn>
              <a:cxn ang="0">
                <a:pos x="38" y="96"/>
              </a:cxn>
              <a:cxn ang="0">
                <a:pos x="34" y="96"/>
              </a:cxn>
              <a:cxn ang="0">
                <a:pos x="29" y="99"/>
              </a:cxn>
              <a:cxn ang="0">
                <a:pos x="21" y="98"/>
              </a:cxn>
              <a:cxn ang="0">
                <a:pos x="16" y="98"/>
              </a:cxn>
              <a:cxn ang="0">
                <a:pos x="12" y="98"/>
              </a:cxn>
              <a:cxn ang="0">
                <a:pos x="10" y="102"/>
              </a:cxn>
              <a:cxn ang="0">
                <a:pos x="2" y="102"/>
              </a:cxn>
              <a:cxn ang="0">
                <a:pos x="0" y="107"/>
              </a:cxn>
              <a:cxn ang="0">
                <a:pos x="4" y="113"/>
              </a:cxn>
              <a:cxn ang="0">
                <a:pos x="13" y="123"/>
              </a:cxn>
              <a:cxn ang="0">
                <a:pos x="29" y="123"/>
              </a:cxn>
              <a:cxn ang="0">
                <a:pos x="33" y="118"/>
              </a:cxn>
              <a:cxn ang="0">
                <a:pos x="29" y="129"/>
              </a:cxn>
              <a:cxn ang="0">
                <a:pos x="20" y="132"/>
              </a:cxn>
              <a:cxn ang="0">
                <a:pos x="13" y="132"/>
              </a:cxn>
              <a:cxn ang="0">
                <a:pos x="28" y="154"/>
              </a:cxn>
              <a:cxn ang="0">
                <a:pos x="42" y="161"/>
              </a:cxn>
              <a:cxn ang="0">
                <a:pos x="50" y="157"/>
              </a:cxn>
              <a:cxn ang="0">
                <a:pos x="58" y="151"/>
              </a:cxn>
              <a:cxn ang="0">
                <a:pos x="61" y="135"/>
              </a:cxn>
              <a:cxn ang="0">
                <a:pos x="63" y="132"/>
              </a:cxn>
              <a:cxn ang="0">
                <a:pos x="66" y="135"/>
              </a:cxn>
              <a:cxn ang="0">
                <a:pos x="66" y="143"/>
              </a:cxn>
              <a:cxn ang="0">
                <a:pos x="66" y="150"/>
              </a:cxn>
              <a:cxn ang="0">
                <a:pos x="69" y="154"/>
              </a:cxn>
              <a:cxn ang="0">
                <a:pos x="70" y="165"/>
              </a:cxn>
              <a:cxn ang="0">
                <a:pos x="67" y="176"/>
              </a:cxn>
              <a:cxn ang="0">
                <a:pos x="69" y="186"/>
              </a:cxn>
              <a:cxn ang="0">
                <a:pos x="71" y="190"/>
              </a:cxn>
              <a:cxn ang="0">
                <a:pos x="71" y="195"/>
              </a:cxn>
              <a:cxn ang="0">
                <a:pos x="71" y="205"/>
              </a:cxn>
              <a:cxn ang="0">
                <a:pos x="75" y="220"/>
              </a:cxn>
              <a:cxn ang="0">
                <a:pos x="77" y="227"/>
              </a:cxn>
              <a:cxn ang="0">
                <a:pos x="79" y="242"/>
              </a:cxn>
              <a:cxn ang="0">
                <a:pos x="83" y="250"/>
              </a:cxn>
            </a:cxnLst>
            <a:rect l="0" t="0" r="r" b="b"/>
            <a:pathLst>
              <a:path w="83" h="250">
                <a:moveTo>
                  <a:pt x="78" y="0"/>
                </a:moveTo>
                <a:lnTo>
                  <a:pt x="78" y="4"/>
                </a:lnTo>
                <a:lnTo>
                  <a:pt x="75" y="7"/>
                </a:lnTo>
                <a:lnTo>
                  <a:pt x="71" y="13"/>
                </a:lnTo>
                <a:lnTo>
                  <a:pt x="70" y="16"/>
                </a:lnTo>
                <a:lnTo>
                  <a:pt x="66" y="18"/>
                </a:lnTo>
                <a:lnTo>
                  <a:pt x="63" y="21"/>
                </a:lnTo>
                <a:lnTo>
                  <a:pt x="62" y="21"/>
                </a:lnTo>
                <a:lnTo>
                  <a:pt x="59" y="26"/>
                </a:lnTo>
                <a:lnTo>
                  <a:pt x="58" y="29"/>
                </a:lnTo>
                <a:lnTo>
                  <a:pt x="55" y="33"/>
                </a:lnTo>
                <a:lnTo>
                  <a:pt x="54" y="33"/>
                </a:lnTo>
                <a:lnTo>
                  <a:pt x="53" y="35"/>
                </a:lnTo>
                <a:lnTo>
                  <a:pt x="47" y="33"/>
                </a:lnTo>
                <a:lnTo>
                  <a:pt x="46" y="35"/>
                </a:lnTo>
                <a:lnTo>
                  <a:pt x="44" y="35"/>
                </a:lnTo>
                <a:lnTo>
                  <a:pt x="42" y="36"/>
                </a:lnTo>
                <a:lnTo>
                  <a:pt x="41" y="38"/>
                </a:lnTo>
                <a:lnTo>
                  <a:pt x="41" y="36"/>
                </a:lnTo>
                <a:lnTo>
                  <a:pt x="41" y="35"/>
                </a:lnTo>
                <a:lnTo>
                  <a:pt x="38" y="32"/>
                </a:lnTo>
                <a:lnTo>
                  <a:pt x="37" y="32"/>
                </a:lnTo>
                <a:lnTo>
                  <a:pt x="36" y="32"/>
                </a:lnTo>
                <a:lnTo>
                  <a:pt x="33" y="33"/>
                </a:lnTo>
                <a:lnTo>
                  <a:pt x="33" y="35"/>
                </a:lnTo>
                <a:lnTo>
                  <a:pt x="29" y="38"/>
                </a:lnTo>
                <a:lnTo>
                  <a:pt x="25" y="44"/>
                </a:lnTo>
                <a:lnTo>
                  <a:pt x="24" y="46"/>
                </a:lnTo>
                <a:lnTo>
                  <a:pt x="22" y="47"/>
                </a:lnTo>
                <a:lnTo>
                  <a:pt x="21" y="52"/>
                </a:lnTo>
                <a:lnTo>
                  <a:pt x="21" y="54"/>
                </a:lnTo>
                <a:lnTo>
                  <a:pt x="22" y="55"/>
                </a:lnTo>
                <a:lnTo>
                  <a:pt x="24" y="57"/>
                </a:lnTo>
                <a:lnTo>
                  <a:pt x="26" y="57"/>
                </a:lnTo>
                <a:lnTo>
                  <a:pt x="28" y="57"/>
                </a:lnTo>
                <a:lnTo>
                  <a:pt x="30" y="57"/>
                </a:lnTo>
                <a:lnTo>
                  <a:pt x="32" y="57"/>
                </a:lnTo>
                <a:lnTo>
                  <a:pt x="32" y="58"/>
                </a:lnTo>
                <a:lnTo>
                  <a:pt x="33" y="60"/>
                </a:lnTo>
                <a:lnTo>
                  <a:pt x="33" y="62"/>
                </a:lnTo>
                <a:lnTo>
                  <a:pt x="30" y="66"/>
                </a:lnTo>
                <a:lnTo>
                  <a:pt x="30" y="68"/>
                </a:lnTo>
                <a:lnTo>
                  <a:pt x="32" y="69"/>
                </a:lnTo>
                <a:lnTo>
                  <a:pt x="34" y="73"/>
                </a:lnTo>
                <a:lnTo>
                  <a:pt x="37" y="73"/>
                </a:lnTo>
                <a:lnTo>
                  <a:pt x="38" y="73"/>
                </a:lnTo>
                <a:lnTo>
                  <a:pt x="38" y="74"/>
                </a:lnTo>
                <a:lnTo>
                  <a:pt x="38" y="77"/>
                </a:lnTo>
                <a:lnTo>
                  <a:pt x="40" y="79"/>
                </a:lnTo>
                <a:lnTo>
                  <a:pt x="41" y="82"/>
                </a:lnTo>
                <a:lnTo>
                  <a:pt x="41" y="84"/>
                </a:lnTo>
                <a:lnTo>
                  <a:pt x="42" y="85"/>
                </a:lnTo>
                <a:lnTo>
                  <a:pt x="44" y="87"/>
                </a:lnTo>
                <a:lnTo>
                  <a:pt x="44" y="88"/>
                </a:lnTo>
                <a:lnTo>
                  <a:pt x="45" y="88"/>
                </a:lnTo>
                <a:lnTo>
                  <a:pt x="45" y="90"/>
                </a:lnTo>
                <a:lnTo>
                  <a:pt x="44" y="91"/>
                </a:lnTo>
                <a:lnTo>
                  <a:pt x="44" y="95"/>
                </a:lnTo>
                <a:lnTo>
                  <a:pt x="45" y="96"/>
                </a:lnTo>
                <a:lnTo>
                  <a:pt x="46" y="96"/>
                </a:lnTo>
                <a:lnTo>
                  <a:pt x="44" y="96"/>
                </a:lnTo>
                <a:lnTo>
                  <a:pt x="42" y="98"/>
                </a:lnTo>
                <a:lnTo>
                  <a:pt x="41" y="99"/>
                </a:lnTo>
                <a:lnTo>
                  <a:pt x="40" y="99"/>
                </a:lnTo>
                <a:lnTo>
                  <a:pt x="38" y="98"/>
                </a:lnTo>
                <a:lnTo>
                  <a:pt x="38" y="96"/>
                </a:lnTo>
                <a:lnTo>
                  <a:pt x="38" y="95"/>
                </a:lnTo>
                <a:lnTo>
                  <a:pt x="36" y="95"/>
                </a:lnTo>
                <a:lnTo>
                  <a:pt x="34" y="96"/>
                </a:lnTo>
                <a:lnTo>
                  <a:pt x="32" y="98"/>
                </a:lnTo>
                <a:lnTo>
                  <a:pt x="30" y="99"/>
                </a:lnTo>
                <a:lnTo>
                  <a:pt x="29" y="99"/>
                </a:lnTo>
                <a:lnTo>
                  <a:pt x="25" y="99"/>
                </a:lnTo>
                <a:lnTo>
                  <a:pt x="22" y="98"/>
                </a:lnTo>
                <a:lnTo>
                  <a:pt x="21" y="98"/>
                </a:lnTo>
                <a:lnTo>
                  <a:pt x="20" y="98"/>
                </a:lnTo>
                <a:lnTo>
                  <a:pt x="17" y="98"/>
                </a:lnTo>
                <a:lnTo>
                  <a:pt x="16" y="98"/>
                </a:lnTo>
                <a:lnTo>
                  <a:pt x="14" y="98"/>
                </a:lnTo>
                <a:lnTo>
                  <a:pt x="13" y="98"/>
                </a:lnTo>
                <a:lnTo>
                  <a:pt x="12" y="98"/>
                </a:lnTo>
                <a:lnTo>
                  <a:pt x="12" y="96"/>
                </a:lnTo>
                <a:lnTo>
                  <a:pt x="10" y="98"/>
                </a:lnTo>
                <a:lnTo>
                  <a:pt x="10" y="102"/>
                </a:lnTo>
                <a:lnTo>
                  <a:pt x="5" y="102"/>
                </a:lnTo>
                <a:lnTo>
                  <a:pt x="4" y="104"/>
                </a:lnTo>
                <a:lnTo>
                  <a:pt x="2" y="102"/>
                </a:lnTo>
                <a:lnTo>
                  <a:pt x="2" y="104"/>
                </a:lnTo>
                <a:lnTo>
                  <a:pt x="1" y="106"/>
                </a:lnTo>
                <a:lnTo>
                  <a:pt x="0" y="107"/>
                </a:lnTo>
                <a:lnTo>
                  <a:pt x="1" y="110"/>
                </a:lnTo>
                <a:lnTo>
                  <a:pt x="2" y="110"/>
                </a:lnTo>
                <a:lnTo>
                  <a:pt x="4" y="113"/>
                </a:lnTo>
                <a:lnTo>
                  <a:pt x="8" y="118"/>
                </a:lnTo>
                <a:lnTo>
                  <a:pt x="10" y="121"/>
                </a:lnTo>
                <a:lnTo>
                  <a:pt x="13" y="123"/>
                </a:lnTo>
                <a:lnTo>
                  <a:pt x="18" y="124"/>
                </a:lnTo>
                <a:lnTo>
                  <a:pt x="24" y="123"/>
                </a:lnTo>
                <a:lnTo>
                  <a:pt x="29" y="123"/>
                </a:lnTo>
                <a:lnTo>
                  <a:pt x="32" y="121"/>
                </a:lnTo>
                <a:lnTo>
                  <a:pt x="32" y="118"/>
                </a:lnTo>
                <a:lnTo>
                  <a:pt x="33" y="118"/>
                </a:lnTo>
                <a:lnTo>
                  <a:pt x="34" y="120"/>
                </a:lnTo>
                <a:lnTo>
                  <a:pt x="32" y="126"/>
                </a:lnTo>
                <a:lnTo>
                  <a:pt x="29" y="129"/>
                </a:lnTo>
                <a:lnTo>
                  <a:pt x="26" y="131"/>
                </a:lnTo>
                <a:lnTo>
                  <a:pt x="24" y="132"/>
                </a:lnTo>
                <a:lnTo>
                  <a:pt x="20" y="132"/>
                </a:lnTo>
                <a:lnTo>
                  <a:pt x="16" y="132"/>
                </a:lnTo>
                <a:lnTo>
                  <a:pt x="14" y="131"/>
                </a:lnTo>
                <a:lnTo>
                  <a:pt x="13" y="132"/>
                </a:lnTo>
                <a:lnTo>
                  <a:pt x="13" y="137"/>
                </a:lnTo>
                <a:lnTo>
                  <a:pt x="25" y="150"/>
                </a:lnTo>
                <a:lnTo>
                  <a:pt x="28" y="154"/>
                </a:lnTo>
                <a:lnTo>
                  <a:pt x="34" y="159"/>
                </a:lnTo>
                <a:lnTo>
                  <a:pt x="36" y="159"/>
                </a:lnTo>
                <a:lnTo>
                  <a:pt x="42" y="161"/>
                </a:lnTo>
                <a:lnTo>
                  <a:pt x="46" y="159"/>
                </a:lnTo>
                <a:lnTo>
                  <a:pt x="47" y="159"/>
                </a:lnTo>
                <a:lnTo>
                  <a:pt x="50" y="157"/>
                </a:lnTo>
                <a:lnTo>
                  <a:pt x="51" y="156"/>
                </a:lnTo>
                <a:lnTo>
                  <a:pt x="57" y="153"/>
                </a:lnTo>
                <a:lnTo>
                  <a:pt x="58" y="151"/>
                </a:lnTo>
                <a:lnTo>
                  <a:pt x="59" y="148"/>
                </a:lnTo>
                <a:lnTo>
                  <a:pt x="59" y="140"/>
                </a:lnTo>
                <a:lnTo>
                  <a:pt x="61" y="135"/>
                </a:lnTo>
                <a:lnTo>
                  <a:pt x="61" y="131"/>
                </a:lnTo>
                <a:lnTo>
                  <a:pt x="62" y="132"/>
                </a:lnTo>
                <a:lnTo>
                  <a:pt x="63" y="132"/>
                </a:lnTo>
                <a:lnTo>
                  <a:pt x="71" y="134"/>
                </a:lnTo>
                <a:lnTo>
                  <a:pt x="70" y="135"/>
                </a:lnTo>
                <a:lnTo>
                  <a:pt x="66" y="135"/>
                </a:lnTo>
                <a:lnTo>
                  <a:pt x="65" y="140"/>
                </a:lnTo>
                <a:lnTo>
                  <a:pt x="66" y="140"/>
                </a:lnTo>
                <a:lnTo>
                  <a:pt x="66" y="143"/>
                </a:lnTo>
                <a:lnTo>
                  <a:pt x="66" y="145"/>
                </a:lnTo>
                <a:lnTo>
                  <a:pt x="67" y="145"/>
                </a:lnTo>
                <a:lnTo>
                  <a:pt x="66" y="150"/>
                </a:lnTo>
                <a:lnTo>
                  <a:pt x="66" y="153"/>
                </a:lnTo>
                <a:lnTo>
                  <a:pt x="67" y="153"/>
                </a:lnTo>
                <a:lnTo>
                  <a:pt x="69" y="154"/>
                </a:lnTo>
                <a:lnTo>
                  <a:pt x="67" y="156"/>
                </a:lnTo>
                <a:lnTo>
                  <a:pt x="70" y="162"/>
                </a:lnTo>
                <a:lnTo>
                  <a:pt x="70" y="165"/>
                </a:lnTo>
                <a:lnTo>
                  <a:pt x="70" y="168"/>
                </a:lnTo>
                <a:lnTo>
                  <a:pt x="69" y="173"/>
                </a:lnTo>
                <a:lnTo>
                  <a:pt x="67" y="176"/>
                </a:lnTo>
                <a:lnTo>
                  <a:pt x="67" y="179"/>
                </a:lnTo>
                <a:lnTo>
                  <a:pt x="69" y="184"/>
                </a:lnTo>
                <a:lnTo>
                  <a:pt x="69" y="186"/>
                </a:lnTo>
                <a:lnTo>
                  <a:pt x="70" y="190"/>
                </a:lnTo>
                <a:lnTo>
                  <a:pt x="71" y="189"/>
                </a:lnTo>
                <a:lnTo>
                  <a:pt x="71" y="190"/>
                </a:lnTo>
                <a:lnTo>
                  <a:pt x="71" y="192"/>
                </a:lnTo>
                <a:lnTo>
                  <a:pt x="71" y="194"/>
                </a:lnTo>
                <a:lnTo>
                  <a:pt x="71" y="195"/>
                </a:lnTo>
                <a:lnTo>
                  <a:pt x="71" y="197"/>
                </a:lnTo>
                <a:lnTo>
                  <a:pt x="70" y="203"/>
                </a:lnTo>
                <a:lnTo>
                  <a:pt x="71" y="205"/>
                </a:lnTo>
                <a:lnTo>
                  <a:pt x="71" y="206"/>
                </a:lnTo>
                <a:lnTo>
                  <a:pt x="73" y="211"/>
                </a:lnTo>
                <a:lnTo>
                  <a:pt x="75" y="220"/>
                </a:lnTo>
                <a:lnTo>
                  <a:pt x="75" y="222"/>
                </a:lnTo>
                <a:lnTo>
                  <a:pt x="75" y="225"/>
                </a:lnTo>
                <a:lnTo>
                  <a:pt x="77" y="227"/>
                </a:lnTo>
                <a:lnTo>
                  <a:pt x="77" y="236"/>
                </a:lnTo>
                <a:lnTo>
                  <a:pt x="78" y="239"/>
                </a:lnTo>
                <a:lnTo>
                  <a:pt x="79" y="242"/>
                </a:lnTo>
                <a:lnTo>
                  <a:pt x="81" y="242"/>
                </a:lnTo>
                <a:lnTo>
                  <a:pt x="81" y="247"/>
                </a:lnTo>
                <a:lnTo>
                  <a:pt x="83" y="25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97" name="Freeform 1324"/>
          <p:cNvSpPr>
            <a:spLocks/>
          </p:cNvSpPr>
          <p:nvPr/>
        </p:nvSpPr>
        <p:spPr bwMode="auto">
          <a:xfrm>
            <a:off x="8609341" y="3526022"/>
            <a:ext cx="210471" cy="515425"/>
          </a:xfrm>
          <a:custGeom>
            <a:avLst/>
            <a:gdLst/>
            <a:ahLst/>
            <a:cxnLst>
              <a:cxn ang="0">
                <a:pos x="65" y="237"/>
              </a:cxn>
              <a:cxn ang="0">
                <a:pos x="69" y="234"/>
              </a:cxn>
              <a:cxn ang="0">
                <a:pos x="74" y="227"/>
              </a:cxn>
              <a:cxn ang="0">
                <a:pos x="88" y="221"/>
              </a:cxn>
              <a:cxn ang="0">
                <a:pos x="103" y="212"/>
              </a:cxn>
              <a:cxn ang="0">
                <a:pos x="106" y="202"/>
              </a:cxn>
              <a:cxn ang="0">
                <a:pos x="106" y="199"/>
              </a:cxn>
              <a:cxn ang="0">
                <a:pos x="107" y="186"/>
              </a:cxn>
              <a:cxn ang="0">
                <a:pos x="107" y="182"/>
              </a:cxn>
              <a:cxn ang="0">
                <a:pos x="106" y="169"/>
              </a:cxn>
              <a:cxn ang="0">
                <a:pos x="94" y="133"/>
              </a:cxn>
              <a:cxn ang="0">
                <a:pos x="90" y="127"/>
              </a:cxn>
              <a:cxn ang="0">
                <a:pos x="82" y="119"/>
              </a:cxn>
              <a:cxn ang="0">
                <a:pos x="74" y="110"/>
              </a:cxn>
              <a:cxn ang="0">
                <a:pos x="65" y="99"/>
              </a:cxn>
              <a:cxn ang="0">
                <a:pos x="54" y="83"/>
              </a:cxn>
              <a:cxn ang="0">
                <a:pos x="54" y="67"/>
              </a:cxn>
              <a:cxn ang="0">
                <a:pos x="68" y="45"/>
              </a:cxn>
              <a:cxn ang="0">
                <a:pos x="78" y="37"/>
              </a:cxn>
              <a:cxn ang="0">
                <a:pos x="88" y="31"/>
              </a:cxn>
              <a:cxn ang="0">
                <a:pos x="76" y="28"/>
              </a:cxn>
              <a:cxn ang="0">
                <a:pos x="68" y="11"/>
              </a:cxn>
              <a:cxn ang="0">
                <a:pos x="53" y="4"/>
              </a:cxn>
              <a:cxn ang="0">
                <a:pos x="41" y="4"/>
              </a:cxn>
              <a:cxn ang="0">
                <a:pos x="30" y="7"/>
              </a:cxn>
              <a:cxn ang="0">
                <a:pos x="21" y="11"/>
              </a:cxn>
              <a:cxn ang="0">
                <a:pos x="12" y="12"/>
              </a:cxn>
              <a:cxn ang="0">
                <a:pos x="4" y="9"/>
              </a:cxn>
              <a:cxn ang="0">
                <a:pos x="2" y="18"/>
              </a:cxn>
              <a:cxn ang="0">
                <a:pos x="10" y="34"/>
              </a:cxn>
              <a:cxn ang="0">
                <a:pos x="26" y="40"/>
              </a:cxn>
              <a:cxn ang="0">
                <a:pos x="36" y="48"/>
              </a:cxn>
              <a:cxn ang="0">
                <a:pos x="40" y="58"/>
              </a:cxn>
              <a:cxn ang="0">
                <a:pos x="29" y="62"/>
              </a:cxn>
              <a:cxn ang="0">
                <a:pos x="29" y="70"/>
              </a:cxn>
              <a:cxn ang="0">
                <a:pos x="45" y="86"/>
              </a:cxn>
              <a:cxn ang="0">
                <a:pos x="58" y="102"/>
              </a:cxn>
              <a:cxn ang="0">
                <a:pos x="65" y="114"/>
              </a:cxn>
              <a:cxn ang="0">
                <a:pos x="74" y="124"/>
              </a:cxn>
              <a:cxn ang="0">
                <a:pos x="80" y="150"/>
              </a:cxn>
              <a:cxn ang="0">
                <a:pos x="82" y="188"/>
              </a:cxn>
              <a:cxn ang="0">
                <a:pos x="74" y="197"/>
              </a:cxn>
              <a:cxn ang="0">
                <a:pos x="65" y="204"/>
              </a:cxn>
              <a:cxn ang="0">
                <a:pos x="57" y="212"/>
              </a:cxn>
              <a:cxn ang="0">
                <a:pos x="50" y="219"/>
              </a:cxn>
              <a:cxn ang="0">
                <a:pos x="42" y="223"/>
              </a:cxn>
              <a:cxn ang="0">
                <a:pos x="36" y="227"/>
              </a:cxn>
              <a:cxn ang="0">
                <a:pos x="42" y="237"/>
              </a:cxn>
              <a:cxn ang="0">
                <a:pos x="41" y="252"/>
              </a:cxn>
              <a:cxn ang="0">
                <a:pos x="44" y="260"/>
              </a:cxn>
              <a:cxn ang="0">
                <a:pos x="60" y="246"/>
              </a:cxn>
            </a:cxnLst>
            <a:rect l="0" t="0" r="r" b="b"/>
            <a:pathLst>
              <a:path w="109" h="260">
                <a:moveTo>
                  <a:pt x="62" y="241"/>
                </a:moveTo>
                <a:lnTo>
                  <a:pt x="65" y="243"/>
                </a:lnTo>
                <a:lnTo>
                  <a:pt x="66" y="240"/>
                </a:lnTo>
                <a:lnTo>
                  <a:pt x="65" y="237"/>
                </a:lnTo>
                <a:lnTo>
                  <a:pt x="65" y="235"/>
                </a:lnTo>
                <a:lnTo>
                  <a:pt x="68" y="235"/>
                </a:lnTo>
                <a:lnTo>
                  <a:pt x="68" y="234"/>
                </a:lnTo>
                <a:lnTo>
                  <a:pt x="69" y="234"/>
                </a:lnTo>
                <a:lnTo>
                  <a:pt x="68" y="230"/>
                </a:lnTo>
                <a:lnTo>
                  <a:pt x="69" y="230"/>
                </a:lnTo>
                <a:lnTo>
                  <a:pt x="70" y="227"/>
                </a:lnTo>
                <a:lnTo>
                  <a:pt x="74" y="227"/>
                </a:lnTo>
                <a:lnTo>
                  <a:pt x="76" y="227"/>
                </a:lnTo>
                <a:lnTo>
                  <a:pt x="77" y="227"/>
                </a:lnTo>
                <a:lnTo>
                  <a:pt x="84" y="223"/>
                </a:lnTo>
                <a:lnTo>
                  <a:pt x="88" y="221"/>
                </a:lnTo>
                <a:lnTo>
                  <a:pt x="90" y="218"/>
                </a:lnTo>
                <a:lnTo>
                  <a:pt x="98" y="213"/>
                </a:lnTo>
                <a:lnTo>
                  <a:pt x="101" y="212"/>
                </a:lnTo>
                <a:lnTo>
                  <a:pt x="103" y="212"/>
                </a:lnTo>
                <a:lnTo>
                  <a:pt x="103" y="210"/>
                </a:lnTo>
                <a:lnTo>
                  <a:pt x="103" y="207"/>
                </a:lnTo>
                <a:lnTo>
                  <a:pt x="106" y="205"/>
                </a:lnTo>
                <a:lnTo>
                  <a:pt x="106" y="202"/>
                </a:lnTo>
                <a:lnTo>
                  <a:pt x="105" y="202"/>
                </a:lnTo>
                <a:lnTo>
                  <a:pt x="105" y="201"/>
                </a:lnTo>
                <a:lnTo>
                  <a:pt x="106" y="201"/>
                </a:lnTo>
                <a:lnTo>
                  <a:pt x="106" y="199"/>
                </a:lnTo>
                <a:lnTo>
                  <a:pt x="105" y="191"/>
                </a:lnTo>
                <a:lnTo>
                  <a:pt x="106" y="191"/>
                </a:lnTo>
                <a:lnTo>
                  <a:pt x="106" y="188"/>
                </a:lnTo>
                <a:lnTo>
                  <a:pt x="107" y="186"/>
                </a:lnTo>
                <a:lnTo>
                  <a:pt x="109" y="186"/>
                </a:lnTo>
                <a:lnTo>
                  <a:pt x="109" y="188"/>
                </a:lnTo>
                <a:lnTo>
                  <a:pt x="107" y="185"/>
                </a:lnTo>
                <a:lnTo>
                  <a:pt x="107" y="182"/>
                </a:lnTo>
                <a:lnTo>
                  <a:pt x="106" y="180"/>
                </a:lnTo>
                <a:lnTo>
                  <a:pt x="106" y="175"/>
                </a:lnTo>
                <a:lnTo>
                  <a:pt x="106" y="172"/>
                </a:lnTo>
                <a:lnTo>
                  <a:pt x="106" y="169"/>
                </a:lnTo>
                <a:lnTo>
                  <a:pt x="106" y="166"/>
                </a:lnTo>
                <a:lnTo>
                  <a:pt x="105" y="157"/>
                </a:lnTo>
                <a:lnTo>
                  <a:pt x="99" y="139"/>
                </a:lnTo>
                <a:lnTo>
                  <a:pt x="94" y="133"/>
                </a:lnTo>
                <a:lnTo>
                  <a:pt x="93" y="130"/>
                </a:lnTo>
                <a:lnTo>
                  <a:pt x="92" y="125"/>
                </a:lnTo>
                <a:lnTo>
                  <a:pt x="92" y="127"/>
                </a:lnTo>
                <a:lnTo>
                  <a:pt x="90" y="127"/>
                </a:lnTo>
                <a:lnTo>
                  <a:pt x="90" y="125"/>
                </a:lnTo>
                <a:lnTo>
                  <a:pt x="89" y="122"/>
                </a:lnTo>
                <a:lnTo>
                  <a:pt x="84" y="122"/>
                </a:lnTo>
                <a:lnTo>
                  <a:pt x="82" y="119"/>
                </a:lnTo>
                <a:lnTo>
                  <a:pt x="80" y="116"/>
                </a:lnTo>
                <a:lnTo>
                  <a:pt x="77" y="114"/>
                </a:lnTo>
                <a:lnTo>
                  <a:pt x="74" y="111"/>
                </a:lnTo>
                <a:lnTo>
                  <a:pt x="74" y="110"/>
                </a:lnTo>
                <a:lnTo>
                  <a:pt x="73" y="108"/>
                </a:lnTo>
                <a:lnTo>
                  <a:pt x="70" y="105"/>
                </a:lnTo>
                <a:lnTo>
                  <a:pt x="68" y="102"/>
                </a:lnTo>
                <a:lnTo>
                  <a:pt x="65" y="99"/>
                </a:lnTo>
                <a:lnTo>
                  <a:pt x="64" y="95"/>
                </a:lnTo>
                <a:lnTo>
                  <a:pt x="62" y="91"/>
                </a:lnTo>
                <a:lnTo>
                  <a:pt x="60" y="89"/>
                </a:lnTo>
                <a:lnTo>
                  <a:pt x="54" y="83"/>
                </a:lnTo>
                <a:lnTo>
                  <a:pt x="52" y="78"/>
                </a:lnTo>
                <a:lnTo>
                  <a:pt x="53" y="75"/>
                </a:lnTo>
                <a:lnTo>
                  <a:pt x="54" y="72"/>
                </a:lnTo>
                <a:lnTo>
                  <a:pt x="54" y="67"/>
                </a:lnTo>
                <a:lnTo>
                  <a:pt x="57" y="59"/>
                </a:lnTo>
                <a:lnTo>
                  <a:pt x="65" y="51"/>
                </a:lnTo>
                <a:lnTo>
                  <a:pt x="66" y="50"/>
                </a:lnTo>
                <a:lnTo>
                  <a:pt x="68" y="45"/>
                </a:lnTo>
                <a:lnTo>
                  <a:pt x="69" y="44"/>
                </a:lnTo>
                <a:lnTo>
                  <a:pt x="70" y="42"/>
                </a:lnTo>
                <a:lnTo>
                  <a:pt x="76" y="40"/>
                </a:lnTo>
                <a:lnTo>
                  <a:pt x="78" y="37"/>
                </a:lnTo>
                <a:lnTo>
                  <a:pt x="78" y="34"/>
                </a:lnTo>
                <a:lnTo>
                  <a:pt x="84" y="31"/>
                </a:lnTo>
                <a:lnTo>
                  <a:pt x="86" y="33"/>
                </a:lnTo>
                <a:lnTo>
                  <a:pt x="88" y="31"/>
                </a:lnTo>
                <a:lnTo>
                  <a:pt x="85" y="29"/>
                </a:lnTo>
                <a:lnTo>
                  <a:pt x="81" y="29"/>
                </a:lnTo>
                <a:lnTo>
                  <a:pt x="77" y="29"/>
                </a:lnTo>
                <a:lnTo>
                  <a:pt x="76" y="28"/>
                </a:lnTo>
                <a:lnTo>
                  <a:pt x="70" y="23"/>
                </a:lnTo>
                <a:lnTo>
                  <a:pt x="68" y="20"/>
                </a:lnTo>
                <a:lnTo>
                  <a:pt x="66" y="15"/>
                </a:lnTo>
                <a:lnTo>
                  <a:pt x="68" y="11"/>
                </a:lnTo>
                <a:lnTo>
                  <a:pt x="66" y="7"/>
                </a:lnTo>
                <a:lnTo>
                  <a:pt x="61" y="7"/>
                </a:lnTo>
                <a:lnTo>
                  <a:pt x="57" y="6"/>
                </a:lnTo>
                <a:lnTo>
                  <a:pt x="53" y="4"/>
                </a:lnTo>
                <a:lnTo>
                  <a:pt x="50" y="1"/>
                </a:lnTo>
                <a:lnTo>
                  <a:pt x="46" y="0"/>
                </a:lnTo>
                <a:lnTo>
                  <a:pt x="44" y="0"/>
                </a:lnTo>
                <a:lnTo>
                  <a:pt x="41" y="4"/>
                </a:lnTo>
                <a:lnTo>
                  <a:pt x="38" y="6"/>
                </a:lnTo>
                <a:lnTo>
                  <a:pt x="34" y="7"/>
                </a:lnTo>
                <a:lnTo>
                  <a:pt x="33" y="9"/>
                </a:lnTo>
                <a:lnTo>
                  <a:pt x="30" y="7"/>
                </a:lnTo>
                <a:lnTo>
                  <a:pt x="28" y="11"/>
                </a:lnTo>
                <a:lnTo>
                  <a:pt x="25" y="12"/>
                </a:lnTo>
                <a:lnTo>
                  <a:pt x="25" y="9"/>
                </a:lnTo>
                <a:lnTo>
                  <a:pt x="21" y="11"/>
                </a:lnTo>
                <a:lnTo>
                  <a:pt x="20" y="9"/>
                </a:lnTo>
                <a:lnTo>
                  <a:pt x="17" y="9"/>
                </a:lnTo>
                <a:lnTo>
                  <a:pt x="13" y="12"/>
                </a:lnTo>
                <a:lnTo>
                  <a:pt x="12" y="12"/>
                </a:lnTo>
                <a:lnTo>
                  <a:pt x="9" y="11"/>
                </a:lnTo>
                <a:lnTo>
                  <a:pt x="6" y="9"/>
                </a:lnTo>
                <a:lnTo>
                  <a:pt x="5" y="9"/>
                </a:lnTo>
                <a:lnTo>
                  <a:pt x="4" y="9"/>
                </a:lnTo>
                <a:lnTo>
                  <a:pt x="4" y="11"/>
                </a:lnTo>
                <a:lnTo>
                  <a:pt x="1" y="14"/>
                </a:lnTo>
                <a:lnTo>
                  <a:pt x="0" y="14"/>
                </a:lnTo>
                <a:lnTo>
                  <a:pt x="2" y="18"/>
                </a:lnTo>
                <a:lnTo>
                  <a:pt x="8" y="25"/>
                </a:lnTo>
                <a:lnTo>
                  <a:pt x="10" y="26"/>
                </a:lnTo>
                <a:lnTo>
                  <a:pt x="12" y="29"/>
                </a:lnTo>
                <a:lnTo>
                  <a:pt x="10" y="34"/>
                </a:lnTo>
                <a:lnTo>
                  <a:pt x="12" y="36"/>
                </a:lnTo>
                <a:lnTo>
                  <a:pt x="16" y="40"/>
                </a:lnTo>
                <a:lnTo>
                  <a:pt x="21" y="42"/>
                </a:lnTo>
                <a:lnTo>
                  <a:pt x="26" y="40"/>
                </a:lnTo>
                <a:lnTo>
                  <a:pt x="30" y="40"/>
                </a:lnTo>
                <a:lnTo>
                  <a:pt x="33" y="44"/>
                </a:lnTo>
                <a:lnTo>
                  <a:pt x="34" y="47"/>
                </a:lnTo>
                <a:lnTo>
                  <a:pt x="36" y="48"/>
                </a:lnTo>
                <a:lnTo>
                  <a:pt x="37" y="51"/>
                </a:lnTo>
                <a:lnTo>
                  <a:pt x="38" y="53"/>
                </a:lnTo>
                <a:lnTo>
                  <a:pt x="40" y="56"/>
                </a:lnTo>
                <a:lnTo>
                  <a:pt x="40" y="58"/>
                </a:lnTo>
                <a:lnTo>
                  <a:pt x="36" y="62"/>
                </a:lnTo>
                <a:lnTo>
                  <a:pt x="34" y="62"/>
                </a:lnTo>
                <a:lnTo>
                  <a:pt x="30" y="62"/>
                </a:lnTo>
                <a:lnTo>
                  <a:pt x="29" y="62"/>
                </a:lnTo>
                <a:lnTo>
                  <a:pt x="28" y="64"/>
                </a:lnTo>
                <a:lnTo>
                  <a:pt x="26" y="67"/>
                </a:lnTo>
                <a:lnTo>
                  <a:pt x="28" y="69"/>
                </a:lnTo>
                <a:lnTo>
                  <a:pt x="29" y="70"/>
                </a:lnTo>
                <a:lnTo>
                  <a:pt x="32" y="72"/>
                </a:lnTo>
                <a:lnTo>
                  <a:pt x="37" y="75"/>
                </a:lnTo>
                <a:lnTo>
                  <a:pt x="44" y="81"/>
                </a:lnTo>
                <a:lnTo>
                  <a:pt x="45" y="86"/>
                </a:lnTo>
                <a:lnTo>
                  <a:pt x="52" y="92"/>
                </a:lnTo>
                <a:lnTo>
                  <a:pt x="52" y="95"/>
                </a:lnTo>
                <a:lnTo>
                  <a:pt x="57" y="100"/>
                </a:lnTo>
                <a:lnTo>
                  <a:pt x="58" y="102"/>
                </a:lnTo>
                <a:lnTo>
                  <a:pt x="62" y="105"/>
                </a:lnTo>
                <a:lnTo>
                  <a:pt x="65" y="110"/>
                </a:lnTo>
                <a:lnTo>
                  <a:pt x="65" y="113"/>
                </a:lnTo>
                <a:lnTo>
                  <a:pt x="65" y="114"/>
                </a:lnTo>
                <a:lnTo>
                  <a:pt x="66" y="117"/>
                </a:lnTo>
                <a:lnTo>
                  <a:pt x="69" y="117"/>
                </a:lnTo>
                <a:lnTo>
                  <a:pt x="73" y="120"/>
                </a:lnTo>
                <a:lnTo>
                  <a:pt x="74" y="124"/>
                </a:lnTo>
                <a:lnTo>
                  <a:pt x="76" y="130"/>
                </a:lnTo>
                <a:lnTo>
                  <a:pt x="80" y="138"/>
                </a:lnTo>
                <a:lnTo>
                  <a:pt x="80" y="141"/>
                </a:lnTo>
                <a:lnTo>
                  <a:pt x="80" y="150"/>
                </a:lnTo>
                <a:lnTo>
                  <a:pt x="80" y="163"/>
                </a:lnTo>
                <a:lnTo>
                  <a:pt x="80" y="168"/>
                </a:lnTo>
                <a:lnTo>
                  <a:pt x="82" y="172"/>
                </a:lnTo>
                <a:lnTo>
                  <a:pt x="82" y="188"/>
                </a:lnTo>
                <a:lnTo>
                  <a:pt x="81" y="191"/>
                </a:lnTo>
                <a:lnTo>
                  <a:pt x="80" y="194"/>
                </a:lnTo>
                <a:lnTo>
                  <a:pt x="77" y="194"/>
                </a:lnTo>
                <a:lnTo>
                  <a:pt x="74" y="197"/>
                </a:lnTo>
                <a:lnTo>
                  <a:pt x="72" y="197"/>
                </a:lnTo>
                <a:lnTo>
                  <a:pt x="70" y="197"/>
                </a:lnTo>
                <a:lnTo>
                  <a:pt x="65" y="201"/>
                </a:lnTo>
                <a:lnTo>
                  <a:pt x="65" y="204"/>
                </a:lnTo>
                <a:lnTo>
                  <a:pt x="60" y="204"/>
                </a:lnTo>
                <a:lnTo>
                  <a:pt x="57" y="205"/>
                </a:lnTo>
                <a:lnTo>
                  <a:pt x="56" y="210"/>
                </a:lnTo>
                <a:lnTo>
                  <a:pt x="57" y="212"/>
                </a:lnTo>
                <a:lnTo>
                  <a:pt x="57" y="215"/>
                </a:lnTo>
                <a:lnTo>
                  <a:pt x="56" y="216"/>
                </a:lnTo>
                <a:lnTo>
                  <a:pt x="53" y="216"/>
                </a:lnTo>
                <a:lnTo>
                  <a:pt x="50" y="219"/>
                </a:lnTo>
                <a:lnTo>
                  <a:pt x="46" y="221"/>
                </a:lnTo>
                <a:lnTo>
                  <a:pt x="45" y="219"/>
                </a:lnTo>
                <a:lnTo>
                  <a:pt x="44" y="219"/>
                </a:lnTo>
                <a:lnTo>
                  <a:pt x="42" y="223"/>
                </a:lnTo>
                <a:lnTo>
                  <a:pt x="41" y="224"/>
                </a:lnTo>
                <a:lnTo>
                  <a:pt x="40" y="226"/>
                </a:lnTo>
                <a:lnTo>
                  <a:pt x="36" y="226"/>
                </a:lnTo>
                <a:lnTo>
                  <a:pt x="36" y="227"/>
                </a:lnTo>
                <a:lnTo>
                  <a:pt x="37" y="230"/>
                </a:lnTo>
                <a:lnTo>
                  <a:pt x="42" y="232"/>
                </a:lnTo>
                <a:lnTo>
                  <a:pt x="44" y="234"/>
                </a:lnTo>
                <a:lnTo>
                  <a:pt x="42" y="237"/>
                </a:lnTo>
                <a:lnTo>
                  <a:pt x="41" y="240"/>
                </a:lnTo>
                <a:lnTo>
                  <a:pt x="40" y="246"/>
                </a:lnTo>
                <a:lnTo>
                  <a:pt x="41" y="249"/>
                </a:lnTo>
                <a:lnTo>
                  <a:pt x="41" y="252"/>
                </a:lnTo>
                <a:lnTo>
                  <a:pt x="42" y="257"/>
                </a:lnTo>
                <a:lnTo>
                  <a:pt x="41" y="259"/>
                </a:lnTo>
                <a:lnTo>
                  <a:pt x="41" y="260"/>
                </a:lnTo>
                <a:lnTo>
                  <a:pt x="44" y="260"/>
                </a:lnTo>
                <a:lnTo>
                  <a:pt x="48" y="257"/>
                </a:lnTo>
                <a:lnTo>
                  <a:pt x="50" y="252"/>
                </a:lnTo>
                <a:lnTo>
                  <a:pt x="53" y="249"/>
                </a:lnTo>
                <a:lnTo>
                  <a:pt x="60" y="246"/>
                </a:lnTo>
                <a:lnTo>
                  <a:pt x="60" y="245"/>
                </a:lnTo>
                <a:lnTo>
                  <a:pt x="60" y="243"/>
                </a:lnTo>
                <a:lnTo>
                  <a:pt x="62" y="241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98" name="Freeform 1325"/>
          <p:cNvSpPr>
            <a:spLocks/>
          </p:cNvSpPr>
          <p:nvPr/>
        </p:nvSpPr>
        <p:spPr bwMode="auto">
          <a:xfrm>
            <a:off x="8609341" y="3526022"/>
            <a:ext cx="210471" cy="511131"/>
          </a:xfrm>
          <a:custGeom>
            <a:avLst/>
            <a:gdLst/>
            <a:ahLst/>
            <a:cxnLst>
              <a:cxn ang="0">
                <a:pos x="65" y="237"/>
              </a:cxn>
              <a:cxn ang="0">
                <a:pos x="69" y="234"/>
              </a:cxn>
              <a:cxn ang="0">
                <a:pos x="74" y="227"/>
              </a:cxn>
              <a:cxn ang="0">
                <a:pos x="88" y="221"/>
              </a:cxn>
              <a:cxn ang="0">
                <a:pos x="103" y="212"/>
              </a:cxn>
              <a:cxn ang="0">
                <a:pos x="106" y="202"/>
              </a:cxn>
              <a:cxn ang="0">
                <a:pos x="106" y="199"/>
              </a:cxn>
              <a:cxn ang="0">
                <a:pos x="107" y="186"/>
              </a:cxn>
              <a:cxn ang="0">
                <a:pos x="107" y="182"/>
              </a:cxn>
              <a:cxn ang="0">
                <a:pos x="106" y="169"/>
              </a:cxn>
              <a:cxn ang="0">
                <a:pos x="94" y="133"/>
              </a:cxn>
              <a:cxn ang="0">
                <a:pos x="90" y="127"/>
              </a:cxn>
              <a:cxn ang="0">
                <a:pos x="82" y="119"/>
              </a:cxn>
              <a:cxn ang="0">
                <a:pos x="74" y="110"/>
              </a:cxn>
              <a:cxn ang="0">
                <a:pos x="65" y="99"/>
              </a:cxn>
              <a:cxn ang="0">
                <a:pos x="54" y="83"/>
              </a:cxn>
              <a:cxn ang="0">
                <a:pos x="54" y="67"/>
              </a:cxn>
              <a:cxn ang="0">
                <a:pos x="68" y="45"/>
              </a:cxn>
              <a:cxn ang="0">
                <a:pos x="78" y="37"/>
              </a:cxn>
              <a:cxn ang="0">
                <a:pos x="88" y="31"/>
              </a:cxn>
              <a:cxn ang="0">
                <a:pos x="76" y="28"/>
              </a:cxn>
              <a:cxn ang="0">
                <a:pos x="68" y="11"/>
              </a:cxn>
              <a:cxn ang="0">
                <a:pos x="53" y="4"/>
              </a:cxn>
              <a:cxn ang="0">
                <a:pos x="41" y="4"/>
              </a:cxn>
              <a:cxn ang="0">
                <a:pos x="30" y="7"/>
              </a:cxn>
              <a:cxn ang="0">
                <a:pos x="21" y="11"/>
              </a:cxn>
              <a:cxn ang="0">
                <a:pos x="12" y="12"/>
              </a:cxn>
              <a:cxn ang="0">
                <a:pos x="4" y="9"/>
              </a:cxn>
              <a:cxn ang="0">
                <a:pos x="2" y="18"/>
              </a:cxn>
              <a:cxn ang="0">
                <a:pos x="10" y="34"/>
              </a:cxn>
              <a:cxn ang="0">
                <a:pos x="26" y="40"/>
              </a:cxn>
              <a:cxn ang="0">
                <a:pos x="36" y="48"/>
              </a:cxn>
              <a:cxn ang="0">
                <a:pos x="40" y="58"/>
              </a:cxn>
              <a:cxn ang="0">
                <a:pos x="29" y="62"/>
              </a:cxn>
              <a:cxn ang="0">
                <a:pos x="29" y="70"/>
              </a:cxn>
              <a:cxn ang="0">
                <a:pos x="45" y="86"/>
              </a:cxn>
              <a:cxn ang="0">
                <a:pos x="58" y="102"/>
              </a:cxn>
              <a:cxn ang="0">
                <a:pos x="65" y="114"/>
              </a:cxn>
              <a:cxn ang="0">
                <a:pos x="74" y="124"/>
              </a:cxn>
              <a:cxn ang="0">
                <a:pos x="80" y="150"/>
              </a:cxn>
              <a:cxn ang="0">
                <a:pos x="82" y="188"/>
              </a:cxn>
              <a:cxn ang="0">
                <a:pos x="74" y="197"/>
              </a:cxn>
              <a:cxn ang="0">
                <a:pos x="65" y="204"/>
              </a:cxn>
              <a:cxn ang="0">
                <a:pos x="57" y="212"/>
              </a:cxn>
              <a:cxn ang="0">
                <a:pos x="50" y="219"/>
              </a:cxn>
              <a:cxn ang="0">
                <a:pos x="42" y="223"/>
              </a:cxn>
              <a:cxn ang="0">
                <a:pos x="36" y="227"/>
              </a:cxn>
              <a:cxn ang="0">
                <a:pos x="42" y="237"/>
              </a:cxn>
              <a:cxn ang="0">
                <a:pos x="41" y="252"/>
              </a:cxn>
            </a:cxnLst>
            <a:rect l="0" t="0" r="r" b="b"/>
            <a:pathLst>
              <a:path w="109" h="257">
                <a:moveTo>
                  <a:pt x="62" y="241"/>
                </a:moveTo>
                <a:lnTo>
                  <a:pt x="65" y="243"/>
                </a:lnTo>
                <a:lnTo>
                  <a:pt x="66" y="240"/>
                </a:lnTo>
                <a:lnTo>
                  <a:pt x="65" y="237"/>
                </a:lnTo>
                <a:lnTo>
                  <a:pt x="65" y="235"/>
                </a:lnTo>
                <a:lnTo>
                  <a:pt x="68" y="235"/>
                </a:lnTo>
                <a:lnTo>
                  <a:pt x="68" y="234"/>
                </a:lnTo>
                <a:lnTo>
                  <a:pt x="69" y="234"/>
                </a:lnTo>
                <a:lnTo>
                  <a:pt x="68" y="230"/>
                </a:lnTo>
                <a:lnTo>
                  <a:pt x="69" y="230"/>
                </a:lnTo>
                <a:lnTo>
                  <a:pt x="70" y="227"/>
                </a:lnTo>
                <a:lnTo>
                  <a:pt x="74" y="227"/>
                </a:lnTo>
                <a:lnTo>
                  <a:pt x="76" y="227"/>
                </a:lnTo>
                <a:lnTo>
                  <a:pt x="77" y="227"/>
                </a:lnTo>
                <a:lnTo>
                  <a:pt x="84" y="223"/>
                </a:lnTo>
                <a:lnTo>
                  <a:pt x="88" y="221"/>
                </a:lnTo>
                <a:lnTo>
                  <a:pt x="90" y="218"/>
                </a:lnTo>
                <a:lnTo>
                  <a:pt x="98" y="213"/>
                </a:lnTo>
                <a:lnTo>
                  <a:pt x="101" y="212"/>
                </a:lnTo>
                <a:lnTo>
                  <a:pt x="103" y="212"/>
                </a:lnTo>
                <a:lnTo>
                  <a:pt x="103" y="210"/>
                </a:lnTo>
                <a:lnTo>
                  <a:pt x="103" y="207"/>
                </a:lnTo>
                <a:lnTo>
                  <a:pt x="106" y="205"/>
                </a:lnTo>
                <a:lnTo>
                  <a:pt x="106" y="202"/>
                </a:lnTo>
                <a:lnTo>
                  <a:pt x="105" y="202"/>
                </a:lnTo>
                <a:lnTo>
                  <a:pt x="105" y="201"/>
                </a:lnTo>
                <a:lnTo>
                  <a:pt x="106" y="201"/>
                </a:lnTo>
                <a:lnTo>
                  <a:pt x="106" y="199"/>
                </a:lnTo>
                <a:lnTo>
                  <a:pt x="105" y="191"/>
                </a:lnTo>
                <a:lnTo>
                  <a:pt x="106" y="191"/>
                </a:lnTo>
                <a:lnTo>
                  <a:pt x="106" y="188"/>
                </a:lnTo>
                <a:lnTo>
                  <a:pt x="107" y="186"/>
                </a:lnTo>
                <a:lnTo>
                  <a:pt x="109" y="186"/>
                </a:lnTo>
                <a:lnTo>
                  <a:pt x="109" y="188"/>
                </a:lnTo>
                <a:lnTo>
                  <a:pt x="107" y="185"/>
                </a:lnTo>
                <a:lnTo>
                  <a:pt x="107" y="182"/>
                </a:lnTo>
                <a:lnTo>
                  <a:pt x="106" y="180"/>
                </a:lnTo>
                <a:lnTo>
                  <a:pt x="106" y="175"/>
                </a:lnTo>
                <a:lnTo>
                  <a:pt x="106" y="172"/>
                </a:lnTo>
                <a:lnTo>
                  <a:pt x="106" y="169"/>
                </a:lnTo>
                <a:lnTo>
                  <a:pt x="106" y="166"/>
                </a:lnTo>
                <a:lnTo>
                  <a:pt x="105" y="157"/>
                </a:lnTo>
                <a:lnTo>
                  <a:pt x="99" y="139"/>
                </a:lnTo>
                <a:lnTo>
                  <a:pt x="94" y="133"/>
                </a:lnTo>
                <a:lnTo>
                  <a:pt x="93" y="130"/>
                </a:lnTo>
                <a:lnTo>
                  <a:pt x="92" y="125"/>
                </a:lnTo>
                <a:lnTo>
                  <a:pt x="92" y="127"/>
                </a:lnTo>
                <a:lnTo>
                  <a:pt x="90" y="127"/>
                </a:lnTo>
                <a:lnTo>
                  <a:pt x="90" y="125"/>
                </a:lnTo>
                <a:lnTo>
                  <a:pt x="89" y="122"/>
                </a:lnTo>
                <a:lnTo>
                  <a:pt x="84" y="122"/>
                </a:lnTo>
                <a:lnTo>
                  <a:pt x="82" y="119"/>
                </a:lnTo>
                <a:lnTo>
                  <a:pt x="80" y="116"/>
                </a:lnTo>
                <a:lnTo>
                  <a:pt x="77" y="114"/>
                </a:lnTo>
                <a:lnTo>
                  <a:pt x="74" y="111"/>
                </a:lnTo>
                <a:lnTo>
                  <a:pt x="74" y="110"/>
                </a:lnTo>
                <a:lnTo>
                  <a:pt x="73" y="108"/>
                </a:lnTo>
                <a:lnTo>
                  <a:pt x="70" y="105"/>
                </a:lnTo>
                <a:lnTo>
                  <a:pt x="68" y="102"/>
                </a:lnTo>
                <a:lnTo>
                  <a:pt x="65" y="99"/>
                </a:lnTo>
                <a:lnTo>
                  <a:pt x="64" y="95"/>
                </a:lnTo>
                <a:lnTo>
                  <a:pt x="62" y="91"/>
                </a:lnTo>
                <a:lnTo>
                  <a:pt x="60" y="89"/>
                </a:lnTo>
                <a:lnTo>
                  <a:pt x="54" y="83"/>
                </a:lnTo>
                <a:lnTo>
                  <a:pt x="52" y="78"/>
                </a:lnTo>
                <a:lnTo>
                  <a:pt x="53" y="75"/>
                </a:lnTo>
                <a:lnTo>
                  <a:pt x="54" y="72"/>
                </a:lnTo>
                <a:lnTo>
                  <a:pt x="54" y="67"/>
                </a:lnTo>
                <a:lnTo>
                  <a:pt x="57" y="59"/>
                </a:lnTo>
                <a:lnTo>
                  <a:pt x="65" y="51"/>
                </a:lnTo>
                <a:lnTo>
                  <a:pt x="66" y="50"/>
                </a:lnTo>
                <a:lnTo>
                  <a:pt x="68" y="45"/>
                </a:lnTo>
                <a:lnTo>
                  <a:pt x="69" y="44"/>
                </a:lnTo>
                <a:lnTo>
                  <a:pt x="70" y="42"/>
                </a:lnTo>
                <a:lnTo>
                  <a:pt x="76" y="40"/>
                </a:lnTo>
                <a:lnTo>
                  <a:pt x="78" y="37"/>
                </a:lnTo>
                <a:lnTo>
                  <a:pt x="78" y="34"/>
                </a:lnTo>
                <a:lnTo>
                  <a:pt x="84" y="31"/>
                </a:lnTo>
                <a:lnTo>
                  <a:pt x="86" y="33"/>
                </a:lnTo>
                <a:lnTo>
                  <a:pt x="88" y="31"/>
                </a:lnTo>
                <a:lnTo>
                  <a:pt x="85" y="29"/>
                </a:lnTo>
                <a:lnTo>
                  <a:pt x="81" y="29"/>
                </a:lnTo>
                <a:lnTo>
                  <a:pt x="77" y="29"/>
                </a:lnTo>
                <a:lnTo>
                  <a:pt x="76" y="28"/>
                </a:lnTo>
                <a:lnTo>
                  <a:pt x="70" y="23"/>
                </a:lnTo>
                <a:lnTo>
                  <a:pt x="68" y="20"/>
                </a:lnTo>
                <a:lnTo>
                  <a:pt x="66" y="15"/>
                </a:lnTo>
                <a:lnTo>
                  <a:pt x="68" y="11"/>
                </a:lnTo>
                <a:lnTo>
                  <a:pt x="66" y="7"/>
                </a:lnTo>
                <a:lnTo>
                  <a:pt x="61" y="7"/>
                </a:lnTo>
                <a:lnTo>
                  <a:pt x="57" y="6"/>
                </a:lnTo>
                <a:lnTo>
                  <a:pt x="53" y="4"/>
                </a:lnTo>
                <a:lnTo>
                  <a:pt x="50" y="1"/>
                </a:lnTo>
                <a:lnTo>
                  <a:pt x="46" y="0"/>
                </a:lnTo>
                <a:lnTo>
                  <a:pt x="44" y="0"/>
                </a:lnTo>
                <a:lnTo>
                  <a:pt x="41" y="4"/>
                </a:lnTo>
                <a:lnTo>
                  <a:pt x="38" y="6"/>
                </a:lnTo>
                <a:lnTo>
                  <a:pt x="34" y="7"/>
                </a:lnTo>
                <a:lnTo>
                  <a:pt x="33" y="9"/>
                </a:lnTo>
                <a:lnTo>
                  <a:pt x="30" y="7"/>
                </a:lnTo>
                <a:lnTo>
                  <a:pt x="28" y="11"/>
                </a:lnTo>
                <a:lnTo>
                  <a:pt x="25" y="12"/>
                </a:lnTo>
                <a:lnTo>
                  <a:pt x="25" y="9"/>
                </a:lnTo>
                <a:lnTo>
                  <a:pt x="21" y="11"/>
                </a:lnTo>
                <a:lnTo>
                  <a:pt x="20" y="9"/>
                </a:lnTo>
                <a:lnTo>
                  <a:pt x="17" y="9"/>
                </a:lnTo>
                <a:lnTo>
                  <a:pt x="13" y="12"/>
                </a:lnTo>
                <a:lnTo>
                  <a:pt x="12" y="12"/>
                </a:lnTo>
                <a:lnTo>
                  <a:pt x="9" y="11"/>
                </a:lnTo>
                <a:lnTo>
                  <a:pt x="6" y="9"/>
                </a:lnTo>
                <a:lnTo>
                  <a:pt x="5" y="9"/>
                </a:lnTo>
                <a:lnTo>
                  <a:pt x="4" y="9"/>
                </a:lnTo>
                <a:lnTo>
                  <a:pt x="4" y="11"/>
                </a:lnTo>
                <a:lnTo>
                  <a:pt x="1" y="14"/>
                </a:lnTo>
                <a:lnTo>
                  <a:pt x="0" y="14"/>
                </a:lnTo>
                <a:lnTo>
                  <a:pt x="2" y="18"/>
                </a:lnTo>
                <a:lnTo>
                  <a:pt x="8" y="25"/>
                </a:lnTo>
                <a:lnTo>
                  <a:pt x="10" y="26"/>
                </a:lnTo>
                <a:lnTo>
                  <a:pt x="12" y="29"/>
                </a:lnTo>
                <a:lnTo>
                  <a:pt x="10" y="34"/>
                </a:lnTo>
                <a:lnTo>
                  <a:pt x="12" y="36"/>
                </a:lnTo>
                <a:lnTo>
                  <a:pt x="16" y="40"/>
                </a:lnTo>
                <a:lnTo>
                  <a:pt x="21" y="42"/>
                </a:lnTo>
                <a:lnTo>
                  <a:pt x="26" y="40"/>
                </a:lnTo>
                <a:lnTo>
                  <a:pt x="30" y="40"/>
                </a:lnTo>
                <a:lnTo>
                  <a:pt x="33" y="44"/>
                </a:lnTo>
                <a:lnTo>
                  <a:pt x="34" y="47"/>
                </a:lnTo>
                <a:lnTo>
                  <a:pt x="36" y="48"/>
                </a:lnTo>
                <a:lnTo>
                  <a:pt x="37" y="51"/>
                </a:lnTo>
                <a:lnTo>
                  <a:pt x="38" y="53"/>
                </a:lnTo>
                <a:lnTo>
                  <a:pt x="40" y="56"/>
                </a:lnTo>
                <a:lnTo>
                  <a:pt x="40" y="58"/>
                </a:lnTo>
                <a:lnTo>
                  <a:pt x="36" y="62"/>
                </a:lnTo>
                <a:lnTo>
                  <a:pt x="34" y="62"/>
                </a:lnTo>
                <a:lnTo>
                  <a:pt x="30" y="62"/>
                </a:lnTo>
                <a:lnTo>
                  <a:pt x="29" y="62"/>
                </a:lnTo>
                <a:lnTo>
                  <a:pt x="28" y="64"/>
                </a:lnTo>
                <a:lnTo>
                  <a:pt x="26" y="67"/>
                </a:lnTo>
                <a:lnTo>
                  <a:pt x="28" y="69"/>
                </a:lnTo>
                <a:lnTo>
                  <a:pt x="29" y="70"/>
                </a:lnTo>
                <a:lnTo>
                  <a:pt x="32" y="72"/>
                </a:lnTo>
                <a:lnTo>
                  <a:pt x="37" y="75"/>
                </a:lnTo>
                <a:lnTo>
                  <a:pt x="44" y="81"/>
                </a:lnTo>
                <a:lnTo>
                  <a:pt x="45" y="86"/>
                </a:lnTo>
                <a:lnTo>
                  <a:pt x="52" y="92"/>
                </a:lnTo>
                <a:lnTo>
                  <a:pt x="52" y="95"/>
                </a:lnTo>
                <a:lnTo>
                  <a:pt x="57" y="100"/>
                </a:lnTo>
                <a:lnTo>
                  <a:pt x="58" y="102"/>
                </a:lnTo>
                <a:lnTo>
                  <a:pt x="62" y="105"/>
                </a:lnTo>
                <a:lnTo>
                  <a:pt x="65" y="110"/>
                </a:lnTo>
                <a:lnTo>
                  <a:pt x="65" y="113"/>
                </a:lnTo>
                <a:lnTo>
                  <a:pt x="65" y="114"/>
                </a:lnTo>
                <a:lnTo>
                  <a:pt x="66" y="117"/>
                </a:lnTo>
                <a:lnTo>
                  <a:pt x="69" y="117"/>
                </a:lnTo>
                <a:lnTo>
                  <a:pt x="73" y="120"/>
                </a:lnTo>
                <a:lnTo>
                  <a:pt x="74" y="124"/>
                </a:lnTo>
                <a:lnTo>
                  <a:pt x="76" y="130"/>
                </a:lnTo>
                <a:lnTo>
                  <a:pt x="80" y="138"/>
                </a:lnTo>
                <a:lnTo>
                  <a:pt x="80" y="141"/>
                </a:lnTo>
                <a:lnTo>
                  <a:pt x="80" y="150"/>
                </a:lnTo>
                <a:lnTo>
                  <a:pt x="80" y="163"/>
                </a:lnTo>
                <a:lnTo>
                  <a:pt x="80" y="168"/>
                </a:lnTo>
                <a:lnTo>
                  <a:pt x="82" y="172"/>
                </a:lnTo>
                <a:lnTo>
                  <a:pt x="82" y="188"/>
                </a:lnTo>
                <a:lnTo>
                  <a:pt x="81" y="191"/>
                </a:lnTo>
                <a:lnTo>
                  <a:pt x="80" y="194"/>
                </a:lnTo>
                <a:lnTo>
                  <a:pt x="77" y="194"/>
                </a:lnTo>
                <a:lnTo>
                  <a:pt x="74" y="197"/>
                </a:lnTo>
                <a:lnTo>
                  <a:pt x="72" y="197"/>
                </a:lnTo>
                <a:lnTo>
                  <a:pt x="70" y="197"/>
                </a:lnTo>
                <a:lnTo>
                  <a:pt x="65" y="201"/>
                </a:lnTo>
                <a:lnTo>
                  <a:pt x="65" y="204"/>
                </a:lnTo>
                <a:lnTo>
                  <a:pt x="60" y="204"/>
                </a:lnTo>
                <a:lnTo>
                  <a:pt x="57" y="205"/>
                </a:lnTo>
                <a:lnTo>
                  <a:pt x="56" y="210"/>
                </a:lnTo>
                <a:lnTo>
                  <a:pt x="57" y="212"/>
                </a:lnTo>
                <a:lnTo>
                  <a:pt x="57" y="215"/>
                </a:lnTo>
                <a:lnTo>
                  <a:pt x="56" y="216"/>
                </a:lnTo>
                <a:lnTo>
                  <a:pt x="53" y="216"/>
                </a:lnTo>
                <a:lnTo>
                  <a:pt x="50" y="219"/>
                </a:lnTo>
                <a:lnTo>
                  <a:pt x="46" y="221"/>
                </a:lnTo>
                <a:lnTo>
                  <a:pt x="45" y="219"/>
                </a:lnTo>
                <a:lnTo>
                  <a:pt x="44" y="219"/>
                </a:lnTo>
                <a:lnTo>
                  <a:pt x="42" y="223"/>
                </a:lnTo>
                <a:lnTo>
                  <a:pt x="41" y="224"/>
                </a:lnTo>
                <a:lnTo>
                  <a:pt x="40" y="226"/>
                </a:lnTo>
                <a:lnTo>
                  <a:pt x="36" y="226"/>
                </a:lnTo>
                <a:lnTo>
                  <a:pt x="36" y="227"/>
                </a:lnTo>
                <a:lnTo>
                  <a:pt x="37" y="230"/>
                </a:lnTo>
                <a:lnTo>
                  <a:pt x="42" y="232"/>
                </a:lnTo>
                <a:lnTo>
                  <a:pt x="44" y="234"/>
                </a:lnTo>
                <a:lnTo>
                  <a:pt x="42" y="237"/>
                </a:lnTo>
                <a:lnTo>
                  <a:pt x="41" y="240"/>
                </a:lnTo>
                <a:lnTo>
                  <a:pt x="40" y="246"/>
                </a:lnTo>
                <a:lnTo>
                  <a:pt x="41" y="249"/>
                </a:lnTo>
                <a:lnTo>
                  <a:pt x="41" y="252"/>
                </a:lnTo>
                <a:lnTo>
                  <a:pt x="42" y="257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399" name="Freeform 1326"/>
          <p:cNvSpPr>
            <a:spLocks/>
          </p:cNvSpPr>
          <p:nvPr/>
        </p:nvSpPr>
        <p:spPr bwMode="auto">
          <a:xfrm>
            <a:off x="8689241" y="4002790"/>
            <a:ext cx="38977" cy="38657"/>
          </a:xfrm>
          <a:custGeom>
            <a:avLst/>
            <a:gdLst/>
            <a:ahLst/>
            <a:cxnLst>
              <a:cxn ang="0">
                <a:pos x="1" y="16"/>
              </a:cxn>
              <a:cxn ang="0">
                <a:pos x="0" y="18"/>
              </a:cxn>
              <a:cxn ang="0">
                <a:pos x="0" y="19"/>
              </a:cxn>
              <a:cxn ang="0">
                <a:pos x="3" y="19"/>
              </a:cxn>
              <a:cxn ang="0">
                <a:pos x="7" y="16"/>
              </a:cxn>
              <a:cxn ang="0">
                <a:pos x="9" y="11"/>
              </a:cxn>
              <a:cxn ang="0">
                <a:pos x="12" y="8"/>
              </a:cxn>
              <a:cxn ang="0">
                <a:pos x="19" y="5"/>
              </a:cxn>
              <a:cxn ang="0">
                <a:pos x="19" y="4"/>
              </a:cxn>
              <a:cxn ang="0">
                <a:pos x="19" y="2"/>
              </a:cxn>
              <a:cxn ang="0">
                <a:pos x="21" y="0"/>
              </a:cxn>
            </a:cxnLst>
            <a:rect l="0" t="0" r="r" b="b"/>
            <a:pathLst>
              <a:path w="21" h="19">
                <a:moveTo>
                  <a:pt x="1" y="16"/>
                </a:moveTo>
                <a:lnTo>
                  <a:pt x="0" y="18"/>
                </a:lnTo>
                <a:lnTo>
                  <a:pt x="0" y="19"/>
                </a:lnTo>
                <a:lnTo>
                  <a:pt x="3" y="19"/>
                </a:lnTo>
                <a:lnTo>
                  <a:pt x="7" y="16"/>
                </a:lnTo>
                <a:lnTo>
                  <a:pt x="9" y="11"/>
                </a:lnTo>
                <a:lnTo>
                  <a:pt x="12" y="8"/>
                </a:lnTo>
                <a:lnTo>
                  <a:pt x="19" y="5"/>
                </a:lnTo>
                <a:lnTo>
                  <a:pt x="19" y="4"/>
                </a:lnTo>
                <a:lnTo>
                  <a:pt x="19" y="2"/>
                </a:lnTo>
                <a:lnTo>
                  <a:pt x="21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00" name="Freeform 1327"/>
          <p:cNvSpPr>
            <a:spLocks/>
          </p:cNvSpPr>
          <p:nvPr/>
        </p:nvSpPr>
        <p:spPr bwMode="auto">
          <a:xfrm>
            <a:off x="9301169" y="2986973"/>
            <a:ext cx="99391" cy="148184"/>
          </a:xfrm>
          <a:custGeom>
            <a:avLst/>
            <a:gdLst/>
            <a:ahLst/>
            <a:cxnLst>
              <a:cxn ang="0">
                <a:pos x="36" y="1"/>
              </a:cxn>
              <a:cxn ang="0">
                <a:pos x="43" y="11"/>
              </a:cxn>
              <a:cxn ang="0">
                <a:pos x="48" y="19"/>
              </a:cxn>
              <a:cxn ang="0">
                <a:pos x="51" y="28"/>
              </a:cxn>
              <a:cxn ang="0">
                <a:pos x="51" y="44"/>
              </a:cxn>
              <a:cxn ang="0">
                <a:pos x="50" y="52"/>
              </a:cxn>
              <a:cxn ang="0">
                <a:pos x="46" y="60"/>
              </a:cxn>
              <a:cxn ang="0">
                <a:pos x="39" y="60"/>
              </a:cxn>
              <a:cxn ang="0">
                <a:pos x="36" y="61"/>
              </a:cxn>
              <a:cxn ang="0">
                <a:pos x="34" y="66"/>
              </a:cxn>
              <a:cxn ang="0">
                <a:pos x="31" y="64"/>
              </a:cxn>
              <a:cxn ang="0">
                <a:pos x="27" y="63"/>
              </a:cxn>
              <a:cxn ang="0">
                <a:pos x="24" y="66"/>
              </a:cxn>
              <a:cxn ang="0">
                <a:pos x="22" y="69"/>
              </a:cxn>
              <a:cxn ang="0">
                <a:pos x="20" y="66"/>
              </a:cxn>
              <a:cxn ang="0">
                <a:pos x="18" y="71"/>
              </a:cxn>
              <a:cxn ang="0">
                <a:pos x="18" y="69"/>
              </a:cxn>
              <a:cxn ang="0">
                <a:pos x="16" y="67"/>
              </a:cxn>
              <a:cxn ang="0">
                <a:pos x="11" y="72"/>
              </a:cxn>
              <a:cxn ang="0">
                <a:pos x="8" y="72"/>
              </a:cxn>
              <a:cxn ang="0">
                <a:pos x="6" y="72"/>
              </a:cxn>
              <a:cxn ang="0">
                <a:pos x="2" y="75"/>
              </a:cxn>
              <a:cxn ang="0">
                <a:pos x="3" y="71"/>
              </a:cxn>
              <a:cxn ang="0">
                <a:pos x="6" y="69"/>
              </a:cxn>
              <a:cxn ang="0">
                <a:pos x="7" y="66"/>
              </a:cxn>
              <a:cxn ang="0">
                <a:pos x="4" y="66"/>
              </a:cxn>
              <a:cxn ang="0">
                <a:pos x="4" y="61"/>
              </a:cxn>
              <a:cxn ang="0">
                <a:pos x="6" y="55"/>
              </a:cxn>
              <a:cxn ang="0">
                <a:pos x="7" y="52"/>
              </a:cxn>
              <a:cxn ang="0">
                <a:pos x="10" y="47"/>
              </a:cxn>
              <a:cxn ang="0">
                <a:pos x="8" y="44"/>
              </a:cxn>
              <a:cxn ang="0">
                <a:pos x="7" y="39"/>
              </a:cxn>
              <a:cxn ang="0">
                <a:pos x="6" y="33"/>
              </a:cxn>
              <a:cxn ang="0">
                <a:pos x="4" y="36"/>
              </a:cxn>
              <a:cxn ang="0">
                <a:pos x="2" y="34"/>
              </a:cxn>
              <a:cxn ang="0">
                <a:pos x="0" y="31"/>
              </a:cxn>
              <a:cxn ang="0">
                <a:pos x="4" y="30"/>
              </a:cxn>
              <a:cxn ang="0">
                <a:pos x="11" y="30"/>
              </a:cxn>
              <a:cxn ang="0">
                <a:pos x="11" y="28"/>
              </a:cxn>
              <a:cxn ang="0">
                <a:pos x="10" y="23"/>
              </a:cxn>
              <a:cxn ang="0">
                <a:pos x="11" y="22"/>
              </a:cxn>
              <a:cxn ang="0">
                <a:pos x="7" y="19"/>
              </a:cxn>
              <a:cxn ang="0">
                <a:pos x="6" y="14"/>
              </a:cxn>
              <a:cxn ang="0">
                <a:pos x="10" y="11"/>
              </a:cxn>
              <a:cxn ang="0">
                <a:pos x="22" y="5"/>
              </a:cxn>
              <a:cxn ang="0">
                <a:pos x="30" y="5"/>
              </a:cxn>
            </a:cxnLst>
            <a:rect l="0" t="0" r="r" b="b"/>
            <a:pathLst>
              <a:path w="52" h="75">
                <a:moveTo>
                  <a:pt x="35" y="0"/>
                </a:moveTo>
                <a:lnTo>
                  <a:pt x="36" y="1"/>
                </a:lnTo>
                <a:lnTo>
                  <a:pt x="40" y="9"/>
                </a:lnTo>
                <a:lnTo>
                  <a:pt x="43" y="11"/>
                </a:lnTo>
                <a:lnTo>
                  <a:pt x="46" y="14"/>
                </a:lnTo>
                <a:lnTo>
                  <a:pt x="48" y="19"/>
                </a:lnTo>
                <a:lnTo>
                  <a:pt x="50" y="23"/>
                </a:lnTo>
                <a:lnTo>
                  <a:pt x="51" y="28"/>
                </a:lnTo>
                <a:lnTo>
                  <a:pt x="50" y="39"/>
                </a:lnTo>
                <a:lnTo>
                  <a:pt x="51" y="44"/>
                </a:lnTo>
                <a:lnTo>
                  <a:pt x="52" y="44"/>
                </a:lnTo>
                <a:lnTo>
                  <a:pt x="50" y="52"/>
                </a:lnTo>
                <a:lnTo>
                  <a:pt x="48" y="56"/>
                </a:lnTo>
                <a:lnTo>
                  <a:pt x="46" y="60"/>
                </a:lnTo>
                <a:lnTo>
                  <a:pt x="43" y="60"/>
                </a:lnTo>
                <a:lnTo>
                  <a:pt x="39" y="60"/>
                </a:lnTo>
                <a:lnTo>
                  <a:pt x="38" y="60"/>
                </a:lnTo>
                <a:lnTo>
                  <a:pt x="36" y="61"/>
                </a:lnTo>
                <a:lnTo>
                  <a:pt x="35" y="63"/>
                </a:lnTo>
                <a:lnTo>
                  <a:pt x="34" y="66"/>
                </a:lnTo>
                <a:lnTo>
                  <a:pt x="32" y="64"/>
                </a:lnTo>
                <a:lnTo>
                  <a:pt x="31" y="64"/>
                </a:lnTo>
                <a:lnTo>
                  <a:pt x="28" y="63"/>
                </a:lnTo>
                <a:lnTo>
                  <a:pt x="27" y="63"/>
                </a:lnTo>
                <a:lnTo>
                  <a:pt x="23" y="64"/>
                </a:lnTo>
                <a:lnTo>
                  <a:pt x="24" y="66"/>
                </a:lnTo>
                <a:lnTo>
                  <a:pt x="23" y="67"/>
                </a:lnTo>
                <a:lnTo>
                  <a:pt x="22" y="69"/>
                </a:lnTo>
                <a:lnTo>
                  <a:pt x="22" y="66"/>
                </a:lnTo>
                <a:lnTo>
                  <a:pt x="20" y="66"/>
                </a:lnTo>
                <a:lnTo>
                  <a:pt x="20" y="71"/>
                </a:lnTo>
                <a:lnTo>
                  <a:pt x="18" y="71"/>
                </a:lnTo>
                <a:lnTo>
                  <a:pt x="16" y="71"/>
                </a:lnTo>
                <a:lnTo>
                  <a:pt x="18" y="69"/>
                </a:lnTo>
                <a:lnTo>
                  <a:pt x="18" y="67"/>
                </a:lnTo>
                <a:lnTo>
                  <a:pt x="16" y="67"/>
                </a:lnTo>
                <a:lnTo>
                  <a:pt x="14" y="69"/>
                </a:lnTo>
                <a:lnTo>
                  <a:pt x="11" y="72"/>
                </a:lnTo>
                <a:lnTo>
                  <a:pt x="10" y="71"/>
                </a:lnTo>
                <a:lnTo>
                  <a:pt x="8" y="72"/>
                </a:lnTo>
                <a:lnTo>
                  <a:pt x="6" y="74"/>
                </a:lnTo>
                <a:lnTo>
                  <a:pt x="6" y="72"/>
                </a:lnTo>
                <a:lnTo>
                  <a:pt x="3" y="72"/>
                </a:lnTo>
                <a:lnTo>
                  <a:pt x="2" y="75"/>
                </a:lnTo>
                <a:lnTo>
                  <a:pt x="2" y="74"/>
                </a:lnTo>
                <a:lnTo>
                  <a:pt x="3" y="71"/>
                </a:lnTo>
                <a:lnTo>
                  <a:pt x="3" y="69"/>
                </a:lnTo>
                <a:lnTo>
                  <a:pt x="6" y="69"/>
                </a:lnTo>
                <a:lnTo>
                  <a:pt x="6" y="67"/>
                </a:lnTo>
                <a:lnTo>
                  <a:pt x="7" y="66"/>
                </a:lnTo>
                <a:lnTo>
                  <a:pt x="6" y="64"/>
                </a:lnTo>
                <a:lnTo>
                  <a:pt x="4" y="66"/>
                </a:lnTo>
                <a:lnTo>
                  <a:pt x="3" y="64"/>
                </a:lnTo>
                <a:lnTo>
                  <a:pt x="4" y="61"/>
                </a:lnTo>
                <a:lnTo>
                  <a:pt x="4" y="58"/>
                </a:lnTo>
                <a:lnTo>
                  <a:pt x="6" y="55"/>
                </a:lnTo>
                <a:lnTo>
                  <a:pt x="7" y="53"/>
                </a:lnTo>
                <a:lnTo>
                  <a:pt x="7" y="52"/>
                </a:lnTo>
                <a:lnTo>
                  <a:pt x="8" y="50"/>
                </a:lnTo>
                <a:lnTo>
                  <a:pt x="10" y="47"/>
                </a:lnTo>
                <a:lnTo>
                  <a:pt x="8" y="45"/>
                </a:lnTo>
                <a:lnTo>
                  <a:pt x="8" y="44"/>
                </a:lnTo>
                <a:lnTo>
                  <a:pt x="7" y="42"/>
                </a:lnTo>
                <a:lnTo>
                  <a:pt x="7" y="39"/>
                </a:lnTo>
                <a:lnTo>
                  <a:pt x="6" y="36"/>
                </a:lnTo>
                <a:lnTo>
                  <a:pt x="6" y="33"/>
                </a:lnTo>
                <a:lnTo>
                  <a:pt x="3" y="33"/>
                </a:lnTo>
                <a:lnTo>
                  <a:pt x="4" y="36"/>
                </a:lnTo>
                <a:lnTo>
                  <a:pt x="3" y="36"/>
                </a:lnTo>
                <a:lnTo>
                  <a:pt x="2" y="34"/>
                </a:lnTo>
                <a:lnTo>
                  <a:pt x="0" y="34"/>
                </a:lnTo>
                <a:lnTo>
                  <a:pt x="0" y="31"/>
                </a:lnTo>
                <a:lnTo>
                  <a:pt x="2" y="30"/>
                </a:lnTo>
                <a:lnTo>
                  <a:pt x="4" y="30"/>
                </a:lnTo>
                <a:lnTo>
                  <a:pt x="8" y="28"/>
                </a:lnTo>
                <a:lnTo>
                  <a:pt x="11" y="30"/>
                </a:lnTo>
                <a:lnTo>
                  <a:pt x="12" y="30"/>
                </a:lnTo>
                <a:lnTo>
                  <a:pt x="11" y="28"/>
                </a:lnTo>
                <a:lnTo>
                  <a:pt x="11" y="25"/>
                </a:lnTo>
                <a:lnTo>
                  <a:pt x="10" y="23"/>
                </a:lnTo>
                <a:lnTo>
                  <a:pt x="10" y="22"/>
                </a:lnTo>
                <a:lnTo>
                  <a:pt x="11" y="22"/>
                </a:lnTo>
                <a:lnTo>
                  <a:pt x="8" y="20"/>
                </a:lnTo>
                <a:lnTo>
                  <a:pt x="7" y="19"/>
                </a:lnTo>
                <a:lnTo>
                  <a:pt x="6" y="16"/>
                </a:lnTo>
                <a:lnTo>
                  <a:pt x="6" y="14"/>
                </a:lnTo>
                <a:lnTo>
                  <a:pt x="7" y="14"/>
                </a:lnTo>
                <a:lnTo>
                  <a:pt x="10" y="11"/>
                </a:lnTo>
                <a:lnTo>
                  <a:pt x="16" y="6"/>
                </a:lnTo>
                <a:lnTo>
                  <a:pt x="22" y="5"/>
                </a:lnTo>
                <a:lnTo>
                  <a:pt x="26" y="5"/>
                </a:lnTo>
                <a:lnTo>
                  <a:pt x="30" y="5"/>
                </a:lnTo>
                <a:lnTo>
                  <a:pt x="35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01" name="Freeform 1328"/>
          <p:cNvSpPr>
            <a:spLocks/>
          </p:cNvSpPr>
          <p:nvPr/>
        </p:nvSpPr>
        <p:spPr bwMode="auto">
          <a:xfrm>
            <a:off x="9301169" y="2986973"/>
            <a:ext cx="99391" cy="148184"/>
          </a:xfrm>
          <a:custGeom>
            <a:avLst/>
            <a:gdLst/>
            <a:ahLst/>
            <a:cxnLst>
              <a:cxn ang="0">
                <a:pos x="36" y="1"/>
              </a:cxn>
              <a:cxn ang="0">
                <a:pos x="43" y="11"/>
              </a:cxn>
              <a:cxn ang="0">
                <a:pos x="48" y="19"/>
              </a:cxn>
              <a:cxn ang="0">
                <a:pos x="51" y="28"/>
              </a:cxn>
              <a:cxn ang="0">
                <a:pos x="51" y="44"/>
              </a:cxn>
              <a:cxn ang="0">
                <a:pos x="50" y="52"/>
              </a:cxn>
              <a:cxn ang="0">
                <a:pos x="46" y="60"/>
              </a:cxn>
              <a:cxn ang="0">
                <a:pos x="39" y="60"/>
              </a:cxn>
              <a:cxn ang="0">
                <a:pos x="36" y="61"/>
              </a:cxn>
              <a:cxn ang="0">
                <a:pos x="34" y="66"/>
              </a:cxn>
              <a:cxn ang="0">
                <a:pos x="31" y="64"/>
              </a:cxn>
              <a:cxn ang="0">
                <a:pos x="27" y="63"/>
              </a:cxn>
              <a:cxn ang="0">
                <a:pos x="24" y="66"/>
              </a:cxn>
              <a:cxn ang="0">
                <a:pos x="22" y="69"/>
              </a:cxn>
              <a:cxn ang="0">
                <a:pos x="20" y="66"/>
              </a:cxn>
              <a:cxn ang="0">
                <a:pos x="18" y="71"/>
              </a:cxn>
              <a:cxn ang="0">
                <a:pos x="18" y="69"/>
              </a:cxn>
              <a:cxn ang="0">
                <a:pos x="16" y="67"/>
              </a:cxn>
              <a:cxn ang="0">
                <a:pos x="11" y="72"/>
              </a:cxn>
              <a:cxn ang="0">
                <a:pos x="8" y="72"/>
              </a:cxn>
              <a:cxn ang="0">
                <a:pos x="6" y="72"/>
              </a:cxn>
              <a:cxn ang="0">
                <a:pos x="2" y="75"/>
              </a:cxn>
              <a:cxn ang="0">
                <a:pos x="3" y="71"/>
              </a:cxn>
              <a:cxn ang="0">
                <a:pos x="6" y="69"/>
              </a:cxn>
              <a:cxn ang="0">
                <a:pos x="7" y="66"/>
              </a:cxn>
              <a:cxn ang="0">
                <a:pos x="4" y="66"/>
              </a:cxn>
              <a:cxn ang="0">
                <a:pos x="4" y="61"/>
              </a:cxn>
              <a:cxn ang="0">
                <a:pos x="6" y="55"/>
              </a:cxn>
              <a:cxn ang="0">
                <a:pos x="7" y="52"/>
              </a:cxn>
              <a:cxn ang="0">
                <a:pos x="10" y="47"/>
              </a:cxn>
              <a:cxn ang="0">
                <a:pos x="8" y="44"/>
              </a:cxn>
              <a:cxn ang="0">
                <a:pos x="7" y="39"/>
              </a:cxn>
              <a:cxn ang="0">
                <a:pos x="6" y="33"/>
              </a:cxn>
              <a:cxn ang="0">
                <a:pos x="4" y="36"/>
              </a:cxn>
              <a:cxn ang="0">
                <a:pos x="2" y="34"/>
              </a:cxn>
              <a:cxn ang="0">
                <a:pos x="0" y="31"/>
              </a:cxn>
              <a:cxn ang="0">
                <a:pos x="4" y="30"/>
              </a:cxn>
              <a:cxn ang="0">
                <a:pos x="11" y="30"/>
              </a:cxn>
              <a:cxn ang="0">
                <a:pos x="11" y="28"/>
              </a:cxn>
              <a:cxn ang="0">
                <a:pos x="10" y="23"/>
              </a:cxn>
              <a:cxn ang="0">
                <a:pos x="11" y="22"/>
              </a:cxn>
              <a:cxn ang="0">
                <a:pos x="7" y="19"/>
              </a:cxn>
              <a:cxn ang="0">
                <a:pos x="6" y="14"/>
              </a:cxn>
              <a:cxn ang="0">
                <a:pos x="10" y="11"/>
              </a:cxn>
              <a:cxn ang="0">
                <a:pos x="22" y="5"/>
              </a:cxn>
              <a:cxn ang="0">
                <a:pos x="30" y="5"/>
              </a:cxn>
            </a:cxnLst>
            <a:rect l="0" t="0" r="r" b="b"/>
            <a:pathLst>
              <a:path w="52" h="75">
                <a:moveTo>
                  <a:pt x="35" y="0"/>
                </a:moveTo>
                <a:lnTo>
                  <a:pt x="36" y="1"/>
                </a:lnTo>
                <a:lnTo>
                  <a:pt x="40" y="9"/>
                </a:lnTo>
                <a:lnTo>
                  <a:pt x="43" y="11"/>
                </a:lnTo>
                <a:lnTo>
                  <a:pt x="46" y="14"/>
                </a:lnTo>
                <a:lnTo>
                  <a:pt x="48" y="19"/>
                </a:lnTo>
                <a:lnTo>
                  <a:pt x="50" y="23"/>
                </a:lnTo>
                <a:lnTo>
                  <a:pt x="51" y="28"/>
                </a:lnTo>
                <a:lnTo>
                  <a:pt x="50" y="39"/>
                </a:lnTo>
                <a:lnTo>
                  <a:pt x="51" y="44"/>
                </a:lnTo>
                <a:lnTo>
                  <a:pt x="52" y="44"/>
                </a:lnTo>
                <a:lnTo>
                  <a:pt x="50" y="52"/>
                </a:lnTo>
                <a:lnTo>
                  <a:pt x="48" y="56"/>
                </a:lnTo>
                <a:lnTo>
                  <a:pt x="46" y="60"/>
                </a:lnTo>
                <a:lnTo>
                  <a:pt x="43" y="60"/>
                </a:lnTo>
                <a:lnTo>
                  <a:pt x="39" y="60"/>
                </a:lnTo>
                <a:lnTo>
                  <a:pt x="38" y="60"/>
                </a:lnTo>
                <a:lnTo>
                  <a:pt x="36" y="61"/>
                </a:lnTo>
                <a:lnTo>
                  <a:pt x="35" y="63"/>
                </a:lnTo>
                <a:lnTo>
                  <a:pt x="34" y="66"/>
                </a:lnTo>
                <a:lnTo>
                  <a:pt x="32" y="64"/>
                </a:lnTo>
                <a:lnTo>
                  <a:pt x="31" y="64"/>
                </a:lnTo>
                <a:lnTo>
                  <a:pt x="28" y="63"/>
                </a:lnTo>
                <a:lnTo>
                  <a:pt x="27" y="63"/>
                </a:lnTo>
                <a:lnTo>
                  <a:pt x="23" y="64"/>
                </a:lnTo>
                <a:lnTo>
                  <a:pt x="24" y="66"/>
                </a:lnTo>
                <a:lnTo>
                  <a:pt x="23" y="67"/>
                </a:lnTo>
                <a:lnTo>
                  <a:pt x="22" y="69"/>
                </a:lnTo>
                <a:lnTo>
                  <a:pt x="22" y="66"/>
                </a:lnTo>
                <a:lnTo>
                  <a:pt x="20" y="66"/>
                </a:lnTo>
                <a:lnTo>
                  <a:pt x="20" y="71"/>
                </a:lnTo>
                <a:lnTo>
                  <a:pt x="18" y="71"/>
                </a:lnTo>
                <a:lnTo>
                  <a:pt x="16" y="71"/>
                </a:lnTo>
                <a:lnTo>
                  <a:pt x="18" y="69"/>
                </a:lnTo>
                <a:lnTo>
                  <a:pt x="18" y="67"/>
                </a:lnTo>
                <a:lnTo>
                  <a:pt x="16" y="67"/>
                </a:lnTo>
                <a:lnTo>
                  <a:pt x="14" y="69"/>
                </a:lnTo>
                <a:lnTo>
                  <a:pt x="11" y="72"/>
                </a:lnTo>
                <a:lnTo>
                  <a:pt x="10" y="71"/>
                </a:lnTo>
                <a:lnTo>
                  <a:pt x="8" y="72"/>
                </a:lnTo>
                <a:lnTo>
                  <a:pt x="6" y="74"/>
                </a:lnTo>
                <a:lnTo>
                  <a:pt x="6" y="72"/>
                </a:lnTo>
                <a:lnTo>
                  <a:pt x="3" y="72"/>
                </a:lnTo>
                <a:lnTo>
                  <a:pt x="2" y="75"/>
                </a:lnTo>
                <a:lnTo>
                  <a:pt x="2" y="74"/>
                </a:lnTo>
                <a:lnTo>
                  <a:pt x="3" y="71"/>
                </a:lnTo>
                <a:lnTo>
                  <a:pt x="3" y="69"/>
                </a:lnTo>
                <a:lnTo>
                  <a:pt x="6" y="69"/>
                </a:lnTo>
                <a:lnTo>
                  <a:pt x="6" y="67"/>
                </a:lnTo>
                <a:lnTo>
                  <a:pt x="7" y="66"/>
                </a:lnTo>
                <a:lnTo>
                  <a:pt x="6" y="64"/>
                </a:lnTo>
                <a:lnTo>
                  <a:pt x="4" y="66"/>
                </a:lnTo>
                <a:lnTo>
                  <a:pt x="3" y="64"/>
                </a:lnTo>
                <a:lnTo>
                  <a:pt x="4" y="61"/>
                </a:lnTo>
                <a:lnTo>
                  <a:pt x="4" y="58"/>
                </a:lnTo>
                <a:lnTo>
                  <a:pt x="6" y="55"/>
                </a:lnTo>
                <a:lnTo>
                  <a:pt x="7" y="53"/>
                </a:lnTo>
                <a:lnTo>
                  <a:pt x="7" y="52"/>
                </a:lnTo>
                <a:lnTo>
                  <a:pt x="8" y="50"/>
                </a:lnTo>
                <a:lnTo>
                  <a:pt x="10" y="47"/>
                </a:lnTo>
                <a:lnTo>
                  <a:pt x="8" y="45"/>
                </a:lnTo>
                <a:lnTo>
                  <a:pt x="8" y="44"/>
                </a:lnTo>
                <a:lnTo>
                  <a:pt x="7" y="42"/>
                </a:lnTo>
                <a:lnTo>
                  <a:pt x="7" y="39"/>
                </a:lnTo>
                <a:lnTo>
                  <a:pt x="6" y="36"/>
                </a:lnTo>
                <a:lnTo>
                  <a:pt x="6" y="33"/>
                </a:lnTo>
                <a:lnTo>
                  <a:pt x="3" y="33"/>
                </a:lnTo>
                <a:lnTo>
                  <a:pt x="4" y="36"/>
                </a:lnTo>
                <a:lnTo>
                  <a:pt x="3" y="36"/>
                </a:lnTo>
                <a:lnTo>
                  <a:pt x="2" y="34"/>
                </a:lnTo>
                <a:lnTo>
                  <a:pt x="0" y="34"/>
                </a:lnTo>
                <a:lnTo>
                  <a:pt x="0" y="31"/>
                </a:lnTo>
                <a:lnTo>
                  <a:pt x="2" y="30"/>
                </a:lnTo>
                <a:lnTo>
                  <a:pt x="4" y="30"/>
                </a:lnTo>
                <a:lnTo>
                  <a:pt x="8" y="28"/>
                </a:lnTo>
                <a:lnTo>
                  <a:pt x="11" y="30"/>
                </a:lnTo>
                <a:lnTo>
                  <a:pt x="12" y="30"/>
                </a:lnTo>
                <a:lnTo>
                  <a:pt x="11" y="28"/>
                </a:lnTo>
                <a:lnTo>
                  <a:pt x="11" y="25"/>
                </a:lnTo>
                <a:lnTo>
                  <a:pt x="10" y="23"/>
                </a:lnTo>
                <a:lnTo>
                  <a:pt x="10" y="22"/>
                </a:lnTo>
                <a:lnTo>
                  <a:pt x="11" y="22"/>
                </a:lnTo>
                <a:lnTo>
                  <a:pt x="8" y="20"/>
                </a:lnTo>
                <a:lnTo>
                  <a:pt x="7" y="19"/>
                </a:lnTo>
                <a:lnTo>
                  <a:pt x="6" y="16"/>
                </a:lnTo>
                <a:lnTo>
                  <a:pt x="6" y="14"/>
                </a:lnTo>
                <a:lnTo>
                  <a:pt x="7" y="14"/>
                </a:lnTo>
                <a:lnTo>
                  <a:pt x="10" y="11"/>
                </a:lnTo>
                <a:lnTo>
                  <a:pt x="16" y="6"/>
                </a:lnTo>
                <a:lnTo>
                  <a:pt x="22" y="5"/>
                </a:lnTo>
                <a:lnTo>
                  <a:pt x="26" y="5"/>
                </a:lnTo>
                <a:lnTo>
                  <a:pt x="30" y="5"/>
                </a:lnTo>
                <a:lnTo>
                  <a:pt x="35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02" name="Freeform 1329"/>
          <p:cNvSpPr>
            <a:spLocks/>
          </p:cNvSpPr>
          <p:nvPr/>
        </p:nvSpPr>
        <p:spPr bwMode="auto">
          <a:xfrm>
            <a:off x="8821760" y="4099434"/>
            <a:ext cx="282579" cy="212612"/>
          </a:xfrm>
          <a:custGeom>
            <a:avLst/>
            <a:gdLst/>
            <a:ahLst/>
            <a:cxnLst>
              <a:cxn ang="0">
                <a:pos x="70" y="43"/>
              </a:cxn>
              <a:cxn ang="0">
                <a:pos x="75" y="50"/>
              </a:cxn>
              <a:cxn ang="0">
                <a:pos x="78" y="51"/>
              </a:cxn>
              <a:cxn ang="0">
                <a:pos x="80" y="39"/>
              </a:cxn>
              <a:cxn ang="0">
                <a:pos x="83" y="40"/>
              </a:cxn>
              <a:cxn ang="0">
                <a:pos x="87" y="45"/>
              </a:cxn>
              <a:cxn ang="0">
                <a:pos x="88" y="42"/>
              </a:cxn>
              <a:cxn ang="0">
                <a:pos x="86" y="36"/>
              </a:cxn>
              <a:cxn ang="0">
                <a:pos x="91" y="31"/>
              </a:cxn>
              <a:cxn ang="0">
                <a:pos x="90" y="26"/>
              </a:cxn>
              <a:cxn ang="0">
                <a:pos x="98" y="22"/>
              </a:cxn>
              <a:cxn ang="0">
                <a:pos x="105" y="6"/>
              </a:cxn>
              <a:cxn ang="0">
                <a:pos x="108" y="0"/>
              </a:cxn>
              <a:cxn ang="0">
                <a:pos x="109" y="4"/>
              </a:cxn>
              <a:cxn ang="0">
                <a:pos x="112" y="3"/>
              </a:cxn>
              <a:cxn ang="0">
                <a:pos x="116" y="1"/>
              </a:cxn>
              <a:cxn ang="0">
                <a:pos x="120" y="6"/>
              </a:cxn>
              <a:cxn ang="0">
                <a:pos x="123" y="14"/>
              </a:cxn>
              <a:cxn ang="0">
                <a:pos x="125" y="18"/>
              </a:cxn>
              <a:cxn ang="0">
                <a:pos x="129" y="18"/>
              </a:cxn>
              <a:cxn ang="0">
                <a:pos x="129" y="23"/>
              </a:cxn>
              <a:cxn ang="0">
                <a:pos x="135" y="23"/>
              </a:cxn>
              <a:cxn ang="0">
                <a:pos x="147" y="29"/>
              </a:cxn>
              <a:cxn ang="0">
                <a:pos x="143" y="34"/>
              </a:cxn>
              <a:cxn ang="0">
                <a:pos x="136" y="37"/>
              </a:cxn>
              <a:cxn ang="0">
                <a:pos x="131" y="39"/>
              </a:cxn>
              <a:cxn ang="0">
                <a:pos x="135" y="43"/>
              </a:cxn>
              <a:cxn ang="0">
                <a:pos x="128" y="48"/>
              </a:cxn>
              <a:cxn ang="0">
                <a:pos x="123" y="47"/>
              </a:cxn>
              <a:cxn ang="0">
                <a:pos x="120" y="50"/>
              </a:cxn>
              <a:cxn ang="0">
                <a:pos x="100" y="45"/>
              </a:cxn>
              <a:cxn ang="0">
                <a:pos x="92" y="54"/>
              </a:cxn>
              <a:cxn ang="0">
                <a:pos x="83" y="75"/>
              </a:cxn>
              <a:cxn ang="0">
                <a:pos x="76" y="94"/>
              </a:cxn>
              <a:cxn ang="0">
                <a:pos x="70" y="98"/>
              </a:cxn>
              <a:cxn ang="0">
                <a:pos x="62" y="102"/>
              </a:cxn>
              <a:cxn ang="0">
                <a:pos x="51" y="100"/>
              </a:cxn>
              <a:cxn ang="0">
                <a:pos x="42" y="97"/>
              </a:cxn>
              <a:cxn ang="0">
                <a:pos x="35" y="105"/>
              </a:cxn>
              <a:cxn ang="0">
                <a:pos x="27" y="106"/>
              </a:cxn>
              <a:cxn ang="0">
                <a:pos x="19" y="106"/>
              </a:cxn>
              <a:cxn ang="0">
                <a:pos x="8" y="102"/>
              </a:cxn>
              <a:cxn ang="0">
                <a:pos x="2" y="87"/>
              </a:cxn>
              <a:cxn ang="0">
                <a:pos x="3" y="89"/>
              </a:cxn>
              <a:cxn ang="0">
                <a:pos x="10" y="92"/>
              </a:cxn>
              <a:cxn ang="0">
                <a:pos x="16" y="94"/>
              </a:cxn>
              <a:cxn ang="0">
                <a:pos x="24" y="92"/>
              </a:cxn>
              <a:cxn ang="0">
                <a:pos x="27" y="86"/>
              </a:cxn>
              <a:cxn ang="0">
                <a:pos x="28" y="81"/>
              </a:cxn>
              <a:cxn ang="0">
                <a:pos x="30" y="76"/>
              </a:cxn>
              <a:cxn ang="0">
                <a:pos x="38" y="72"/>
              </a:cxn>
              <a:cxn ang="0">
                <a:pos x="40" y="70"/>
              </a:cxn>
              <a:cxn ang="0">
                <a:pos x="48" y="70"/>
              </a:cxn>
              <a:cxn ang="0">
                <a:pos x="58" y="59"/>
              </a:cxn>
              <a:cxn ang="0">
                <a:pos x="64" y="50"/>
              </a:cxn>
            </a:cxnLst>
            <a:rect l="0" t="0" r="r" b="b"/>
            <a:pathLst>
              <a:path w="147" h="108">
                <a:moveTo>
                  <a:pt x="67" y="42"/>
                </a:moveTo>
                <a:lnTo>
                  <a:pt x="68" y="42"/>
                </a:lnTo>
                <a:lnTo>
                  <a:pt x="70" y="43"/>
                </a:lnTo>
                <a:lnTo>
                  <a:pt x="72" y="47"/>
                </a:lnTo>
                <a:lnTo>
                  <a:pt x="74" y="48"/>
                </a:lnTo>
                <a:lnTo>
                  <a:pt x="75" y="50"/>
                </a:lnTo>
                <a:lnTo>
                  <a:pt x="75" y="51"/>
                </a:lnTo>
                <a:lnTo>
                  <a:pt x="76" y="51"/>
                </a:lnTo>
                <a:lnTo>
                  <a:pt x="78" y="51"/>
                </a:lnTo>
                <a:lnTo>
                  <a:pt x="79" y="48"/>
                </a:lnTo>
                <a:lnTo>
                  <a:pt x="79" y="40"/>
                </a:lnTo>
                <a:lnTo>
                  <a:pt x="80" y="39"/>
                </a:lnTo>
                <a:lnTo>
                  <a:pt x="82" y="39"/>
                </a:lnTo>
                <a:lnTo>
                  <a:pt x="83" y="39"/>
                </a:lnTo>
                <a:lnTo>
                  <a:pt x="83" y="40"/>
                </a:lnTo>
                <a:lnTo>
                  <a:pt x="84" y="42"/>
                </a:lnTo>
                <a:lnTo>
                  <a:pt x="86" y="45"/>
                </a:lnTo>
                <a:lnTo>
                  <a:pt x="87" y="45"/>
                </a:lnTo>
                <a:lnTo>
                  <a:pt x="88" y="45"/>
                </a:lnTo>
                <a:lnTo>
                  <a:pt x="88" y="43"/>
                </a:lnTo>
                <a:lnTo>
                  <a:pt x="88" y="42"/>
                </a:lnTo>
                <a:lnTo>
                  <a:pt x="88" y="40"/>
                </a:lnTo>
                <a:lnTo>
                  <a:pt x="87" y="37"/>
                </a:lnTo>
                <a:lnTo>
                  <a:pt x="86" y="36"/>
                </a:lnTo>
                <a:lnTo>
                  <a:pt x="88" y="36"/>
                </a:lnTo>
                <a:lnTo>
                  <a:pt x="90" y="34"/>
                </a:lnTo>
                <a:lnTo>
                  <a:pt x="91" y="31"/>
                </a:lnTo>
                <a:lnTo>
                  <a:pt x="90" y="31"/>
                </a:lnTo>
                <a:lnTo>
                  <a:pt x="88" y="28"/>
                </a:lnTo>
                <a:lnTo>
                  <a:pt x="90" y="26"/>
                </a:lnTo>
                <a:lnTo>
                  <a:pt x="91" y="26"/>
                </a:lnTo>
                <a:lnTo>
                  <a:pt x="94" y="26"/>
                </a:lnTo>
                <a:lnTo>
                  <a:pt x="98" y="22"/>
                </a:lnTo>
                <a:lnTo>
                  <a:pt x="99" y="17"/>
                </a:lnTo>
                <a:lnTo>
                  <a:pt x="99" y="15"/>
                </a:lnTo>
                <a:lnTo>
                  <a:pt x="105" y="6"/>
                </a:lnTo>
                <a:lnTo>
                  <a:pt x="107" y="4"/>
                </a:lnTo>
                <a:lnTo>
                  <a:pt x="107" y="3"/>
                </a:lnTo>
                <a:lnTo>
                  <a:pt x="108" y="0"/>
                </a:lnTo>
                <a:lnTo>
                  <a:pt x="109" y="0"/>
                </a:lnTo>
                <a:lnTo>
                  <a:pt x="109" y="1"/>
                </a:lnTo>
                <a:lnTo>
                  <a:pt x="109" y="4"/>
                </a:lnTo>
                <a:lnTo>
                  <a:pt x="109" y="6"/>
                </a:lnTo>
                <a:lnTo>
                  <a:pt x="109" y="7"/>
                </a:lnTo>
                <a:lnTo>
                  <a:pt x="112" y="3"/>
                </a:lnTo>
                <a:lnTo>
                  <a:pt x="113" y="1"/>
                </a:lnTo>
                <a:lnTo>
                  <a:pt x="115" y="1"/>
                </a:lnTo>
                <a:lnTo>
                  <a:pt x="116" y="1"/>
                </a:lnTo>
                <a:lnTo>
                  <a:pt x="117" y="6"/>
                </a:lnTo>
                <a:lnTo>
                  <a:pt x="119" y="7"/>
                </a:lnTo>
                <a:lnTo>
                  <a:pt x="120" y="6"/>
                </a:lnTo>
                <a:lnTo>
                  <a:pt x="123" y="9"/>
                </a:lnTo>
                <a:lnTo>
                  <a:pt x="123" y="12"/>
                </a:lnTo>
                <a:lnTo>
                  <a:pt x="123" y="14"/>
                </a:lnTo>
                <a:lnTo>
                  <a:pt x="123" y="18"/>
                </a:lnTo>
                <a:lnTo>
                  <a:pt x="124" y="18"/>
                </a:lnTo>
                <a:lnTo>
                  <a:pt x="125" y="18"/>
                </a:lnTo>
                <a:lnTo>
                  <a:pt x="127" y="17"/>
                </a:lnTo>
                <a:lnTo>
                  <a:pt x="128" y="17"/>
                </a:lnTo>
                <a:lnTo>
                  <a:pt x="129" y="18"/>
                </a:lnTo>
                <a:lnTo>
                  <a:pt x="128" y="22"/>
                </a:lnTo>
                <a:lnTo>
                  <a:pt x="128" y="23"/>
                </a:lnTo>
                <a:lnTo>
                  <a:pt x="129" y="23"/>
                </a:lnTo>
                <a:lnTo>
                  <a:pt x="131" y="22"/>
                </a:lnTo>
                <a:lnTo>
                  <a:pt x="132" y="22"/>
                </a:lnTo>
                <a:lnTo>
                  <a:pt x="135" y="23"/>
                </a:lnTo>
                <a:lnTo>
                  <a:pt x="139" y="26"/>
                </a:lnTo>
                <a:lnTo>
                  <a:pt x="144" y="28"/>
                </a:lnTo>
                <a:lnTo>
                  <a:pt x="147" y="29"/>
                </a:lnTo>
                <a:lnTo>
                  <a:pt x="147" y="31"/>
                </a:lnTo>
                <a:lnTo>
                  <a:pt x="145" y="32"/>
                </a:lnTo>
                <a:lnTo>
                  <a:pt x="143" y="34"/>
                </a:lnTo>
                <a:lnTo>
                  <a:pt x="141" y="36"/>
                </a:lnTo>
                <a:lnTo>
                  <a:pt x="139" y="37"/>
                </a:lnTo>
                <a:lnTo>
                  <a:pt x="136" y="37"/>
                </a:lnTo>
                <a:lnTo>
                  <a:pt x="133" y="36"/>
                </a:lnTo>
                <a:lnTo>
                  <a:pt x="132" y="37"/>
                </a:lnTo>
                <a:lnTo>
                  <a:pt x="131" y="39"/>
                </a:lnTo>
                <a:lnTo>
                  <a:pt x="132" y="40"/>
                </a:lnTo>
                <a:lnTo>
                  <a:pt x="133" y="43"/>
                </a:lnTo>
                <a:lnTo>
                  <a:pt x="135" y="43"/>
                </a:lnTo>
                <a:lnTo>
                  <a:pt x="136" y="45"/>
                </a:lnTo>
                <a:lnTo>
                  <a:pt x="133" y="47"/>
                </a:lnTo>
                <a:lnTo>
                  <a:pt x="128" y="48"/>
                </a:lnTo>
                <a:lnTo>
                  <a:pt x="127" y="48"/>
                </a:lnTo>
                <a:lnTo>
                  <a:pt x="125" y="48"/>
                </a:lnTo>
                <a:lnTo>
                  <a:pt x="123" y="47"/>
                </a:lnTo>
                <a:lnTo>
                  <a:pt x="123" y="48"/>
                </a:lnTo>
                <a:lnTo>
                  <a:pt x="121" y="50"/>
                </a:lnTo>
                <a:lnTo>
                  <a:pt x="120" y="50"/>
                </a:lnTo>
                <a:lnTo>
                  <a:pt x="116" y="48"/>
                </a:lnTo>
                <a:lnTo>
                  <a:pt x="115" y="47"/>
                </a:lnTo>
                <a:lnTo>
                  <a:pt x="100" y="45"/>
                </a:lnTo>
                <a:lnTo>
                  <a:pt x="95" y="47"/>
                </a:lnTo>
                <a:lnTo>
                  <a:pt x="94" y="48"/>
                </a:lnTo>
                <a:lnTo>
                  <a:pt x="92" y="54"/>
                </a:lnTo>
                <a:lnTo>
                  <a:pt x="91" y="61"/>
                </a:lnTo>
                <a:lnTo>
                  <a:pt x="90" y="65"/>
                </a:lnTo>
                <a:lnTo>
                  <a:pt x="83" y="75"/>
                </a:lnTo>
                <a:lnTo>
                  <a:pt x="80" y="84"/>
                </a:lnTo>
                <a:lnTo>
                  <a:pt x="79" y="89"/>
                </a:lnTo>
                <a:lnTo>
                  <a:pt x="76" y="94"/>
                </a:lnTo>
                <a:lnTo>
                  <a:pt x="75" y="95"/>
                </a:lnTo>
                <a:lnTo>
                  <a:pt x="74" y="97"/>
                </a:lnTo>
                <a:lnTo>
                  <a:pt x="70" y="98"/>
                </a:lnTo>
                <a:lnTo>
                  <a:pt x="67" y="98"/>
                </a:lnTo>
                <a:lnTo>
                  <a:pt x="64" y="100"/>
                </a:lnTo>
                <a:lnTo>
                  <a:pt x="62" y="102"/>
                </a:lnTo>
                <a:lnTo>
                  <a:pt x="59" y="102"/>
                </a:lnTo>
                <a:lnTo>
                  <a:pt x="52" y="100"/>
                </a:lnTo>
                <a:lnTo>
                  <a:pt x="51" y="100"/>
                </a:lnTo>
                <a:lnTo>
                  <a:pt x="51" y="97"/>
                </a:lnTo>
                <a:lnTo>
                  <a:pt x="50" y="97"/>
                </a:lnTo>
                <a:lnTo>
                  <a:pt x="42" y="97"/>
                </a:lnTo>
                <a:lnTo>
                  <a:pt x="40" y="97"/>
                </a:lnTo>
                <a:lnTo>
                  <a:pt x="39" y="98"/>
                </a:lnTo>
                <a:lnTo>
                  <a:pt x="35" y="105"/>
                </a:lnTo>
                <a:lnTo>
                  <a:pt x="32" y="106"/>
                </a:lnTo>
                <a:lnTo>
                  <a:pt x="30" y="106"/>
                </a:lnTo>
                <a:lnTo>
                  <a:pt x="27" y="106"/>
                </a:lnTo>
                <a:lnTo>
                  <a:pt x="24" y="108"/>
                </a:lnTo>
                <a:lnTo>
                  <a:pt x="22" y="105"/>
                </a:lnTo>
                <a:lnTo>
                  <a:pt x="19" y="106"/>
                </a:lnTo>
                <a:lnTo>
                  <a:pt x="16" y="106"/>
                </a:lnTo>
                <a:lnTo>
                  <a:pt x="12" y="106"/>
                </a:lnTo>
                <a:lnTo>
                  <a:pt x="8" y="102"/>
                </a:lnTo>
                <a:lnTo>
                  <a:pt x="0" y="89"/>
                </a:lnTo>
                <a:lnTo>
                  <a:pt x="0" y="87"/>
                </a:lnTo>
                <a:lnTo>
                  <a:pt x="2" y="87"/>
                </a:lnTo>
                <a:lnTo>
                  <a:pt x="2" y="86"/>
                </a:lnTo>
                <a:lnTo>
                  <a:pt x="3" y="86"/>
                </a:lnTo>
                <a:lnTo>
                  <a:pt x="3" y="89"/>
                </a:lnTo>
                <a:lnTo>
                  <a:pt x="4" y="91"/>
                </a:lnTo>
                <a:lnTo>
                  <a:pt x="8" y="92"/>
                </a:lnTo>
                <a:lnTo>
                  <a:pt x="10" y="92"/>
                </a:lnTo>
                <a:lnTo>
                  <a:pt x="14" y="92"/>
                </a:lnTo>
                <a:lnTo>
                  <a:pt x="15" y="92"/>
                </a:lnTo>
                <a:lnTo>
                  <a:pt x="16" y="94"/>
                </a:lnTo>
                <a:lnTo>
                  <a:pt x="19" y="95"/>
                </a:lnTo>
                <a:lnTo>
                  <a:pt x="24" y="95"/>
                </a:lnTo>
                <a:lnTo>
                  <a:pt x="24" y="92"/>
                </a:lnTo>
                <a:lnTo>
                  <a:pt x="26" y="91"/>
                </a:lnTo>
                <a:lnTo>
                  <a:pt x="26" y="87"/>
                </a:lnTo>
                <a:lnTo>
                  <a:pt x="27" y="86"/>
                </a:lnTo>
                <a:lnTo>
                  <a:pt x="26" y="83"/>
                </a:lnTo>
                <a:lnTo>
                  <a:pt x="27" y="81"/>
                </a:lnTo>
                <a:lnTo>
                  <a:pt x="28" y="81"/>
                </a:lnTo>
                <a:lnTo>
                  <a:pt x="30" y="83"/>
                </a:lnTo>
                <a:lnTo>
                  <a:pt x="30" y="78"/>
                </a:lnTo>
                <a:lnTo>
                  <a:pt x="30" y="76"/>
                </a:lnTo>
                <a:lnTo>
                  <a:pt x="32" y="73"/>
                </a:lnTo>
                <a:lnTo>
                  <a:pt x="32" y="72"/>
                </a:lnTo>
                <a:lnTo>
                  <a:pt x="38" y="72"/>
                </a:lnTo>
                <a:lnTo>
                  <a:pt x="39" y="72"/>
                </a:lnTo>
                <a:lnTo>
                  <a:pt x="39" y="70"/>
                </a:lnTo>
                <a:lnTo>
                  <a:pt x="40" y="70"/>
                </a:lnTo>
                <a:lnTo>
                  <a:pt x="43" y="70"/>
                </a:lnTo>
                <a:lnTo>
                  <a:pt x="46" y="70"/>
                </a:lnTo>
                <a:lnTo>
                  <a:pt x="48" y="70"/>
                </a:lnTo>
                <a:lnTo>
                  <a:pt x="50" y="69"/>
                </a:lnTo>
                <a:lnTo>
                  <a:pt x="54" y="65"/>
                </a:lnTo>
                <a:lnTo>
                  <a:pt x="58" y="59"/>
                </a:lnTo>
                <a:lnTo>
                  <a:pt x="58" y="58"/>
                </a:lnTo>
                <a:lnTo>
                  <a:pt x="60" y="54"/>
                </a:lnTo>
                <a:lnTo>
                  <a:pt x="64" y="50"/>
                </a:lnTo>
                <a:lnTo>
                  <a:pt x="67" y="47"/>
                </a:lnTo>
                <a:lnTo>
                  <a:pt x="67" y="4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03" name="Freeform 1330"/>
          <p:cNvSpPr>
            <a:spLocks/>
          </p:cNvSpPr>
          <p:nvPr/>
        </p:nvSpPr>
        <p:spPr bwMode="auto">
          <a:xfrm>
            <a:off x="8821760" y="4099434"/>
            <a:ext cx="282579" cy="212612"/>
          </a:xfrm>
          <a:custGeom>
            <a:avLst/>
            <a:gdLst/>
            <a:ahLst/>
            <a:cxnLst>
              <a:cxn ang="0">
                <a:pos x="70" y="43"/>
              </a:cxn>
              <a:cxn ang="0">
                <a:pos x="75" y="50"/>
              </a:cxn>
              <a:cxn ang="0">
                <a:pos x="78" y="51"/>
              </a:cxn>
              <a:cxn ang="0">
                <a:pos x="80" y="39"/>
              </a:cxn>
              <a:cxn ang="0">
                <a:pos x="83" y="40"/>
              </a:cxn>
              <a:cxn ang="0">
                <a:pos x="87" y="45"/>
              </a:cxn>
              <a:cxn ang="0">
                <a:pos x="88" y="42"/>
              </a:cxn>
              <a:cxn ang="0">
                <a:pos x="86" y="36"/>
              </a:cxn>
              <a:cxn ang="0">
                <a:pos x="91" y="31"/>
              </a:cxn>
              <a:cxn ang="0">
                <a:pos x="90" y="26"/>
              </a:cxn>
              <a:cxn ang="0">
                <a:pos x="98" y="22"/>
              </a:cxn>
              <a:cxn ang="0">
                <a:pos x="105" y="6"/>
              </a:cxn>
              <a:cxn ang="0">
                <a:pos x="108" y="0"/>
              </a:cxn>
              <a:cxn ang="0">
                <a:pos x="109" y="4"/>
              </a:cxn>
              <a:cxn ang="0">
                <a:pos x="112" y="3"/>
              </a:cxn>
              <a:cxn ang="0">
                <a:pos x="116" y="1"/>
              </a:cxn>
              <a:cxn ang="0">
                <a:pos x="120" y="6"/>
              </a:cxn>
              <a:cxn ang="0">
                <a:pos x="123" y="14"/>
              </a:cxn>
              <a:cxn ang="0">
                <a:pos x="125" y="18"/>
              </a:cxn>
              <a:cxn ang="0">
                <a:pos x="129" y="18"/>
              </a:cxn>
              <a:cxn ang="0">
                <a:pos x="129" y="23"/>
              </a:cxn>
              <a:cxn ang="0">
                <a:pos x="135" y="23"/>
              </a:cxn>
              <a:cxn ang="0">
                <a:pos x="147" y="29"/>
              </a:cxn>
              <a:cxn ang="0">
                <a:pos x="143" y="34"/>
              </a:cxn>
              <a:cxn ang="0">
                <a:pos x="136" y="37"/>
              </a:cxn>
              <a:cxn ang="0">
                <a:pos x="131" y="39"/>
              </a:cxn>
              <a:cxn ang="0">
                <a:pos x="135" y="43"/>
              </a:cxn>
              <a:cxn ang="0">
                <a:pos x="128" y="48"/>
              </a:cxn>
              <a:cxn ang="0">
                <a:pos x="123" y="47"/>
              </a:cxn>
              <a:cxn ang="0">
                <a:pos x="120" y="50"/>
              </a:cxn>
              <a:cxn ang="0">
                <a:pos x="100" y="45"/>
              </a:cxn>
              <a:cxn ang="0">
                <a:pos x="92" y="54"/>
              </a:cxn>
              <a:cxn ang="0">
                <a:pos x="83" y="75"/>
              </a:cxn>
              <a:cxn ang="0">
                <a:pos x="76" y="94"/>
              </a:cxn>
              <a:cxn ang="0">
                <a:pos x="70" y="98"/>
              </a:cxn>
              <a:cxn ang="0">
                <a:pos x="62" y="102"/>
              </a:cxn>
              <a:cxn ang="0">
                <a:pos x="51" y="100"/>
              </a:cxn>
              <a:cxn ang="0">
                <a:pos x="42" y="97"/>
              </a:cxn>
              <a:cxn ang="0">
                <a:pos x="35" y="105"/>
              </a:cxn>
              <a:cxn ang="0">
                <a:pos x="27" y="106"/>
              </a:cxn>
              <a:cxn ang="0">
                <a:pos x="19" y="106"/>
              </a:cxn>
              <a:cxn ang="0">
                <a:pos x="8" y="102"/>
              </a:cxn>
              <a:cxn ang="0">
                <a:pos x="2" y="87"/>
              </a:cxn>
              <a:cxn ang="0">
                <a:pos x="3" y="89"/>
              </a:cxn>
              <a:cxn ang="0">
                <a:pos x="10" y="92"/>
              </a:cxn>
              <a:cxn ang="0">
                <a:pos x="16" y="94"/>
              </a:cxn>
              <a:cxn ang="0">
                <a:pos x="24" y="92"/>
              </a:cxn>
              <a:cxn ang="0">
                <a:pos x="27" y="86"/>
              </a:cxn>
              <a:cxn ang="0">
                <a:pos x="28" y="81"/>
              </a:cxn>
              <a:cxn ang="0">
                <a:pos x="30" y="76"/>
              </a:cxn>
              <a:cxn ang="0">
                <a:pos x="38" y="72"/>
              </a:cxn>
              <a:cxn ang="0">
                <a:pos x="40" y="70"/>
              </a:cxn>
              <a:cxn ang="0">
                <a:pos x="48" y="70"/>
              </a:cxn>
              <a:cxn ang="0">
                <a:pos x="58" y="59"/>
              </a:cxn>
              <a:cxn ang="0">
                <a:pos x="64" y="50"/>
              </a:cxn>
            </a:cxnLst>
            <a:rect l="0" t="0" r="r" b="b"/>
            <a:pathLst>
              <a:path w="147" h="108">
                <a:moveTo>
                  <a:pt x="67" y="42"/>
                </a:moveTo>
                <a:lnTo>
                  <a:pt x="68" y="42"/>
                </a:lnTo>
                <a:lnTo>
                  <a:pt x="70" y="43"/>
                </a:lnTo>
                <a:lnTo>
                  <a:pt x="72" y="47"/>
                </a:lnTo>
                <a:lnTo>
                  <a:pt x="74" y="48"/>
                </a:lnTo>
                <a:lnTo>
                  <a:pt x="75" y="50"/>
                </a:lnTo>
                <a:lnTo>
                  <a:pt x="75" y="51"/>
                </a:lnTo>
                <a:lnTo>
                  <a:pt x="76" y="51"/>
                </a:lnTo>
                <a:lnTo>
                  <a:pt x="78" y="51"/>
                </a:lnTo>
                <a:lnTo>
                  <a:pt x="79" y="48"/>
                </a:lnTo>
                <a:lnTo>
                  <a:pt x="79" y="40"/>
                </a:lnTo>
                <a:lnTo>
                  <a:pt x="80" y="39"/>
                </a:lnTo>
                <a:lnTo>
                  <a:pt x="82" y="39"/>
                </a:lnTo>
                <a:lnTo>
                  <a:pt x="83" y="39"/>
                </a:lnTo>
                <a:lnTo>
                  <a:pt x="83" y="40"/>
                </a:lnTo>
                <a:lnTo>
                  <a:pt x="84" y="42"/>
                </a:lnTo>
                <a:lnTo>
                  <a:pt x="86" y="45"/>
                </a:lnTo>
                <a:lnTo>
                  <a:pt x="87" y="45"/>
                </a:lnTo>
                <a:lnTo>
                  <a:pt x="88" y="45"/>
                </a:lnTo>
                <a:lnTo>
                  <a:pt x="88" y="43"/>
                </a:lnTo>
                <a:lnTo>
                  <a:pt x="88" y="42"/>
                </a:lnTo>
                <a:lnTo>
                  <a:pt x="88" y="40"/>
                </a:lnTo>
                <a:lnTo>
                  <a:pt x="87" y="37"/>
                </a:lnTo>
                <a:lnTo>
                  <a:pt x="86" y="36"/>
                </a:lnTo>
                <a:lnTo>
                  <a:pt x="88" y="36"/>
                </a:lnTo>
                <a:lnTo>
                  <a:pt x="90" y="34"/>
                </a:lnTo>
                <a:lnTo>
                  <a:pt x="91" y="31"/>
                </a:lnTo>
                <a:lnTo>
                  <a:pt x="90" y="31"/>
                </a:lnTo>
                <a:lnTo>
                  <a:pt x="88" y="28"/>
                </a:lnTo>
                <a:lnTo>
                  <a:pt x="90" y="26"/>
                </a:lnTo>
                <a:lnTo>
                  <a:pt x="91" y="26"/>
                </a:lnTo>
                <a:lnTo>
                  <a:pt x="94" y="26"/>
                </a:lnTo>
                <a:lnTo>
                  <a:pt x="98" y="22"/>
                </a:lnTo>
                <a:lnTo>
                  <a:pt x="99" y="17"/>
                </a:lnTo>
                <a:lnTo>
                  <a:pt x="99" y="15"/>
                </a:lnTo>
                <a:lnTo>
                  <a:pt x="105" y="6"/>
                </a:lnTo>
                <a:lnTo>
                  <a:pt x="107" y="4"/>
                </a:lnTo>
                <a:lnTo>
                  <a:pt x="107" y="3"/>
                </a:lnTo>
                <a:lnTo>
                  <a:pt x="108" y="0"/>
                </a:lnTo>
                <a:lnTo>
                  <a:pt x="109" y="0"/>
                </a:lnTo>
                <a:lnTo>
                  <a:pt x="109" y="1"/>
                </a:lnTo>
                <a:lnTo>
                  <a:pt x="109" y="4"/>
                </a:lnTo>
                <a:lnTo>
                  <a:pt x="109" y="6"/>
                </a:lnTo>
                <a:lnTo>
                  <a:pt x="109" y="7"/>
                </a:lnTo>
                <a:lnTo>
                  <a:pt x="112" y="3"/>
                </a:lnTo>
                <a:lnTo>
                  <a:pt x="113" y="1"/>
                </a:lnTo>
                <a:lnTo>
                  <a:pt x="115" y="1"/>
                </a:lnTo>
                <a:lnTo>
                  <a:pt x="116" y="1"/>
                </a:lnTo>
                <a:lnTo>
                  <a:pt x="117" y="6"/>
                </a:lnTo>
                <a:lnTo>
                  <a:pt x="119" y="7"/>
                </a:lnTo>
                <a:lnTo>
                  <a:pt x="120" y="6"/>
                </a:lnTo>
                <a:lnTo>
                  <a:pt x="123" y="9"/>
                </a:lnTo>
                <a:lnTo>
                  <a:pt x="123" y="12"/>
                </a:lnTo>
                <a:lnTo>
                  <a:pt x="123" y="14"/>
                </a:lnTo>
                <a:lnTo>
                  <a:pt x="123" y="18"/>
                </a:lnTo>
                <a:lnTo>
                  <a:pt x="124" y="18"/>
                </a:lnTo>
                <a:lnTo>
                  <a:pt x="125" y="18"/>
                </a:lnTo>
                <a:lnTo>
                  <a:pt x="127" y="17"/>
                </a:lnTo>
                <a:lnTo>
                  <a:pt x="128" y="17"/>
                </a:lnTo>
                <a:lnTo>
                  <a:pt x="129" y="18"/>
                </a:lnTo>
                <a:lnTo>
                  <a:pt x="128" y="22"/>
                </a:lnTo>
                <a:lnTo>
                  <a:pt x="128" y="23"/>
                </a:lnTo>
                <a:lnTo>
                  <a:pt x="129" y="23"/>
                </a:lnTo>
                <a:lnTo>
                  <a:pt x="131" y="22"/>
                </a:lnTo>
                <a:lnTo>
                  <a:pt x="132" y="22"/>
                </a:lnTo>
                <a:lnTo>
                  <a:pt x="135" y="23"/>
                </a:lnTo>
                <a:lnTo>
                  <a:pt x="139" y="26"/>
                </a:lnTo>
                <a:lnTo>
                  <a:pt x="144" y="28"/>
                </a:lnTo>
                <a:lnTo>
                  <a:pt x="147" y="29"/>
                </a:lnTo>
                <a:lnTo>
                  <a:pt x="147" y="31"/>
                </a:lnTo>
                <a:lnTo>
                  <a:pt x="145" y="32"/>
                </a:lnTo>
                <a:lnTo>
                  <a:pt x="143" y="34"/>
                </a:lnTo>
                <a:lnTo>
                  <a:pt x="141" y="36"/>
                </a:lnTo>
                <a:lnTo>
                  <a:pt x="139" y="37"/>
                </a:lnTo>
                <a:lnTo>
                  <a:pt x="136" y="37"/>
                </a:lnTo>
                <a:lnTo>
                  <a:pt x="133" y="36"/>
                </a:lnTo>
                <a:lnTo>
                  <a:pt x="132" y="37"/>
                </a:lnTo>
                <a:lnTo>
                  <a:pt x="131" y="39"/>
                </a:lnTo>
                <a:lnTo>
                  <a:pt x="132" y="40"/>
                </a:lnTo>
                <a:lnTo>
                  <a:pt x="133" y="43"/>
                </a:lnTo>
                <a:lnTo>
                  <a:pt x="135" y="43"/>
                </a:lnTo>
                <a:lnTo>
                  <a:pt x="136" y="45"/>
                </a:lnTo>
                <a:lnTo>
                  <a:pt x="133" y="47"/>
                </a:lnTo>
                <a:lnTo>
                  <a:pt x="128" y="48"/>
                </a:lnTo>
                <a:lnTo>
                  <a:pt x="127" y="48"/>
                </a:lnTo>
                <a:lnTo>
                  <a:pt x="125" y="48"/>
                </a:lnTo>
                <a:lnTo>
                  <a:pt x="123" y="47"/>
                </a:lnTo>
                <a:lnTo>
                  <a:pt x="123" y="48"/>
                </a:lnTo>
                <a:lnTo>
                  <a:pt x="121" y="50"/>
                </a:lnTo>
                <a:lnTo>
                  <a:pt x="120" y="50"/>
                </a:lnTo>
                <a:lnTo>
                  <a:pt x="116" y="48"/>
                </a:lnTo>
                <a:lnTo>
                  <a:pt x="115" y="47"/>
                </a:lnTo>
                <a:lnTo>
                  <a:pt x="100" y="45"/>
                </a:lnTo>
                <a:lnTo>
                  <a:pt x="95" y="47"/>
                </a:lnTo>
                <a:lnTo>
                  <a:pt x="94" y="48"/>
                </a:lnTo>
                <a:lnTo>
                  <a:pt x="92" y="54"/>
                </a:lnTo>
                <a:lnTo>
                  <a:pt x="91" y="61"/>
                </a:lnTo>
                <a:lnTo>
                  <a:pt x="90" y="65"/>
                </a:lnTo>
                <a:lnTo>
                  <a:pt x="83" y="75"/>
                </a:lnTo>
                <a:lnTo>
                  <a:pt x="80" y="84"/>
                </a:lnTo>
                <a:lnTo>
                  <a:pt x="79" y="89"/>
                </a:lnTo>
                <a:lnTo>
                  <a:pt x="76" y="94"/>
                </a:lnTo>
                <a:lnTo>
                  <a:pt x="75" y="95"/>
                </a:lnTo>
                <a:lnTo>
                  <a:pt x="74" y="97"/>
                </a:lnTo>
                <a:lnTo>
                  <a:pt x="70" y="98"/>
                </a:lnTo>
                <a:lnTo>
                  <a:pt x="67" y="98"/>
                </a:lnTo>
                <a:lnTo>
                  <a:pt x="64" y="100"/>
                </a:lnTo>
                <a:lnTo>
                  <a:pt x="62" y="102"/>
                </a:lnTo>
                <a:lnTo>
                  <a:pt x="59" y="102"/>
                </a:lnTo>
                <a:lnTo>
                  <a:pt x="52" y="100"/>
                </a:lnTo>
                <a:lnTo>
                  <a:pt x="51" y="100"/>
                </a:lnTo>
                <a:lnTo>
                  <a:pt x="51" y="97"/>
                </a:lnTo>
                <a:lnTo>
                  <a:pt x="50" y="97"/>
                </a:lnTo>
                <a:lnTo>
                  <a:pt x="42" y="97"/>
                </a:lnTo>
                <a:lnTo>
                  <a:pt x="40" y="97"/>
                </a:lnTo>
                <a:lnTo>
                  <a:pt x="39" y="98"/>
                </a:lnTo>
                <a:lnTo>
                  <a:pt x="35" y="105"/>
                </a:lnTo>
                <a:lnTo>
                  <a:pt x="32" y="106"/>
                </a:lnTo>
                <a:lnTo>
                  <a:pt x="30" y="106"/>
                </a:lnTo>
                <a:lnTo>
                  <a:pt x="27" y="106"/>
                </a:lnTo>
                <a:lnTo>
                  <a:pt x="24" y="108"/>
                </a:lnTo>
                <a:lnTo>
                  <a:pt x="22" y="105"/>
                </a:lnTo>
                <a:lnTo>
                  <a:pt x="19" y="106"/>
                </a:lnTo>
                <a:lnTo>
                  <a:pt x="16" y="106"/>
                </a:lnTo>
                <a:lnTo>
                  <a:pt x="12" y="106"/>
                </a:lnTo>
                <a:lnTo>
                  <a:pt x="8" y="102"/>
                </a:lnTo>
                <a:lnTo>
                  <a:pt x="0" y="89"/>
                </a:lnTo>
                <a:lnTo>
                  <a:pt x="0" y="87"/>
                </a:lnTo>
                <a:lnTo>
                  <a:pt x="2" y="87"/>
                </a:lnTo>
                <a:lnTo>
                  <a:pt x="2" y="86"/>
                </a:lnTo>
                <a:lnTo>
                  <a:pt x="3" y="86"/>
                </a:lnTo>
                <a:lnTo>
                  <a:pt x="3" y="89"/>
                </a:lnTo>
                <a:lnTo>
                  <a:pt x="4" y="91"/>
                </a:lnTo>
                <a:lnTo>
                  <a:pt x="8" y="92"/>
                </a:lnTo>
                <a:lnTo>
                  <a:pt x="10" y="92"/>
                </a:lnTo>
                <a:lnTo>
                  <a:pt x="14" y="92"/>
                </a:lnTo>
                <a:lnTo>
                  <a:pt x="15" y="92"/>
                </a:lnTo>
                <a:lnTo>
                  <a:pt x="16" y="94"/>
                </a:lnTo>
                <a:lnTo>
                  <a:pt x="19" y="95"/>
                </a:lnTo>
                <a:lnTo>
                  <a:pt x="24" y="95"/>
                </a:lnTo>
                <a:lnTo>
                  <a:pt x="24" y="92"/>
                </a:lnTo>
                <a:lnTo>
                  <a:pt x="26" y="91"/>
                </a:lnTo>
                <a:lnTo>
                  <a:pt x="26" y="87"/>
                </a:lnTo>
                <a:lnTo>
                  <a:pt x="27" y="86"/>
                </a:lnTo>
                <a:lnTo>
                  <a:pt x="26" y="83"/>
                </a:lnTo>
                <a:lnTo>
                  <a:pt x="27" y="81"/>
                </a:lnTo>
                <a:lnTo>
                  <a:pt x="28" y="81"/>
                </a:lnTo>
                <a:lnTo>
                  <a:pt x="30" y="83"/>
                </a:lnTo>
                <a:lnTo>
                  <a:pt x="30" y="78"/>
                </a:lnTo>
                <a:lnTo>
                  <a:pt x="30" y="76"/>
                </a:lnTo>
                <a:lnTo>
                  <a:pt x="32" y="73"/>
                </a:lnTo>
                <a:lnTo>
                  <a:pt x="32" y="72"/>
                </a:lnTo>
                <a:lnTo>
                  <a:pt x="38" y="72"/>
                </a:lnTo>
                <a:lnTo>
                  <a:pt x="39" y="72"/>
                </a:lnTo>
                <a:lnTo>
                  <a:pt x="39" y="70"/>
                </a:lnTo>
                <a:lnTo>
                  <a:pt x="40" y="70"/>
                </a:lnTo>
                <a:lnTo>
                  <a:pt x="43" y="70"/>
                </a:lnTo>
                <a:lnTo>
                  <a:pt x="46" y="70"/>
                </a:lnTo>
                <a:lnTo>
                  <a:pt x="48" y="70"/>
                </a:lnTo>
                <a:lnTo>
                  <a:pt x="50" y="69"/>
                </a:lnTo>
                <a:lnTo>
                  <a:pt x="54" y="65"/>
                </a:lnTo>
                <a:lnTo>
                  <a:pt x="58" y="59"/>
                </a:lnTo>
                <a:lnTo>
                  <a:pt x="58" y="58"/>
                </a:lnTo>
                <a:lnTo>
                  <a:pt x="60" y="54"/>
                </a:lnTo>
                <a:lnTo>
                  <a:pt x="64" y="50"/>
                </a:lnTo>
                <a:lnTo>
                  <a:pt x="67" y="47"/>
                </a:lnTo>
                <a:lnTo>
                  <a:pt x="67" y="4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04" name="Freeform 1331"/>
          <p:cNvSpPr>
            <a:spLocks/>
          </p:cNvSpPr>
          <p:nvPr/>
        </p:nvSpPr>
        <p:spPr bwMode="auto">
          <a:xfrm>
            <a:off x="5191120" y="3854605"/>
            <a:ext cx="87696" cy="27918"/>
          </a:xfrm>
          <a:custGeom>
            <a:avLst/>
            <a:gdLst/>
            <a:ahLst/>
            <a:cxnLst>
              <a:cxn ang="0">
                <a:pos x="1" y="14"/>
              </a:cxn>
              <a:cxn ang="0">
                <a:pos x="3" y="13"/>
              </a:cxn>
              <a:cxn ang="0">
                <a:pos x="13" y="11"/>
              </a:cxn>
              <a:cxn ang="0">
                <a:pos x="16" y="11"/>
              </a:cxn>
              <a:cxn ang="0">
                <a:pos x="16" y="8"/>
              </a:cxn>
              <a:cxn ang="0">
                <a:pos x="17" y="8"/>
              </a:cxn>
              <a:cxn ang="0">
                <a:pos x="19" y="8"/>
              </a:cxn>
              <a:cxn ang="0">
                <a:pos x="23" y="8"/>
              </a:cxn>
              <a:cxn ang="0">
                <a:pos x="24" y="6"/>
              </a:cxn>
              <a:cxn ang="0">
                <a:pos x="25" y="5"/>
              </a:cxn>
              <a:cxn ang="0">
                <a:pos x="27" y="5"/>
              </a:cxn>
              <a:cxn ang="0">
                <a:pos x="28" y="5"/>
              </a:cxn>
              <a:cxn ang="0">
                <a:pos x="29" y="6"/>
              </a:cxn>
              <a:cxn ang="0">
                <a:pos x="31" y="6"/>
              </a:cxn>
              <a:cxn ang="0">
                <a:pos x="33" y="9"/>
              </a:cxn>
              <a:cxn ang="0">
                <a:pos x="35" y="9"/>
              </a:cxn>
              <a:cxn ang="0">
                <a:pos x="37" y="9"/>
              </a:cxn>
              <a:cxn ang="0">
                <a:pos x="40" y="9"/>
              </a:cxn>
              <a:cxn ang="0">
                <a:pos x="40" y="11"/>
              </a:cxn>
              <a:cxn ang="0">
                <a:pos x="43" y="9"/>
              </a:cxn>
              <a:cxn ang="0">
                <a:pos x="45" y="9"/>
              </a:cxn>
              <a:cxn ang="0">
                <a:pos x="47" y="8"/>
              </a:cxn>
              <a:cxn ang="0">
                <a:pos x="47" y="6"/>
              </a:cxn>
              <a:cxn ang="0">
                <a:pos x="47" y="5"/>
              </a:cxn>
              <a:cxn ang="0">
                <a:pos x="45" y="5"/>
              </a:cxn>
              <a:cxn ang="0">
                <a:pos x="44" y="5"/>
              </a:cxn>
              <a:cxn ang="0">
                <a:pos x="43" y="5"/>
              </a:cxn>
              <a:cxn ang="0">
                <a:pos x="39" y="6"/>
              </a:cxn>
              <a:cxn ang="0">
                <a:pos x="37" y="6"/>
              </a:cxn>
              <a:cxn ang="0">
                <a:pos x="36" y="5"/>
              </a:cxn>
              <a:cxn ang="0">
                <a:pos x="35" y="3"/>
              </a:cxn>
              <a:cxn ang="0">
                <a:pos x="31" y="3"/>
              </a:cxn>
              <a:cxn ang="0">
                <a:pos x="29" y="0"/>
              </a:cxn>
              <a:cxn ang="0">
                <a:pos x="28" y="0"/>
              </a:cxn>
              <a:cxn ang="0">
                <a:pos x="27" y="0"/>
              </a:cxn>
              <a:cxn ang="0">
                <a:pos x="25" y="0"/>
              </a:cxn>
              <a:cxn ang="0">
                <a:pos x="24" y="0"/>
              </a:cxn>
              <a:cxn ang="0">
                <a:pos x="23" y="0"/>
              </a:cxn>
              <a:cxn ang="0">
                <a:pos x="21" y="2"/>
              </a:cxn>
              <a:cxn ang="0">
                <a:pos x="20" y="5"/>
              </a:cxn>
              <a:cxn ang="0">
                <a:pos x="4" y="5"/>
              </a:cxn>
              <a:cxn ang="0">
                <a:pos x="4" y="6"/>
              </a:cxn>
              <a:cxn ang="0">
                <a:pos x="3" y="6"/>
              </a:cxn>
              <a:cxn ang="0">
                <a:pos x="1" y="6"/>
              </a:cxn>
              <a:cxn ang="0">
                <a:pos x="1" y="8"/>
              </a:cxn>
              <a:cxn ang="0">
                <a:pos x="0" y="8"/>
              </a:cxn>
              <a:cxn ang="0">
                <a:pos x="0" y="11"/>
              </a:cxn>
              <a:cxn ang="0">
                <a:pos x="0" y="14"/>
              </a:cxn>
              <a:cxn ang="0">
                <a:pos x="1" y="14"/>
              </a:cxn>
            </a:cxnLst>
            <a:rect l="0" t="0" r="r" b="b"/>
            <a:pathLst>
              <a:path w="47" h="14">
                <a:moveTo>
                  <a:pt x="1" y="14"/>
                </a:moveTo>
                <a:lnTo>
                  <a:pt x="3" y="13"/>
                </a:lnTo>
                <a:lnTo>
                  <a:pt x="13" y="11"/>
                </a:lnTo>
                <a:lnTo>
                  <a:pt x="16" y="11"/>
                </a:lnTo>
                <a:lnTo>
                  <a:pt x="16" y="8"/>
                </a:lnTo>
                <a:lnTo>
                  <a:pt x="17" y="8"/>
                </a:lnTo>
                <a:lnTo>
                  <a:pt x="19" y="8"/>
                </a:lnTo>
                <a:lnTo>
                  <a:pt x="23" y="8"/>
                </a:lnTo>
                <a:lnTo>
                  <a:pt x="24" y="6"/>
                </a:lnTo>
                <a:lnTo>
                  <a:pt x="25" y="5"/>
                </a:lnTo>
                <a:lnTo>
                  <a:pt x="27" y="5"/>
                </a:lnTo>
                <a:lnTo>
                  <a:pt x="28" y="5"/>
                </a:lnTo>
                <a:lnTo>
                  <a:pt x="29" y="6"/>
                </a:lnTo>
                <a:lnTo>
                  <a:pt x="31" y="6"/>
                </a:lnTo>
                <a:lnTo>
                  <a:pt x="33" y="9"/>
                </a:lnTo>
                <a:lnTo>
                  <a:pt x="35" y="9"/>
                </a:lnTo>
                <a:lnTo>
                  <a:pt x="37" y="9"/>
                </a:lnTo>
                <a:lnTo>
                  <a:pt x="40" y="9"/>
                </a:lnTo>
                <a:lnTo>
                  <a:pt x="40" y="11"/>
                </a:lnTo>
                <a:lnTo>
                  <a:pt x="43" y="9"/>
                </a:lnTo>
                <a:lnTo>
                  <a:pt x="45" y="9"/>
                </a:lnTo>
                <a:lnTo>
                  <a:pt x="47" y="8"/>
                </a:lnTo>
                <a:lnTo>
                  <a:pt x="47" y="6"/>
                </a:lnTo>
                <a:lnTo>
                  <a:pt x="47" y="5"/>
                </a:lnTo>
                <a:lnTo>
                  <a:pt x="45" y="5"/>
                </a:lnTo>
                <a:lnTo>
                  <a:pt x="44" y="5"/>
                </a:lnTo>
                <a:lnTo>
                  <a:pt x="43" y="5"/>
                </a:lnTo>
                <a:lnTo>
                  <a:pt x="39" y="6"/>
                </a:lnTo>
                <a:lnTo>
                  <a:pt x="37" y="6"/>
                </a:lnTo>
                <a:lnTo>
                  <a:pt x="36" y="5"/>
                </a:lnTo>
                <a:lnTo>
                  <a:pt x="35" y="3"/>
                </a:lnTo>
                <a:lnTo>
                  <a:pt x="31" y="3"/>
                </a:lnTo>
                <a:lnTo>
                  <a:pt x="29" y="0"/>
                </a:lnTo>
                <a:lnTo>
                  <a:pt x="28" y="0"/>
                </a:lnTo>
                <a:lnTo>
                  <a:pt x="27" y="0"/>
                </a:lnTo>
                <a:lnTo>
                  <a:pt x="25" y="0"/>
                </a:lnTo>
                <a:lnTo>
                  <a:pt x="24" y="0"/>
                </a:lnTo>
                <a:lnTo>
                  <a:pt x="23" y="0"/>
                </a:lnTo>
                <a:lnTo>
                  <a:pt x="21" y="2"/>
                </a:lnTo>
                <a:lnTo>
                  <a:pt x="20" y="5"/>
                </a:lnTo>
                <a:lnTo>
                  <a:pt x="4" y="5"/>
                </a:lnTo>
                <a:lnTo>
                  <a:pt x="4" y="6"/>
                </a:lnTo>
                <a:lnTo>
                  <a:pt x="3" y="6"/>
                </a:lnTo>
                <a:lnTo>
                  <a:pt x="1" y="6"/>
                </a:lnTo>
                <a:lnTo>
                  <a:pt x="1" y="8"/>
                </a:lnTo>
                <a:lnTo>
                  <a:pt x="0" y="8"/>
                </a:lnTo>
                <a:lnTo>
                  <a:pt x="0" y="11"/>
                </a:lnTo>
                <a:lnTo>
                  <a:pt x="0" y="14"/>
                </a:lnTo>
                <a:lnTo>
                  <a:pt x="1" y="1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05" name="Freeform 1332"/>
          <p:cNvSpPr>
            <a:spLocks/>
          </p:cNvSpPr>
          <p:nvPr/>
        </p:nvSpPr>
        <p:spPr bwMode="auto">
          <a:xfrm>
            <a:off x="5191120" y="3854605"/>
            <a:ext cx="87696" cy="27918"/>
          </a:xfrm>
          <a:custGeom>
            <a:avLst/>
            <a:gdLst/>
            <a:ahLst/>
            <a:cxnLst>
              <a:cxn ang="0">
                <a:pos x="1" y="14"/>
              </a:cxn>
              <a:cxn ang="0">
                <a:pos x="3" y="13"/>
              </a:cxn>
              <a:cxn ang="0">
                <a:pos x="13" y="11"/>
              </a:cxn>
              <a:cxn ang="0">
                <a:pos x="16" y="11"/>
              </a:cxn>
              <a:cxn ang="0">
                <a:pos x="16" y="8"/>
              </a:cxn>
              <a:cxn ang="0">
                <a:pos x="17" y="8"/>
              </a:cxn>
              <a:cxn ang="0">
                <a:pos x="19" y="8"/>
              </a:cxn>
              <a:cxn ang="0">
                <a:pos x="23" y="8"/>
              </a:cxn>
              <a:cxn ang="0">
                <a:pos x="24" y="6"/>
              </a:cxn>
              <a:cxn ang="0">
                <a:pos x="25" y="5"/>
              </a:cxn>
              <a:cxn ang="0">
                <a:pos x="27" y="5"/>
              </a:cxn>
              <a:cxn ang="0">
                <a:pos x="28" y="5"/>
              </a:cxn>
              <a:cxn ang="0">
                <a:pos x="29" y="6"/>
              </a:cxn>
              <a:cxn ang="0">
                <a:pos x="31" y="6"/>
              </a:cxn>
              <a:cxn ang="0">
                <a:pos x="33" y="9"/>
              </a:cxn>
              <a:cxn ang="0">
                <a:pos x="35" y="9"/>
              </a:cxn>
              <a:cxn ang="0">
                <a:pos x="37" y="9"/>
              </a:cxn>
              <a:cxn ang="0">
                <a:pos x="40" y="9"/>
              </a:cxn>
              <a:cxn ang="0">
                <a:pos x="40" y="11"/>
              </a:cxn>
              <a:cxn ang="0">
                <a:pos x="43" y="9"/>
              </a:cxn>
              <a:cxn ang="0">
                <a:pos x="45" y="9"/>
              </a:cxn>
              <a:cxn ang="0">
                <a:pos x="47" y="8"/>
              </a:cxn>
              <a:cxn ang="0">
                <a:pos x="47" y="6"/>
              </a:cxn>
              <a:cxn ang="0">
                <a:pos x="47" y="5"/>
              </a:cxn>
              <a:cxn ang="0">
                <a:pos x="45" y="5"/>
              </a:cxn>
              <a:cxn ang="0">
                <a:pos x="44" y="5"/>
              </a:cxn>
              <a:cxn ang="0">
                <a:pos x="43" y="5"/>
              </a:cxn>
              <a:cxn ang="0">
                <a:pos x="39" y="6"/>
              </a:cxn>
              <a:cxn ang="0">
                <a:pos x="37" y="6"/>
              </a:cxn>
              <a:cxn ang="0">
                <a:pos x="36" y="5"/>
              </a:cxn>
              <a:cxn ang="0">
                <a:pos x="35" y="3"/>
              </a:cxn>
              <a:cxn ang="0">
                <a:pos x="31" y="3"/>
              </a:cxn>
              <a:cxn ang="0">
                <a:pos x="29" y="0"/>
              </a:cxn>
              <a:cxn ang="0">
                <a:pos x="28" y="0"/>
              </a:cxn>
              <a:cxn ang="0">
                <a:pos x="27" y="0"/>
              </a:cxn>
              <a:cxn ang="0">
                <a:pos x="25" y="0"/>
              </a:cxn>
              <a:cxn ang="0">
                <a:pos x="24" y="0"/>
              </a:cxn>
              <a:cxn ang="0">
                <a:pos x="23" y="0"/>
              </a:cxn>
              <a:cxn ang="0">
                <a:pos x="21" y="2"/>
              </a:cxn>
              <a:cxn ang="0">
                <a:pos x="20" y="5"/>
              </a:cxn>
              <a:cxn ang="0">
                <a:pos x="4" y="5"/>
              </a:cxn>
              <a:cxn ang="0">
                <a:pos x="4" y="6"/>
              </a:cxn>
              <a:cxn ang="0">
                <a:pos x="3" y="6"/>
              </a:cxn>
              <a:cxn ang="0">
                <a:pos x="1" y="6"/>
              </a:cxn>
              <a:cxn ang="0">
                <a:pos x="1" y="8"/>
              </a:cxn>
              <a:cxn ang="0">
                <a:pos x="0" y="8"/>
              </a:cxn>
              <a:cxn ang="0">
                <a:pos x="0" y="11"/>
              </a:cxn>
              <a:cxn ang="0">
                <a:pos x="0" y="14"/>
              </a:cxn>
              <a:cxn ang="0">
                <a:pos x="1" y="14"/>
              </a:cxn>
            </a:cxnLst>
            <a:rect l="0" t="0" r="r" b="b"/>
            <a:pathLst>
              <a:path w="47" h="14">
                <a:moveTo>
                  <a:pt x="1" y="14"/>
                </a:moveTo>
                <a:lnTo>
                  <a:pt x="3" y="13"/>
                </a:lnTo>
                <a:lnTo>
                  <a:pt x="13" y="11"/>
                </a:lnTo>
                <a:lnTo>
                  <a:pt x="16" y="11"/>
                </a:lnTo>
                <a:lnTo>
                  <a:pt x="16" y="8"/>
                </a:lnTo>
                <a:lnTo>
                  <a:pt x="17" y="8"/>
                </a:lnTo>
                <a:lnTo>
                  <a:pt x="19" y="8"/>
                </a:lnTo>
                <a:lnTo>
                  <a:pt x="23" y="8"/>
                </a:lnTo>
                <a:lnTo>
                  <a:pt x="24" y="6"/>
                </a:lnTo>
                <a:lnTo>
                  <a:pt x="25" y="5"/>
                </a:lnTo>
                <a:lnTo>
                  <a:pt x="27" y="5"/>
                </a:lnTo>
                <a:lnTo>
                  <a:pt x="28" y="5"/>
                </a:lnTo>
                <a:lnTo>
                  <a:pt x="29" y="6"/>
                </a:lnTo>
                <a:lnTo>
                  <a:pt x="31" y="6"/>
                </a:lnTo>
                <a:lnTo>
                  <a:pt x="33" y="9"/>
                </a:lnTo>
                <a:lnTo>
                  <a:pt x="35" y="9"/>
                </a:lnTo>
                <a:lnTo>
                  <a:pt x="37" y="9"/>
                </a:lnTo>
                <a:lnTo>
                  <a:pt x="40" y="9"/>
                </a:lnTo>
                <a:lnTo>
                  <a:pt x="40" y="11"/>
                </a:lnTo>
                <a:lnTo>
                  <a:pt x="43" y="9"/>
                </a:lnTo>
                <a:lnTo>
                  <a:pt x="45" y="9"/>
                </a:lnTo>
                <a:lnTo>
                  <a:pt x="47" y="8"/>
                </a:lnTo>
                <a:lnTo>
                  <a:pt x="47" y="6"/>
                </a:lnTo>
                <a:lnTo>
                  <a:pt x="47" y="5"/>
                </a:lnTo>
                <a:lnTo>
                  <a:pt x="45" y="5"/>
                </a:lnTo>
                <a:lnTo>
                  <a:pt x="44" y="5"/>
                </a:lnTo>
                <a:lnTo>
                  <a:pt x="43" y="5"/>
                </a:lnTo>
                <a:lnTo>
                  <a:pt x="39" y="6"/>
                </a:lnTo>
                <a:lnTo>
                  <a:pt x="37" y="6"/>
                </a:lnTo>
                <a:lnTo>
                  <a:pt x="36" y="5"/>
                </a:lnTo>
                <a:lnTo>
                  <a:pt x="35" y="3"/>
                </a:lnTo>
                <a:lnTo>
                  <a:pt x="31" y="3"/>
                </a:lnTo>
                <a:lnTo>
                  <a:pt x="29" y="0"/>
                </a:lnTo>
                <a:lnTo>
                  <a:pt x="28" y="0"/>
                </a:lnTo>
                <a:lnTo>
                  <a:pt x="27" y="0"/>
                </a:lnTo>
                <a:lnTo>
                  <a:pt x="25" y="0"/>
                </a:lnTo>
                <a:lnTo>
                  <a:pt x="24" y="0"/>
                </a:lnTo>
                <a:lnTo>
                  <a:pt x="23" y="0"/>
                </a:lnTo>
                <a:lnTo>
                  <a:pt x="21" y="2"/>
                </a:lnTo>
                <a:lnTo>
                  <a:pt x="20" y="5"/>
                </a:lnTo>
                <a:lnTo>
                  <a:pt x="4" y="5"/>
                </a:lnTo>
                <a:lnTo>
                  <a:pt x="4" y="6"/>
                </a:lnTo>
                <a:lnTo>
                  <a:pt x="3" y="6"/>
                </a:lnTo>
                <a:lnTo>
                  <a:pt x="1" y="6"/>
                </a:lnTo>
                <a:lnTo>
                  <a:pt x="1" y="8"/>
                </a:lnTo>
                <a:lnTo>
                  <a:pt x="0" y="8"/>
                </a:lnTo>
                <a:lnTo>
                  <a:pt x="0" y="11"/>
                </a:lnTo>
                <a:lnTo>
                  <a:pt x="0" y="14"/>
                </a:lnTo>
                <a:lnTo>
                  <a:pt x="1" y="14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06" name="Freeform 1333"/>
          <p:cNvSpPr>
            <a:spLocks/>
          </p:cNvSpPr>
          <p:nvPr/>
        </p:nvSpPr>
        <p:spPr bwMode="auto">
          <a:xfrm>
            <a:off x="5191118" y="3893264"/>
            <a:ext cx="91594" cy="64428"/>
          </a:xfrm>
          <a:custGeom>
            <a:avLst/>
            <a:gdLst/>
            <a:ahLst/>
            <a:cxnLst>
              <a:cxn ang="0">
                <a:pos x="47" y="0"/>
              </a:cxn>
              <a:cxn ang="0">
                <a:pos x="47" y="2"/>
              </a:cxn>
              <a:cxn ang="0">
                <a:pos x="48" y="4"/>
              </a:cxn>
              <a:cxn ang="0">
                <a:pos x="48" y="5"/>
              </a:cxn>
              <a:cxn ang="0">
                <a:pos x="47" y="7"/>
              </a:cxn>
              <a:cxn ang="0">
                <a:pos x="47" y="8"/>
              </a:cxn>
              <a:cxn ang="0">
                <a:pos x="44" y="8"/>
              </a:cxn>
              <a:cxn ang="0">
                <a:pos x="44" y="10"/>
              </a:cxn>
              <a:cxn ang="0">
                <a:pos x="46" y="11"/>
              </a:cxn>
              <a:cxn ang="0">
                <a:pos x="47" y="18"/>
              </a:cxn>
              <a:cxn ang="0">
                <a:pos x="44" y="18"/>
              </a:cxn>
              <a:cxn ang="0">
                <a:pos x="44" y="19"/>
              </a:cxn>
              <a:cxn ang="0">
                <a:pos x="39" y="19"/>
              </a:cxn>
              <a:cxn ang="0">
                <a:pos x="34" y="21"/>
              </a:cxn>
              <a:cxn ang="0">
                <a:pos x="32" y="22"/>
              </a:cxn>
              <a:cxn ang="0">
                <a:pos x="31" y="26"/>
              </a:cxn>
              <a:cxn ang="0">
                <a:pos x="30" y="29"/>
              </a:cxn>
              <a:cxn ang="0">
                <a:pos x="28" y="29"/>
              </a:cxn>
              <a:cxn ang="0">
                <a:pos x="28" y="30"/>
              </a:cxn>
              <a:cxn ang="0">
                <a:pos x="26" y="32"/>
              </a:cxn>
              <a:cxn ang="0">
                <a:pos x="26" y="30"/>
              </a:cxn>
              <a:cxn ang="0">
                <a:pos x="26" y="29"/>
              </a:cxn>
              <a:cxn ang="0">
                <a:pos x="24" y="30"/>
              </a:cxn>
              <a:cxn ang="0">
                <a:pos x="23" y="29"/>
              </a:cxn>
              <a:cxn ang="0">
                <a:pos x="22" y="27"/>
              </a:cxn>
              <a:cxn ang="0">
                <a:pos x="20" y="26"/>
              </a:cxn>
              <a:cxn ang="0">
                <a:pos x="22" y="22"/>
              </a:cxn>
              <a:cxn ang="0">
                <a:pos x="20" y="18"/>
              </a:cxn>
              <a:cxn ang="0">
                <a:pos x="22" y="16"/>
              </a:cxn>
              <a:cxn ang="0">
                <a:pos x="23" y="16"/>
              </a:cxn>
              <a:cxn ang="0">
                <a:pos x="28" y="16"/>
              </a:cxn>
              <a:cxn ang="0">
                <a:pos x="30" y="15"/>
              </a:cxn>
              <a:cxn ang="0">
                <a:pos x="23" y="15"/>
              </a:cxn>
              <a:cxn ang="0">
                <a:pos x="20" y="16"/>
              </a:cxn>
              <a:cxn ang="0">
                <a:pos x="16" y="18"/>
              </a:cxn>
              <a:cxn ang="0">
                <a:pos x="14" y="18"/>
              </a:cxn>
              <a:cxn ang="0">
                <a:pos x="14" y="16"/>
              </a:cxn>
              <a:cxn ang="0">
                <a:pos x="11" y="16"/>
              </a:cxn>
              <a:cxn ang="0">
                <a:pos x="8" y="15"/>
              </a:cxn>
              <a:cxn ang="0">
                <a:pos x="7" y="13"/>
              </a:cxn>
              <a:cxn ang="0">
                <a:pos x="7" y="10"/>
              </a:cxn>
              <a:cxn ang="0">
                <a:pos x="2" y="8"/>
              </a:cxn>
              <a:cxn ang="0">
                <a:pos x="0" y="7"/>
              </a:cxn>
              <a:cxn ang="0">
                <a:pos x="0" y="5"/>
              </a:cxn>
              <a:cxn ang="0">
                <a:pos x="2" y="5"/>
              </a:cxn>
              <a:cxn ang="0">
                <a:pos x="2" y="7"/>
              </a:cxn>
              <a:cxn ang="0">
                <a:pos x="4" y="7"/>
              </a:cxn>
              <a:cxn ang="0">
                <a:pos x="7" y="5"/>
              </a:cxn>
              <a:cxn ang="0">
                <a:pos x="8" y="4"/>
              </a:cxn>
              <a:cxn ang="0">
                <a:pos x="16" y="5"/>
              </a:cxn>
              <a:cxn ang="0">
                <a:pos x="19" y="4"/>
              </a:cxn>
              <a:cxn ang="0">
                <a:pos x="22" y="2"/>
              </a:cxn>
              <a:cxn ang="0">
                <a:pos x="26" y="0"/>
              </a:cxn>
              <a:cxn ang="0">
                <a:pos x="32" y="0"/>
              </a:cxn>
              <a:cxn ang="0">
                <a:pos x="34" y="0"/>
              </a:cxn>
              <a:cxn ang="0">
                <a:pos x="47" y="0"/>
              </a:cxn>
            </a:cxnLst>
            <a:rect l="0" t="0" r="r" b="b"/>
            <a:pathLst>
              <a:path w="48" h="32">
                <a:moveTo>
                  <a:pt x="47" y="0"/>
                </a:moveTo>
                <a:lnTo>
                  <a:pt x="47" y="2"/>
                </a:lnTo>
                <a:lnTo>
                  <a:pt x="48" y="4"/>
                </a:lnTo>
                <a:lnTo>
                  <a:pt x="48" y="5"/>
                </a:lnTo>
                <a:lnTo>
                  <a:pt x="47" y="7"/>
                </a:lnTo>
                <a:lnTo>
                  <a:pt x="47" y="8"/>
                </a:lnTo>
                <a:lnTo>
                  <a:pt x="44" y="8"/>
                </a:lnTo>
                <a:lnTo>
                  <a:pt x="44" y="10"/>
                </a:lnTo>
                <a:lnTo>
                  <a:pt x="46" y="11"/>
                </a:lnTo>
                <a:lnTo>
                  <a:pt x="47" y="18"/>
                </a:lnTo>
                <a:lnTo>
                  <a:pt x="44" y="18"/>
                </a:lnTo>
                <a:lnTo>
                  <a:pt x="44" y="19"/>
                </a:lnTo>
                <a:lnTo>
                  <a:pt x="39" y="19"/>
                </a:lnTo>
                <a:lnTo>
                  <a:pt x="34" y="21"/>
                </a:lnTo>
                <a:lnTo>
                  <a:pt x="32" y="22"/>
                </a:lnTo>
                <a:lnTo>
                  <a:pt x="31" y="26"/>
                </a:lnTo>
                <a:lnTo>
                  <a:pt x="30" y="29"/>
                </a:lnTo>
                <a:lnTo>
                  <a:pt x="28" y="29"/>
                </a:lnTo>
                <a:lnTo>
                  <a:pt x="28" y="30"/>
                </a:lnTo>
                <a:lnTo>
                  <a:pt x="26" y="32"/>
                </a:lnTo>
                <a:lnTo>
                  <a:pt x="26" y="30"/>
                </a:lnTo>
                <a:lnTo>
                  <a:pt x="26" y="29"/>
                </a:lnTo>
                <a:lnTo>
                  <a:pt x="24" y="30"/>
                </a:lnTo>
                <a:lnTo>
                  <a:pt x="23" y="29"/>
                </a:lnTo>
                <a:lnTo>
                  <a:pt x="22" y="27"/>
                </a:lnTo>
                <a:lnTo>
                  <a:pt x="20" y="26"/>
                </a:lnTo>
                <a:lnTo>
                  <a:pt x="22" y="22"/>
                </a:lnTo>
                <a:lnTo>
                  <a:pt x="20" y="18"/>
                </a:lnTo>
                <a:lnTo>
                  <a:pt x="22" y="16"/>
                </a:lnTo>
                <a:lnTo>
                  <a:pt x="23" y="16"/>
                </a:lnTo>
                <a:lnTo>
                  <a:pt x="28" y="16"/>
                </a:lnTo>
                <a:lnTo>
                  <a:pt x="30" y="15"/>
                </a:lnTo>
                <a:lnTo>
                  <a:pt x="23" y="15"/>
                </a:lnTo>
                <a:lnTo>
                  <a:pt x="20" y="16"/>
                </a:lnTo>
                <a:lnTo>
                  <a:pt x="16" y="18"/>
                </a:lnTo>
                <a:lnTo>
                  <a:pt x="14" y="18"/>
                </a:lnTo>
                <a:lnTo>
                  <a:pt x="14" y="16"/>
                </a:lnTo>
                <a:lnTo>
                  <a:pt x="11" y="16"/>
                </a:lnTo>
                <a:lnTo>
                  <a:pt x="8" y="15"/>
                </a:lnTo>
                <a:lnTo>
                  <a:pt x="7" y="13"/>
                </a:lnTo>
                <a:lnTo>
                  <a:pt x="7" y="10"/>
                </a:lnTo>
                <a:lnTo>
                  <a:pt x="2" y="8"/>
                </a:lnTo>
                <a:lnTo>
                  <a:pt x="0" y="7"/>
                </a:lnTo>
                <a:lnTo>
                  <a:pt x="0" y="5"/>
                </a:lnTo>
                <a:lnTo>
                  <a:pt x="2" y="5"/>
                </a:lnTo>
                <a:lnTo>
                  <a:pt x="2" y="7"/>
                </a:lnTo>
                <a:lnTo>
                  <a:pt x="4" y="7"/>
                </a:lnTo>
                <a:lnTo>
                  <a:pt x="7" y="5"/>
                </a:lnTo>
                <a:lnTo>
                  <a:pt x="8" y="4"/>
                </a:lnTo>
                <a:lnTo>
                  <a:pt x="16" y="5"/>
                </a:lnTo>
                <a:lnTo>
                  <a:pt x="19" y="4"/>
                </a:lnTo>
                <a:lnTo>
                  <a:pt x="22" y="2"/>
                </a:lnTo>
                <a:lnTo>
                  <a:pt x="26" y="0"/>
                </a:lnTo>
                <a:lnTo>
                  <a:pt x="32" y="0"/>
                </a:lnTo>
                <a:lnTo>
                  <a:pt x="34" y="0"/>
                </a:lnTo>
                <a:lnTo>
                  <a:pt x="47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07" name="Freeform 1334"/>
          <p:cNvSpPr>
            <a:spLocks/>
          </p:cNvSpPr>
          <p:nvPr/>
        </p:nvSpPr>
        <p:spPr bwMode="auto">
          <a:xfrm>
            <a:off x="5191118" y="3893264"/>
            <a:ext cx="91594" cy="64428"/>
          </a:xfrm>
          <a:custGeom>
            <a:avLst/>
            <a:gdLst/>
            <a:ahLst/>
            <a:cxnLst>
              <a:cxn ang="0">
                <a:pos x="47" y="0"/>
              </a:cxn>
              <a:cxn ang="0">
                <a:pos x="47" y="2"/>
              </a:cxn>
              <a:cxn ang="0">
                <a:pos x="48" y="4"/>
              </a:cxn>
              <a:cxn ang="0">
                <a:pos x="48" y="5"/>
              </a:cxn>
              <a:cxn ang="0">
                <a:pos x="47" y="7"/>
              </a:cxn>
              <a:cxn ang="0">
                <a:pos x="47" y="8"/>
              </a:cxn>
              <a:cxn ang="0">
                <a:pos x="44" y="8"/>
              </a:cxn>
              <a:cxn ang="0">
                <a:pos x="44" y="10"/>
              </a:cxn>
              <a:cxn ang="0">
                <a:pos x="46" y="11"/>
              </a:cxn>
              <a:cxn ang="0">
                <a:pos x="47" y="18"/>
              </a:cxn>
              <a:cxn ang="0">
                <a:pos x="44" y="18"/>
              </a:cxn>
              <a:cxn ang="0">
                <a:pos x="44" y="19"/>
              </a:cxn>
              <a:cxn ang="0">
                <a:pos x="39" y="19"/>
              </a:cxn>
              <a:cxn ang="0">
                <a:pos x="34" y="21"/>
              </a:cxn>
              <a:cxn ang="0">
                <a:pos x="32" y="22"/>
              </a:cxn>
              <a:cxn ang="0">
                <a:pos x="31" y="26"/>
              </a:cxn>
              <a:cxn ang="0">
                <a:pos x="30" y="29"/>
              </a:cxn>
              <a:cxn ang="0">
                <a:pos x="28" y="29"/>
              </a:cxn>
              <a:cxn ang="0">
                <a:pos x="28" y="30"/>
              </a:cxn>
              <a:cxn ang="0">
                <a:pos x="26" y="32"/>
              </a:cxn>
              <a:cxn ang="0">
                <a:pos x="26" y="30"/>
              </a:cxn>
              <a:cxn ang="0">
                <a:pos x="26" y="29"/>
              </a:cxn>
              <a:cxn ang="0">
                <a:pos x="24" y="30"/>
              </a:cxn>
              <a:cxn ang="0">
                <a:pos x="23" y="29"/>
              </a:cxn>
              <a:cxn ang="0">
                <a:pos x="22" y="27"/>
              </a:cxn>
              <a:cxn ang="0">
                <a:pos x="20" y="26"/>
              </a:cxn>
              <a:cxn ang="0">
                <a:pos x="22" y="22"/>
              </a:cxn>
              <a:cxn ang="0">
                <a:pos x="20" y="18"/>
              </a:cxn>
              <a:cxn ang="0">
                <a:pos x="22" y="16"/>
              </a:cxn>
              <a:cxn ang="0">
                <a:pos x="23" y="16"/>
              </a:cxn>
              <a:cxn ang="0">
                <a:pos x="28" y="16"/>
              </a:cxn>
              <a:cxn ang="0">
                <a:pos x="30" y="15"/>
              </a:cxn>
              <a:cxn ang="0">
                <a:pos x="23" y="15"/>
              </a:cxn>
              <a:cxn ang="0">
                <a:pos x="20" y="16"/>
              </a:cxn>
              <a:cxn ang="0">
                <a:pos x="16" y="18"/>
              </a:cxn>
              <a:cxn ang="0">
                <a:pos x="14" y="18"/>
              </a:cxn>
              <a:cxn ang="0">
                <a:pos x="14" y="16"/>
              </a:cxn>
              <a:cxn ang="0">
                <a:pos x="11" y="16"/>
              </a:cxn>
              <a:cxn ang="0">
                <a:pos x="8" y="15"/>
              </a:cxn>
              <a:cxn ang="0">
                <a:pos x="7" y="13"/>
              </a:cxn>
              <a:cxn ang="0">
                <a:pos x="7" y="10"/>
              </a:cxn>
              <a:cxn ang="0">
                <a:pos x="2" y="8"/>
              </a:cxn>
              <a:cxn ang="0">
                <a:pos x="0" y="7"/>
              </a:cxn>
              <a:cxn ang="0">
                <a:pos x="0" y="5"/>
              </a:cxn>
              <a:cxn ang="0">
                <a:pos x="2" y="5"/>
              </a:cxn>
              <a:cxn ang="0">
                <a:pos x="2" y="7"/>
              </a:cxn>
              <a:cxn ang="0">
                <a:pos x="4" y="7"/>
              </a:cxn>
              <a:cxn ang="0">
                <a:pos x="7" y="5"/>
              </a:cxn>
              <a:cxn ang="0">
                <a:pos x="8" y="4"/>
              </a:cxn>
              <a:cxn ang="0">
                <a:pos x="16" y="5"/>
              </a:cxn>
              <a:cxn ang="0">
                <a:pos x="19" y="4"/>
              </a:cxn>
              <a:cxn ang="0">
                <a:pos x="22" y="2"/>
              </a:cxn>
              <a:cxn ang="0">
                <a:pos x="26" y="0"/>
              </a:cxn>
              <a:cxn ang="0">
                <a:pos x="32" y="0"/>
              </a:cxn>
              <a:cxn ang="0">
                <a:pos x="34" y="0"/>
              </a:cxn>
              <a:cxn ang="0">
                <a:pos x="47" y="0"/>
              </a:cxn>
            </a:cxnLst>
            <a:rect l="0" t="0" r="r" b="b"/>
            <a:pathLst>
              <a:path w="48" h="32">
                <a:moveTo>
                  <a:pt x="47" y="0"/>
                </a:moveTo>
                <a:lnTo>
                  <a:pt x="47" y="2"/>
                </a:lnTo>
                <a:lnTo>
                  <a:pt x="48" y="4"/>
                </a:lnTo>
                <a:lnTo>
                  <a:pt x="48" y="5"/>
                </a:lnTo>
                <a:lnTo>
                  <a:pt x="47" y="7"/>
                </a:lnTo>
                <a:lnTo>
                  <a:pt x="47" y="8"/>
                </a:lnTo>
                <a:lnTo>
                  <a:pt x="44" y="8"/>
                </a:lnTo>
                <a:lnTo>
                  <a:pt x="44" y="10"/>
                </a:lnTo>
                <a:lnTo>
                  <a:pt x="46" y="11"/>
                </a:lnTo>
                <a:lnTo>
                  <a:pt x="47" y="18"/>
                </a:lnTo>
                <a:lnTo>
                  <a:pt x="44" y="18"/>
                </a:lnTo>
                <a:lnTo>
                  <a:pt x="44" y="19"/>
                </a:lnTo>
                <a:lnTo>
                  <a:pt x="39" y="19"/>
                </a:lnTo>
                <a:lnTo>
                  <a:pt x="34" y="21"/>
                </a:lnTo>
                <a:lnTo>
                  <a:pt x="32" y="22"/>
                </a:lnTo>
                <a:lnTo>
                  <a:pt x="31" y="26"/>
                </a:lnTo>
                <a:lnTo>
                  <a:pt x="30" y="29"/>
                </a:lnTo>
                <a:lnTo>
                  <a:pt x="28" y="29"/>
                </a:lnTo>
                <a:lnTo>
                  <a:pt x="28" y="30"/>
                </a:lnTo>
                <a:lnTo>
                  <a:pt x="26" y="32"/>
                </a:lnTo>
                <a:lnTo>
                  <a:pt x="26" y="30"/>
                </a:lnTo>
                <a:lnTo>
                  <a:pt x="26" y="29"/>
                </a:lnTo>
                <a:lnTo>
                  <a:pt x="24" y="30"/>
                </a:lnTo>
                <a:lnTo>
                  <a:pt x="23" y="29"/>
                </a:lnTo>
                <a:lnTo>
                  <a:pt x="22" y="27"/>
                </a:lnTo>
                <a:lnTo>
                  <a:pt x="20" y="26"/>
                </a:lnTo>
                <a:lnTo>
                  <a:pt x="22" y="22"/>
                </a:lnTo>
                <a:lnTo>
                  <a:pt x="20" y="18"/>
                </a:lnTo>
                <a:lnTo>
                  <a:pt x="22" y="16"/>
                </a:lnTo>
                <a:lnTo>
                  <a:pt x="23" y="16"/>
                </a:lnTo>
                <a:lnTo>
                  <a:pt x="28" y="16"/>
                </a:lnTo>
                <a:lnTo>
                  <a:pt x="30" y="15"/>
                </a:lnTo>
                <a:lnTo>
                  <a:pt x="23" y="15"/>
                </a:lnTo>
                <a:lnTo>
                  <a:pt x="20" y="16"/>
                </a:lnTo>
                <a:lnTo>
                  <a:pt x="16" y="18"/>
                </a:lnTo>
                <a:lnTo>
                  <a:pt x="14" y="18"/>
                </a:lnTo>
                <a:lnTo>
                  <a:pt x="14" y="16"/>
                </a:lnTo>
                <a:lnTo>
                  <a:pt x="11" y="16"/>
                </a:lnTo>
                <a:lnTo>
                  <a:pt x="8" y="15"/>
                </a:lnTo>
                <a:lnTo>
                  <a:pt x="7" y="13"/>
                </a:lnTo>
                <a:lnTo>
                  <a:pt x="7" y="10"/>
                </a:lnTo>
                <a:lnTo>
                  <a:pt x="2" y="8"/>
                </a:lnTo>
                <a:lnTo>
                  <a:pt x="0" y="7"/>
                </a:lnTo>
                <a:lnTo>
                  <a:pt x="0" y="5"/>
                </a:lnTo>
                <a:lnTo>
                  <a:pt x="2" y="5"/>
                </a:lnTo>
                <a:lnTo>
                  <a:pt x="2" y="7"/>
                </a:lnTo>
                <a:lnTo>
                  <a:pt x="4" y="7"/>
                </a:lnTo>
                <a:lnTo>
                  <a:pt x="7" y="5"/>
                </a:lnTo>
                <a:lnTo>
                  <a:pt x="8" y="4"/>
                </a:lnTo>
                <a:lnTo>
                  <a:pt x="16" y="5"/>
                </a:lnTo>
                <a:lnTo>
                  <a:pt x="19" y="4"/>
                </a:lnTo>
                <a:lnTo>
                  <a:pt x="22" y="2"/>
                </a:lnTo>
                <a:lnTo>
                  <a:pt x="26" y="0"/>
                </a:lnTo>
                <a:lnTo>
                  <a:pt x="32" y="0"/>
                </a:lnTo>
                <a:lnTo>
                  <a:pt x="34" y="0"/>
                </a:lnTo>
                <a:lnTo>
                  <a:pt x="47" y="0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08" name="Freeform 1335"/>
          <p:cNvSpPr>
            <a:spLocks/>
          </p:cNvSpPr>
          <p:nvPr/>
        </p:nvSpPr>
        <p:spPr bwMode="auto">
          <a:xfrm>
            <a:off x="5341177" y="4041447"/>
            <a:ext cx="118878" cy="148186"/>
          </a:xfrm>
          <a:custGeom>
            <a:avLst/>
            <a:gdLst/>
            <a:ahLst/>
            <a:cxnLst>
              <a:cxn ang="0">
                <a:pos x="2" y="27"/>
              </a:cxn>
              <a:cxn ang="0">
                <a:pos x="4" y="24"/>
              </a:cxn>
              <a:cxn ang="0">
                <a:pos x="5" y="22"/>
              </a:cxn>
              <a:cxn ang="0">
                <a:pos x="9" y="19"/>
              </a:cxn>
              <a:cxn ang="0">
                <a:pos x="12" y="16"/>
              </a:cxn>
              <a:cxn ang="0">
                <a:pos x="13" y="14"/>
              </a:cxn>
              <a:cxn ang="0">
                <a:pos x="14" y="10"/>
              </a:cxn>
              <a:cxn ang="0">
                <a:pos x="16" y="7"/>
              </a:cxn>
              <a:cxn ang="0">
                <a:pos x="18" y="5"/>
              </a:cxn>
              <a:cxn ang="0">
                <a:pos x="20" y="3"/>
              </a:cxn>
              <a:cxn ang="0">
                <a:pos x="21" y="0"/>
              </a:cxn>
              <a:cxn ang="0">
                <a:pos x="24" y="2"/>
              </a:cxn>
              <a:cxn ang="0">
                <a:pos x="28" y="0"/>
              </a:cxn>
              <a:cxn ang="0">
                <a:pos x="29" y="2"/>
              </a:cxn>
              <a:cxn ang="0">
                <a:pos x="30" y="7"/>
              </a:cxn>
              <a:cxn ang="0">
                <a:pos x="32" y="13"/>
              </a:cxn>
              <a:cxn ang="0">
                <a:pos x="33" y="19"/>
              </a:cxn>
              <a:cxn ang="0">
                <a:pos x="30" y="21"/>
              </a:cxn>
              <a:cxn ang="0">
                <a:pos x="32" y="21"/>
              </a:cxn>
              <a:cxn ang="0">
                <a:pos x="34" y="21"/>
              </a:cxn>
              <a:cxn ang="0">
                <a:pos x="37" y="24"/>
              </a:cxn>
              <a:cxn ang="0">
                <a:pos x="41" y="22"/>
              </a:cxn>
              <a:cxn ang="0">
                <a:pos x="42" y="19"/>
              </a:cxn>
              <a:cxn ang="0">
                <a:pos x="44" y="16"/>
              </a:cxn>
              <a:cxn ang="0">
                <a:pos x="46" y="18"/>
              </a:cxn>
              <a:cxn ang="0">
                <a:pos x="46" y="22"/>
              </a:cxn>
              <a:cxn ang="0">
                <a:pos x="48" y="25"/>
              </a:cxn>
              <a:cxn ang="0">
                <a:pos x="48" y="32"/>
              </a:cxn>
              <a:cxn ang="0">
                <a:pos x="45" y="36"/>
              </a:cxn>
              <a:cxn ang="0">
                <a:pos x="46" y="36"/>
              </a:cxn>
              <a:cxn ang="0">
                <a:pos x="48" y="38"/>
              </a:cxn>
              <a:cxn ang="0">
                <a:pos x="50" y="40"/>
              </a:cxn>
              <a:cxn ang="0">
                <a:pos x="54" y="40"/>
              </a:cxn>
              <a:cxn ang="0">
                <a:pos x="56" y="44"/>
              </a:cxn>
              <a:cxn ang="0">
                <a:pos x="57" y="47"/>
              </a:cxn>
              <a:cxn ang="0">
                <a:pos x="60" y="49"/>
              </a:cxn>
              <a:cxn ang="0">
                <a:pos x="62" y="51"/>
              </a:cxn>
              <a:cxn ang="0">
                <a:pos x="62" y="54"/>
              </a:cxn>
              <a:cxn ang="0">
                <a:pos x="62" y="57"/>
              </a:cxn>
              <a:cxn ang="0">
                <a:pos x="61" y="58"/>
              </a:cxn>
              <a:cxn ang="0">
                <a:pos x="60" y="61"/>
              </a:cxn>
              <a:cxn ang="0">
                <a:pos x="60" y="66"/>
              </a:cxn>
              <a:cxn ang="0">
                <a:pos x="54" y="72"/>
              </a:cxn>
              <a:cxn ang="0">
                <a:pos x="52" y="71"/>
              </a:cxn>
              <a:cxn ang="0">
                <a:pos x="46" y="69"/>
              </a:cxn>
              <a:cxn ang="0">
                <a:pos x="42" y="66"/>
              </a:cxn>
              <a:cxn ang="0">
                <a:pos x="37" y="63"/>
              </a:cxn>
              <a:cxn ang="0">
                <a:pos x="29" y="55"/>
              </a:cxn>
              <a:cxn ang="0">
                <a:pos x="18" y="44"/>
              </a:cxn>
              <a:cxn ang="0">
                <a:pos x="14" y="41"/>
              </a:cxn>
              <a:cxn ang="0">
                <a:pos x="8" y="35"/>
              </a:cxn>
              <a:cxn ang="0">
                <a:pos x="5" y="33"/>
              </a:cxn>
              <a:cxn ang="0">
                <a:pos x="1" y="30"/>
              </a:cxn>
              <a:cxn ang="0">
                <a:pos x="0" y="29"/>
              </a:cxn>
            </a:cxnLst>
            <a:rect l="0" t="0" r="r" b="b"/>
            <a:pathLst>
              <a:path w="62" h="74">
                <a:moveTo>
                  <a:pt x="1" y="29"/>
                </a:moveTo>
                <a:lnTo>
                  <a:pt x="2" y="27"/>
                </a:lnTo>
                <a:lnTo>
                  <a:pt x="4" y="25"/>
                </a:lnTo>
                <a:lnTo>
                  <a:pt x="4" y="24"/>
                </a:lnTo>
                <a:lnTo>
                  <a:pt x="4" y="22"/>
                </a:lnTo>
                <a:lnTo>
                  <a:pt x="5" y="22"/>
                </a:lnTo>
                <a:lnTo>
                  <a:pt x="6" y="22"/>
                </a:lnTo>
                <a:lnTo>
                  <a:pt x="9" y="19"/>
                </a:lnTo>
                <a:lnTo>
                  <a:pt x="10" y="18"/>
                </a:lnTo>
                <a:lnTo>
                  <a:pt x="12" y="16"/>
                </a:lnTo>
                <a:lnTo>
                  <a:pt x="13" y="16"/>
                </a:lnTo>
                <a:lnTo>
                  <a:pt x="13" y="14"/>
                </a:lnTo>
                <a:lnTo>
                  <a:pt x="14" y="14"/>
                </a:lnTo>
                <a:lnTo>
                  <a:pt x="14" y="10"/>
                </a:lnTo>
                <a:lnTo>
                  <a:pt x="16" y="8"/>
                </a:lnTo>
                <a:lnTo>
                  <a:pt x="16" y="7"/>
                </a:lnTo>
                <a:lnTo>
                  <a:pt x="18" y="7"/>
                </a:lnTo>
                <a:lnTo>
                  <a:pt x="18" y="5"/>
                </a:lnTo>
                <a:lnTo>
                  <a:pt x="18" y="3"/>
                </a:lnTo>
                <a:lnTo>
                  <a:pt x="20" y="3"/>
                </a:lnTo>
                <a:lnTo>
                  <a:pt x="20" y="0"/>
                </a:lnTo>
                <a:lnTo>
                  <a:pt x="21" y="0"/>
                </a:lnTo>
                <a:lnTo>
                  <a:pt x="22" y="0"/>
                </a:lnTo>
                <a:lnTo>
                  <a:pt x="24" y="2"/>
                </a:lnTo>
                <a:lnTo>
                  <a:pt x="25" y="2"/>
                </a:lnTo>
                <a:lnTo>
                  <a:pt x="28" y="0"/>
                </a:lnTo>
                <a:lnTo>
                  <a:pt x="28" y="2"/>
                </a:lnTo>
                <a:lnTo>
                  <a:pt x="29" y="2"/>
                </a:lnTo>
                <a:lnTo>
                  <a:pt x="30" y="3"/>
                </a:lnTo>
                <a:lnTo>
                  <a:pt x="30" y="7"/>
                </a:lnTo>
                <a:lnTo>
                  <a:pt x="32" y="8"/>
                </a:lnTo>
                <a:lnTo>
                  <a:pt x="32" y="13"/>
                </a:lnTo>
                <a:lnTo>
                  <a:pt x="33" y="14"/>
                </a:lnTo>
                <a:lnTo>
                  <a:pt x="33" y="19"/>
                </a:lnTo>
                <a:lnTo>
                  <a:pt x="32" y="19"/>
                </a:lnTo>
                <a:lnTo>
                  <a:pt x="30" y="21"/>
                </a:lnTo>
                <a:lnTo>
                  <a:pt x="30" y="22"/>
                </a:lnTo>
                <a:lnTo>
                  <a:pt x="32" y="21"/>
                </a:lnTo>
                <a:lnTo>
                  <a:pt x="33" y="21"/>
                </a:lnTo>
                <a:lnTo>
                  <a:pt x="34" y="21"/>
                </a:lnTo>
                <a:lnTo>
                  <a:pt x="36" y="22"/>
                </a:lnTo>
                <a:lnTo>
                  <a:pt x="37" y="24"/>
                </a:lnTo>
                <a:lnTo>
                  <a:pt x="38" y="24"/>
                </a:lnTo>
                <a:lnTo>
                  <a:pt x="41" y="22"/>
                </a:lnTo>
                <a:lnTo>
                  <a:pt x="41" y="21"/>
                </a:lnTo>
                <a:lnTo>
                  <a:pt x="42" y="19"/>
                </a:lnTo>
                <a:lnTo>
                  <a:pt x="42" y="18"/>
                </a:lnTo>
                <a:lnTo>
                  <a:pt x="44" y="16"/>
                </a:lnTo>
                <a:lnTo>
                  <a:pt x="45" y="16"/>
                </a:lnTo>
                <a:lnTo>
                  <a:pt x="46" y="18"/>
                </a:lnTo>
                <a:lnTo>
                  <a:pt x="46" y="19"/>
                </a:lnTo>
                <a:lnTo>
                  <a:pt x="46" y="22"/>
                </a:lnTo>
                <a:lnTo>
                  <a:pt x="48" y="24"/>
                </a:lnTo>
                <a:lnTo>
                  <a:pt x="48" y="25"/>
                </a:lnTo>
                <a:lnTo>
                  <a:pt x="49" y="25"/>
                </a:lnTo>
                <a:lnTo>
                  <a:pt x="48" y="32"/>
                </a:lnTo>
                <a:lnTo>
                  <a:pt x="45" y="35"/>
                </a:lnTo>
                <a:lnTo>
                  <a:pt x="45" y="36"/>
                </a:lnTo>
                <a:lnTo>
                  <a:pt x="45" y="38"/>
                </a:lnTo>
                <a:lnTo>
                  <a:pt x="46" y="36"/>
                </a:lnTo>
                <a:lnTo>
                  <a:pt x="46" y="38"/>
                </a:lnTo>
                <a:lnTo>
                  <a:pt x="48" y="38"/>
                </a:lnTo>
                <a:lnTo>
                  <a:pt x="49" y="38"/>
                </a:lnTo>
                <a:lnTo>
                  <a:pt x="50" y="40"/>
                </a:lnTo>
                <a:lnTo>
                  <a:pt x="53" y="40"/>
                </a:lnTo>
                <a:lnTo>
                  <a:pt x="54" y="40"/>
                </a:lnTo>
                <a:lnTo>
                  <a:pt x="56" y="43"/>
                </a:lnTo>
                <a:lnTo>
                  <a:pt x="56" y="44"/>
                </a:lnTo>
                <a:lnTo>
                  <a:pt x="57" y="46"/>
                </a:lnTo>
                <a:lnTo>
                  <a:pt x="57" y="47"/>
                </a:lnTo>
                <a:lnTo>
                  <a:pt x="58" y="47"/>
                </a:lnTo>
                <a:lnTo>
                  <a:pt x="60" y="49"/>
                </a:lnTo>
                <a:lnTo>
                  <a:pt x="62" y="49"/>
                </a:lnTo>
                <a:lnTo>
                  <a:pt x="62" y="51"/>
                </a:lnTo>
                <a:lnTo>
                  <a:pt x="62" y="52"/>
                </a:lnTo>
                <a:lnTo>
                  <a:pt x="62" y="54"/>
                </a:lnTo>
                <a:lnTo>
                  <a:pt x="62" y="55"/>
                </a:lnTo>
                <a:lnTo>
                  <a:pt x="62" y="57"/>
                </a:lnTo>
                <a:lnTo>
                  <a:pt x="62" y="58"/>
                </a:lnTo>
                <a:lnTo>
                  <a:pt x="61" y="58"/>
                </a:lnTo>
                <a:lnTo>
                  <a:pt x="61" y="61"/>
                </a:lnTo>
                <a:lnTo>
                  <a:pt x="60" y="61"/>
                </a:lnTo>
                <a:lnTo>
                  <a:pt x="60" y="65"/>
                </a:lnTo>
                <a:lnTo>
                  <a:pt x="60" y="66"/>
                </a:lnTo>
                <a:lnTo>
                  <a:pt x="60" y="74"/>
                </a:lnTo>
                <a:lnTo>
                  <a:pt x="54" y="72"/>
                </a:lnTo>
                <a:lnTo>
                  <a:pt x="53" y="71"/>
                </a:lnTo>
                <a:lnTo>
                  <a:pt x="52" y="71"/>
                </a:lnTo>
                <a:lnTo>
                  <a:pt x="50" y="71"/>
                </a:lnTo>
                <a:lnTo>
                  <a:pt x="46" y="69"/>
                </a:lnTo>
                <a:lnTo>
                  <a:pt x="44" y="68"/>
                </a:lnTo>
                <a:lnTo>
                  <a:pt x="42" y="66"/>
                </a:lnTo>
                <a:lnTo>
                  <a:pt x="40" y="66"/>
                </a:lnTo>
                <a:lnTo>
                  <a:pt x="37" y="63"/>
                </a:lnTo>
                <a:lnTo>
                  <a:pt x="33" y="61"/>
                </a:lnTo>
                <a:lnTo>
                  <a:pt x="29" y="55"/>
                </a:lnTo>
                <a:lnTo>
                  <a:pt x="20" y="46"/>
                </a:lnTo>
                <a:lnTo>
                  <a:pt x="18" y="44"/>
                </a:lnTo>
                <a:lnTo>
                  <a:pt x="17" y="43"/>
                </a:lnTo>
                <a:lnTo>
                  <a:pt x="14" y="41"/>
                </a:lnTo>
                <a:lnTo>
                  <a:pt x="10" y="40"/>
                </a:lnTo>
                <a:lnTo>
                  <a:pt x="8" y="35"/>
                </a:lnTo>
                <a:lnTo>
                  <a:pt x="5" y="35"/>
                </a:lnTo>
                <a:lnTo>
                  <a:pt x="5" y="33"/>
                </a:lnTo>
                <a:lnTo>
                  <a:pt x="5" y="32"/>
                </a:lnTo>
                <a:lnTo>
                  <a:pt x="1" y="30"/>
                </a:lnTo>
                <a:lnTo>
                  <a:pt x="1" y="29"/>
                </a:lnTo>
                <a:lnTo>
                  <a:pt x="0" y="29"/>
                </a:lnTo>
                <a:lnTo>
                  <a:pt x="1" y="29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09" name="Freeform 1336"/>
          <p:cNvSpPr>
            <a:spLocks/>
          </p:cNvSpPr>
          <p:nvPr/>
        </p:nvSpPr>
        <p:spPr bwMode="auto">
          <a:xfrm>
            <a:off x="5341177" y="4041447"/>
            <a:ext cx="118878" cy="148186"/>
          </a:xfrm>
          <a:custGeom>
            <a:avLst/>
            <a:gdLst/>
            <a:ahLst/>
            <a:cxnLst>
              <a:cxn ang="0">
                <a:pos x="2" y="27"/>
              </a:cxn>
              <a:cxn ang="0">
                <a:pos x="4" y="24"/>
              </a:cxn>
              <a:cxn ang="0">
                <a:pos x="5" y="22"/>
              </a:cxn>
              <a:cxn ang="0">
                <a:pos x="9" y="19"/>
              </a:cxn>
              <a:cxn ang="0">
                <a:pos x="12" y="16"/>
              </a:cxn>
              <a:cxn ang="0">
                <a:pos x="13" y="14"/>
              </a:cxn>
              <a:cxn ang="0">
                <a:pos x="14" y="10"/>
              </a:cxn>
              <a:cxn ang="0">
                <a:pos x="16" y="7"/>
              </a:cxn>
              <a:cxn ang="0">
                <a:pos x="18" y="5"/>
              </a:cxn>
              <a:cxn ang="0">
                <a:pos x="20" y="3"/>
              </a:cxn>
              <a:cxn ang="0">
                <a:pos x="21" y="0"/>
              </a:cxn>
              <a:cxn ang="0">
                <a:pos x="24" y="2"/>
              </a:cxn>
              <a:cxn ang="0">
                <a:pos x="28" y="0"/>
              </a:cxn>
              <a:cxn ang="0">
                <a:pos x="29" y="2"/>
              </a:cxn>
              <a:cxn ang="0">
                <a:pos x="30" y="7"/>
              </a:cxn>
              <a:cxn ang="0">
                <a:pos x="32" y="13"/>
              </a:cxn>
              <a:cxn ang="0">
                <a:pos x="33" y="19"/>
              </a:cxn>
              <a:cxn ang="0">
                <a:pos x="30" y="21"/>
              </a:cxn>
              <a:cxn ang="0">
                <a:pos x="32" y="21"/>
              </a:cxn>
              <a:cxn ang="0">
                <a:pos x="34" y="21"/>
              </a:cxn>
              <a:cxn ang="0">
                <a:pos x="37" y="24"/>
              </a:cxn>
              <a:cxn ang="0">
                <a:pos x="41" y="22"/>
              </a:cxn>
              <a:cxn ang="0">
                <a:pos x="42" y="19"/>
              </a:cxn>
              <a:cxn ang="0">
                <a:pos x="44" y="16"/>
              </a:cxn>
              <a:cxn ang="0">
                <a:pos x="46" y="18"/>
              </a:cxn>
              <a:cxn ang="0">
                <a:pos x="46" y="22"/>
              </a:cxn>
              <a:cxn ang="0">
                <a:pos x="48" y="25"/>
              </a:cxn>
              <a:cxn ang="0">
                <a:pos x="48" y="32"/>
              </a:cxn>
              <a:cxn ang="0">
                <a:pos x="45" y="36"/>
              </a:cxn>
              <a:cxn ang="0">
                <a:pos x="46" y="36"/>
              </a:cxn>
              <a:cxn ang="0">
                <a:pos x="48" y="38"/>
              </a:cxn>
              <a:cxn ang="0">
                <a:pos x="50" y="40"/>
              </a:cxn>
              <a:cxn ang="0">
                <a:pos x="54" y="40"/>
              </a:cxn>
              <a:cxn ang="0">
                <a:pos x="56" y="44"/>
              </a:cxn>
              <a:cxn ang="0">
                <a:pos x="57" y="47"/>
              </a:cxn>
              <a:cxn ang="0">
                <a:pos x="60" y="49"/>
              </a:cxn>
              <a:cxn ang="0">
                <a:pos x="62" y="51"/>
              </a:cxn>
              <a:cxn ang="0">
                <a:pos x="62" y="54"/>
              </a:cxn>
              <a:cxn ang="0">
                <a:pos x="62" y="57"/>
              </a:cxn>
              <a:cxn ang="0">
                <a:pos x="61" y="58"/>
              </a:cxn>
              <a:cxn ang="0">
                <a:pos x="60" y="61"/>
              </a:cxn>
              <a:cxn ang="0">
                <a:pos x="60" y="66"/>
              </a:cxn>
              <a:cxn ang="0">
                <a:pos x="54" y="72"/>
              </a:cxn>
              <a:cxn ang="0">
                <a:pos x="52" y="71"/>
              </a:cxn>
              <a:cxn ang="0">
                <a:pos x="46" y="69"/>
              </a:cxn>
              <a:cxn ang="0">
                <a:pos x="42" y="66"/>
              </a:cxn>
              <a:cxn ang="0">
                <a:pos x="37" y="63"/>
              </a:cxn>
              <a:cxn ang="0">
                <a:pos x="29" y="55"/>
              </a:cxn>
              <a:cxn ang="0">
                <a:pos x="18" y="44"/>
              </a:cxn>
              <a:cxn ang="0">
                <a:pos x="14" y="41"/>
              </a:cxn>
              <a:cxn ang="0">
                <a:pos x="8" y="35"/>
              </a:cxn>
              <a:cxn ang="0">
                <a:pos x="5" y="33"/>
              </a:cxn>
              <a:cxn ang="0">
                <a:pos x="1" y="30"/>
              </a:cxn>
              <a:cxn ang="0">
                <a:pos x="0" y="29"/>
              </a:cxn>
            </a:cxnLst>
            <a:rect l="0" t="0" r="r" b="b"/>
            <a:pathLst>
              <a:path w="62" h="74">
                <a:moveTo>
                  <a:pt x="1" y="29"/>
                </a:moveTo>
                <a:lnTo>
                  <a:pt x="2" y="27"/>
                </a:lnTo>
                <a:lnTo>
                  <a:pt x="4" y="25"/>
                </a:lnTo>
                <a:lnTo>
                  <a:pt x="4" y="24"/>
                </a:lnTo>
                <a:lnTo>
                  <a:pt x="4" y="22"/>
                </a:lnTo>
                <a:lnTo>
                  <a:pt x="5" y="22"/>
                </a:lnTo>
                <a:lnTo>
                  <a:pt x="6" y="22"/>
                </a:lnTo>
                <a:lnTo>
                  <a:pt x="9" y="19"/>
                </a:lnTo>
                <a:lnTo>
                  <a:pt x="10" y="18"/>
                </a:lnTo>
                <a:lnTo>
                  <a:pt x="12" y="16"/>
                </a:lnTo>
                <a:lnTo>
                  <a:pt x="13" y="16"/>
                </a:lnTo>
                <a:lnTo>
                  <a:pt x="13" y="14"/>
                </a:lnTo>
                <a:lnTo>
                  <a:pt x="14" y="14"/>
                </a:lnTo>
                <a:lnTo>
                  <a:pt x="14" y="10"/>
                </a:lnTo>
                <a:lnTo>
                  <a:pt x="16" y="8"/>
                </a:lnTo>
                <a:lnTo>
                  <a:pt x="16" y="7"/>
                </a:lnTo>
                <a:lnTo>
                  <a:pt x="18" y="7"/>
                </a:lnTo>
                <a:lnTo>
                  <a:pt x="18" y="5"/>
                </a:lnTo>
                <a:lnTo>
                  <a:pt x="18" y="3"/>
                </a:lnTo>
                <a:lnTo>
                  <a:pt x="20" y="3"/>
                </a:lnTo>
                <a:lnTo>
                  <a:pt x="20" y="0"/>
                </a:lnTo>
                <a:lnTo>
                  <a:pt x="21" y="0"/>
                </a:lnTo>
                <a:lnTo>
                  <a:pt x="22" y="0"/>
                </a:lnTo>
                <a:lnTo>
                  <a:pt x="24" y="2"/>
                </a:lnTo>
                <a:lnTo>
                  <a:pt x="25" y="2"/>
                </a:lnTo>
                <a:lnTo>
                  <a:pt x="28" y="0"/>
                </a:lnTo>
                <a:lnTo>
                  <a:pt x="28" y="2"/>
                </a:lnTo>
                <a:lnTo>
                  <a:pt x="29" y="2"/>
                </a:lnTo>
                <a:lnTo>
                  <a:pt x="30" y="3"/>
                </a:lnTo>
                <a:lnTo>
                  <a:pt x="30" y="7"/>
                </a:lnTo>
                <a:lnTo>
                  <a:pt x="32" y="8"/>
                </a:lnTo>
                <a:lnTo>
                  <a:pt x="32" y="13"/>
                </a:lnTo>
                <a:lnTo>
                  <a:pt x="33" y="14"/>
                </a:lnTo>
                <a:lnTo>
                  <a:pt x="33" y="19"/>
                </a:lnTo>
                <a:lnTo>
                  <a:pt x="32" y="19"/>
                </a:lnTo>
                <a:lnTo>
                  <a:pt x="30" y="21"/>
                </a:lnTo>
                <a:lnTo>
                  <a:pt x="30" y="22"/>
                </a:lnTo>
                <a:lnTo>
                  <a:pt x="32" y="21"/>
                </a:lnTo>
                <a:lnTo>
                  <a:pt x="33" y="21"/>
                </a:lnTo>
                <a:lnTo>
                  <a:pt x="34" y="21"/>
                </a:lnTo>
                <a:lnTo>
                  <a:pt x="36" y="22"/>
                </a:lnTo>
                <a:lnTo>
                  <a:pt x="37" y="24"/>
                </a:lnTo>
                <a:lnTo>
                  <a:pt x="38" y="24"/>
                </a:lnTo>
                <a:lnTo>
                  <a:pt x="41" y="22"/>
                </a:lnTo>
                <a:lnTo>
                  <a:pt x="41" y="21"/>
                </a:lnTo>
                <a:lnTo>
                  <a:pt x="42" y="19"/>
                </a:lnTo>
                <a:lnTo>
                  <a:pt x="42" y="18"/>
                </a:lnTo>
                <a:lnTo>
                  <a:pt x="44" y="16"/>
                </a:lnTo>
                <a:lnTo>
                  <a:pt x="45" y="16"/>
                </a:lnTo>
                <a:lnTo>
                  <a:pt x="46" y="18"/>
                </a:lnTo>
                <a:lnTo>
                  <a:pt x="46" y="19"/>
                </a:lnTo>
                <a:lnTo>
                  <a:pt x="46" y="22"/>
                </a:lnTo>
                <a:lnTo>
                  <a:pt x="48" y="24"/>
                </a:lnTo>
                <a:lnTo>
                  <a:pt x="48" y="25"/>
                </a:lnTo>
                <a:lnTo>
                  <a:pt x="49" y="25"/>
                </a:lnTo>
                <a:lnTo>
                  <a:pt x="48" y="32"/>
                </a:lnTo>
                <a:lnTo>
                  <a:pt x="45" y="35"/>
                </a:lnTo>
                <a:lnTo>
                  <a:pt x="45" y="36"/>
                </a:lnTo>
                <a:lnTo>
                  <a:pt x="45" y="38"/>
                </a:lnTo>
                <a:lnTo>
                  <a:pt x="46" y="36"/>
                </a:lnTo>
                <a:lnTo>
                  <a:pt x="46" y="38"/>
                </a:lnTo>
                <a:lnTo>
                  <a:pt x="48" y="38"/>
                </a:lnTo>
                <a:lnTo>
                  <a:pt x="49" y="38"/>
                </a:lnTo>
                <a:lnTo>
                  <a:pt x="50" y="40"/>
                </a:lnTo>
                <a:lnTo>
                  <a:pt x="53" y="40"/>
                </a:lnTo>
                <a:lnTo>
                  <a:pt x="54" y="40"/>
                </a:lnTo>
                <a:lnTo>
                  <a:pt x="56" y="43"/>
                </a:lnTo>
                <a:lnTo>
                  <a:pt x="56" y="44"/>
                </a:lnTo>
                <a:lnTo>
                  <a:pt x="57" y="46"/>
                </a:lnTo>
                <a:lnTo>
                  <a:pt x="57" y="47"/>
                </a:lnTo>
                <a:lnTo>
                  <a:pt x="58" y="47"/>
                </a:lnTo>
                <a:lnTo>
                  <a:pt x="60" y="49"/>
                </a:lnTo>
                <a:lnTo>
                  <a:pt x="62" y="49"/>
                </a:lnTo>
                <a:lnTo>
                  <a:pt x="62" y="51"/>
                </a:lnTo>
                <a:lnTo>
                  <a:pt x="62" y="52"/>
                </a:lnTo>
                <a:lnTo>
                  <a:pt x="62" y="54"/>
                </a:lnTo>
                <a:lnTo>
                  <a:pt x="62" y="55"/>
                </a:lnTo>
                <a:lnTo>
                  <a:pt x="62" y="57"/>
                </a:lnTo>
                <a:lnTo>
                  <a:pt x="62" y="58"/>
                </a:lnTo>
                <a:lnTo>
                  <a:pt x="61" y="58"/>
                </a:lnTo>
                <a:lnTo>
                  <a:pt x="61" y="61"/>
                </a:lnTo>
                <a:lnTo>
                  <a:pt x="60" y="61"/>
                </a:lnTo>
                <a:lnTo>
                  <a:pt x="60" y="65"/>
                </a:lnTo>
                <a:lnTo>
                  <a:pt x="60" y="66"/>
                </a:lnTo>
                <a:lnTo>
                  <a:pt x="60" y="74"/>
                </a:lnTo>
                <a:lnTo>
                  <a:pt x="54" y="72"/>
                </a:lnTo>
                <a:lnTo>
                  <a:pt x="53" y="71"/>
                </a:lnTo>
                <a:lnTo>
                  <a:pt x="52" y="71"/>
                </a:lnTo>
                <a:lnTo>
                  <a:pt x="50" y="71"/>
                </a:lnTo>
                <a:lnTo>
                  <a:pt x="46" y="69"/>
                </a:lnTo>
                <a:lnTo>
                  <a:pt x="44" y="68"/>
                </a:lnTo>
                <a:lnTo>
                  <a:pt x="42" y="66"/>
                </a:lnTo>
                <a:lnTo>
                  <a:pt x="40" y="66"/>
                </a:lnTo>
                <a:lnTo>
                  <a:pt x="37" y="63"/>
                </a:lnTo>
                <a:lnTo>
                  <a:pt x="33" y="61"/>
                </a:lnTo>
                <a:lnTo>
                  <a:pt x="29" y="55"/>
                </a:lnTo>
                <a:lnTo>
                  <a:pt x="20" y="46"/>
                </a:lnTo>
                <a:lnTo>
                  <a:pt x="18" y="44"/>
                </a:lnTo>
                <a:lnTo>
                  <a:pt x="17" y="43"/>
                </a:lnTo>
                <a:lnTo>
                  <a:pt x="14" y="41"/>
                </a:lnTo>
                <a:lnTo>
                  <a:pt x="10" y="40"/>
                </a:lnTo>
                <a:lnTo>
                  <a:pt x="8" y="35"/>
                </a:lnTo>
                <a:lnTo>
                  <a:pt x="5" y="35"/>
                </a:lnTo>
                <a:lnTo>
                  <a:pt x="5" y="33"/>
                </a:lnTo>
                <a:lnTo>
                  <a:pt x="5" y="32"/>
                </a:lnTo>
                <a:lnTo>
                  <a:pt x="1" y="30"/>
                </a:lnTo>
                <a:lnTo>
                  <a:pt x="1" y="29"/>
                </a:lnTo>
                <a:lnTo>
                  <a:pt x="0" y="29"/>
                </a:lnTo>
                <a:lnTo>
                  <a:pt x="1" y="29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10" name="Freeform 1337"/>
          <p:cNvSpPr>
            <a:spLocks/>
          </p:cNvSpPr>
          <p:nvPr/>
        </p:nvSpPr>
        <p:spPr bwMode="auto">
          <a:xfrm>
            <a:off x="5582831" y="3951248"/>
            <a:ext cx="126673" cy="227647"/>
          </a:xfrm>
          <a:custGeom>
            <a:avLst/>
            <a:gdLst/>
            <a:ahLst/>
            <a:cxnLst>
              <a:cxn ang="0">
                <a:pos x="65" y="89"/>
              </a:cxn>
              <a:cxn ang="0">
                <a:pos x="59" y="80"/>
              </a:cxn>
              <a:cxn ang="0">
                <a:pos x="57" y="74"/>
              </a:cxn>
              <a:cxn ang="0">
                <a:pos x="57" y="59"/>
              </a:cxn>
              <a:cxn ang="0">
                <a:pos x="56" y="36"/>
              </a:cxn>
              <a:cxn ang="0">
                <a:pos x="55" y="30"/>
              </a:cxn>
              <a:cxn ang="0">
                <a:pos x="53" y="20"/>
              </a:cxn>
              <a:cxn ang="0">
                <a:pos x="51" y="14"/>
              </a:cxn>
              <a:cxn ang="0">
                <a:pos x="48" y="9"/>
              </a:cxn>
              <a:cxn ang="0">
                <a:pos x="45" y="6"/>
              </a:cxn>
              <a:cxn ang="0">
                <a:pos x="47" y="3"/>
              </a:cxn>
              <a:cxn ang="0">
                <a:pos x="47" y="1"/>
              </a:cxn>
              <a:cxn ang="0">
                <a:pos x="44" y="0"/>
              </a:cxn>
              <a:cxn ang="0">
                <a:pos x="36" y="3"/>
              </a:cxn>
              <a:cxn ang="0">
                <a:pos x="31" y="3"/>
              </a:cxn>
              <a:cxn ang="0">
                <a:pos x="16" y="1"/>
              </a:cxn>
              <a:cxn ang="0">
                <a:pos x="9" y="1"/>
              </a:cxn>
              <a:cxn ang="0">
                <a:pos x="4" y="4"/>
              </a:cxn>
              <a:cxn ang="0">
                <a:pos x="4" y="9"/>
              </a:cxn>
              <a:cxn ang="0">
                <a:pos x="5" y="12"/>
              </a:cxn>
              <a:cxn ang="0">
                <a:pos x="5" y="17"/>
              </a:cxn>
              <a:cxn ang="0">
                <a:pos x="7" y="23"/>
              </a:cxn>
              <a:cxn ang="0">
                <a:pos x="8" y="28"/>
              </a:cxn>
              <a:cxn ang="0">
                <a:pos x="7" y="31"/>
              </a:cxn>
              <a:cxn ang="0">
                <a:pos x="7" y="34"/>
              </a:cxn>
              <a:cxn ang="0">
                <a:pos x="11" y="45"/>
              </a:cxn>
              <a:cxn ang="0">
                <a:pos x="9" y="50"/>
              </a:cxn>
              <a:cxn ang="0">
                <a:pos x="8" y="53"/>
              </a:cxn>
              <a:cxn ang="0">
                <a:pos x="7" y="55"/>
              </a:cxn>
              <a:cxn ang="0">
                <a:pos x="4" y="63"/>
              </a:cxn>
              <a:cxn ang="0">
                <a:pos x="4" y="69"/>
              </a:cxn>
              <a:cxn ang="0">
                <a:pos x="1" y="72"/>
              </a:cxn>
              <a:cxn ang="0">
                <a:pos x="0" y="80"/>
              </a:cxn>
              <a:cxn ang="0">
                <a:pos x="1" y="89"/>
              </a:cxn>
              <a:cxn ang="0">
                <a:pos x="4" y="96"/>
              </a:cxn>
              <a:cxn ang="0">
                <a:pos x="7" y="97"/>
              </a:cxn>
              <a:cxn ang="0">
                <a:pos x="7" y="105"/>
              </a:cxn>
              <a:cxn ang="0">
                <a:pos x="4" y="105"/>
              </a:cxn>
              <a:cxn ang="0">
                <a:pos x="1" y="108"/>
              </a:cxn>
              <a:cxn ang="0">
                <a:pos x="19" y="114"/>
              </a:cxn>
              <a:cxn ang="0">
                <a:pos x="25" y="108"/>
              </a:cxn>
              <a:cxn ang="0">
                <a:pos x="37" y="105"/>
              </a:cxn>
              <a:cxn ang="0">
                <a:pos x="51" y="97"/>
              </a:cxn>
              <a:cxn ang="0">
                <a:pos x="53" y="96"/>
              </a:cxn>
              <a:cxn ang="0">
                <a:pos x="60" y="96"/>
              </a:cxn>
              <a:cxn ang="0">
                <a:pos x="65" y="91"/>
              </a:cxn>
            </a:cxnLst>
            <a:rect l="0" t="0" r="r" b="b"/>
            <a:pathLst>
              <a:path w="67" h="114">
                <a:moveTo>
                  <a:pt x="67" y="89"/>
                </a:moveTo>
                <a:lnTo>
                  <a:pt x="65" y="89"/>
                </a:lnTo>
                <a:lnTo>
                  <a:pt x="61" y="85"/>
                </a:lnTo>
                <a:lnTo>
                  <a:pt x="59" y="80"/>
                </a:lnTo>
                <a:lnTo>
                  <a:pt x="57" y="77"/>
                </a:lnTo>
                <a:lnTo>
                  <a:pt x="57" y="74"/>
                </a:lnTo>
                <a:lnTo>
                  <a:pt x="57" y="67"/>
                </a:lnTo>
                <a:lnTo>
                  <a:pt x="57" y="59"/>
                </a:lnTo>
                <a:lnTo>
                  <a:pt x="56" y="47"/>
                </a:lnTo>
                <a:lnTo>
                  <a:pt x="56" y="36"/>
                </a:lnTo>
                <a:lnTo>
                  <a:pt x="56" y="31"/>
                </a:lnTo>
                <a:lnTo>
                  <a:pt x="55" y="30"/>
                </a:lnTo>
                <a:lnTo>
                  <a:pt x="53" y="28"/>
                </a:lnTo>
                <a:lnTo>
                  <a:pt x="53" y="20"/>
                </a:lnTo>
                <a:lnTo>
                  <a:pt x="52" y="17"/>
                </a:lnTo>
                <a:lnTo>
                  <a:pt x="51" y="14"/>
                </a:lnTo>
                <a:lnTo>
                  <a:pt x="49" y="12"/>
                </a:lnTo>
                <a:lnTo>
                  <a:pt x="48" y="9"/>
                </a:lnTo>
                <a:lnTo>
                  <a:pt x="45" y="8"/>
                </a:lnTo>
                <a:lnTo>
                  <a:pt x="45" y="6"/>
                </a:lnTo>
                <a:lnTo>
                  <a:pt x="47" y="4"/>
                </a:lnTo>
                <a:lnTo>
                  <a:pt x="47" y="3"/>
                </a:lnTo>
                <a:lnTo>
                  <a:pt x="48" y="1"/>
                </a:lnTo>
                <a:lnTo>
                  <a:pt x="47" y="1"/>
                </a:lnTo>
                <a:lnTo>
                  <a:pt x="45" y="0"/>
                </a:lnTo>
                <a:lnTo>
                  <a:pt x="44" y="0"/>
                </a:lnTo>
                <a:lnTo>
                  <a:pt x="40" y="0"/>
                </a:lnTo>
                <a:lnTo>
                  <a:pt x="36" y="3"/>
                </a:lnTo>
                <a:lnTo>
                  <a:pt x="35" y="3"/>
                </a:lnTo>
                <a:lnTo>
                  <a:pt x="31" y="3"/>
                </a:lnTo>
                <a:lnTo>
                  <a:pt x="24" y="1"/>
                </a:lnTo>
                <a:lnTo>
                  <a:pt x="16" y="1"/>
                </a:lnTo>
                <a:lnTo>
                  <a:pt x="12" y="1"/>
                </a:lnTo>
                <a:lnTo>
                  <a:pt x="9" y="1"/>
                </a:lnTo>
                <a:lnTo>
                  <a:pt x="5" y="1"/>
                </a:lnTo>
                <a:lnTo>
                  <a:pt x="4" y="4"/>
                </a:lnTo>
                <a:lnTo>
                  <a:pt x="4" y="6"/>
                </a:lnTo>
                <a:lnTo>
                  <a:pt x="4" y="9"/>
                </a:lnTo>
                <a:lnTo>
                  <a:pt x="5" y="11"/>
                </a:lnTo>
                <a:lnTo>
                  <a:pt x="5" y="12"/>
                </a:lnTo>
                <a:lnTo>
                  <a:pt x="7" y="14"/>
                </a:lnTo>
                <a:lnTo>
                  <a:pt x="5" y="17"/>
                </a:lnTo>
                <a:lnTo>
                  <a:pt x="7" y="20"/>
                </a:lnTo>
                <a:lnTo>
                  <a:pt x="7" y="23"/>
                </a:lnTo>
                <a:lnTo>
                  <a:pt x="7" y="25"/>
                </a:lnTo>
                <a:lnTo>
                  <a:pt x="8" y="28"/>
                </a:lnTo>
                <a:lnTo>
                  <a:pt x="8" y="30"/>
                </a:lnTo>
                <a:lnTo>
                  <a:pt x="7" y="31"/>
                </a:lnTo>
                <a:lnTo>
                  <a:pt x="8" y="33"/>
                </a:lnTo>
                <a:lnTo>
                  <a:pt x="7" y="34"/>
                </a:lnTo>
                <a:lnTo>
                  <a:pt x="8" y="36"/>
                </a:lnTo>
                <a:lnTo>
                  <a:pt x="11" y="45"/>
                </a:lnTo>
                <a:lnTo>
                  <a:pt x="11" y="50"/>
                </a:lnTo>
                <a:lnTo>
                  <a:pt x="9" y="50"/>
                </a:lnTo>
                <a:lnTo>
                  <a:pt x="9" y="52"/>
                </a:lnTo>
                <a:lnTo>
                  <a:pt x="8" y="53"/>
                </a:lnTo>
                <a:lnTo>
                  <a:pt x="8" y="55"/>
                </a:lnTo>
                <a:lnTo>
                  <a:pt x="7" y="55"/>
                </a:lnTo>
                <a:lnTo>
                  <a:pt x="5" y="58"/>
                </a:lnTo>
                <a:lnTo>
                  <a:pt x="4" y="63"/>
                </a:lnTo>
                <a:lnTo>
                  <a:pt x="4" y="64"/>
                </a:lnTo>
                <a:lnTo>
                  <a:pt x="4" y="69"/>
                </a:lnTo>
                <a:lnTo>
                  <a:pt x="3" y="70"/>
                </a:lnTo>
                <a:lnTo>
                  <a:pt x="1" y="72"/>
                </a:lnTo>
                <a:lnTo>
                  <a:pt x="0" y="75"/>
                </a:lnTo>
                <a:lnTo>
                  <a:pt x="0" y="80"/>
                </a:lnTo>
                <a:lnTo>
                  <a:pt x="0" y="83"/>
                </a:lnTo>
                <a:lnTo>
                  <a:pt x="1" y="89"/>
                </a:lnTo>
                <a:lnTo>
                  <a:pt x="3" y="94"/>
                </a:lnTo>
                <a:lnTo>
                  <a:pt x="4" y="96"/>
                </a:lnTo>
                <a:lnTo>
                  <a:pt x="5" y="96"/>
                </a:lnTo>
                <a:lnTo>
                  <a:pt x="7" y="97"/>
                </a:lnTo>
                <a:lnTo>
                  <a:pt x="7" y="100"/>
                </a:lnTo>
                <a:lnTo>
                  <a:pt x="7" y="105"/>
                </a:lnTo>
                <a:lnTo>
                  <a:pt x="5" y="106"/>
                </a:lnTo>
                <a:lnTo>
                  <a:pt x="4" y="105"/>
                </a:lnTo>
                <a:lnTo>
                  <a:pt x="3" y="105"/>
                </a:lnTo>
                <a:lnTo>
                  <a:pt x="1" y="108"/>
                </a:lnTo>
                <a:lnTo>
                  <a:pt x="11" y="111"/>
                </a:lnTo>
                <a:lnTo>
                  <a:pt x="19" y="114"/>
                </a:lnTo>
                <a:lnTo>
                  <a:pt x="24" y="111"/>
                </a:lnTo>
                <a:lnTo>
                  <a:pt x="25" y="108"/>
                </a:lnTo>
                <a:lnTo>
                  <a:pt x="28" y="108"/>
                </a:lnTo>
                <a:lnTo>
                  <a:pt x="37" y="105"/>
                </a:lnTo>
                <a:lnTo>
                  <a:pt x="45" y="100"/>
                </a:lnTo>
                <a:lnTo>
                  <a:pt x="51" y="97"/>
                </a:lnTo>
                <a:lnTo>
                  <a:pt x="52" y="96"/>
                </a:lnTo>
                <a:lnTo>
                  <a:pt x="53" y="96"/>
                </a:lnTo>
                <a:lnTo>
                  <a:pt x="59" y="96"/>
                </a:lnTo>
                <a:lnTo>
                  <a:pt x="60" y="96"/>
                </a:lnTo>
                <a:lnTo>
                  <a:pt x="63" y="96"/>
                </a:lnTo>
                <a:lnTo>
                  <a:pt x="65" y="91"/>
                </a:lnTo>
                <a:lnTo>
                  <a:pt x="67" y="89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11" name="Freeform 1338"/>
          <p:cNvSpPr>
            <a:spLocks/>
          </p:cNvSpPr>
          <p:nvPr/>
        </p:nvSpPr>
        <p:spPr bwMode="auto">
          <a:xfrm>
            <a:off x="5582831" y="3951248"/>
            <a:ext cx="126673" cy="227647"/>
          </a:xfrm>
          <a:custGeom>
            <a:avLst/>
            <a:gdLst/>
            <a:ahLst/>
            <a:cxnLst>
              <a:cxn ang="0">
                <a:pos x="65" y="89"/>
              </a:cxn>
              <a:cxn ang="0">
                <a:pos x="59" y="80"/>
              </a:cxn>
              <a:cxn ang="0">
                <a:pos x="57" y="74"/>
              </a:cxn>
              <a:cxn ang="0">
                <a:pos x="57" y="59"/>
              </a:cxn>
              <a:cxn ang="0">
                <a:pos x="56" y="36"/>
              </a:cxn>
              <a:cxn ang="0">
                <a:pos x="55" y="30"/>
              </a:cxn>
              <a:cxn ang="0">
                <a:pos x="53" y="20"/>
              </a:cxn>
              <a:cxn ang="0">
                <a:pos x="51" y="14"/>
              </a:cxn>
              <a:cxn ang="0">
                <a:pos x="48" y="9"/>
              </a:cxn>
              <a:cxn ang="0">
                <a:pos x="45" y="6"/>
              </a:cxn>
              <a:cxn ang="0">
                <a:pos x="47" y="3"/>
              </a:cxn>
              <a:cxn ang="0">
                <a:pos x="47" y="1"/>
              </a:cxn>
              <a:cxn ang="0">
                <a:pos x="44" y="0"/>
              </a:cxn>
              <a:cxn ang="0">
                <a:pos x="36" y="3"/>
              </a:cxn>
              <a:cxn ang="0">
                <a:pos x="31" y="3"/>
              </a:cxn>
              <a:cxn ang="0">
                <a:pos x="16" y="1"/>
              </a:cxn>
              <a:cxn ang="0">
                <a:pos x="9" y="1"/>
              </a:cxn>
              <a:cxn ang="0">
                <a:pos x="4" y="4"/>
              </a:cxn>
              <a:cxn ang="0">
                <a:pos x="4" y="9"/>
              </a:cxn>
              <a:cxn ang="0">
                <a:pos x="5" y="12"/>
              </a:cxn>
              <a:cxn ang="0">
                <a:pos x="5" y="17"/>
              </a:cxn>
              <a:cxn ang="0">
                <a:pos x="7" y="23"/>
              </a:cxn>
              <a:cxn ang="0">
                <a:pos x="8" y="28"/>
              </a:cxn>
              <a:cxn ang="0">
                <a:pos x="7" y="31"/>
              </a:cxn>
              <a:cxn ang="0">
                <a:pos x="7" y="34"/>
              </a:cxn>
              <a:cxn ang="0">
                <a:pos x="11" y="45"/>
              </a:cxn>
              <a:cxn ang="0">
                <a:pos x="9" y="50"/>
              </a:cxn>
              <a:cxn ang="0">
                <a:pos x="8" y="53"/>
              </a:cxn>
              <a:cxn ang="0">
                <a:pos x="7" y="55"/>
              </a:cxn>
              <a:cxn ang="0">
                <a:pos x="4" y="63"/>
              </a:cxn>
              <a:cxn ang="0">
                <a:pos x="4" y="69"/>
              </a:cxn>
              <a:cxn ang="0">
                <a:pos x="1" y="72"/>
              </a:cxn>
              <a:cxn ang="0">
                <a:pos x="0" y="80"/>
              </a:cxn>
              <a:cxn ang="0">
                <a:pos x="1" y="89"/>
              </a:cxn>
              <a:cxn ang="0">
                <a:pos x="4" y="96"/>
              </a:cxn>
              <a:cxn ang="0">
                <a:pos x="7" y="97"/>
              </a:cxn>
              <a:cxn ang="0">
                <a:pos x="7" y="105"/>
              </a:cxn>
              <a:cxn ang="0">
                <a:pos x="4" y="105"/>
              </a:cxn>
              <a:cxn ang="0">
                <a:pos x="1" y="108"/>
              </a:cxn>
              <a:cxn ang="0">
                <a:pos x="19" y="114"/>
              </a:cxn>
              <a:cxn ang="0">
                <a:pos x="25" y="108"/>
              </a:cxn>
              <a:cxn ang="0">
                <a:pos x="37" y="105"/>
              </a:cxn>
              <a:cxn ang="0">
                <a:pos x="51" y="97"/>
              </a:cxn>
              <a:cxn ang="0">
                <a:pos x="53" y="96"/>
              </a:cxn>
              <a:cxn ang="0">
                <a:pos x="60" y="96"/>
              </a:cxn>
              <a:cxn ang="0">
                <a:pos x="65" y="91"/>
              </a:cxn>
            </a:cxnLst>
            <a:rect l="0" t="0" r="r" b="b"/>
            <a:pathLst>
              <a:path w="67" h="114">
                <a:moveTo>
                  <a:pt x="67" y="89"/>
                </a:moveTo>
                <a:lnTo>
                  <a:pt x="65" y="89"/>
                </a:lnTo>
                <a:lnTo>
                  <a:pt x="61" y="85"/>
                </a:lnTo>
                <a:lnTo>
                  <a:pt x="59" y="80"/>
                </a:lnTo>
                <a:lnTo>
                  <a:pt x="57" y="77"/>
                </a:lnTo>
                <a:lnTo>
                  <a:pt x="57" y="74"/>
                </a:lnTo>
                <a:lnTo>
                  <a:pt x="57" y="67"/>
                </a:lnTo>
                <a:lnTo>
                  <a:pt x="57" y="59"/>
                </a:lnTo>
                <a:lnTo>
                  <a:pt x="56" y="47"/>
                </a:lnTo>
                <a:lnTo>
                  <a:pt x="56" y="36"/>
                </a:lnTo>
                <a:lnTo>
                  <a:pt x="56" y="31"/>
                </a:lnTo>
                <a:lnTo>
                  <a:pt x="55" y="30"/>
                </a:lnTo>
                <a:lnTo>
                  <a:pt x="53" y="28"/>
                </a:lnTo>
                <a:lnTo>
                  <a:pt x="53" y="20"/>
                </a:lnTo>
                <a:lnTo>
                  <a:pt x="52" y="17"/>
                </a:lnTo>
                <a:lnTo>
                  <a:pt x="51" y="14"/>
                </a:lnTo>
                <a:lnTo>
                  <a:pt x="49" y="12"/>
                </a:lnTo>
                <a:lnTo>
                  <a:pt x="48" y="9"/>
                </a:lnTo>
                <a:lnTo>
                  <a:pt x="45" y="8"/>
                </a:lnTo>
                <a:lnTo>
                  <a:pt x="45" y="6"/>
                </a:lnTo>
                <a:lnTo>
                  <a:pt x="47" y="4"/>
                </a:lnTo>
                <a:lnTo>
                  <a:pt x="47" y="3"/>
                </a:lnTo>
                <a:lnTo>
                  <a:pt x="48" y="1"/>
                </a:lnTo>
                <a:lnTo>
                  <a:pt x="47" y="1"/>
                </a:lnTo>
                <a:lnTo>
                  <a:pt x="45" y="0"/>
                </a:lnTo>
                <a:lnTo>
                  <a:pt x="44" y="0"/>
                </a:lnTo>
                <a:lnTo>
                  <a:pt x="40" y="0"/>
                </a:lnTo>
                <a:lnTo>
                  <a:pt x="36" y="3"/>
                </a:lnTo>
                <a:lnTo>
                  <a:pt x="35" y="3"/>
                </a:lnTo>
                <a:lnTo>
                  <a:pt x="31" y="3"/>
                </a:lnTo>
                <a:lnTo>
                  <a:pt x="24" y="1"/>
                </a:lnTo>
                <a:lnTo>
                  <a:pt x="16" y="1"/>
                </a:lnTo>
                <a:lnTo>
                  <a:pt x="12" y="1"/>
                </a:lnTo>
                <a:lnTo>
                  <a:pt x="9" y="1"/>
                </a:lnTo>
                <a:lnTo>
                  <a:pt x="5" y="1"/>
                </a:lnTo>
                <a:lnTo>
                  <a:pt x="4" y="4"/>
                </a:lnTo>
                <a:lnTo>
                  <a:pt x="4" y="6"/>
                </a:lnTo>
                <a:lnTo>
                  <a:pt x="4" y="9"/>
                </a:lnTo>
                <a:lnTo>
                  <a:pt x="5" y="11"/>
                </a:lnTo>
                <a:lnTo>
                  <a:pt x="5" y="12"/>
                </a:lnTo>
                <a:lnTo>
                  <a:pt x="7" y="14"/>
                </a:lnTo>
                <a:lnTo>
                  <a:pt x="5" y="17"/>
                </a:lnTo>
                <a:lnTo>
                  <a:pt x="7" y="20"/>
                </a:lnTo>
                <a:lnTo>
                  <a:pt x="7" y="23"/>
                </a:lnTo>
                <a:lnTo>
                  <a:pt x="7" y="25"/>
                </a:lnTo>
                <a:lnTo>
                  <a:pt x="8" y="28"/>
                </a:lnTo>
                <a:lnTo>
                  <a:pt x="8" y="30"/>
                </a:lnTo>
                <a:lnTo>
                  <a:pt x="7" y="31"/>
                </a:lnTo>
                <a:lnTo>
                  <a:pt x="8" y="33"/>
                </a:lnTo>
                <a:lnTo>
                  <a:pt x="7" y="34"/>
                </a:lnTo>
                <a:lnTo>
                  <a:pt x="8" y="36"/>
                </a:lnTo>
                <a:lnTo>
                  <a:pt x="11" y="45"/>
                </a:lnTo>
                <a:lnTo>
                  <a:pt x="11" y="50"/>
                </a:lnTo>
                <a:lnTo>
                  <a:pt x="9" y="50"/>
                </a:lnTo>
                <a:lnTo>
                  <a:pt x="9" y="52"/>
                </a:lnTo>
                <a:lnTo>
                  <a:pt x="8" y="53"/>
                </a:lnTo>
                <a:lnTo>
                  <a:pt x="8" y="55"/>
                </a:lnTo>
                <a:lnTo>
                  <a:pt x="7" y="55"/>
                </a:lnTo>
                <a:lnTo>
                  <a:pt x="5" y="58"/>
                </a:lnTo>
                <a:lnTo>
                  <a:pt x="4" y="63"/>
                </a:lnTo>
                <a:lnTo>
                  <a:pt x="4" y="64"/>
                </a:lnTo>
                <a:lnTo>
                  <a:pt x="4" y="69"/>
                </a:lnTo>
                <a:lnTo>
                  <a:pt x="3" y="70"/>
                </a:lnTo>
                <a:lnTo>
                  <a:pt x="1" y="72"/>
                </a:lnTo>
                <a:lnTo>
                  <a:pt x="0" y="75"/>
                </a:lnTo>
                <a:lnTo>
                  <a:pt x="0" y="80"/>
                </a:lnTo>
                <a:lnTo>
                  <a:pt x="0" y="83"/>
                </a:lnTo>
                <a:lnTo>
                  <a:pt x="1" y="89"/>
                </a:lnTo>
                <a:lnTo>
                  <a:pt x="3" y="94"/>
                </a:lnTo>
                <a:lnTo>
                  <a:pt x="4" y="96"/>
                </a:lnTo>
                <a:lnTo>
                  <a:pt x="5" y="96"/>
                </a:lnTo>
                <a:lnTo>
                  <a:pt x="7" y="97"/>
                </a:lnTo>
                <a:lnTo>
                  <a:pt x="7" y="100"/>
                </a:lnTo>
                <a:lnTo>
                  <a:pt x="7" y="105"/>
                </a:lnTo>
                <a:lnTo>
                  <a:pt x="5" y="106"/>
                </a:lnTo>
                <a:lnTo>
                  <a:pt x="4" y="105"/>
                </a:lnTo>
                <a:lnTo>
                  <a:pt x="3" y="105"/>
                </a:lnTo>
                <a:lnTo>
                  <a:pt x="1" y="108"/>
                </a:lnTo>
                <a:lnTo>
                  <a:pt x="11" y="111"/>
                </a:lnTo>
                <a:lnTo>
                  <a:pt x="19" y="114"/>
                </a:lnTo>
                <a:lnTo>
                  <a:pt x="24" y="111"/>
                </a:lnTo>
                <a:lnTo>
                  <a:pt x="25" y="108"/>
                </a:lnTo>
                <a:lnTo>
                  <a:pt x="28" y="108"/>
                </a:lnTo>
                <a:lnTo>
                  <a:pt x="37" y="105"/>
                </a:lnTo>
                <a:lnTo>
                  <a:pt x="45" y="100"/>
                </a:lnTo>
                <a:lnTo>
                  <a:pt x="51" y="97"/>
                </a:lnTo>
                <a:lnTo>
                  <a:pt x="52" y="96"/>
                </a:lnTo>
                <a:lnTo>
                  <a:pt x="53" y="96"/>
                </a:lnTo>
                <a:lnTo>
                  <a:pt x="59" y="96"/>
                </a:lnTo>
                <a:lnTo>
                  <a:pt x="60" y="96"/>
                </a:lnTo>
                <a:lnTo>
                  <a:pt x="63" y="96"/>
                </a:lnTo>
                <a:lnTo>
                  <a:pt x="65" y="91"/>
                </a:lnTo>
                <a:lnTo>
                  <a:pt x="67" y="89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12" name="Freeform 1339"/>
          <p:cNvSpPr>
            <a:spLocks/>
          </p:cNvSpPr>
          <p:nvPr/>
        </p:nvSpPr>
        <p:spPr bwMode="auto">
          <a:xfrm>
            <a:off x="5750429" y="3854605"/>
            <a:ext cx="339094" cy="339322"/>
          </a:xfrm>
          <a:custGeom>
            <a:avLst/>
            <a:gdLst/>
            <a:ahLst/>
            <a:cxnLst>
              <a:cxn ang="0">
                <a:pos x="13" y="27"/>
              </a:cxn>
              <a:cxn ang="0">
                <a:pos x="14" y="22"/>
              </a:cxn>
              <a:cxn ang="0">
                <a:pos x="20" y="14"/>
              </a:cxn>
              <a:cxn ang="0">
                <a:pos x="32" y="2"/>
              </a:cxn>
              <a:cxn ang="0">
                <a:pos x="40" y="0"/>
              </a:cxn>
              <a:cxn ang="0">
                <a:pos x="61" y="14"/>
              </a:cxn>
              <a:cxn ang="0">
                <a:pos x="66" y="16"/>
              </a:cxn>
              <a:cxn ang="0">
                <a:pos x="76" y="9"/>
              </a:cxn>
              <a:cxn ang="0">
                <a:pos x="90" y="17"/>
              </a:cxn>
              <a:cxn ang="0">
                <a:pos x="102" y="19"/>
              </a:cxn>
              <a:cxn ang="0">
                <a:pos x="114" y="9"/>
              </a:cxn>
              <a:cxn ang="0">
                <a:pos x="129" y="8"/>
              </a:cxn>
              <a:cxn ang="0">
                <a:pos x="138" y="9"/>
              </a:cxn>
              <a:cxn ang="0">
                <a:pos x="145" y="11"/>
              </a:cxn>
              <a:cxn ang="0">
                <a:pos x="150" y="6"/>
              </a:cxn>
              <a:cxn ang="0">
                <a:pos x="155" y="5"/>
              </a:cxn>
              <a:cxn ang="0">
                <a:pos x="158" y="5"/>
              </a:cxn>
              <a:cxn ang="0">
                <a:pos x="165" y="11"/>
              </a:cxn>
              <a:cxn ang="0">
                <a:pos x="171" y="24"/>
              </a:cxn>
              <a:cxn ang="0">
                <a:pos x="175" y="27"/>
              </a:cxn>
              <a:cxn ang="0">
                <a:pos x="177" y="39"/>
              </a:cxn>
              <a:cxn ang="0">
                <a:pos x="166" y="46"/>
              </a:cxn>
              <a:cxn ang="0">
                <a:pos x="161" y="50"/>
              </a:cxn>
              <a:cxn ang="0">
                <a:pos x="155" y="66"/>
              </a:cxn>
              <a:cxn ang="0">
                <a:pos x="151" y="83"/>
              </a:cxn>
              <a:cxn ang="0">
                <a:pos x="150" y="90"/>
              </a:cxn>
              <a:cxn ang="0">
                <a:pos x="142" y="101"/>
              </a:cxn>
              <a:cxn ang="0">
                <a:pos x="138" y="116"/>
              </a:cxn>
              <a:cxn ang="0">
                <a:pos x="131" y="130"/>
              </a:cxn>
              <a:cxn ang="0">
                <a:pos x="122" y="129"/>
              </a:cxn>
              <a:cxn ang="0">
                <a:pos x="118" y="123"/>
              </a:cxn>
              <a:cxn ang="0">
                <a:pos x="104" y="124"/>
              </a:cxn>
              <a:cxn ang="0">
                <a:pos x="98" y="132"/>
              </a:cxn>
              <a:cxn ang="0">
                <a:pos x="92" y="143"/>
              </a:cxn>
              <a:cxn ang="0">
                <a:pos x="90" y="155"/>
              </a:cxn>
              <a:cxn ang="0">
                <a:pos x="86" y="162"/>
              </a:cxn>
              <a:cxn ang="0">
                <a:pos x="82" y="163"/>
              </a:cxn>
              <a:cxn ang="0">
                <a:pos x="73" y="166"/>
              </a:cxn>
              <a:cxn ang="0">
                <a:pos x="64" y="166"/>
              </a:cxn>
              <a:cxn ang="0">
                <a:pos x="61" y="168"/>
              </a:cxn>
              <a:cxn ang="0">
                <a:pos x="58" y="170"/>
              </a:cxn>
              <a:cxn ang="0">
                <a:pos x="52" y="168"/>
              </a:cxn>
              <a:cxn ang="0">
                <a:pos x="46" y="168"/>
              </a:cxn>
              <a:cxn ang="0">
                <a:pos x="40" y="155"/>
              </a:cxn>
              <a:cxn ang="0">
                <a:pos x="38" y="149"/>
              </a:cxn>
              <a:cxn ang="0">
                <a:pos x="36" y="143"/>
              </a:cxn>
              <a:cxn ang="0">
                <a:pos x="32" y="138"/>
              </a:cxn>
              <a:cxn ang="0">
                <a:pos x="17" y="134"/>
              </a:cxn>
              <a:cxn ang="0">
                <a:pos x="0" y="118"/>
              </a:cxn>
              <a:cxn ang="0">
                <a:pos x="1" y="94"/>
              </a:cxn>
              <a:cxn ang="0">
                <a:pos x="7" y="80"/>
              </a:cxn>
              <a:cxn ang="0">
                <a:pos x="13" y="71"/>
              </a:cxn>
              <a:cxn ang="0">
                <a:pos x="14" y="66"/>
              </a:cxn>
              <a:cxn ang="0">
                <a:pos x="13" y="61"/>
              </a:cxn>
              <a:cxn ang="0">
                <a:pos x="16" y="60"/>
              </a:cxn>
              <a:cxn ang="0">
                <a:pos x="14" y="47"/>
              </a:cxn>
              <a:cxn ang="0">
                <a:pos x="13" y="38"/>
              </a:cxn>
            </a:cxnLst>
            <a:rect l="0" t="0" r="r" b="b"/>
            <a:pathLst>
              <a:path w="177" h="171">
                <a:moveTo>
                  <a:pt x="13" y="38"/>
                </a:moveTo>
                <a:lnTo>
                  <a:pt x="13" y="36"/>
                </a:lnTo>
                <a:lnTo>
                  <a:pt x="13" y="27"/>
                </a:lnTo>
                <a:lnTo>
                  <a:pt x="13" y="25"/>
                </a:lnTo>
                <a:lnTo>
                  <a:pt x="14" y="24"/>
                </a:lnTo>
                <a:lnTo>
                  <a:pt x="14" y="22"/>
                </a:lnTo>
                <a:lnTo>
                  <a:pt x="17" y="20"/>
                </a:lnTo>
                <a:lnTo>
                  <a:pt x="18" y="19"/>
                </a:lnTo>
                <a:lnTo>
                  <a:pt x="20" y="14"/>
                </a:lnTo>
                <a:lnTo>
                  <a:pt x="21" y="8"/>
                </a:lnTo>
                <a:lnTo>
                  <a:pt x="26" y="3"/>
                </a:lnTo>
                <a:lnTo>
                  <a:pt x="32" y="2"/>
                </a:lnTo>
                <a:lnTo>
                  <a:pt x="36" y="2"/>
                </a:lnTo>
                <a:lnTo>
                  <a:pt x="38" y="2"/>
                </a:lnTo>
                <a:lnTo>
                  <a:pt x="40" y="0"/>
                </a:lnTo>
                <a:lnTo>
                  <a:pt x="44" y="0"/>
                </a:lnTo>
                <a:lnTo>
                  <a:pt x="54" y="6"/>
                </a:lnTo>
                <a:lnTo>
                  <a:pt x="61" y="14"/>
                </a:lnTo>
                <a:lnTo>
                  <a:pt x="62" y="16"/>
                </a:lnTo>
                <a:lnTo>
                  <a:pt x="64" y="16"/>
                </a:lnTo>
                <a:lnTo>
                  <a:pt x="66" y="16"/>
                </a:lnTo>
                <a:lnTo>
                  <a:pt x="68" y="13"/>
                </a:lnTo>
                <a:lnTo>
                  <a:pt x="73" y="9"/>
                </a:lnTo>
                <a:lnTo>
                  <a:pt x="76" y="9"/>
                </a:lnTo>
                <a:lnTo>
                  <a:pt x="78" y="9"/>
                </a:lnTo>
                <a:lnTo>
                  <a:pt x="84" y="13"/>
                </a:lnTo>
                <a:lnTo>
                  <a:pt x="90" y="17"/>
                </a:lnTo>
                <a:lnTo>
                  <a:pt x="93" y="17"/>
                </a:lnTo>
                <a:lnTo>
                  <a:pt x="100" y="19"/>
                </a:lnTo>
                <a:lnTo>
                  <a:pt x="102" y="19"/>
                </a:lnTo>
                <a:lnTo>
                  <a:pt x="108" y="16"/>
                </a:lnTo>
                <a:lnTo>
                  <a:pt x="112" y="11"/>
                </a:lnTo>
                <a:lnTo>
                  <a:pt x="114" y="9"/>
                </a:lnTo>
                <a:lnTo>
                  <a:pt x="121" y="9"/>
                </a:lnTo>
                <a:lnTo>
                  <a:pt x="126" y="9"/>
                </a:lnTo>
                <a:lnTo>
                  <a:pt x="129" y="8"/>
                </a:lnTo>
                <a:lnTo>
                  <a:pt x="134" y="8"/>
                </a:lnTo>
                <a:lnTo>
                  <a:pt x="135" y="8"/>
                </a:lnTo>
                <a:lnTo>
                  <a:pt x="138" y="9"/>
                </a:lnTo>
                <a:lnTo>
                  <a:pt x="141" y="11"/>
                </a:lnTo>
                <a:lnTo>
                  <a:pt x="142" y="13"/>
                </a:lnTo>
                <a:lnTo>
                  <a:pt x="145" y="11"/>
                </a:lnTo>
                <a:lnTo>
                  <a:pt x="146" y="11"/>
                </a:lnTo>
                <a:lnTo>
                  <a:pt x="149" y="8"/>
                </a:lnTo>
                <a:lnTo>
                  <a:pt x="150" y="6"/>
                </a:lnTo>
                <a:lnTo>
                  <a:pt x="151" y="6"/>
                </a:lnTo>
                <a:lnTo>
                  <a:pt x="153" y="5"/>
                </a:lnTo>
                <a:lnTo>
                  <a:pt x="155" y="5"/>
                </a:lnTo>
                <a:lnTo>
                  <a:pt x="157" y="2"/>
                </a:lnTo>
                <a:lnTo>
                  <a:pt x="158" y="0"/>
                </a:lnTo>
                <a:lnTo>
                  <a:pt x="158" y="5"/>
                </a:lnTo>
                <a:lnTo>
                  <a:pt x="159" y="6"/>
                </a:lnTo>
                <a:lnTo>
                  <a:pt x="162" y="9"/>
                </a:lnTo>
                <a:lnTo>
                  <a:pt x="165" y="11"/>
                </a:lnTo>
                <a:lnTo>
                  <a:pt x="166" y="14"/>
                </a:lnTo>
                <a:lnTo>
                  <a:pt x="169" y="22"/>
                </a:lnTo>
                <a:lnTo>
                  <a:pt x="171" y="24"/>
                </a:lnTo>
                <a:lnTo>
                  <a:pt x="171" y="25"/>
                </a:lnTo>
                <a:lnTo>
                  <a:pt x="174" y="25"/>
                </a:lnTo>
                <a:lnTo>
                  <a:pt x="175" y="27"/>
                </a:lnTo>
                <a:lnTo>
                  <a:pt x="175" y="28"/>
                </a:lnTo>
                <a:lnTo>
                  <a:pt x="175" y="35"/>
                </a:lnTo>
                <a:lnTo>
                  <a:pt x="177" y="39"/>
                </a:lnTo>
                <a:lnTo>
                  <a:pt x="171" y="42"/>
                </a:lnTo>
                <a:lnTo>
                  <a:pt x="170" y="44"/>
                </a:lnTo>
                <a:lnTo>
                  <a:pt x="166" y="46"/>
                </a:lnTo>
                <a:lnTo>
                  <a:pt x="165" y="46"/>
                </a:lnTo>
                <a:lnTo>
                  <a:pt x="162" y="49"/>
                </a:lnTo>
                <a:lnTo>
                  <a:pt x="161" y="50"/>
                </a:lnTo>
                <a:lnTo>
                  <a:pt x="161" y="53"/>
                </a:lnTo>
                <a:lnTo>
                  <a:pt x="158" y="61"/>
                </a:lnTo>
                <a:lnTo>
                  <a:pt x="155" y="66"/>
                </a:lnTo>
                <a:lnTo>
                  <a:pt x="155" y="71"/>
                </a:lnTo>
                <a:lnTo>
                  <a:pt x="154" y="74"/>
                </a:lnTo>
                <a:lnTo>
                  <a:pt x="151" y="83"/>
                </a:lnTo>
                <a:lnTo>
                  <a:pt x="151" y="86"/>
                </a:lnTo>
                <a:lnTo>
                  <a:pt x="151" y="88"/>
                </a:lnTo>
                <a:lnTo>
                  <a:pt x="150" y="90"/>
                </a:lnTo>
                <a:lnTo>
                  <a:pt x="146" y="93"/>
                </a:lnTo>
                <a:lnTo>
                  <a:pt x="143" y="96"/>
                </a:lnTo>
                <a:lnTo>
                  <a:pt x="142" y="101"/>
                </a:lnTo>
                <a:lnTo>
                  <a:pt x="141" y="107"/>
                </a:lnTo>
                <a:lnTo>
                  <a:pt x="141" y="108"/>
                </a:lnTo>
                <a:lnTo>
                  <a:pt x="138" y="116"/>
                </a:lnTo>
                <a:lnTo>
                  <a:pt x="133" y="126"/>
                </a:lnTo>
                <a:lnTo>
                  <a:pt x="131" y="129"/>
                </a:lnTo>
                <a:lnTo>
                  <a:pt x="131" y="130"/>
                </a:lnTo>
                <a:lnTo>
                  <a:pt x="129" y="132"/>
                </a:lnTo>
                <a:lnTo>
                  <a:pt x="125" y="132"/>
                </a:lnTo>
                <a:lnTo>
                  <a:pt x="122" y="129"/>
                </a:lnTo>
                <a:lnTo>
                  <a:pt x="122" y="127"/>
                </a:lnTo>
                <a:lnTo>
                  <a:pt x="121" y="126"/>
                </a:lnTo>
                <a:lnTo>
                  <a:pt x="118" y="123"/>
                </a:lnTo>
                <a:lnTo>
                  <a:pt x="114" y="123"/>
                </a:lnTo>
                <a:lnTo>
                  <a:pt x="108" y="124"/>
                </a:lnTo>
                <a:lnTo>
                  <a:pt x="104" y="124"/>
                </a:lnTo>
                <a:lnTo>
                  <a:pt x="102" y="124"/>
                </a:lnTo>
                <a:lnTo>
                  <a:pt x="102" y="130"/>
                </a:lnTo>
                <a:lnTo>
                  <a:pt x="98" y="132"/>
                </a:lnTo>
                <a:lnTo>
                  <a:pt x="97" y="134"/>
                </a:lnTo>
                <a:lnTo>
                  <a:pt x="94" y="137"/>
                </a:lnTo>
                <a:lnTo>
                  <a:pt x="92" y="143"/>
                </a:lnTo>
                <a:lnTo>
                  <a:pt x="92" y="148"/>
                </a:lnTo>
                <a:lnTo>
                  <a:pt x="90" y="152"/>
                </a:lnTo>
                <a:lnTo>
                  <a:pt x="90" y="155"/>
                </a:lnTo>
                <a:lnTo>
                  <a:pt x="88" y="159"/>
                </a:lnTo>
                <a:lnTo>
                  <a:pt x="86" y="160"/>
                </a:lnTo>
                <a:lnTo>
                  <a:pt x="86" y="162"/>
                </a:lnTo>
                <a:lnTo>
                  <a:pt x="85" y="160"/>
                </a:lnTo>
                <a:lnTo>
                  <a:pt x="84" y="160"/>
                </a:lnTo>
                <a:lnTo>
                  <a:pt x="82" y="163"/>
                </a:lnTo>
                <a:lnTo>
                  <a:pt x="82" y="166"/>
                </a:lnTo>
                <a:lnTo>
                  <a:pt x="76" y="166"/>
                </a:lnTo>
                <a:lnTo>
                  <a:pt x="73" y="166"/>
                </a:lnTo>
                <a:lnTo>
                  <a:pt x="66" y="163"/>
                </a:lnTo>
                <a:lnTo>
                  <a:pt x="65" y="166"/>
                </a:lnTo>
                <a:lnTo>
                  <a:pt x="64" y="166"/>
                </a:lnTo>
                <a:lnTo>
                  <a:pt x="64" y="168"/>
                </a:lnTo>
                <a:lnTo>
                  <a:pt x="62" y="168"/>
                </a:lnTo>
                <a:lnTo>
                  <a:pt x="61" y="168"/>
                </a:lnTo>
                <a:lnTo>
                  <a:pt x="61" y="170"/>
                </a:lnTo>
                <a:lnTo>
                  <a:pt x="60" y="168"/>
                </a:lnTo>
                <a:lnTo>
                  <a:pt x="58" y="170"/>
                </a:lnTo>
                <a:lnTo>
                  <a:pt x="58" y="168"/>
                </a:lnTo>
                <a:lnTo>
                  <a:pt x="53" y="171"/>
                </a:lnTo>
                <a:lnTo>
                  <a:pt x="52" y="168"/>
                </a:lnTo>
                <a:lnTo>
                  <a:pt x="50" y="170"/>
                </a:lnTo>
                <a:lnTo>
                  <a:pt x="49" y="170"/>
                </a:lnTo>
                <a:lnTo>
                  <a:pt x="46" y="168"/>
                </a:lnTo>
                <a:lnTo>
                  <a:pt x="45" y="165"/>
                </a:lnTo>
                <a:lnTo>
                  <a:pt x="41" y="162"/>
                </a:lnTo>
                <a:lnTo>
                  <a:pt x="40" y="155"/>
                </a:lnTo>
                <a:lnTo>
                  <a:pt x="40" y="152"/>
                </a:lnTo>
                <a:lnTo>
                  <a:pt x="41" y="151"/>
                </a:lnTo>
                <a:lnTo>
                  <a:pt x="38" y="149"/>
                </a:lnTo>
                <a:lnTo>
                  <a:pt x="37" y="146"/>
                </a:lnTo>
                <a:lnTo>
                  <a:pt x="37" y="145"/>
                </a:lnTo>
                <a:lnTo>
                  <a:pt x="36" y="143"/>
                </a:lnTo>
                <a:lnTo>
                  <a:pt x="34" y="143"/>
                </a:lnTo>
                <a:lnTo>
                  <a:pt x="34" y="141"/>
                </a:lnTo>
                <a:lnTo>
                  <a:pt x="32" y="138"/>
                </a:lnTo>
                <a:lnTo>
                  <a:pt x="26" y="135"/>
                </a:lnTo>
                <a:lnTo>
                  <a:pt x="24" y="134"/>
                </a:lnTo>
                <a:lnTo>
                  <a:pt x="17" y="134"/>
                </a:lnTo>
                <a:lnTo>
                  <a:pt x="1" y="134"/>
                </a:lnTo>
                <a:lnTo>
                  <a:pt x="0" y="121"/>
                </a:lnTo>
                <a:lnTo>
                  <a:pt x="0" y="118"/>
                </a:lnTo>
                <a:lnTo>
                  <a:pt x="1" y="112"/>
                </a:lnTo>
                <a:lnTo>
                  <a:pt x="1" y="101"/>
                </a:lnTo>
                <a:lnTo>
                  <a:pt x="1" y="94"/>
                </a:lnTo>
                <a:lnTo>
                  <a:pt x="3" y="91"/>
                </a:lnTo>
                <a:lnTo>
                  <a:pt x="7" y="85"/>
                </a:lnTo>
                <a:lnTo>
                  <a:pt x="7" y="80"/>
                </a:lnTo>
                <a:lnTo>
                  <a:pt x="7" y="77"/>
                </a:lnTo>
                <a:lnTo>
                  <a:pt x="9" y="74"/>
                </a:lnTo>
                <a:lnTo>
                  <a:pt x="13" y="71"/>
                </a:lnTo>
                <a:lnTo>
                  <a:pt x="13" y="68"/>
                </a:lnTo>
                <a:lnTo>
                  <a:pt x="14" y="68"/>
                </a:lnTo>
                <a:lnTo>
                  <a:pt x="14" y="66"/>
                </a:lnTo>
                <a:lnTo>
                  <a:pt x="13" y="64"/>
                </a:lnTo>
                <a:lnTo>
                  <a:pt x="13" y="63"/>
                </a:lnTo>
                <a:lnTo>
                  <a:pt x="13" y="61"/>
                </a:lnTo>
                <a:lnTo>
                  <a:pt x="14" y="61"/>
                </a:lnTo>
                <a:lnTo>
                  <a:pt x="16" y="61"/>
                </a:lnTo>
                <a:lnTo>
                  <a:pt x="16" y="60"/>
                </a:lnTo>
                <a:lnTo>
                  <a:pt x="16" y="53"/>
                </a:lnTo>
                <a:lnTo>
                  <a:pt x="16" y="49"/>
                </a:lnTo>
                <a:lnTo>
                  <a:pt x="14" y="47"/>
                </a:lnTo>
                <a:lnTo>
                  <a:pt x="12" y="44"/>
                </a:lnTo>
                <a:lnTo>
                  <a:pt x="12" y="39"/>
                </a:lnTo>
                <a:lnTo>
                  <a:pt x="13" y="38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13" name="Freeform 1340"/>
          <p:cNvSpPr>
            <a:spLocks/>
          </p:cNvSpPr>
          <p:nvPr/>
        </p:nvSpPr>
        <p:spPr bwMode="auto">
          <a:xfrm>
            <a:off x="5750429" y="3854605"/>
            <a:ext cx="339094" cy="339322"/>
          </a:xfrm>
          <a:custGeom>
            <a:avLst/>
            <a:gdLst/>
            <a:ahLst/>
            <a:cxnLst>
              <a:cxn ang="0">
                <a:pos x="13" y="27"/>
              </a:cxn>
              <a:cxn ang="0">
                <a:pos x="14" y="22"/>
              </a:cxn>
              <a:cxn ang="0">
                <a:pos x="20" y="14"/>
              </a:cxn>
              <a:cxn ang="0">
                <a:pos x="32" y="2"/>
              </a:cxn>
              <a:cxn ang="0">
                <a:pos x="40" y="0"/>
              </a:cxn>
              <a:cxn ang="0">
                <a:pos x="61" y="14"/>
              </a:cxn>
              <a:cxn ang="0">
                <a:pos x="66" y="16"/>
              </a:cxn>
              <a:cxn ang="0">
                <a:pos x="76" y="9"/>
              </a:cxn>
              <a:cxn ang="0">
                <a:pos x="90" y="17"/>
              </a:cxn>
              <a:cxn ang="0">
                <a:pos x="102" y="19"/>
              </a:cxn>
              <a:cxn ang="0">
                <a:pos x="114" y="9"/>
              </a:cxn>
              <a:cxn ang="0">
                <a:pos x="129" y="8"/>
              </a:cxn>
              <a:cxn ang="0">
                <a:pos x="138" y="9"/>
              </a:cxn>
              <a:cxn ang="0">
                <a:pos x="145" y="11"/>
              </a:cxn>
              <a:cxn ang="0">
                <a:pos x="150" y="6"/>
              </a:cxn>
              <a:cxn ang="0">
                <a:pos x="155" y="5"/>
              </a:cxn>
              <a:cxn ang="0">
                <a:pos x="158" y="5"/>
              </a:cxn>
              <a:cxn ang="0">
                <a:pos x="165" y="11"/>
              </a:cxn>
              <a:cxn ang="0">
                <a:pos x="171" y="24"/>
              </a:cxn>
              <a:cxn ang="0">
                <a:pos x="175" y="27"/>
              </a:cxn>
              <a:cxn ang="0">
                <a:pos x="177" y="39"/>
              </a:cxn>
              <a:cxn ang="0">
                <a:pos x="166" y="46"/>
              </a:cxn>
              <a:cxn ang="0">
                <a:pos x="161" y="50"/>
              </a:cxn>
              <a:cxn ang="0">
                <a:pos x="155" y="66"/>
              </a:cxn>
              <a:cxn ang="0">
                <a:pos x="151" y="83"/>
              </a:cxn>
              <a:cxn ang="0">
                <a:pos x="150" y="90"/>
              </a:cxn>
              <a:cxn ang="0">
                <a:pos x="142" y="101"/>
              </a:cxn>
              <a:cxn ang="0">
                <a:pos x="138" y="116"/>
              </a:cxn>
              <a:cxn ang="0">
                <a:pos x="131" y="130"/>
              </a:cxn>
              <a:cxn ang="0">
                <a:pos x="122" y="129"/>
              </a:cxn>
              <a:cxn ang="0">
                <a:pos x="118" y="123"/>
              </a:cxn>
              <a:cxn ang="0">
                <a:pos x="104" y="124"/>
              </a:cxn>
              <a:cxn ang="0">
                <a:pos x="98" y="132"/>
              </a:cxn>
              <a:cxn ang="0">
                <a:pos x="92" y="143"/>
              </a:cxn>
              <a:cxn ang="0">
                <a:pos x="90" y="155"/>
              </a:cxn>
              <a:cxn ang="0">
                <a:pos x="86" y="162"/>
              </a:cxn>
              <a:cxn ang="0">
                <a:pos x="82" y="163"/>
              </a:cxn>
              <a:cxn ang="0">
                <a:pos x="73" y="166"/>
              </a:cxn>
              <a:cxn ang="0">
                <a:pos x="64" y="166"/>
              </a:cxn>
              <a:cxn ang="0">
                <a:pos x="61" y="168"/>
              </a:cxn>
              <a:cxn ang="0">
                <a:pos x="58" y="170"/>
              </a:cxn>
              <a:cxn ang="0">
                <a:pos x="52" y="168"/>
              </a:cxn>
              <a:cxn ang="0">
                <a:pos x="46" y="168"/>
              </a:cxn>
              <a:cxn ang="0">
                <a:pos x="40" y="155"/>
              </a:cxn>
              <a:cxn ang="0">
                <a:pos x="38" y="149"/>
              </a:cxn>
              <a:cxn ang="0">
                <a:pos x="36" y="143"/>
              </a:cxn>
              <a:cxn ang="0">
                <a:pos x="32" y="138"/>
              </a:cxn>
              <a:cxn ang="0">
                <a:pos x="17" y="134"/>
              </a:cxn>
              <a:cxn ang="0">
                <a:pos x="0" y="118"/>
              </a:cxn>
              <a:cxn ang="0">
                <a:pos x="1" y="94"/>
              </a:cxn>
              <a:cxn ang="0">
                <a:pos x="7" y="80"/>
              </a:cxn>
              <a:cxn ang="0">
                <a:pos x="13" y="71"/>
              </a:cxn>
              <a:cxn ang="0">
                <a:pos x="14" y="66"/>
              </a:cxn>
              <a:cxn ang="0">
                <a:pos x="13" y="61"/>
              </a:cxn>
              <a:cxn ang="0">
                <a:pos x="16" y="60"/>
              </a:cxn>
              <a:cxn ang="0">
                <a:pos x="14" y="47"/>
              </a:cxn>
              <a:cxn ang="0">
                <a:pos x="13" y="38"/>
              </a:cxn>
            </a:cxnLst>
            <a:rect l="0" t="0" r="r" b="b"/>
            <a:pathLst>
              <a:path w="177" h="171">
                <a:moveTo>
                  <a:pt x="13" y="38"/>
                </a:moveTo>
                <a:lnTo>
                  <a:pt x="13" y="36"/>
                </a:lnTo>
                <a:lnTo>
                  <a:pt x="13" y="27"/>
                </a:lnTo>
                <a:lnTo>
                  <a:pt x="13" y="25"/>
                </a:lnTo>
                <a:lnTo>
                  <a:pt x="14" y="24"/>
                </a:lnTo>
                <a:lnTo>
                  <a:pt x="14" y="22"/>
                </a:lnTo>
                <a:lnTo>
                  <a:pt x="17" y="20"/>
                </a:lnTo>
                <a:lnTo>
                  <a:pt x="18" y="19"/>
                </a:lnTo>
                <a:lnTo>
                  <a:pt x="20" y="14"/>
                </a:lnTo>
                <a:lnTo>
                  <a:pt x="21" y="8"/>
                </a:lnTo>
                <a:lnTo>
                  <a:pt x="26" y="3"/>
                </a:lnTo>
                <a:lnTo>
                  <a:pt x="32" y="2"/>
                </a:lnTo>
                <a:lnTo>
                  <a:pt x="36" y="2"/>
                </a:lnTo>
                <a:lnTo>
                  <a:pt x="38" y="2"/>
                </a:lnTo>
                <a:lnTo>
                  <a:pt x="40" y="0"/>
                </a:lnTo>
                <a:lnTo>
                  <a:pt x="44" y="0"/>
                </a:lnTo>
                <a:lnTo>
                  <a:pt x="54" y="6"/>
                </a:lnTo>
                <a:lnTo>
                  <a:pt x="61" y="14"/>
                </a:lnTo>
                <a:lnTo>
                  <a:pt x="62" y="16"/>
                </a:lnTo>
                <a:lnTo>
                  <a:pt x="64" y="16"/>
                </a:lnTo>
                <a:lnTo>
                  <a:pt x="66" y="16"/>
                </a:lnTo>
                <a:lnTo>
                  <a:pt x="68" y="13"/>
                </a:lnTo>
                <a:lnTo>
                  <a:pt x="73" y="9"/>
                </a:lnTo>
                <a:lnTo>
                  <a:pt x="76" y="9"/>
                </a:lnTo>
                <a:lnTo>
                  <a:pt x="78" y="9"/>
                </a:lnTo>
                <a:lnTo>
                  <a:pt x="84" y="13"/>
                </a:lnTo>
                <a:lnTo>
                  <a:pt x="90" y="17"/>
                </a:lnTo>
                <a:lnTo>
                  <a:pt x="93" y="17"/>
                </a:lnTo>
                <a:lnTo>
                  <a:pt x="100" y="19"/>
                </a:lnTo>
                <a:lnTo>
                  <a:pt x="102" y="19"/>
                </a:lnTo>
                <a:lnTo>
                  <a:pt x="108" y="16"/>
                </a:lnTo>
                <a:lnTo>
                  <a:pt x="112" y="11"/>
                </a:lnTo>
                <a:lnTo>
                  <a:pt x="114" y="9"/>
                </a:lnTo>
                <a:lnTo>
                  <a:pt x="121" y="9"/>
                </a:lnTo>
                <a:lnTo>
                  <a:pt x="126" y="9"/>
                </a:lnTo>
                <a:lnTo>
                  <a:pt x="129" y="8"/>
                </a:lnTo>
                <a:lnTo>
                  <a:pt x="134" y="8"/>
                </a:lnTo>
                <a:lnTo>
                  <a:pt x="135" y="8"/>
                </a:lnTo>
                <a:lnTo>
                  <a:pt x="138" y="9"/>
                </a:lnTo>
                <a:lnTo>
                  <a:pt x="141" y="11"/>
                </a:lnTo>
                <a:lnTo>
                  <a:pt x="142" y="13"/>
                </a:lnTo>
                <a:lnTo>
                  <a:pt x="145" y="11"/>
                </a:lnTo>
                <a:lnTo>
                  <a:pt x="146" y="11"/>
                </a:lnTo>
                <a:lnTo>
                  <a:pt x="149" y="8"/>
                </a:lnTo>
                <a:lnTo>
                  <a:pt x="150" y="6"/>
                </a:lnTo>
                <a:lnTo>
                  <a:pt x="151" y="6"/>
                </a:lnTo>
                <a:lnTo>
                  <a:pt x="153" y="5"/>
                </a:lnTo>
                <a:lnTo>
                  <a:pt x="155" y="5"/>
                </a:lnTo>
                <a:lnTo>
                  <a:pt x="157" y="2"/>
                </a:lnTo>
                <a:lnTo>
                  <a:pt x="158" y="0"/>
                </a:lnTo>
                <a:lnTo>
                  <a:pt x="158" y="5"/>
                </a:lnTo>
                <a:lnTo>
                  <a:pt x="159" y="6"/>
                </a:lnTo>
                <a:lnTo>
                  <a:pt x="162" y="9"/>
                </a:lnTo>
                <a:lnTo>
                  <a:pt x="165" y="11"/>
                </a:lnTo>
                <a:lnTo>
                  <a:pt x="166" y="14"/>
                </a:lnTo>
                <a:lnTo>
                  <a:pt x="169" y="22"/>
                </a:lnTo>
                <a:lnTo>
                  <a:pt x="171" y="24"/>
                </a:lnTo>
                <a:lnTo>
                  <a:pt x="171" y="25"/>
                </a:lnTo>
                <a:lnTo>
                  <a:pt x="174" y="25"/>
                </a:lnTo>
                <a:lnTo>
                  <a:pt x="175" y="27"/>
                </a:lnTo>
                <a:lnTo>
                  <a:pt x="175" y="28"/>
                </a:lnTo>
                <a:lnTo>
                  <a:pt x="175" y="35"/>
                </a:lnTo>
                <a:lnTo>
                  <a:pt x="177" y="39"/>
                </a:lnTo>
                <a:lnTo>
                  <a:pt x="171" y="42"/>
                </a:lnTo>
                <a:lnTo>
                  <a:pt x="170" y="44"/>
                </a:lnTo>
                <a:lnTo>
                  <a:pt x="166" y="46"/>
                </a:lnTo>
                <a:lnTo>
                  <a:pt x="165" y="46"/>
                </a:lnTo>
                <a:lnTo>
                  <a:pt x="162" y="49"/>
                </a:lnTo>
                <a:lnTo>
                  <a:pt x="161" y="50"/>
                </a:lnTo>
                <a:lnTo>
                  <a:pt x="161" y="53"/>
                </a:lnTo>
                <a:lnTo>
                  <a:pt x="158" y="61"/>
                </a:lnTo>
                <a:lnTo>
                  <a:pt x="155" y="66"/>
                </a:lnTo>
                <a:lnTo>
                  <a:pt x="155" y="71"/>
                </a:lnTo>
                <a:lnTo>
                  <a:pt x="154" y="74"/>
                </a:lnTo>
                <a:lnTo>
                  <a:pt x="151" y="83"/>
                </a:lnTo>
                <a:lnTo>
                  <a:pt x="151" y="86"/>
                </a:lnTo>
                <a:lnTo>
                  <a:pt x="151" y="88"/>
                </a:lnTo>
                <a:lnTo>
                  <a:pt x="150" y="90"/>
                </a:lnTo>
                <a:lnTo>
                  <a:pt x="146" y="93"/>
                </a:lnTo>
                <a:lnTo>
                  <a:pt x="143" y="96"/>
                </a:lnTo>
                <a:lnTo>
                  <a:pt x="142" y="101"/>
                </a:lnTo>
                <a:lnTo>
                  <a:pt x="141" y="107"/>
                </a:lnTo>
                <a:lnTo>
                  <a:pt x="141" y="108"/>
                </a:lnTo>
                <a:lnTo>
                  <a:pt x="138" y="116"/>
                </a:lnTo>
                <a:lnTo>
                  <a:pt x="133" y="126"/>
                </a:lnTo>
                <a:lnTo>
                  <a:pt x="131" y="129"/>
                </a:lnTo>
                <a:lnTo>
                  <a:pt x="131" y="130"/>
                </a:lnTo>
                <a:lnTo>
                  <a:pt x="129" y="132"/>
                </a:lnTo>
                <a:lnTo>
                  <a:pt x="125" y="132"/>
                </a:lnTo>
                <a:lnTo>
                  <a:pt x="122" y="129"/>
                </a:lnTo>
                <a:lnTo>
                  <a:pt x="122" y="127"/>
                </a:lnTo>
                <a:lnTo>
                  <a:pt x="121" y="126"/>
                </a:lnTo>
                <a:lnTo>
                  <a:pt x="118" y="123"/>
                </a:lnTo>
                <a:lnTo>
                  <a:pt x="114" y="123"/>
                </a:lnTo>
                <a:lnTo>
                  <a:pt x="108" y="124"/>
                </a:lnTo>
                <a:lnTo>
                  <a:pt x="104" y="124"/>
                </a:lnTo>
                <a:lnTo>
                  <a:pt x="102" y="124"/>
                </a:lnTo>
                <a:lnTo>
                  <a:pt x="102" y="130"/>
                </a:lnTo>
                <a:lnTo>
                  <a:pt x="98" y="132"/>
                </a:lnTo>
                <a:lnTo>
                  <a:pt x="97" y="134"/>
                </a:lnTo>
                <a:lnTo>
                  <a:pt x="94" y="137"/>
                </a:lnTo>
                <a:lnTo>
                  <a:pt x="92" y="143"/>
                </a:lnTo>
                <a:lnTo>
                  <a:pt x="92" y="148"/>
                </a:lnTo>
                <a:lnTo>
                  <a:pt x="90" y="152"/>
                </a:lnTo>
                <a:lnTo>
                  <a:pt x="90" y="155"/>
                </a:lnTo>
                <a:lnTo>
                  <a:pt x="88" y="159"/>
                </a:lnTo>
                <a:lnTo>
                  <a:pt x="86" y="160"/>
                </a:lnTo>
                <a:lnTo>
                  <a:pt x="86" y="162"/>
                </a:lnTo>
                <a:lnTo>
                  <a:pt x="85" y="160"/>
                </a:lnTo>
                <a:lnTo>
                  <a:pt x="84" y="160"/>
                </a:lnTo>
                <a:lnTo>
                  <a:pt x="82" y="163"/>
                </a:lnTo>
                <a:lnTo>
                  <a:pt x="82" y="166"/>
                </a:lnTo>
                <a:lnTo>
                  <a:pt x="76" y="166"/>
                </a:lnTo>
                <a:lnTo>
                  <a:pt x="73" y="166"/>
                </a:lnTo>
                <a:lnTo>
                  <a:pt x="66" y="163"/>
                </a:lnTo>
                <a:lnTo>
                  <a:pt x="65" y="166"/>
                </a:lnTo>
                <a:lnTo>
                  <a:pt x="64" y="166"/>
                </a:lnTo>
                <a:lnTo>
                  <a:pt x="64" y="168"/>
                </a:lnTo>
                <a:lnTo>
                  <a:pt x="62" y="168"/>
                </a:lnTo>
                <a:lnTo>
                  <a:pt x="61" y="168"/>
                </a:lnTo>
                <a:lnTo>
                  <a:pt x="61" y="170"/>
                </a:lnTo>
                <a:lnTo>
                  <a:pt x="60" y="168"/>
                </a:lnTo>
                <a:lnTo>
                  <a:pt x="58" y="170"/>
                </a:lnTo>
                <a:lnTo>
                  <a:pt x="58" y="168"/>
                </a:lnTo>
                <a:lnTo>
                  <a:pt x="53" y="171"/>
                </a:lnTo>
                <a:lnTo>
                  <a:pt x="52" y="168"/>
                </a:lnTo>
                <a:lnTo>
                  <a:pt x="50" y="170"/>
                </a:lnTo>
                <a:lnTo>
                  <a:pt x="49" y="170"/>
                </a:lnTo>
                <a:lnTo>
                  <a:pt x="46" y="168"/>
                </a:lnTo>
                <a:lnTo>
                  <a:pt x="45" y="165"/>
                </a:lnTo>
                <a:lnTo>
                  <a:pt x="41" y="162"/>
                </a:lnTo>
                <a:lnTo>
                  <a:pt x="40" y="155"/>
                </a:lnTo>
                <a:lnTo>
                  <a:pt x="40" y="152"/>
                </a:lnTo>
                <a:lnTo>
                  <a:pt x="41" y="151"/>
                </a:lnTo>
                <a:lnTo>
                  <a:pt x="38" y="149"/>
                </a:lnTo>
                <a:lnTo>
                  <a:pt x="37" y="146"/>
                </a:lnTo>
                <a:lnTo>
                  <a:pt x="37" y="145"/>
                </a:lnTo>
                <a:lnTo>
                  <a:pt x="36" y="143"/>
                </a:lnTo>
                <a:lnTo>
                  <a:pt x="34" y="143"/>
                </a:lnTo>
                <a:lnTo>
                  <a:pt x="34" y="141"/>
                </a:lnTo>
                <a:lnTo>
                  <a:pt x="32" y="138"/>
                </a:lnTo>
                <a:lnTo>
                  <a:pt x="26" y="135"/>
                </a:lnTo>
                <a:lnTo>
                  <a:pt x="24" y="134"/>
                </a:lnTo>
                <a:lnTo>
                  <a:pt x="17" y="134"/>
                </a:lnTo>
                <a:lnTo>
                  <a:pt x="1" y="134"/>
                </a:lnTo>
                <a:lnTo>
                  <a:pt x="0" y="121"/>
                </a:lnTo>
                <a:lnTo>
                  <a:pt x="0" y="118"/>
                </a:lnTo>
                <a:lnTo>
                  <a:pt x="1" y="112"/>
                </a:lnTo>
                <a:lnTo>
                  <a:pt x="1" y="101"/>
                </a:lnTo>
                <a:lnTo>
                  <a:pt x="1" y="94"/>
                </a:lnTo>
                <a:lnTo>
                  <a:pt x="3" y="91"/>
                </a:lnTo>
                <a:lnTo>
                  <a:pt x="7" y="85"/>
                </a:lnTo>
                <a:lnTo>
                  <a:pt x="7" y="80"/>
                </a:lnTo>
                <a:lnTo>
                  <a:pt x="7" y="77"/>
                </a:lnTo>
                <a:lnTo>
                  <a:pt x="9" y="74"/>
                </a:lnTo>
                <a:lnTo>
                  <a:pt x="13" y="71"/>
                </a:lnTo>
                <a:lnTo>
                  <a:pt x="13" y="68"/>
                </a:lnTo>
                <a:lnTo>
                  <a:pt x="14" y="68"/>
                </a:lnTo>
                <a:lnTo>
                  <a:pt x="14" y="66"/>
                </a:lnTo>
                <a:lnTo>
                  <a:pt x="13" y="64"/>
                </a:lnTo>
                <a:lnTo>
                  <a:pt x="13" y="63"/>
                </a:lnTo>
                <a:lnTo>
                  <a:pt x="13" y="61"/>
                </a:lnTo>
                <a:lnTo>
                  <a:pt x="14" y="61"/>
                </a:lnTo>
                <a:lnTo>
                  <a:pt x="16" y="61"/>
                </a:lnTo>
                <a:lnTo>
                  <a:pt x="16" y="60"/>
                </a:lnTo>
                <a:lnTo>
                  <a:pt x="16" y="53"/>
                </a:lnTo>
                <a:lnTo>
                  <a:pt x="16" y="49"/>
                </a:lnTo>
                <a:lnTo>
                  <a:pt x="14" y="47"/>
                </a:lnTo>
                <a:lnTo>
                  <a:pt x="12" y="44"/>
                </a:lnTo>
                <a:lnTo>
                  <a:pt x="12" y="39"/>
                </a:lnTo>
                <a:lnTo>
                  <a:pt x="13" y="38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14" name="Freeform 1341"/>
          <p:cNvSpPr>
            <a:spLocks/>
          </p:cNvSpPr>
          <p:nvPr/>
        </p:nvSpPr>
        <p:spPr bwMode="auto">
          <a:xfrm>
            <a:off x="5990134" y="4213255"/>
            <a:ext cx="220215" cy="309256"/>
          </a:xfrm>
          <a:custGeom>
            <a:avLst/>
            <a:gdLst/>
            <a:ahLst/>
            <a:cxnLst>
              <a:cxn ang="0">
                <a:pos x="112" y="1"/>
              </a:cxn>
              <a:cxn ang="0">
                <a:pos x="104" y="4"/>
              </a:cxn>
              <a:cxn ang="0">
                <a:pos x="95" y="0"/>
              </a:cxn>
              <a:cxn ang="0">
                <a:pos x="83" y="6"/>
              </a:cxn>
              <a:cxn ang="0">
                <a:pos x="76" y="15"/>
              </a:cxn>
              <a:cxn ang="0">
                <a:pos x="76" y="33"/>
              </a:cxn>
              <a:cxn ang="0">
                <a:pos x="73" y="37"/>
              </a:cxn>
              <a:cxn ang="0">
                <a:pos x="64" y="31"/>
              </a:cxn>
              <a:cxn ang="0">
                <a:pos x="56" y="29"/>
              </a:cxn>
              <a:cxn ang="0">
                <a:pos x="32" y="26"/>
              </a:cxn>
              <a:cxn ang="0">
                <a:pos x="31" y="37"/>
              </a:cxn>
              <a:cxn ang="0">
                <a:pos x="33" y="45"/>
              </a:cxn>
              <a:cxn ang="0">
                <a:pos x="45" y="40"/>
              </a:cxn>
              <a:cxn ang="0">
                <a:pos x="48" y="51"/>
              </a:cxn>
              <a:cxn ang="0">
                <a:pos x="44" y="66"/>
              </a:cxn>
              <a:cxn ang="0">
                <a:pos x="48" y="80"/>
              </a:cxn>
              <a:cxn ang="0">
                <a:pos x="47" y="89"/>
              </a:cxn>
              <a:cxn ang="0">
                <a:pos x="44" y="106"/>
              </a:cxn>
              <a:cxn ang="0">
                <a:pos x="35" y="103"/>
              </a:cxn>
              <a:cxn ang="0">
                <a:pos x="25" y="100"/>
              </a:cxn>
              <a:cxn ang="0">
                <a:pos x="20" y="102"/>
              </a:cxn>
              <a:cxn ang="0">
                <a:pos x="12" y="108"/>
              </a:cxn>
              <a:cxn ang="0">
                <a:pos x="7" y="114"/>
              </a:cxn>
              <a:cxn ang="0">
                <a:pos x="8" y="122"/>
              </a:cxn>
              <a:cxn ang="0">
                <a:pos x="8" y="128"/>
              </a:cxn>
              <a:cxn ang="0">
                <a:pos x="3" y="128"/>
              </a:cxn>
              <a:cxn ang="0">
                <a:pos x="0" y="136"/>
              </a:cxn>
              <a:cxn ang="0">
                <a:pos x="5" y="141"/>
              </a:cxn>
              <a:cxn ang="0">
                <a:pos x="11" y="149"/>
              </a:cxn>
              <a:cxn ang="0">
                <a:pos x="17" y="152"/>
              </a:cxn>
              <a:cxn ang="0">
                <a:pos x="21" y="146"/>
              </a:cxn>
              <a:cxn ang="0">
                <a:pos x="27" y="146"/>
              </a:cxn>
              <a:cxn ang="0">
                <a:pos x="33" y="152"/>
              </a:cxn>
              <a:cxn ang="0">
                <a:pos x="39" y="147"/>
              </a:cxn>
              <a:cxn ang="0">
                <a:pos x="44" y="144"/>
              </a:cxn>
              <a:cxn ang="0">
                <a:pos x="48" y="144"/>
              </a:cxn>
              <a:cxn ang="0">
                <a:pos x="52" y="152"/>
              </a:cxn>
              <a:cxn ang="0">
                <a:pos x="64" y="143"/>
              </a:cxn>
              <a:cxn ang="0">
                <a:pos x="72" y="135"/>
              </a:cxn>
              <a:cxn ang="0">
                <a:pos x="76" y="122"/>
              </a:cxn>
              <a:cxn ang="0">
                <a:pos x="77" y="110"/>
              </a:cxn>
              <a:cxn ang="0">
                <a:pos x="85" y="91"/>
              </a:cxn>
              <a:cxn ang="0">
                <a:pos x="96" y="83"/>
              </a:cxn>
              <a:cxn ang="0">
                <a:pos x="100" y="77"/>
              </a:cxn>
              <a:cxn ang="0">
                <a:pos x="103" y="45"/>
              </a:cxn>
              <a:cxn ang="0">
                <a:pos x="108" y="23"/>
              </a:cxn>
              <a:cxn ang="0">
                <a:pos x="114" y="4"/>
              </a:cxn>
            </a:cxnLst>
            <a:rect l="0" t="0" r="r" b="b"/>
            <a:pathLst>
              <a:path w="114" h="155">
                <a:moveTo>
                  <a:pt x="113" y="0"/>
                </a:moveTo>
                <a:lnTo>
                  <a:pt x="112" y="1"/>
                </a:lnTo>
                <a:lnTo>
                  <a:pt x="108" y="3"/>
                </a:lnTo>
                <a:lnTo>
                  <a:pt x="104" y="4"/>
                </a:lnTo>
                <a:lnTo>
                  <a:pt x="99" y="3"/>
                </a:lnTo>
                <a:lnTo>
                  <a:pt x="95" y="0"/>
                </a:lnTo>
                <a:lnTo>
                  <a:pt x="89" y="1"/>
                </a:lnTo>
                <a:lnTo>
                  <a:pt x="83" y="6"/>
                </a:lnTo>
                <a:lnTo>
                  <a:pt x="77" y="11"/>
                </a:lnTo>
                <a:lnTo>
                  <a:pt x="76" y="15"/>
                </a:lnTo>
                <a:lnTo>
                  <a:pt x="75" y="18"/>
                </a:lnTo>
                <a:lnTo>
                  <a:pt x="76" y="33"/>
                </a:lnTo>
                <a:lnTo>
                  <a:pt x="75" y="36"/>
                </a:lnTo>
                <a:lnTo>
                  <a:pt x="73" y="37"/>
                </a:lnTo>
                <a:lnTo>
                  <a:pt x="67" y="31"/>
                </a:lnTo>
                <a:lnTo>
                  <a:pt x="64" y="31"/>
                </a:lnTo>
                <a:lnTo>
                  <a:pt x="60" y="29"/>
                </a:lnTo>
                <a:lnTo>
                  <a:pt x="56" y="29"/>
                </a:lnTo>
                <a:lnTo>
                  <a:pt x="53" y="26"/>
                </a:lnTo>
                <a:lnTo>
                  <a:pt x="32" y="26"/>
                </a:lnTo>
                <a:lnTo>
                  <a:pt x="31" y="31"/>
                </a:lnTo>
                <a:lnTo>
                  <a:pt x="31" y="37"/>
                </a:lnTo>
                <a:lnTo>
                  <a:pt x="31" y="44"/>
                </a:lnTo>
                <a:lnTo>
                  <a:pt x="33" y="45"/>
                </a:lnTo>
                <a:lnTo>
                  <a:pt x="37" y="37"/>
                </a:lnTo>
                <a:lnTo>
                  <a:pt x="45" y="40"/>
                </a:lnTo>
                <a:lnTo>
                  <a:pt x="48" y="44"/>
                </a:lnTo>
                <a:lnTo>
                  <a:pt x="48" y="51"/>
                </a:lnTo>
                <a:lnTo>
                  <a:pt x="44" y="61"/>
                </a:lnTo>
                <a:lnTo>
                  <a:pt x="44" y="66"/>
                </a:lnTo>
                <a:lnTo>
                  <a:pt x="44" y="70"/>
                </a:lnTo>
                <a:lnTo>
                  <a:pt x="48" y="80"/>
                </a:lnTo>
                <a:lnTo>
                  <a:pt x="47" y="84"/>
                </a:lnTo>
                <a:lnTo>
                  <a:pt x="47" y="89"/>
                </a:lnTo>
                <a:lnTo>
                  <a:pt x="45" y="102"/>
                </a:lnTo>
                <a:lnTo>
                  <a:pt x="44" y="106"/>
                </a:lnTo>
                <a:lnTo>
                  <a:pt x="40" y="110"/>
                </a:lnTo>
                <a:lnTo>
                  <a:pt x="35" y="103"/>
                </a:lnTo>
                <a:lnTo>
                  <a:pt x="28" y="105"/>
                </a:lnTo>
                <a:lnTo>
                  <a:pt x="25" y="100"/>
                </a:lnTo>
                <a:lnTo>
                  <a:pt x="23" y="99"/>
                </a:lnTo>
                <a:lnTo>
                  <a:pt x="20" y="102"/>
                </a:lnTo>
                <a:lnTo>
                  <a:pt x="17" y="105"/>
                </a:lnTo>
                <a:lnTo>
                  <a:pt x="12" y="108"/>
                </a:lnTo>
                <a:lnTo>
                  <a:pt x="8" y="111"/>
                </a:lnTo>
                <a:lnTo>
                  <a:pt x="7" y="114"/>
                </a:lnTo>
                <a:lnTo>
                  <a:pt x="7" y="117"/>
                </a:lnTo>
                <a:lnTo>
                  <a:pt x="8" y="122"/>
                </a:lnTo>
                <a:lnTo>
                  <a:pt x="9" y="127"/>
                </a:lnTo>
                <a:lnTo>
                  <a:pt x="8" y="128"/>
                </a:lnTo>
                <a:lnTo>
                  <a:pt x="5" y="128"/>
                </a:lnTo>
                <a:lnTo>
                  <a:pt x="3" y="128"/>
                </a:lnTo>
                <a:lnTo>
                  <a:pt x="0" y="132"/>
                </a:lnTo>
                <a:lnTo>
                  <a:pt x="0" y="136"/>
                </a:lnTo>
                <a:lnTo>
                  <a:pt x="3" y="138"/>
                </a:lnTo>
                <a:lnTo>
                  <a:pt x="5" y="141"/>
                </a:lnTo>
                <a:lnTo>
                  <a:pt x="9" y="146"/>
                </a:lnTo>
                <a:lnTo>
                  <a:pt x="11" y="149"/>
                </a:lnTo>
                <a:lnTo>
                  <a:pt x="13" y="155"/>
                </a:lnTo>
                <a:lnTo>
                  <a:pt x="17" y="152"/>
                </a:lnTo>
                <a:lnTo>
                  <a:pt x="20" y="150"/>
                </a:lnTo>
                <a:lnTo>
                  <a:pt x="21" y="146"/>
                </a:lnTo>
                <a:lnTo>
                  <a:pt x="25" y="144"/>
                </a:lnTo>
                <a:lnTo>
                  <a:pt x="27" y="146"/>
                </a:lnTo>
                <a:lnTo>
                  <a:pt x="28" y="149"/>
                </a:lnTo>
                <a:lnTo>
                  <a:pt x="33" y="152"/>
                </a:lnTo>
                <a:lnTo>
                  <a:pt x="36" y="150"/>
                </a:lnTo>
                <a:lnTo>
                  <a:pt x="39" y="147"/>
                </a:lnTo>
                <a:lnTo>
                  <a:pt x="40" y="146"/>
                </a:lnTo>
                <a:lnTo>
                  <a:pt x="44" y="144"/>
                </a:lnTo>
                <a:lnTo>
                  <a:pt x="48" y="143"/>
                </a:lnTo>
                <a:lnTo>
                  <a:pt x="48" y="144"/>
                </a:lnTo>
                <a:lnTo>
                  <a:pt x="49" y="150"/>
                </a:lnTo>
                <a:lnTo>
                  <a:pt x="52" y="152"/>
                </a:lnTo>
                <a:lnTo>
                  <a:pt x="57" y="149"/>
                </a:lnTo>
                <a:lnTo>
                  <a:pt x="64" y="143"/>
                </a:lnTo>
                <a:lnTo>
                  <a:pt x="68" y="139"/>
                </a:lnTo>
                <a:lnTo>
                  <a:pt x="72" y="135"/>
                </a:lnTo>
                <a:lnTo>
                  <a:pt x="76" y="128"/>
                </a:lnTo>
                <a:lnTo>
                  <a:pt x="76" y="122"/>
                </a:lnTo>
                <a:lnTo>
                  <a:pt x="76" y="116"/>
                </a:lnTo>
                <a:lnTo>
                  <a:pt x="77" y="110"/>
                </a:lnTo>
                <a:lnTo>
                  <a:pt x="79" y="103"/>
                </a:lnTo>
                <a:lnTo>
                  <a:pt x="85" y="91"/>
                </a:lnTo>
                <a:lnTo>
                  <a:pt x="91" y="86"/>
                </a:lnTo>
                <a:lnTo>
                  <a:pt x="96" y="83"/>
                </a:lnTo>
                <a:lnTo>
                  <a:pt x="100" y="78"/>
                </a:lnTo>
                <a:lnTo>
                  <a:pt x="100" y="77"/>
                </a:lnTo>
                <a:lnTo>
                  <a:pt x="101" y="67"/>
                </a:lnTo>
                <a:lnTo>
                  <a:pt x="103" y="45"/>
                </a:lnTo>
                <a:lnTo>
                  <a:pt x="105" y="31"/>
                </a:lnTo>
                <a:lnTo>
                  <a:pt x="108" y="23"/>
                </a:lnTo>
                <a:lnTo>
                  <a:pt x="113" y="11"/>
                </a:lnTo>
                <a:lnTo>
                  <a:pt x="114" y="4"/>
                </a:lnTo>
                <a:lnTo>
                  <a:pt x="113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15" name="Freeform 1342"/>
          <p:cNvSpPr>
            <a:spLocks/>
          </p:cNvSpPr>
          <p:nvPr/>
        </p:nvSpPr>
        <p:spPr bwMode="auto">
          <a:xfrm>
            <a:off x="5990134" y="4213255"/>
            <a:ext cx="220215" cy="309256"/>
          </a:xfrm>
          <a:custGeom>
            <a:avLst/>
            <a:gdLst/>
            <a:ahLst/>
            <a:cxnLst>
              <a:cxn ang="0">
                <a:pos x="112" y="1"/>
              </a:cxn>
              <a:cxn ang="0">
                <a:pos x="104" y="4"/>
              </a:cxn>
              <a:cxn ang="0">
                <a:pos x="95" y="0"/>
              </a:cxn>
              <a:cxn ang="0">
                <a:pos x="83" y="6"/>
              </a:cxn>
              <a:cxn ang="0">
                <a:pos x="76" y="15"/>
              </a:cxn>
              <a:cxn ang="0">
                <a:pos x="76" y="33"/>
              </a:cxn>
              <a:cxn ang="0">
                <a:pos x="73" y="37"/>
              </a:cxn>
              <a:cxn ang="0">
                <a:pos x="64" y="31"/>
              </a:cxn>
              <a:cxn ang="0">
                <a:pos x="56" y="29"/>
              </a:cxn>
              <a:cxn ang="0">
                <a:pos x="32" y="26"/>
              </a:cxn>
              <a:cxn ang="0">
                <a:pos x="31" y="37"/>
              </a:cxn>
              <a:cxn ang="0">
                <a:pos x="33" y="45"/>
              </a:cxn>
              <a:cxn ang="0">
                <a:pos x="45" y="40"/>
              </a:cxn>
              <a:cxn ang="0">
                <a:pos x="48" y="51"/>
              </a:cxn>
              <a:cxn ang="0">
                <a:pos x="44" y="66"/>
              </a:cxn>
              <a:cxn ang="0">
                <a:pos x="48" y="80"/>
              </a:cxn>
              <a:cxn ang="0">
                <a:pos x="47" y="89"/>
              </a:cxn>
              <a:cxn ang="0">
                <a:pos x="44" y="106"/>
              </a:cxn>
              <a:cxn ang="0">
                <a:pos x="35" y="103"/>
              </a:cxn>
              <a:cxn ang="0">
                <a:pos x="25" y="100"/>
              </a:cxn>
              <a:cxn ang="0">
                <a:pos x="20" y="102"/>
              </a:cxn>
              <a:cxn ang="0">
                <a:pos x="12" y="108"/>
              </a:cxn>
              <a:cxn ang="0">
                <a:pos x="7" y="114"/>
              </a:cxn>
              <a:cxn ang="0">
                <a:pos x="8" y="122"/>
              </a:cxn>
              <a:cxn ang="0">
                <a:pos x="8" y="128"/>
              </a:cxn>
              <a:cxn ang="0">
                <a:pos x="3" y="128"/>
              </a:cxn>
              <a:cxn ang="0">
                <a:pos x="0" y="136"/>
              </a:cxn>
              <a:cxn ang="0">
                <a:pos x="5" y="141"/>
              </a:cxn>
              <a:cxn ang="0">
                <a:pos x="11" y="149"/>
              </a:cxn>
              <a:cxn ang="0">
                <a:pos x="17" y="152"/>
              </a:cxn>
              <a:cxn ang="0">
                <a:pos x="21" y="146"/>
              </a:cxn>
              <a:cxn ang="0">
                <a:pos x="27" y="146"/>
              </a:cxn>
              <a:cxn ang="0">
                <a:pos x="33" y="152"/>
              </a:cxn>
              <a:cxn ang="0">
                <a:pos x="39" y="147"/>
              </a:cxn>
              <a:cxn ang="0">
                <a:pos x="44" y="144"/>
              </a:cxn>
              <a:cxn ang="0">
                <a:pos x="48" y="144"/>
              </a:cxn>
              <a:cxn ang="0">
                <a:pos x="52" y="152"/>
              </a:cxn>
              <a:cxn ang="0">
                <a:pos x="64" y="143"/>
              </a:cxn>
              <a:cxn ang="0">
                <a:pos x="72" y="135"/>
              </a:cxn>
              <a:cxn ang="0">
                <a:pos x="76" y="122"/>
              </a:cxn>
              <a:cxn ang="0">
                <a:pos x="77" y="110"/>
              </a:cxn>
              <a:cxn ang="0">
                <a:pos x="85" y="91"/>
              </a:cxn>
              <a:cxn ang="0">
                <a:pos x="96" y="83"/>
              </a:cxn>
              <a:cxn ang="0">
                <a:pos x="100" y="77"/>
              </a:cxn>
              <a:cxn ang="0">
                <a:pos x="103" y="45"/>
              </a:cxn>
              <a:cxn ang="0">
                <a:pos x="108" y="23"/>
              </a:cxn>
              <a:cxn ang="0">
                <a:pos x="114" y="4"/>
              </a:cxn>
            </a:cxnLst>
            <a:rect l="0" t="0" r="r" b="b"/>
            <a:pathLst>
              <a:path w="114" h="155">
                <a:moveTo>
                  <a:pt x="113" y="0"/>
                </a:moveTo>
                <a:lnTo>
                  <a:pt x="112" y="1"/>
                </a:lnTo>
                <a:lnTo>
                  <a:pt x="108" y="3"/>
                </a:lnTo>
                <a:lnTo>
                  <a:pt x="104" y="4"/>
                </a:lnTo>
                <a:lnTo>
                  <a:pt x="99" y="3"/>
                </a:lnTo>
                <a:lnTo>
                  <a:pt x="95" y="0"/>
                </a:lnTo>
                <a:lnTo>
                  <a:pt x="89" y="1"/>
                </a:lnTo>
                <a:lnTo>
                  <a:pt x="83" y="6"/>
                </a:lnTo>
                <a:lnTo>
                  <a:pt x="77" y="11"/>
                </a:lnTo>
                <a:lnTo>
                  <a:pt x="76" y="15"/>
                </a:lnTo>
                <a:lnTo>
                  <a:pt x="75" y="18"/>
                </a:lnTo>
                <a:lnTo>
                  <a:pt x="76" y="33"/>
                </a:lnTo>
                <a:lnTo>
                  <a:pt x="75" y="36"/>
                </a:lnTo>
                <a:lnTo>
                  <a:pt x="73" y="37"/>
                </a:lnTo>
                <a:lnTo>
                  <a:pt x="67" y="31"/>
                </a:lnTo>
                <a:lnTo>
                  <a:pt x="64" y="31"/>
                </a:lnTo>
                <a:lnTo>
                  <a:pt x="60" y="29"/>
                </a:lnTo>
                <a:lnTo>
                  <a:pt x="56" y="29"/>
                </a:lnTo>
                <a:lnTo>
                  <a:pt x="53" y="26"/>
                </a:lnTo>
                <a:lnTo>
                  <a:pt x="32" y="26"/>
                </a:lnTo>
                <a:lnTo>
                  <a:pt x="31" y="31"/>
                </a:lnTo>
                <a:lnTo>
                  <a:pt x="31" y="37"/>
                </a:lnTo>
                <a:lnTo>
                  <a:pt x="31" y="44"/>
                </a:lnTo>
                <a:lnTo>
                  <a:pt x="33" y="45"/>
                </a:lnTo>
                <a:lnTo>
                  <a:pt x="37" y="37"/>
                </a:lnTo>
                <a:lnTo>
                  <a:pt x="45" y="40"/>
                </a:lnTo>
                <a:lnTo>
                  <a:pt x="48" y="44"/>
                </a:lnTo>
                <a:lnTo>
                  <a:pt x="48" y="51"/>
                </a:lnTo>
                <a:lnTo>
                  <a:pt x="44" y="61"/>
                </a:lnTo>
                <a:lnTo>
                  <a:pt x="44" y="66"/>
                </a:lnTo>
                <a:lnTo>
                  <a:pt x="44" y="70"/>
                </a:lnTo>
                <a:lnTo>
                  <a:pt x="48" y="80"/>
                </a:lnTo>
                <a:lnTo>
                  <a:pt x="47" y="84"/>
                </a:lnTo>
                <a:lnTo>
                  <a:pt x="47" y="89"/>
                </a:lnTo>
                <a:lnTo>
                  <a:pt x="45" y="102"/>
                </a:lnTo>
                <a:lnTo>
                  <a:pt x="44" y="106"/>
                </a:lnTo>
                <a:lnTo>
                  <a:pt x="40" y="110"/>
                </a:lnTo>
                <a:lnTo>
                  <a:pt x="35" y="103"/>
                </a:lnTo>
                <a:lnTo>
                  <a:pt x="28" y="105"/>
                </a:lnTo>
                <a:lnTo>
                  <a:pt x="25" y="100"/>
                </a:lnTo>
                <a:lnTo>
                  <a:pt x="23" y="99"/>
                </a:lnTo>
                <a:lnTo>
                  <a:pt x="20" y="102"/>
                </a:lnTo>
                <a:lnTo>
                  <a:pt x="17" y="105"/>
                </a:lnTo>
                <a:lnTo>
                  <a:pt x="12" y="108"/>
                </a:lnTo>
                <a:lnTo>
                  <a:pt x="8" y="111"/>
                </a:lnTo>
                <a:lnTo>
                  <a:pt x="7" y="114"/>
                </a:lnTo>
                <a:lnTo>
                  <a:pt x="7" y="117"/>
                </a:lnTo>
                <a:lnTo>
                  <a:pt x="8" y="122"/>
                </a:lnTo>
                <a:lnTo>
                  <a:pt x="9" y="127"/>
                </a:lnTo>
                <a:lnTo>
                  <a:pt x="8" y="128"/>
                </a:lnTo>
                <a:lnTo>
                  <a:pt x="5" y="128"/>
                </a:lnTo>
                <a:lnTo>
                  <a:pt x="3" y="128"/>
                </a:lnTo>
                <a:lnTo>
                  <a:pt x="0" y="132"/>
                </a:lnTo>
                <a:lnTo>
                  <a:pt x="0" y="136"/>
                </a:lnTo>
                <a:lnTo>
                  <a:pt x="3" y="138"/>
                </a:lnTo>
                <a:lnTo>
                  <a:pt x="5" y="141"/>
                </a:lnTo>
                <a:lnTo>
                  <a:pt x="9" y="146"/>
                </a:lnTo>
                <a:lnTo>
                  <a:pt x="11" y="149"/>
                </a:lnTo>
                <a:lnTo>
                  <a:pt x="13" y="155"/>
                </a:lnTo>
                <a:lnTo>
                  <a:pt x="17" y="152"/>
                </a:lnTo>
                <a:lnTo>
                  <a:pt x="20" y="150"/>
                </a:lnTo>
                <a:lnTo>
                  <a:pt x="21" y="146"/>
                </a:lnTo>
                <a:lnTo>
                  <a:pt x="25" y="144"/>
                </a:lnTo>
                <a:lnTo>
                  <a:pt x="27" y="146"/>
                </a:lnTo>
                <a:lnTo>
                  <a:pt x="28" y="149"/>
                </a:lnTo>
                <a:lnTo>
                  <a:pt x="33" y="152"/>
                </a:lnTo>
                <a:lnTo>
                  <a:pt x="36" y="150"/>
                </a:lnTo>
                <a:lnTo>
                  <a:pt x="39" y="147"/>
                </a:lnTo>
                <a:lnTo>
                  <a:pt x="40" y="146"/>
                </a:lnTo>
                <a:lnTo>
                  <a:pt x="44" y="144"/>
                </a:lnTo>
                <a:lnTo>
                  <a:pt x="48" y="143"/>
                </a:lnTo>
                <a:lnTo>
                  <a:pt x="48" y="144"/>
                </a:lnTo>
                <a:lnTo>
                  <a:pt x="49" y="150"/>
                </a:lnTo>
                <a:lnTo>
                  <a:pt x="52" y="152"/>
                </a:lnTo>
                <a:lnTo>
                  <a:pt x="57" y="149"/>
                </a:lnTo>
                <a:lnTo>
                  <a:pt x="64" y="143"/>
                </a:lnTo>
                <a:lnTo>
                  <a:pt x="68" y="139"/>
                </a:lnTo>
                <a:lnTo>
                  <a:pt x="72" y="135"/>
                </a:lnTo>
                <a:lnTo>
                  <a:pt x="76" y="128"/>
                </a:lnTo>
                <a:lnTo>
                  <a:pt x="76" y="122"/>
                </a:lnTo>
                <a:lnTo>
                  <a:pt x="76" y="116"/>
                </a:lnTo>
                <a:lnTo>
                  <a:pt x="77" y="110"/>
                </a:lnTo>
                <a:lnTo>
                  <a:pt x="79" y="103"/>
                </a:lnTo>
                <a:lnTo>
                  <a:pt x="85" y="91"/>
                </a:lnTo>
                <a:lnTo>
                  <a:pt x="91" y="86"/>
                </a:lnTo>
                <a:lnTo>
                  <a:pt x="96" y="83"/>
                </a:lnTo>
                <a:lnTo>
                  <a:pt x="100" y="78"/>
                </a:lnTo>
                <a:lnTo>
                  <a:pt x="100" y="77"/>
                </a:lnTo>
                <a:lnTo>
                  <a:pt x="101" y="67"/>
                </a:lnTo>
                <a:lnTo>
                  <a:pt x="103" y="45"/>
                </a:lnTo>
                <a:lnTo>
                  <a:pt x="105" y="31"/>
                </a:lnTo>
                <a:lnTo>
                  <a:pt x="108" y="23"/>
                </a:lnTo>
                <a:lnTo>
                  <a:pt x="113" y="11"/>
                </a:lnTo>
                <a:lnTo>
                  <a:pt x="114" y="4"/>
                </a:lnTo>
                <a:lnTo>
                  <a:pt x="113" y="0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16" name="Freeform 1343"/>
          <p:cNvSpPr>
            <a:spLocks/>
          </p:cNvSpPr>
          <p:nvPr/>
        </p:nvSpPr>
        <p:spPr bwMode="auto">
          <a:xfrm>
            <a:off x="5941412" y="4264798"/>
            <a:ext cx="56516" cy="45100"/>
          </a:xfrm>
          <a:custGeom>
            <a:avLst/>
            <a:gdLst/>
            <a:ahLst/>
            <a:cxnLst>
              <a:cxn ang="0">
                <a:pos x="29" y="0"/>
              </a:cxn>
              <a:cxn ang="0">
                <a:pos x="18" y="0"/>
              </a:cxn>
              <a:cxn ang="0">
                <a:pos x="6" y="0"/>
              </a:cxn>
              <a:cxn ang="0">
                <a:pos x="5" y="2"/>
              </a:cxn>
              <a:cxn ang="0">
                <a:pos x="5" y="5"/>
              </a:cxn>
              <a:cxn ang="0">
                <a:pos x="4" y="8"/>
              </a:cxn>
              <a:cxn ang="0">
                <a:pos x="2" y="13"/>
              </a:cxn>
              <a:cxn ang="0">
                <a:pos x="0" y="18"/>
              </a:cxn>
              <a:cxn ang="0">
                <a:pos x="4" y="21"/>
              </a:cxn>
              <a:cxn ang="0">
                <a:pos x="2" y="22"/>
              </a:cxn>
              <a:cxn ang="0">
                <a:pos x="9" y="21"/>
              </a:cxn>
              <a:cxn ang="0">
                <a:pos x="29" y="19"/>
              </a:cxn>
              <a:cxn ang="0">
                <a:pos x="27" y="13"/>
              </a:cxn>
              <a:cxn ang="0">
                <a:pos x="27" y="5"/>
              </a:cxn>
              <a:cxn ang="0">
                <a:pos x="29" y="0"/>
              </a:cxn>
            </a:cxnLst>
            <a:rect l="0" t="0" r="r" b="b"/>
            <a:pathLst>
              <a:path w="29" h="22">
                <a:moveTo>
                  <a:pt x="29" y="0"/>
                </a:moveTo>
                <a:lnTo>
                  <a:pt x="18" y="0"/>
                </a:lnTo>
                <a:lnTo>
                  <a:pt x="6" y="0"/>
                </a:lnTo>
                <a:lnTo>
                  <a:pt x="5" y="2"/>
                </a:lnTo>
                <a:lnTo>
                  <a:pt x="5" y="5"/>
                </a:lnTo>
                <a:lnTo>
                  <a:pt x="4" y="8"/>
                </a:lnTo>
                <a:lnTo>
                  <a:pt x="2" y="13"/>
                </a:lnTo>
                <a:lnTo>
                  <a:pt x="0" y="18"/>
                </a:lnTo>
                <a:lnTo>
                  <a:pt x="4" y="21"/>
                </a:lnTo>
                <a:lnTo>
                  <a:pt x="2" y="22"/>
                </a:lnTo>
                <a:lnTo>
                  <a:pt x="9" y="21"/>
                </a:lnTo>
                <a:lnTo>
                  <a:pt x="29" y="19"/>
                </a:lnTo>
                <a:lnTo>
                  <a:pt x="27" y="13"/>
                </a:lnTo>
                <a:lnTo>
                  <a:pt x="27" y="5"/>
                </a:lnTo>
                <a:lnTo>
                  <a:pt x="29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17" name="Freeform 1344"/>
          <p:cNvSpPr>
            <a:spLocks/>
          </p:cNvSpPr>
          <p:nvPr/>
        </p:nvSpPr>
        <p:spPr bwMode="auto">
          <a:xfrm>
            <a:off x="5941412" y="4264798"/>
            <a:ext cx="56516" cy="45100"/>
          </a:xfrm>
          <a:custGeom>
            <a:avLst/>
            <a:gdLst/>
            <a:ahLst/>
            <a:cxnLst>
              <a:cxn ang="0">
                <a:pos x="29" y="0"/>
              </a:cxn>
              <a:cxn ang="0">
                <a:pos x="18" y="0"/>
              </a:cxn>
              <a:cxn ang="0">
                <a:pos x="6" y="0"/>
              </a:cxn>
              <a:cxn ang="0">
                <a:pos x="5" y="2"/>
              </a:cxn>
              <a:cxn ang="0">
                <a:pos x="5" y="5"/>
              </a:cxn>
              <a:cxn ang="0">
                <a:pos x="4" y="8"/>
              </a:cxn>
              <a:cxn ang="0">
                <a:pos x="2" y="13"/>
              </a:cxn>
              <a:cxn ang="0">
                <a:pos x="0" y="18"/>
              </a:cxn>
              <a:cxn ang="0">
                <a:pos x="4" y="21"/>
              </a:cxn>
              <a:cxn ang="0">
                <a:pos x="2" y="22"/>
              </a:cxn>
              <a:cxn ang="0">
                <a:pos x="9" y="21"/>
              </a:cxn>
              <a:cxn ang="0">
                <a:pos x="29" y="19"/>
              </a:cxn>
              <a:cxn ang="0">
                <a:pos x="27" y="13"/>
              </a:cxn>
              <a:cxn ang="0">
                <a:pos x="27" y="5"/>
              </a:cxn>
              <a:cxn ang="0">
                <a:pos x="29" y="0"/>
              </a:cxn>
            </a:cxnLst>
            <a:rect l="0" t="0" r="r" b="b"/>
            <a:pathLst>
              <a:path w="29" h="22">
                <a:moveTo>
                  <a:pt x="29" y="0"/>
                </a:moveTo>
                <a:lnTo>
                  <a:pt x="18" y="0"/>
                </a:lnTo>
                <a:lnTo>
                  <a:pt x="6" y="0"/>
                </a:lnTo>
                <a:lnTo>
                  <a:pt x="5" y="2"/>
                </a:lnTo>
                <a:lnTo>
                  <a:pt x="5" y="5"/>
                </a:lnTo>
                <a:lnTo>
                  <a:pt x="4" y="8"/>
                </a:lnTo>
                <a:lnTo>
                  <a:pt x="2" y="13"/>
                </a:lnTo>
                <a:lnTo>
                  <a:pt x="0" y="18"/>
                </a:lnTo>
                <a:lnTo>
                  <a:pt x="4" y="21"/>
                </a:lnTo>
                <a:lnTo>
                  <a:pt x="2" y="22"/>
                </a:lnTo>
                <a:lnTo>
                  <a:pt x="9" y="21"/>
                </a:lnTo>
                <a:lnTo>
                  <a:pt x="29" y="19"/>
                </a:lnTo>
                <a:lnTo>
                  <a:pt x="27" y="13"/>
                </a:lnTo>
                <a:lnTo>
                  <a:pt x="27" y="5"/>
                </a:lnTo>
                <a:lnTo>
                  <a:pt x="29" y="0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18" name="Freeform 1345"/>
          <p:cNvSpPr>
            <a:spLocks/>
          </p:cNvSpPr>
          <p:nvPr/>
        </p:nvSpPr>
        <p:spPr bwMode="auto">
          <a:xfrm>
            <a:off x="6720937" y="3706421"/>
            <a:ext cx="189036" cy="201875"/>
          </a:xfrm>
          <a:custGeom>
            <a:avLst/>
            <a:gdLst/>
            <a:ahLst/>
            <a:cxnLst>
              <a:cxn ang="0">
                <a:pos x="28" y="8"/>
              </a:cxn>
              <a:cxn ang="0">
                <a:pos x="16" y="14"/>
              </a:cxn>
              <a:cxn ang="0">
                <a:pos x="9" y="17"/>
              </a:cxn>
              <a:cxn ang="0">
                <a:pos x="6" y="29"/>
              </a:cxn>
              <a:cxn ang="0">
                <a:pos x="1" y="51"/>
              </a:cxn>
              <a:cxn ang="0">
                <a:pos x="1" y="67"/>
              </a:cxn>
              <a:cxn ang="0">
                <a:pos x="6" y="69"/>
              </a:cxn>
              <a:cxn ang="0">
                <a:pos x="9" y="67"/>
              </a:cxn>
              <a:cxn ang="0">
                <a:pos x="13" y="67"/>
              </a:cxn>
              <a:cxn ang="0">
                <a:pos x="21" y="58"/>
              </a:cxn>
              <a:cxn ang="0">
                <a:pos x="25" y="61"/>
              </a:cxn>
              <a:cxn ang="0">
                <a:pos x="29" y="66"/>
              </a:cxn>
              <a:cxn ang="0">
                <a:pos x="36" y="64"/>
              </a:cxn>
              <a:cxn ang="0">
                <a:pos x="40" y="64"/>
              </a:cxn>
              <a:cxn ang="0">
                <a:pos x="44" y="64"/>
              </a:cxn>
              <a:cxn ang="0">
                <a:pos x="48" y="64"/>
              </a:cxn>
              <a:cxn ang="0">
                <a:pos x="52" y="66"/>
              </a:cxn>
              <a:cxn ang="0">
                <a:pos x="62" y="70"/>
              </a:cxn>
              <a:cxn ang="0">
                <a:pos x="69" y="77"/>
              </a:cxn>
              <a:cxn ang="0">
                <a:pos x="78" y="88"/>
              </a:cxn>
              <a:cxn ang="0">
                <a:pos x="82" y="94"/>
              </a:cxn>
              <a:cxn ang="0">
                <a:pos x="87" y="100"/>
              </a:cxn>
              <a:cxn ang="0">
                <a:pos x="94" y="97"/>
              </a:cxn>
              <a:cxn ang="0">
                <a:pos x="97" y="92"/>
              </a:cxn>
              <a:cxn ang="0">
                <a:pos x="94" y="89"/>
              </a:cxn>
              <a:cxn ang="0">
                <a:pos x="89" y="86"/>
              </a:cxn>
              <a:cxn ang="0">
                <a:pos x="86" y="80"/>
              </a:cxn>
              <a:cxn ang="0">
                <a:pos x="82" y="75"/>
              </a:cxn>
              <a:cxn ang="0">
                <a:pos x="78" y="73"/>
              </a:cxn>
              <a:cxn ang="0">
                <a:pos x="70" y="61"/>
              </a:cxn>
              <a:cxn ang="0">
                <a:pos x="65" y="61"/>
              </a:cxn>
              <a:cxn ang="0">
                <a:pos x="61" y="56"/>
              </a:cxn>
              <a:cxn ang="0">
                <a:pos x="57" y="56"/>
              </a:cxn>
              <a:cxn ang="0">
                <a:pos x="54" y="50"/>
              </a:cxn>
              <a:cxn ang="0">
                <a:pos x="52" y="47"/>
              </a:cxn>
              <a:cxn ang="0">
                <a:pos x="50" y="50"/>
              </a:cxn>
              <a:cxn ang="0">
                <a:pos x="49" y="51"/>
              </a:cxn>
              <a:cxn ang="0">
                <a:pos x="48" y="45"/>
              </a:cxn>
              <a:cxn ang="0">
                <a:pos x="45" y="44"/>
              </a:cxn>
              <a:cxn ang="0">
                <a:pos x="42" y="39"/>
              </a:cxn>
              <a:cxn ang="0">
                <a:pos x="40" y="29"/>
              </a:cxn>
              <a:cxn ang="0">
                <a:pos x="38" y="20"/>
              </a:cxn>
              <a:cxn ang="0">
                <a:pos x="36" y="9"/>
              </a:cxn>
              <a:cxn ang="0">
                <a:pos x="33" y="3"/>
              </a:cxn>
              <a:cxn ang="0">
                <a:pos x="30" y="0"/>
              </a:cxn>
            </a:cxnLst>
            <a:rect l="0" t="0" r="r" b="b"/>
            <a:pathLst>
              <a:path w="99" h="102">
                <a:moveTo>
                  <a:pt x="30" y="0"/>
                </a:moveTo>
                <a:lnTo>
                  <a:pt x="29" y="3"/>
                </a:lnTo>
                <a:lnTo>
                  <a:pt x="28" y="8"/>
                </a:lnTo>
                <a:lnTo>
                  <a:pt x="24" y="9"/>
                </a:lnTo>
                <a:lnTo>
                  <a:pt x="22" y="11"/>
                </a:lnTo>
                <a:lnTo>
                  <a:pt x="16" y="14"/>
                </a:lnTo>
                <a:lnTo>
                  <a:pt x="14" y="15"/>
                </a:lnTo>
                <a:lnTo>
                  <a:pt x="13" y="17"/>
                </a:lnTo>
                <a:lnTo>
                  <a:pt x="9" y="17"/>
                </a:lnTo>
                <a:lnTo>
                  <a:pt x="8" y="20"/>
                </a:lnTo>
                <a:lnTo>
                  <a:pt x="6" y="26"/>
                </a:lnTo>
                <a:lnTo>
                  <a:pt x="6" y="29"/>
                </a:lnTo>
                <a:lnTo>
                  <a:pt x="5" y="36"/>
                </a:lnTo>
                <a:lnTo>
                  <a:pt x="4" y="47"/>
                </a:lnTo>
                <a:lnTo>
                  <a:pt x="1" y="51"/>
                </a:lnTo>
                <a:lnTo>
                  <a:pt x="0" y="56"/>
                </a:lnTo>
                <a:lnTo>
                  <a:pt x="0" y="62"/>
                </a:lnTo>
                <a:lnTo>
                  <a:pt x="1" y="67"/>
                </a:lnTo>
                <a:lnTo>
                  <a:pt x="1" y="69"/>
                </a:lnTo>
                <a:lnTo>
                  <a:pt x="5" y="69"/>
                </a:lnTo>
                <a:lnTo>
                  <a:pt x="6" y="69"/>
                </a:lnTo>
                <a:lnTo>
                  <a:pt x="8" y="69"/>
                </a:lnTo>
                <a:lnTo>
                  <a:pt x="8" y="67"/>
                </a:lnTo>
                <a:lnTo>
                  <a:pt x="9" y="67"/>
                </a:lnTo>
                <a:lnTo>
                  <a:pt x="9" y="66"/>
                </a:lnTo>
                <a:lnTo>
                  <a:pt x="12" y="66"/>
                </a:lnTo>
                <a:lnTo>
                  <a:pt x="13" y="67"/>
                </a:lnTo>
                <a:lnTo>
                  <a:pt x="13" y="69"/>
                </a:lnTo>
                <a:lnTo>
                  <a:pt x="16" y="72"/>
                </a:lnTo>
                <a:lnTo>
                  <a:pt x="21" y="58"/>
                </a:lnTo>
                <a:lnTo>
                  <a:pt x="22" y="59"/>
                </a:lnTo>
                <a:lnTo>
                  <a:pt x="24" y="61"/>
                </a:lnTo>
                <a:lnTo>
                  <a:pt x="25" y="61"/>
                </a:lnTo>
                <a:lnTo>
                  <a:pt x="26" y="61"/>
                </a:lnTo>
                <a:lnTo>
                  <a:pt x="26" y="62"/>
                </a:lnTo>
                <a:lnTo>
                  <a:pt x="29" y="66"/>
                </a:lnTo>
                <a:lnTo>
                  <a:pt x="30" y="66"/>
                </a:lnTo>
                <a:lnTo>
                  <a:pt x="32" y="66"/>
                </a:lnTo>
                <a:lnTo>
                  <a:pt x="36" y="64"/>
                </a:lnTo>
                <a:lnTo>
                  <a:pt x="37" y="62"/>
                </a:lnTo>
                <a:lnTo>
                  <a:pt x="38" y="62"/>
                </a:lnTo>
                <a:lnTo>
                  <a:pt x="40" y="64"/>
                </a:lnTo>
                <a:lnTo>
                  <a:pt x="41" y="66"/>
                </a:lnTo>
                <a:lnTo>
                  <a:pt x="42" y="66"/>
                </a:lnTo>
                <a:lnTo>
                  <a:pt x="44" y="64"/>
                </a:lnTo>
                <a:lnTo>
                  <a:pt x="45" y="64"/>
                </a:lnTo>
                <a:lnTo>
                  <a:pt x="46" y="64"/>
                </a:lnTo>
                <a:lnTo>
                  <a:pt x="48" y="64"/>
                </a:lnTo>
                <a:lnTo>
                  <a:pt x="50" y="64"/>
                </a:lnTo>
                <a:lnTo>
                  <a:pt x="50" y="66"/>
                </a:lnTo>
                <a:lnTo>
                  <a:pt x="52" y="66"/>
                </a:lnTo>
                <a:lnTo>
                  <a:pt x="56" y="66"/>
                </a:lnTo>
                <a:lnTo>
                  <a:pt x="58" y="69"/>
                </a:lnTo>
                <a:lnTo>
                  <a:pt x="62" y="70"/>
                </a:lnTo>
                <a:lnTo>
                  <a:pt x="64" y="70"/>
                </a:lnTo>
                <a:lnTo>
                  <a:pt x="68" y="73"/>
                </a:lnTo>
                <a:lnTo>
                  <a:pt x="69" y="77"/>
                </a:lnTo>
                <a:lnTo>
                  <a:pt x="70" y="80"/>
                </a:lnTo>
                <a:lnTo>
                  <a:pt x="75" y="84"/>
                </a:lnTo>
                <a:lnTo>
                  <a:pt x="78" y="88"/>
                </a:lnTo>
                <a:lnTo>
                  <a:pt x="79" y="89"/>
                </a:lnTo>
                <a:lnTo>
                  <a:pt x="81" y="92"/>
                </a:lnTo>
                <a:lnTo>
                  <a:pt x="82" y="94"/>
                </a:lnTo>
                <a:lnTo>
                  <a:pt x="83" y="95"/>
                </a:lnTo>
                <a:lnTo>
                  <a:pt x="86" y="97"/>
                </a:lnTo>
                <a:lnTo>
                  <a:pt x="87" y="100"/>
                </a:lnTo>
                <a:lnTo>
                  <a:pt x="89" y="102"/>
                </a:lnTo>
                <a:lnTo>
                  <a:pt x="90" y="100"/>
                </a:lnTo>
                <a:lnTo>
                  <a:pt x="94" y="97"/>
                </a:lnTo>
                <a:lnTo>
                  <a:pt x="99" y="94"/>
                </a:lnTo>
                <a:lnTo>
                  <a:pt x="98" y="92"/>
                </a:lnTo>
                <a:lnTo>
                  <a:pt x="97" y="92"/>
                </a:lnTo>
                <a:lnTo>
                  <a:pt x="94" y="92"/>
                </a:lnTo>
                <a:lnTo>
                  <a:pt x="94" y="91"/>
                </a:lnTo>
                <a:lnTo>
                  <a:pt x="94" y="89"/>
                </a:lnTo>
                <a:lnTo>
                  <a:pt x="93" y="88"/>
                </a:lnTo>
                <a:lnTo>
                  <a:pt x="90" y="88"/>
                </a:lnTo>
                <a:lnTo>
                  <a:pt x="89" y="86"/>
                </a:lnTo>
                <a:lnTo>
                  <a:pt x="89" y="83"/>
                </a:lnTo>
                <a:lnTo>
                  <a:pt x="87" y="81"/>
                </a:lnTo>
                <a:lnTo>
                  <a:pt x="86" y="80"/>
                </a:lnTo>
                <a:lnTo>
                  <a:pt x="85" y="80"/>
                </a:lnTo>
                <a:lnTo>
                  <a:pt x="83" y="77"/>
                </a:lnTo>
                <a:lnTo>
                  <a:pt x="82" y="75"/>
                </a:lnTo>
                <a:lnTo>
                  <a:pt x="81" y="75"/>
                </a:lnTo>
                <a:lnTo>
                  <a:pt x="79" y="75"/>
                </a:lnTo>
                <a:lnTo>
                  <a:pt x="78" y="73"/>
                </a:lnTo>
                <a:lnTo>
                  <a:pt x="77" y="70"/>
                </a:lnTo>
                <a:lnTo>
                  <a:pt x="73" y="62"/>
                </a:lnTo>
                <a:lnTo>
                  <a:pt x="70" y="61"/>
                </a:lnTo>
                <a:lnTo>
                  <a:pt x="68" y="61"/>
                </a:lnTo>
                <a:lnTo>
                  <a:pt x="66" y="61"/>
                </a:lnTo>
                <a:lnTo>
                  <a:pt x="65" y="61"/>
                </a:lnTo>
                <a:lnTo>
                  <a:pt x="64" y="59"/>
                </a:lnTo>
                <a:lnTo>
                  <a:pt x="62" y="56"/>
                </a:lnTo>
                <a:lnTo>
                  <a:pt x="61" y="56"/>
                </a:lnTo>
                <a:lnTo>
                  <a:pt x="60" y="55"/>
                </a:lnTo>
                <a:lnTo>
                  <a:pt x="58" y="56"/>
                </a:lnTo>
                <a:lnTo>
                  <a:pt x="57" y="56"/>
                </a:lnTo>
                <a:lnTo>
                  <a:pt x="56" y="53"/>
                </a:lnTo>
                <a:lnTo>
                  <a:pt x="54" y="51"/>
                </a:lnTo>
                <a:lnTo>
                  <a:pt x="54" y="50"/>
                </a:lnTo>
                <a:lnTo>
                  <a:pt x="54" y="48"/>
                </a:lnTo>
                <a:lnTo>
                  <a:pt x="53" y="48"/>
                </a:lnTo>
                <a:lnTo>
                  <a:pt x="52" y="47"/>
                </a:lnTo>
                <a:lnTo>
                  <a:pt x="50" y="47"/>
                </a:lnTo>
                <a:lnTo>
                  <a:pt x="50" y="48"/>
                </a:lnTo>
                <a:lnTo>
                  <a:pt x="50" y="50"/>
                </a:lnTo>
                <a:lnTo>
                  <a:pt x="52" y="50"/>
                </a:lnTo>
                <a:lnTo>
                  <a:pt x="50" y="53"/>
                </a:lnTo>
                <a:lnTo>
                  <a:pt x="49" y="51"/>
                </a:lnTo>
                <a:lnTo>
                  <a:pt x="49" y="50"/>
                </a:lnTo>
                <a:lnTo>
                  <a:pt x="48" y="48"/>
                </a:lnTo>
                <a:lnTo>
                  <a:pt x="48" y="45"/>
                </a:lnTo>
                <a:lnTo>
                  <a:pt x="46" y="45"/>
                </a:lnTo>
                <a:lnTo>
                  <a:pt x="45" y="45"/>
                </a:lnTo>
                <a:lnTo>
                  <a:pt x="45" y="44"/>
                </a:lnTo>
                <a:lnTo>
                  <a:pt x="44" y="42"/>
                </a:lnTo>
                <a:lnTo>
                  <a:pt x="44" y="40"/>
                </a:lnTo>
                <a:lnTo>
                  <a:pt x="42" y="39"/>
                </a:lnTo>
                <a:lnTo>
                  <a:pt x="41" y="37"/>
                </a:lnTo>
                <a:lnTo>
                  <a:pt x="40" y="33"/>
                </a:lnTo>
                <a:lnTo>
                  <a:pt x="40" y="29"/>
                </a:lnTo>
                <a:lnTo>
                  <a:pt x="38" y="26"/>
                </a:lnTo>
                <a:lnTo>
                  <a:pt x="38" y="22"/>
                </a:lnTo>
                <a:lnTo>
                  <a:pt x="38" y="20"/>
                </a:lnTo>
                <a:lnTo>
                  <a:pt x="37" y="15"/>
                </a:lnTo>
                <a:lnTo>
                  <a:pt x="37" y="12"/>
                </a:lnTo>
                <a:lnTo>
                  <a:pt x="36" y="9"/>
                </a:lnTo>
                <a:lnTo>
                  <a:pt x="34" y="6"/>
                </a:lnTo>
                <a:lnTo>
                  <a:pt x="33" y="4"/>
                </a:lnTo>
                <a:lnTo>
                  <a:pt x="33" y="3"/>
                </a:lnTo>
                <a:lnTo>
                  <a:pt x="32" y="1"/>
                </a:lnTo>
                <a:lnTo>
                  <a:pt x="32" y="0"/>
                </a:lnTo>
                <a:lnTo>
                  <a:pt x="3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19" name="Freeform 1346"/>
          <p:cNvSpPr>
            <a:spLocks/>
          </p:cNvSpPr>
          <p:nvPr/>
        </p:nvSpPr>
        <p:spPr bwMode="auto">
          <a:xfrm>
            <a:off x="6720937" y="3706421"/>
            <a:ext cx="189036" cy="201875"/>
          </a:xfrm>
          <a:custGeom>
            <a:avLst/>
            <a:gdLst/>
            <a:ahLst/>
            <a:cxnLst>
              <a:cxn ang="0">
                <a:pos x="28" y="8"/>
              </a:cxn>
              <a:cxn ang="0">
                <a:pos x="16" y="14"/>
              </a:cxn>
              <a:cxn ang="0">
                <a:pos x="9" y="17"/>
              </a:cxn>
              <a:cxn ang="0">
                <a:pos x="6" y="29"/>
              </a:cxn>
              <a:cxn ang="0">
                <a:pos x="1" y="51"/>
              </a:cxn>
              <a:cxn ang="0">
                <a:pos x="1" y="67"/>
              </a:cxn>
              <a:cxn ang="0">
                <a:pos x="6" y="69"/>
              </a:cxn>
              <a:cxn ang="0">
                <a:pos x="9" y="67"/>
              </a:cxn>
              <a:cxn ang="0">
                <a:pos x="13" y="67"/>
              </a:cxn>
              <a:cxn ang="0">
                <a:pos x="21" y="58"/>
              </a:cxn>
              <a:cxn ang="0">
                <a:pos x="25" y="61"/>
              </a:cxn>
              <a:cxn ang="0">
                <a:pos x="29" y="66"/>
              </a:cxn>
              <a:cxn ang="0">
                <a:pos x="36" y="64"/>
              </a:cxn>
              <a:cxn ang="0">
                <a:pos x="40" y="64"/>
              </a:cxn>
              <a:cxn ang="0">
                <a:pos x="44" y="64"/>
              </a:cxn>
              <a:cxn ang="0">
                <a:pos x="48" y="64"/>
              </a:cxn>
              <a:cxn ang="0">
                <a:pos x="52" y="66"/>
              </a:cxn>
              <a:cxn ang="0">
                <a:pos x="62" y="70"/>
              </a:cxn>
              <a:cxn ang="0">
                <a:pos x="69" y="77"/>
              </a:cxn>
              <a:cxn ang="0">
                <a:pos x="78" y="88"/>
              </a:cxn>
              <a:cxn ang="0">
                <a:pos x="82" y="94"/>
              </a:cxn>
              <a:cxn ang="0">
                <a:pos x="87" y="100"/>
              </a:cxn>
              <a:cxn ang="0">
                <a:pos x="94" y="97"/>
              </a:cxn>
              <a:cxn ang="0">
                <a:pos x="97" y="92"/>
              </a:cxn>
              <a:cxn ang="0">
                <a:pos x="94" y="89"/>
              </a:cxn>
              <a:cxn ang="0">
                <a:pos x="89" y="86"/>
              </a:cxn>
              <a:cxn ang="0">
                <a:pos x="86" y="80"/>
              </a:cxn>
              <a:cxn ang="0">
                <a:pos x="82" y="75"/>
              </a:cxn>
              <a:cxn ang="0">
                <a:pos x="78" y="73"/>
              </a:cxn>
              <a:cxn ang="0">
                <a:pos x="70" y="61"/>
              </a:cxn>
              <a:cxn ang="0">
                <a:pos x="65" y="61"/>
              </a:cxn>
              <a:cxn ang="0">
                <a:pos x="61" y="56"/>
              </a:cxn>
              <a:cxn ang="0">
                <a:pos x="57" y="56"/>
              </a:cxn>
              <a:cxn ang="0">
                <a:pos x="54" y="50"/>
              </a:cxn>
              <a:cxn ang="0">
                <a:pos x="52" y="47"/>
              </a:cxn>
              <a:cxn ang="0">
                <a:pos x="50" y="50"/>
              </a:cxn>
              <a:cxn ang="0">
                <a:pos x="49" y="51"/>
              </a:cxn>
              <a:cxn ang="0">
                <a:pos x="48" y="45"/>
              </a:cxn>
              <a:cxn ang="0">
                <a:pos x="45" y="44"/>
              </a:cxn>
              <a:cxn ang="0">
                <a:pos x="42" y="39"/>
              </a:cxn>
              <a:cxn ang="0">
                <a:pos x="40" y="29"/>
              </a:cxn>
              <a:cxn ang="0">
                <a:pos x="38" y="20"/>
              </a:cxn>
              <a:cxn ang="0">
                <a:pos x="36" y="9"/>
              </a:cxn>
              <a:cxn ang="0">
                <a:pos x="33" y="3"/>
              </a:cxn>
              <a:cxn ang="0">
                <a:pos x="30" y="0"/>
              </a:cxn>
            </a:cxnLst>
            <a:rect l="0" t="0" r="r" b="b"/>
            <a:pathLst>
              <a:path w="99" h="102">
                <a:moveTo>
                  <a:pt x="30" y="0"/>
                </a:moveTo>
                <a:lnTo>
                  <a:pt x="29" y="3"/>
                </a:lnTo>
                <a:lnTo>
                  <a:pt x="28" y="8"/>
                </a:lnTo>
                <a:lnTo>
                  <a:pt x="24" y="9"/>
                </a:lnTo>
                <a:lnTo>
                  <a:pt x="22" y="11"/>
                </a:lnTo>
                <a:lnTo>
                  <a:pt x="16" y="14"/>
                </a:lnTo>
                <a:lnTo>
                  <a:pt x="14" y="15"/>
                </a:lnTo>
                <a:lnTo>
                  <a:pt x="13" y="17"/>
                </a:lnTo>
                <a:lnTo>
                  <a:pt x="9" y="17"/>
                </a:lnTo>
                <a:lnTo>
                  <a:pt x="8" y="20"/>
                </a:lnTo>
                <a:lnTo>
                  <a:pt x="6" y="26"/>
                </a:lnTo>
                <a:lnTo>
                  <a:pt x="6" y="29"/>
                </a:lnTo>
                <a:lnTo>
                  <a:pt x="5" y="36"/>
                </a:lnTo>
                <a:lnTo>
                  <a:pt x="4" y="47"/>
                </a:lnTo>
                <a:lnTo>
                  <a:pt x="1" y="51"/>
                </a:lnTo>
                <a:lnTo>
                  <a:pt x="0" y="56"/>
                </a:lnTo>
                <a:lnTo>
                  <a:pt x="0" y="62"/>
                </a:lnTo>
                <a:lnTo>
                  <a:pt x="1" y="67"/>
                </a:lnTo>
                <a:lnTo>
                  <a:pt x="1" y="69"/>
                </a:lnTo>
                <a:lnTo>
                  <a:pt x="5" y="69"/>
                </a:lnTo>
                <a:lnTo>
                  <a:pt x="6" y="69"/>
                </a:lnTo>
                <a:lnTo>
                  <a:pt x="8" y="69"/>
                </a:lnTo>
                <a:lnTo>
                  <a:pt x="8" y="67"/>
                </a:lnTo>
                <a:lnTo>
                  <a:pt x="9" y="67"/>
                </a:lnTo>
                <a:lnTo>
                  <a:pt x="9" y="66"/>
                </a:lnTo>
                <a:lnTo>
                  <a:pt x="12" y="66"/>
                </a:lnTo>
                <a:lnTo>
                  <a:pt x="13" y="67"/>
                </a:lnTo>
                <a:lnTo>
                  <a:pt x="13" y="69"/>
                </a:lnTo>
                <a:lnTo>
                  <a:pt x="16" y="72"/>
                </a:lnTo>
                <a:lnTo>
                  <a:pt x="21" y="58"/>
                </a:lnTo>
                <a:lnTo>
                  <a:pt x="22" y="59"/>
                </a:lnTo>
                <a:lnTo>
                  <a:pt x="24" y="61"/>
                </a:lnTo>
                <a:lnTo>
                  <a:pt x="25" y="61"/>
                </a:lnTo>
                <a:lnTo>
                  <a:pt x="26" y="61"/>
                </a:lnTo>
                <a:lnTo>
                  <a:pt x="26" y="62"/>
                </a:lnTo>
                <a:lnTo>
                  <a:pt x="29" y="66"/>
                </a:lnTo>
                <a:lnTo>
                  <a:pt x="30" y="66"/>
                </a:lnTo>
                <a:lnTo>
                  <a:pt x="32" y="66"/>
                </a:lnTo>
                <a:lnTo>
                  <a:pt x="36" y="64"/>
                </a:lnTo>
                <a:lnTo>
                  <a:pt x="37" y="62"/>
                </a:lnTo>
                <a:lnTo>
                  <a:pt x="38" y="62"/>
                </a:lnTo>
                <a:lnTo>
                  <a:pt x="40" y="64"/>
                </a:lnTo>
                <a:lnTo>
                  <a:pt x="41" y="66"/>
                </a:lnTo>
                <a:lnTo>
                  <a:pt x="42" y="66"/>
                </a:lnTo>
                <a:lnTo>
                  <a:pt x="44" y="64"/>
                </a:lnTo>
                <a:lnTo>
                  <a:pt x="45" y="64"/>
                </a:lnTo>
                <a:lnTo>
                  <a:pt x="46" y="64"/>
                </a:lnTo>
                <a:lnTo>
                  <a:pt x="48" y="64"/>
                </a:lnTo>
                <a:lnTo>
                  <a:pt x="50" y="64"/>
                </a:lnTo>
                <a:lnTo>
                  <a:pt x="50" y="66"/>
                </a:lnTo>
                <a:lnTo>
                  <a:pt x="52" y="66"/>
                </a:lnTo>
                <a:lnTo>
                  <a:pt x="56" y="66"/>
                </a:lnTo>
                <a:lnTo>
                  <a:pt x="58" y="69"/>
                </a:lnTo>
                <a:lnTo>
                  <a:pt x="62" y="70"/>
                </a:lnTo>
                <a:lnTo>
                  <a:pt x="64" y="70"/>
                </a:lnTo>
                <a:lnTo>
                  <a:pt x="68" y="73"/>
                </a:lnTo>
                <a:lnTo>
                  <a:pt x="69" y="77"/>
                </a:lnTo>
                <a:lnTo>
                  <a:pt x="70" y="80"/>
                </a:lnTo>
                <a:lnTo>
                  <a:pt x="75" y="84"/>
                </a:lnTo>
                <a:lnTo>
                  <a:pt x="78" y="88"/>
                </a:lnTo>
                <a:lnTo>
                  <a:pt x="79" y="89"/>
                </a:lnTo>
                <a:lnTo>
                  <a:pt x="81" y="92"/>
                </a:lnTo>
                <a:lnTo>
                  <a:pt x="82" y="94"/>
                </a:lnTo>
                <a:lnTo>
                  <a:pt x="83" y="95"/>
                </a:lnTo>
                <a:lnTo>
                  <a:pt x="86" y="97"/>
                </a:lnTo>
                <a:lnTo>
                  <a:pt x="87" y="100"/>
                </a:lnTo>
                <a:lnTo>
                  <a:pt x="89" y="102"/>
                </a:lnTo>
                <a:lnTo>
                  <a:pt x="90" y="100"/>
                </a:lnTo>
                <a:lnTo>
                  <a:pt x="94" y="97"/>
                </a:lnTo>
                <a:lnTo>
                  <a:pt x="99" y="94"/>
                </a:lnTo>
                <a:lnTo>
                  <a:pt x="98" y="92"/>
                </a:lnTo>
                <a:lnTo>
                  <a:pt x="97" y="92"/>
                </a:lnTo>
                <a:lnTo>
                  <a:pt x="94" y="92"/>
                </a:lnTo>
                <a:lnTo>
                  <a:pt x="94" y="91"/>
                </a:lnTo>
                <a:lnTo>
                  <a:pt x="94" y="89"/>
                </a:lnTo>
                <a:lnTo>
                  <a:pt x="93" y="88"/>
                </a:lnTo>
                <a:lnTo>
                  <a:pt x="90" y="88"/>
                </a:lnTo>
                <a:lnTo>
                  <a:pt x="89" y="86"/>
                </a:lnTo>
                <a:lnTo>
                  <a:pt x="89" y="83"/>
                </a:lnTo>
                <a:lnTo>
                  <a:pt x="87" y="81"/>
                </a:lnTo>
                <a:lnTo>
                  <a:pt x="86" y="80"/>
                </a:lnTo>
                <a:lnTo>
                  <a:pt x="85" y="80"/>
                </a:lnTo>
                <a:lnTo>
                  <a:pt x="83" y="77"/>
                </a:lnTo>
                <a:lnTo>
                  <a:pt x="82" y="75"/>
                </a:lnTo>
                <a:lnTo>
                  <a:pt x="81" y="75"/>
                </a:lnTo>
                <a:lnTo>
                  <a:pt x="79" y="75"/>
                </a:lnTo>
                <a:lnTo>
                  <a:pt x="78" y="73"/>
                </a:lnTo>
                <a:lnTo>
                  <a:pt x="77" y="70"/>
                </a:lnTo>
                <a:lnTo>
                  <a:pt x="73" y="62"/>
                </a:lnTo>
                <a:lnTo>
                  <a:pt x="70" y="61"/>
                </a:lnTo>
                <a:lnTo>
                  <a:pt x="68" y="61"/>
                </a:lnTo>
                <a:lnTo>
                  <a:pt x="66" y="61"/>
                </a:lnTo>
                <a:lnTo>
                  <a:pt x="65" y="61"/>
                </a:lnTo>
                <a:lnTo>
                  <a:pt x="64" y="59"/>
                </a:lnTo>
                <a:lnTo>
                  <a:pt x="62" y="56"/>
                </a:lnTo>
                <a:lnTo>
                  <a:pt x="61" y="56"/>
                </a:lnTo>
                <a:lnTo>
                  <a:pt x="60" y="55"/>
                </a:lnTo>
                <a:lnTo>
                  <a:pt x="58" y="56"/>
                </a:lnTo>
                <a:lnTo>
                  <a:pt x="57" y="56"/>
                </a:lnTo>
                <a:lnTo>
                  <a:pt x="56" y="53"/>
                </a:lnTo>
                <a:lnTo>
                  <a:pt x="54" y="51"/>
                </a:lnTo>
                <a:lnTo>
                  <a:pt x="54" y="50"/>
                </a:lnTo>
                <a:lnTo>
                  <a:pt x="54" y="48"/>
                </a:lnTo>
                <a:lnTo>
                  <a:pt x="53" y="48"/>
                </a:lnTo>
                <a:lnTo>
                  <a:pt x="52" y="47"/>
                </a:lnTo>
                <a:lnTo>
                  <a:pt x="50" y="47"/>
                </a:lnTo>
                <a:lnTo>
                  <a:pt x="50" y="48"/>
                </a:lnTo>
                <a:lnTo>
                  <a:pt x="50" y="50"/>
                </a:lnTo>
                <a:lnTo>
                  <a:pt x="52" y="50"/>
                </a:lnTo>
                <a:lnTo>
                  <a:pt x="50" y="53"/>
                </a:lnTo>
                <a:lnTo>
                  <a:pt x="49" y="51"/>
                </a:lnTo>
                <a:lnTo>
                  <a:pt x="49" y="50"/>
                </a:lnTo>
                <a:lnTo>
                  <a:pt x="48" y="48"/>
                </a:lnTo>
                <a:lnTo>
                  <a:pt x="48" y="45"/>
                </a:lnTo>
                <a:lnTo>
                  <a:pt x="46" y="45"/>
                </a:lnTo>
                <a:lnTo>
                  <a:pt x="45" y="45"/>
                </a:lnTo>
                <a:lnTo>
                  <a:pt x="45" y="44"/>
                </a:lnTo>
                <a:lnTo>
                  <a:pt x="44" y="42"/>
                </a:lnTo>
                <a:lnTo>
                  <a:pt x="44" y="40"/>
                </a:lnTo>
                <a:lnTo>
                  <a:pt x="42" y="39"/>
                </a:lnTo>
                <a:lnTo>
                  <a:pt x="41" y="37"/>
                </a:lnTo>
                <a:lnTo>
                  <a:pt x="40" y="33"/>
                </a:lnTo>
                <a:lnTo>
                  <a:pt x="40" y="29"/>
                </a:lnTo>
                <a:lnTo>
                  <a:pt x="38" y="26"/>
                </a:lnTo>
                <a:lnTo>
                  <a:pt x="38" y="22"/>
                </a:lnTo>
                <a:lnTo>
                  <a:pt x="38" y="20"/>
                </a:lnTo>
                <a:lnTo>
                  <a:pt x="37" y="15"/>
                </a:lnTo>
                <a:lnTo>
                  <a:pt x="37" y="12"/>
                </a:lnTo>
                <a:lnTo>
                  <a:pt x="36" y="9"/>
                </a:lnTo>
                <a:lnTo>
                  <a:pt x="34" y="6"/>
                </a:lnTo>
                <a:lnTo>
                  <a:pt x="33" y="4"/>
                </a:lnTo>
                <a:lnTo>
                  <a:pt x="33" y="3"/>
                </a:lnTo>
                <a:lnTo>
                  <a:pt x="32" y="1"/>
                </a:lnTo>
                <a:lnTo>
                  <a:pt x="32" y="0"/>
                </a:lnTo>
                <a:lnTo>
                  <a:pt x="30" y="0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20" name="Freeform 1347"/>
          <p:cNvSpPr>
            <a:spLocks/>
          </p:cNvSpPr>
          <p:nvPr/>
        </p:nvSpPr>
        <p:spPr bwMode="auto">
          <a:xfrm>
            <a:off x="6512415" y="4423722"/>
            <a:ext cx="46772" cy="75166"/>
          </a:xfrm>
          <a:custGeom>
            <a:avLst/>
            <a:gdLst/>
            <a:ahLst/>
            <a:cxnLst>
              <a:cxn ang="0">
                <a:pos x="22" y="2"/>
              </a:cxn>
              <a:cxn ang="0">
                <a:pos x="21" y="0"/>
              </a:cxn>
              <a:cxn ang="0">
                <a:pos x="20" y="0"/>
              </a:cxn>
              <a:cxn ang="0">
                <a:pos x="18" y="0"/>
              </a:cxn>
              <a:cxn ang="0">
                <a:pos x="16" y="2"/>
              </a:cxn>
              <a:cxn ang="0">
                <a:pos x="13" y="2"/>
              </a:cxn>
              <a:cxn ang="0">
                <a:pos x="12" y="2"/>
              </a:cxn>
              <a:cxn ang="0">
                <a:pos x="12" y="4"/>
              </a:cxn>
              <a:cxn ang="0">
                <a:pos x="12" y="7"/>
              </a:cxn>
              <a:cxn ang="0">
                <a:pos x="10" y="7"/>
              </a:cxn>
              <a:cxn ang="0">
                <a:pos x="9" y="7"/>
              </a:cxn>
              <a:cxn ang="0">
                <a:pos x="8" y="8"/>
              </a:cxn>
              <a:cxn ang="0">
                <a:pos x="5" y="8"/>
              </a:cxn>
              <a:cxn ang="0">
                <a:pos x="4" y="5"/>
              </a:cxn>
              <a:cxn ang="0">
                <a:pos x="2" y="4"/>
              </a:cxn>
              <a:cxn ang="0">
                <a:pos x="1" y="4"/>
              </a:cxn>
              <a:cxn ang="0">
                <a:pos x="0" y="5"/>
              </a:cxn>
              <a:cxn ang="0">
                <a:pos x="0" y="7"/>
              </a:cxn>
              <a:cxn ang="0">
                <a:pos x="1" y="10"/>
              </a:cxn>
              <a:cxn ang="0">
                <a:pos x="1" y="11"/>
              </a:cxn>
              <a:cxn ang="0">
                <a:pos x="2" y="19"/>
              </a:cxn>
              <a:cxn ang="0">
                <a:pos x="4" y="21"/>
              </a:cxn>
              <a:cxn ang="0">
                <a:pos x="4" y="22"/>
              </a:cxn>
              <a:cxn ang="0">
                <a:pos x="4" y="26"/>
              </a:cxn>
              <a:cxn ang="0">
                <a:pos x="4" y="30"/>
              </a:cxn>
              <a:cxn ang="0">
                <a:pos x="5" y="33"/>
              </a:cxn>
              <a:cxn ang="0">
                <a:pos x="6" y="35"/>
              </a:cxn>
              <a:cxn ang="0">
                <a:pos x="8" y="38"/>
              </a:cxn>
              <a:cxn ang="0">
                <a:pos x="8" y="37"/>
              </a:cxn>
              <a:cxn ang="0">
                <a:pos x="12" y="37"/>
              </a:cxn>
              <a:cxn ang="0">
                <a:pos x="14" y="35"/>
              </a:cxn>
              <a:cxn ang="0">
                <a:pos x="18" y="29"/>
              </a:cxn>
              <a:cxn ang="0">
                <a:pos x="20" y="26"/>
              </a:cxn>
              <a:cxn ang="0">
                <a:pos x="21" y="22"/>
              </a:cxn>
              <a:cxn ang="0">
                <a:pos x="24" y="18"/>
              </a:cxn>
              <a:cxn ang="0">
                <a:pos x="25" y="16"/>
              </a:cxn>
              <a:cxn ang="0">
                <a:pos x="25" y="13"/>
              </a:cxn>
              <a:cxn ang="0">
                <a:pos x="24" y="11"/>
              </a:cxn>
              <a:cxn ang="0">
                <a:pos x="24" y="10"/>
              </a:cxn>
              <a:cxn ang="0">
                <a:pos x="21" y="10"/>
              </a:cxn>
              <a:cxn ang="0">
                <a:pos x="21" y="8"/>
              </a:cxn>
              <a:cxn ang="0">
                <a:pos x="21" y="7"/>
              </a:cxn>
              <a:cxn ang="0">
                <a:pos x="21" y="5"/>
              </a:cxn>
              <a:cxn ang="0">
                <a:pos x="21" y="4"/>
              </a:cxn>
              <a:cxn ang="0">
                <a:pos x="22" y="2"/>
              </a:cxn>
            </a:cxnLst>
            <a:rect l="0" t="0" r="r" b="b"/>
            <a:pathLst>
              <a:path w="25" h="38">
                <a:moveTo>
                  <a:pt x="22" y="2"/>
                </a:moveTo>
                <a:lnTo>
                  <a:pt x="21" y="0"/>
                </a:lnTo>
                <a:lnTo>
                  <a:pt x="20" y="0"/>
                </a:lnTo>
                <a:lnTo>
                  <a:pt x="18" y="0"/>
                </a:lnTo>
                <a:lnTo>
                  <a:pt x="16" y="2"/>
                </a:lnTo>
                <a:lnTo>
                  <a:pt x="13" y="2"/>
                </a:lnTo>
                <a:lnTo>
                  <a:pt x="12" y="2"/>
                </a:lnTo>
                <a:lnTo>
                  <a:pt x="12" y="4"/>
                </a:lnTo>
                <a:lnTo>
                  <a:pt x="12" y="7"/>
                </a:lnTo>
                <a:lnTo>
                  <a:pt x="10" y="7"/>
                </a:lnTo>
                <a:lnTo>
                  <a:pt x="9" y="7"/>
                </a:lnTo>
                <a:lnTo>
                  <a:pt x="8" y="8"/>
                </a:lnTo>
                <a:lnTo>
                  <a:pt x="5" y="8"/>
                </a:lnTo>
                <a:lnTo>
                  <a:pt x="4" y="5"/>
                </a:lnTo>
                <a:lnTo>
                  <a:pt x="2" y="4"/>
                </a:lnTo>
                <a:lnTo>
                  <a:pt x="1" y="4"/>
                </a:lnTo>
                <a:lnTo>
                  <a:pt x="0" y="5"/>
                </a:lnTo>
                <a:lnTo>
                  <a:pt x="0" y="7"/>
                </a:lnTo>
                <a:lnTo>
                  <a:pt x="1" y="10"/>
                </a:lnTo>
                <a:lnTo>
                  <a:pt x="1" y="11"/>
                </a:lnTo>
                <a:lnTo>
                  <a:pt x="2" y="19"/>
                </a:lnTo>
                <a:lnTo>
                  <a:pt x="4" y="21"/>
                </a:lnTo>
                <a:lnTo>
                  <a:pt x="4" y="22"/>
                </a:lnTo>
                <a:lnTo>
                  <a:pt x="4" y="26"/>
                </a:lnTo>
                <a:lnTo>
                  <a:pt x="4" y="30"/>
                </a:lnTo>
                <a:lnTo>
                  <a:pt x="5" y="33"/>
                </a:lnTo>
                <a:lnTo>
                  <a:pt x="6" y="35"/>
                </a:lnTo>
                <a:lnTo>
                  <a:pt x="8" y="38"/>
                </a:lnTo>
                <a:lnTo>
                  <a:pt x="8" y="37"/>
                </a:lnTo>
                <a:lnTo>
                  <a:pt x="12" y="37"/>
                </a:lnTo>
                <a:lnTo>
                  <a:pt x="14" y="35"/>
                </a:lnTo>
                <a:lnTo>
                  <a:pt x="18" y="29"/>
                </a:lnTo>
                <a:lnTo>
                  <a:pt x="20" y="26"/>
                </a:lnTo>
                <a:lnTo>
                  <a:pt x="21" y="22"/>
                </a:lnTo>
                <a:lnTo>
                  <a:pt x="24" y="18"/>
                </a:lnTo>
                <a:lnTo>
                  <a:pt x="25" y="16"/>
                </a:lnTo>
                <a:lnTo>
                  <a:pt x="25" y="13"/>
                </a:lnTo>
                <a:lnTo>
                  <a:pt x="24" y="11"/>
                </a:lnTo>
                <a:lnTo>
                  <a:pt x="24" y="10"/>
                </a:lnTo>
                <a:lnTo>
                  <a:pt x="21" y="10"/>
                </a:lnTo>
                <a:lnTo>
                  <a:pt x="21" y="8"/>
                </a:lnTo>
                <a:lnTo>
                  <a:pt x="21" y="7"/>
                </a:lnTo>
                <a:lnTo>
                  <a:pt x="21" y="5"/>
                </a:lnTo>
                <a:lnTo>
                  <a:pt x="21" y="4"/>
                </a:lnTo>
                <a:lnTo>
                  <a:pt x="22" y="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21" name="Freeform 1348"/>
          <p:cNvSpPr>
            <a:spLocks/>
          </p:cNvSpPr>
          <p:nvPr/>
        </p:nvSpPr>
        <p:spPr bwMode="auto">
          <a:xfrm>
            <a:off x="6512415" y="4423722"/>
            <a:ext cx="46772" cy="75166"/>
          </a:xfrm>
          <a:custGeom>
            <a:avLst/>
            <a:gdLst/>
            <a:ahLst/>
            <a:cxnLst>
              <a:cxn ang="0">
                <a:pos x="22" y="2"/>
              </a:cxn>
              <a:cxn ang="0">
                <a:pos x="21" y="0"/>
              </a:cxn>
              <a:cxn ang="0">
                <a:pos x="20" y="0"/>
              </a:cxn>
              <a:cxn ang="0">
                <a:pos x="18" y="0"/>
              </a:cxn>
              <a:cxn ang="0">
                <a:pos x="16" y="2"/>
              </a:cxn>
              <a:cxn ang="0">
                <a:pos x="13" y="2"/>
              </a:cxn>
              <a:cxn ang="0">
                <a:pos x="12" y="2"/>
              </a:cxn>
              <a:cxn ang="0">
                <a:pos x="12" y="4"/>
              </a:cxn>
              <a:cxn ang="0">
                <a:pos x="12" y="7"/>
              </a:cxn>
              <a:cxn ang="0">
                <a:pos x="10" y="7"/>
              </a:cxn>
              <a:cxn ang="0">
                <a:pos x="9" y="7"/>
              </a:cxn>
              <a:cxn ang="0">
                <a:pos x="8" y="8"/>
              </a:cxn>
              <a:cxn ang="0">
                <a:pos x="5" y="8"/>
              </a:cxn>
              <a:cxn ang="0">
                <a:pos x="4" y="5"/>
              </a:cxn>
              <a:cxn ang="0">
                <a:pos x="2" y="4"/>
              </a:cxn>
              <a:cxn ang="0">
                <a:pos x="1" y="4"/>
              </a:cxn>
              <a:cxn ang="0">
                <a:pos x="0" y="5"/>
              </a:cxn>
              <a:cxn ang="0">
                <a:pos x="0" y="7"/>
              </a:cxn>
              <a:cxn ang="0">
                <a:pos x="1" y="10"/>
              </a:cxn>
              <a:cxn ang="0">
                <a:pos x="1" y="11"/>
              </a:cxn>
              <a:cxn ang="0">
                <a:pos x="2" y="19"/>
              </a:cxn>
              <a:cxn ang="0">
                <a:pos x="4" y="21"/>
              </a:cxn>
              <a:cxn ang="0">
                <a:pos x="4" y="22"/>
              </a:cxn>
              <a:cxn ang="0">
                <a:pos x="4" y="26"/>
              </a:cxn>
              <a:cxn ang="0">
                <a:pos x="4" y="30"/>
              </a:cxn>
              <a:cxn ang="0">
                <a:pos x="5" y="33"/>
              </a:cxn>
              <a:cxn ang="0">
                <a:pos x="6" y="35"/>
              </a:cxn>
              <a:cxn ang="0">
                <a:pos x="8" y="38"/>
              </a:cxn>
              <a:cxn ang="0">
                <a:pos x="8" y="37"/>
              </a:cxn>
              <a:cxn ang="0">
                <a:pos x="12" y="37"/>
              </a:cxn>
              <a:cxn ang="0">
                <a:pos x="14" y="35"/>
              </a:cxn>
              <a:cxn ang="0">
                <a:pos x="18" y="29"/>
              </a:cxn>
              <a:cxn ang="0">
                <a:pos x="20" y="26"/>
              </a:cxn>
              <a:cxn ang="0">
                <a:pos x="21" y="22"/>
              </a:cxn>
              <a:cxn ang="0">
                <a:pos x="24" y="18"/>
              </a:cxn>
              <a:cxn ang="0">
                <a:pos x="25" y="16"/>
              </a:cxn>
              <a:cxn ang="0">
                <a:pos x="25" y="13"/>
              </a:cxn>
              <a:cxn ang="0">
                <a:pos x="24" y="11"/>
              </a:cxn>
              <a:cxn ang="0">
                <a:pos x="24" y="10"/>
              </a:cxn>
              <a:cxn ang="0">
                <a:pos x="21" y="10"/>
              </a:cxn>
              <a:cxn ang="0">
                <a:pos x="21" y="8"/>
              </a:cxn>
              <a:cxn ang="0">
                <a:pos x="21" y="7"/>
              </a:cxn>
              <a:cxn ang="0">
                <a:pos x="21" y="5"/>
              </a:cxn>
              <a:cxn ang="0">
                <a:pos x="21" y="4"/>
              </a:cxn>
              <a:cxn ang="0">
                <a:pos x="22" y="2"/>
              </a:cxn>
            </a:cxnLst>
            <a:rect l="0" t="0" r="r" b="b"/>
            <a:pathLst>
              <a:path w="25" h="38">
                <a:moveTo>
                  <a:pt x="22" y="2"/>
                </a:moveTo>
                <a:lnTo>
                  <a:pt x="21" y="0"/>
                </a:lnTo>
                <a:lnTo>
                  <a:pt x="20" y="0"/>
                </a:lnTo>
                <a:lnTo>
                  <a:pt x="18" y="0"/>
                </a:lnTo>
                <a:lnTo>
                  <a:pt x="16" y="2"/>
                </a:lnTo>
                <a:lnTo>
                  <a:pt x="13" y="2"/>
                </a:lnTo>
                <a:lnTo>
                  <a:pt x="12" y="2"/>
                </a:lnTo>
                <a:lnTo>
                  <a:pt x="12" y="4"/>
                </a:lnTo>
                <a:lnTo>
                  <a:pt x="12" y="7"/>
                </a:lnTo>
                <a:lnTo>
                  <a:pt x="10" y="7"/>
                </a:lnTo>
                <a:lnTo>
                  <a:pt x="9" y="7"/>
                </a:lnTo>
                <a:lnTo>
                  <a:pt x="8" y="8"/>
                </a:lnTo>
                <a:lnTo>
                  <a:pt x="5" y="8"/>
                </a:lnTo>
                <a:lnTo>
                  <a:pt x="4" y="5"/>
                </a:lnTo>
                <a:lnTo>
                  <a:pt x="2" y="4"/>
                </a:lnTo>
                <a:lnTo>
                  <a:pt x="1" y="4"/>
                </a:lnTo>
                <a:lnTo>
                  <a:pt x="0" y="5"/>
                </a:lnTo>
                <a:lnTo>
                  <a:pt x="0" y="7"/>
                </a:lnTo>
                <a:lnTo>
                  <a:pt x="1" y="10"/>
                </a:lnTo>
                <a:lnTo>
                  <a:pt x="1" y="11"/>
                </a:lnTo>
                <a:lnTo>
                  <a:pt x="2" y="19"/>
                </a:lnTo>
                <a:lnTo>
                  <a:pt x="4" y="21"/>
                </a:lnTo>
                <a:lnTo>
                  <a:pt x="4" y="22"/>
                </a:lnTo>
                <a:lnTo>
                  <a:pt x="4" y="26"/>
                </a:lnTo>
                <a:lnTo>
                  <a:pt x="4" y="30"/>
                </a:lnTo>
                <a:lnTo>
                  <a:pt x="5" y="33"/>
                </a:lnTo>
                <a:lnTo>
                  <a:pt x="6" y="35"/>
                </a:lnTo>
                <a:lnTo>
                  <a:pt x="8" y="38"/>
                </a:lnTo>
                <a:lnTo>
                  <a:pt x="8" y="37"/>
                </a:lnTo>
                <a:lnTo>
                  <a:pt x="12" y="37"/>
                </a:lnTo>
                <a:lnTo>
                  <a:pt x="14" y="35"/>
                </a:lnTo>
                <a:lnTo>
                  <a:pt x="18" y="29"/>
                </a:lnTo>
                <a:lnTo>
                  <a:pt x="20" y="26"/>
                </a:lnTo>
                <a:lnTo>
                  <a:pt x="21" y="22"/>
                </a:lnTo>
                <a:lnTo>
                  <a:pt x="24" y="18"/>
                </a:lnTo>
                <a:lnTo>
                  <a:pt x="25" y="16"/>
                </a:lnTo>
                <a:lnTo>
                  <a:pt x="25" y="13"/>
                </a:lnTo>
                <a:lnTo>
                  <a:pt x="24" y="11"/>
                </a:lnTo>
                <a:lnTo>
                  <a:pt x="24" y="10"/>
                </a:lnTo>
                <a:lnTo>
                  <a:pt x="21" y="10"/>
                </a:lnTo>
                <a:lnTo>
                  <a:pt x="21" y="8"/>
                </a:lnTo>
                <a:lnTo>
                  <a:pt x="21" y="7"/>
                </a:lnTo>
                <a:lnTo>
                  <a:pt x="21" y="5"/>
                </a:lnTo>
                <a:lnTo>
                  <a:pt x="21" y="4"/>
                </a:lnTo>
                <a:lnTo>
                  <a:pt x="22" y="2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22" name="Freeform 1349"/>
          <p:cNvSpPr>
            <a:spLocks/>
          </p:cNvSpPr>
          <p:nvPr/>
        </p:nvSpPr>
        <p:spPr bwMode="auto">
          <a:xfrm>
            <a:off x="6615703" y="4674992"/>
            <a:ext cx="89645" cy="270599"/>
          </a:xfrm>
          <a:custGeom>
            <a:avLst/>
            <a:gdLst/>
            <a:ahLst/>
            <a:cxnLst>
              <a:cxn ang="0">
                <a:pos x="15" y="3"/>
              </a:cxn>
              <a:cxn ang="0">
                <a:pos x="10" y="3"/>
              </a:cxn>
              <a:cxn ang="0">
                <a:pos x="3" y="2"/>
              </a:cxn>
              <a:cxn ang="0">
                <a:pos x="7" y="5"/>
              </a:cxn>
              <a:cxn ang="0">
                <a:pos x="10" y="13"/>
              </a:cxn>
              <a:cxn ang="0">
                <a:pos x="13" y="22"/>
              </a:cxn>
              <a:cxn ang="0">
                <a:pos x="11" y="27"/>
              </a:cxn>
              <a:cxn ang="0">
                <a:pos x="10" y="33"/>
              </a:cxn>
              <a:cxn ang="0">
                <a:pos x="8" y="46"/>
              </a:cxn>
              <a:cxn ang="0">
                <a:pos x="10" y="53"/>
              </a:cxn>
              <a:cxn ang="0">
                <a:pos x="10" y="57"/>
              </a:cxn>
              <a:cxn ang="0">
                <a:pos x="4" y="58"/>
              </a:cxn>
              <a:cxn ang="0">
                <a:pos x="3" y="69"/>
              </a:cxn>
              <a:cxn ang="0">
                <a:pos x="0" y="77"/>
              </a:cxn>
              <a:cxn ang="0">
                <a:pos x="3" y="82"/>
              </a:cxn>
              <a:cxn ang="0">
                <a:pos x="7" y="85"/>
              </a:cxn>
              <a:cxn ang="0">
                <a:pos x="13" y="93"/>
              </a:cxn>
              <a:cxn ang="0">
                <a:pos x="25" y="91"/>
              </a:cxn>
              <a:cxn ang="0">
                <a:pos x="27" y="99"/>
              </a:cxn>
              <a:cxn ang="0">
                <a:pos x="25" y="110"/>
              </a:cxn>
              <a:cxn ang="0">
                <a:pos x="23" y="116"/>
              </a:cxn>
              <a:cxn ang="0">
                <a:pos x="27" y="124"/>
              </a:cxn>
              <a:cxn ang="0">
                <a:pos x="31" y="130"/>
              </a:cxn>
              <a:cxn ang="0">
                <a:pos x="36" y="134"/>
              </a:cxn>
              <a:cxn ang="0">
                <a:pos x="37" y="137"/>
              </a:cxn>
              <a:cxn ang="0">
                <a:pos x="39" y="132"/>
              </a:cxn>
              <a:cxn ang="0">
                <a:pos x="36" y="127"/>
              </a:cxn>
              <a:cxn ang="0">
                <a:pos x="37" y="123"/>
              </a:cxn>
              <a:cxn ang="0">
                <a:pos x="45" y="119"/>
              </a:cxn>
              <a:cxn ang="0">
                <a:pos x="47" y="108"/>
              </a:cxn>
              <a:cxn ang="0">
                <a:pos x="47" y="99"/>
              </a:cxn>
              <a:cxn ang="0">
                <a:pos x="41" y="88"/>
              </a:cxn>
              <a:cxn ang="0">
                <a:pos x="33" y="77"/>
              </a:cxn>
              <a:cxn ang="0">
                <a:pos x="31" y="79"/>
              </a:cxn>
              <a:cxn ang="0">
                <a:pos x="33" y="80"/>
              </a:cxn>
              <a:cxn ang="0">
                <a:pos x="33" y="86"/>
              </a:cxn>
              <a:cxn ang="0">
                <a:pos x="31" y="83"/>
              </a:cxn>
              <a:cxn ang="0">
                <a:pos x="29" y="88"/>
              </a:cxn>
              <a:cxn ang="0">
                <a:pos x="27" y="85"/>
              </a:cxn>
              <a:cxn ang="0">
                <a:pos x="27" y="80"/>
              </a:cxn>
              <a:cxn ang="0">
                <a:pos x="24" y="75"/>
              </a:cxn>
              <a:cxn ang="0">
                <a:pos x="23" y="68"/>
              </a:cxn>
              <a:cxn ang="0">
                <a:pos x="17" y="52"/>
              </a:cxn>
              <a:cxn ang="0">
                <a:pos x="21" y="46"/>
              </a:cxn>
              <a:cxn ang="0">
                <a:pos x="21" y="24"/>
              </a:cxn>
              <a:cxn ang="0">
                <a:pos x="20" y="17"/>
              </a:cxn>
              <a:cxn ang="0">
                <a:pos x="16" y="9"/>
              </a:cxn>
              <a:cxn ang="0">
                <a:pos x="17" y="6"/>
              </a:cxn>
            </a:cxnLst>
            <a:rect l="0" t="0" r="r" b="b"/>
            <a:pathLst>
              <a:path w="47" h="137">
                <a:moveTo>
                  <a:pt x="17" y="6"/>
                </a:moveTo>
                <a:lnTo>
                  <a:pt x="16" y="5"/>
                </a:lnTo>
                <a:lnTo>
                  <a:pt x="15" y="3"/>
                </a:lnTo>
                <a:lnTo>
                  <a:pt x="13" y="3"/>
                </a:lnTo>
                <a:lnTo>
                  <a:pt x="11" y="5"/>
                </a:lnTo>
                <a:lnTo>
                  <a:pt x="10" y="3"/>
                </a:lnTo>
                <a:lnTo>
                  <a:pt x="7" y="3"/>
                </a:lnTo>
                <a:lnTo>
                  <a:pt x="3" y="0"/>
                </a:lnTo>
                <a:lnTo>
                  <a:pt x="3" y="2"/>
                </a:lnTo>
                <a:lnTo>
                  <a:pt x="3" y="3"/>
                </a:lnTo>
                <a:lnTo>
                  <a:pt x="4" y="5"/>
                </a:lnTo>
                <a:lnTo>
                  <a:pt x="7" y="5"/>
                </a:lnTo>
                <a:lnTo>
                  <a:pt x="8" y="8"/>
                </a:lnTo>
                <a:lnTo>
                  <a:pt x="8" y="9"/>
                </a:lnTo>
                <a:lnTo>
                  <a:pt x="10" y="13"/>
                </a:lnTo>
                <a:lnTo>
                  <a:pt x="11" y="14"/>
                </a:lnTo>
                <a:lnTo>
                  <a:pt x="12" y="20"/>
                </a:lnTo>
                <a:lnTo>
                  <a:pt x="13" y="22"/>
                </a:lnTo>
                <a:lnTo>
                  <a:pt x="13" y="24"/>
                </a:lnTo>
                <a:lnTo>
                  <a:pt x="13" y="25"/>
                </a:lnTo>
                <a:lnTo>
                  <a:pt x="11" y="27"/>
                </a:lnTo>
                <a:lnTo>
                  <a:pt x="10" y="28"/>
                </a:lnTo>
                <a:lnTo>
                  <a:pt x="10" y="30"/>
                </a:lnTo>
                <a:lnTo>
                  <a:pt x="10" y="33"/>
                </a:lnTo>
                <a:lnTo>
                  <a:pt x="8" y="39"/>
                </a:lnTo>
                <a:lnTo>
                  <a:pt x="8" y="41"/>
                </a:lnTo>
                <a:lnTo>
                  <a:pt x="8" y="46"/>
                </a:lnTo>
                <a:lnTo>
                  <a:pt x="8" y="50"/>
                </a:lnTo>
                <a:lnTo>
                  <a:pt x="8" y="52"/>
                </a:lnTo>
                <a:lnTo>
                  <a:pt x="10" y="53"/>
                </a:lnTo>
                <a:lnTo>
                  <a:pt x="11" y="53"/>
                </a:lnTo>
                <a:lnTo>
                  <a:pt x="11" y="55"/>
                </a:lnTo>
                <a:lnTo>
                  <a:pt x="10" y="57"/>
                </a:lnTo>
                <a:lnTo>
                  <a:pt x="8" y="57"/>
                </a:lnTo>
                <a:lnTo>
                  <a:pt x="6" y="58"/>
                </a:lnTo>
                <a:lnTo>
                  <a:pt x="4" y="58"/>
                </a:lnTo>
                <a:lnTo>
                  <a:pt x="4" y="60"/>
                </a:lnTo>
                <a:lnTo>
                  <a:pt x="3" y="64"/>
                </a:lnTo>
                <a:lnTo>
                  <a:pt x="3" y="69"/>
                </a:lnTo>
                <a:lnTo>
                  <a:pt x="2" y="74"/>
                </a:lnTo>
                <a:lnTo>
                  <a:pt x="0" y="75"/>
                </a:lnTo>
                <a:lnTo>
                  <a:pt x="0" y="77"/>
                </a:lnTo>
                <a:lnTo>
                  <a:pt x="0" y="80"/>
                </a:lnTo>
                <a:lnTo>
                  <a:pt x="2" y="80"/>
                </a:lnTo>
                <a:lnTo>
                  <a:pt x="3" y="82"/>
                </a:lnTo>
                <a:lnTo>
                  <a:pt x="4" y="82"/>
                </a:lnTo>
                <a:lnTo>
                  <a:pt x="6" y="83"/>
                </a:lnTo>
                <a:lnTo>
                  <a:pt x="7" y="85"/>
                </a:lnTo>
                <a:lnTo>
                  <a:pt x="10" y="90"/>
                </a:lnTo>
                <a:lnTo>
                  <a:pt x="12" y="93"/>
                </a:lnTo>
                <a:lnTo>
                  <a:pt x="13" y="93"/>
                </a:lnTo>
                <a:lnTo>
                  <a:pt x="16" y="93"/>
                </a:lnTo>
                <a:lnTo>
                  <a:pt x="24" y="91"/>
                </a:lnTo>
                <a:lnTo>
                  <a:pt x="25" y="91"/>
                </a:lnTo>
                <a:lnTo>
                  <a:pt x="25" y="93"/>
                </a:lnTo>
                <a:lnTo>
                  <a:pt x="27" y="97"/>
                </a:lnTo>
                <a:lnTo>
                  <a:pt x="27" y="99"/>
                </a:lnTo>
                <a:lnTo>
                  <a:pt x="27" y="105"/>
                </a:lnTo>
                <a:lnTo>
                  <a:pt x="27" y="107"/>
                </a:lnTo>
                <a:lnTo>
                  <a:pt x="25" y="110"/>
                </a:lnTo>
                <a:lnTo>
                  <a:pt x="25" y="112"/>
                </a:lnTo>
                <a:lnTo>
                  <a:pt x="24" y="113"/>
                </a:lnTo>
                <a:lnTo>
                  <a:pt x="23" y="116"/>
                </a:lnTo>
                <a:lnTo>
                  <a:pt x="24" y="118"/>
                </a:lnTo>
                <a:lnTo>
                  <a:pt x="25" y="123"/>
                </a:lnTo>
                <a:lnTo>
                  <a:pt x="27" y="124"/>
                </a:lnTo>
                <a:lnTo>
                  <a:pt x="28" y="126"/>
                </a:lnTo>
                <a:lnTo>
                  <a:pt x="31" y="129"/>
                </a:lnTo>
                <a:lnTo>
                  <a:pt x="31" y="130"/>
                </a:lnTo>
                <a:lnTo>
                  <a:pt x="32" y="132"/>
                </a:lnTo>
                <a:lnTo>
                  <a:pt x="35" y="132"/>
                </a:lnTo>
                <a:lnTo>
                  <a:pt x="36" y="134"/>
                </a:lnTo>
                <a:lnTo>
                  <a:pt x="36" y="135"/>
                </a:lnTo>
                <a:lnTo>
                  <a:pt x="35" y="137"/>
                </a:lnTo>
                <a:lnTo>
                  <a:pt x="37" y="137"/>
                </a:lnTo>
                <a:lnTo>
                  <a:pt x="39" y="137"/>
                </a:lnTo>
                <a:lnTo>
                  <a:pt x="37" y="134"/>
                </a:lnTo>
                <a:lnTo>
                  <a:pt x="39" y="132"/>
                </a:lnTo>
                <a:lnTo>
                  <a:pt x="37" y="130"/>
                </a:lnTo>
                <a:lnTo>
                  <a:pt x="36" y="129"/>
                </a:lnTo>
                <a:lnTo>
                  <a:pt x="36" y="127"/>
                </a:lnTo>
                <a:lnTo>
                  <a:pt x="37" y="126"/>
                </a:lnTo>
                <a:lnTo>
                  <a:pt x="37" y="124"/>
                </a:lnTo>
                <a:lnTo>
                  <a:pt x="37" y="123"/>
                </a:lnTo>
                <a:lnTo>
                  <a:pt x="41" y="121"/>
                </a:lnTo>
                <a:lnTo>
                  <a:pt x="43" y="121"/>
                </a:lnTo>
                <a:lnTo>
                  <a:pt x="45" y="119"/>
                </a:lnTo>
                <a:lnTo>
                  <a:pt x="45" y="118"/>
                </a:lnTo>
                <a:lnTo>
                  <a:pt x="45" y="112"/>
                </a:lnTo>
                <a:lnTo>
                  <a:pt x="47" y="108"/>
                </a:lnTo>
                <a:lnTo>
                  <a:pt x="45" y="104"/>
                </a:lnTo>
                <a:lnTo>
                  <a:pt x="47" y="101"/>
                </a:lnTo>
                <a:lnTo>
                  <a:pt x="47" y="99"/>
                </a:lnTo>
                <a:lnTo>
                  <a:pt x="47" y="94"/>
                </a:lnTo>
                <a:lnTo>
                  <a:pt x="45" y="93"/>
                </a:lnTo>
                <a:lnTo>
                  <a:pt x="41" y="88"/>
                </a:lnTo>
                <a:lnTo>
                  <a:pt x="40" y="85"/>
                </a:lnTo>
                <a:lnTo>
                  <a:pt x="36" y="80"/>
                </a:lnTo>
                <a:lnTo>
                  <a:pt x="33" y="77"/>
                </a:lnTo>
                <a:lnTo>
                  <a:pt x="31" y="74"/>
                </a:lnTo>
                <a:lnTo>
                  <a:pt x="31" y="77"/>
                </a:lnTo>
                <a:lnTo>
                  <a:pt x="31" y="79"/>
                </a:lnTo>
                <a:lnTo>
                  <a:pt x="32" y="79"/>
                </a:lnTo>
                <a:lnTo>
                  <a:pt x="33" y="79"/>
                </a:lnTo>
                <a:lnTo>
                  <a:pt x="33" y="80"/>
                </a:lnTo>
                <a:lnTo>
                  <a:pt x="36" y="88"/>
                </a:lnTo>
                <a:lnTo>
                  <a:pt x="36" y="90"/>
                </a:lnTo>
                <a:lnTo>
                  <a:pt x="33" y="86"/>
                </a:lnTo>
                <a:lnTo>
                  <a:pt x="32" y="86"/>
                </a:lnTo>
                <a:lnTo>
                  <a:pt x="32" y="85"/>
                </a:lnTo>
                <a:lnTo>
                  <a:pt x="31" y="83"/>
                </a:lnTo>
                <a:lnTo>
                  <a:pt x="31" y="85"/>
                </a:lnTo>
                <a:lnTo>
                  <a:pt x="29" y="86"/>
                </a:lnTo>
                <a:lnTo>
                  <a:pt x="29" y="88"/>
                </a:lnTo>
                <a:lnTo>
                  <a:pt x="28" y="88"/>
                </a:lnTo>
                <a:lnTo>
                  <a:pt x="27" y="86"/>
                </a:lnTo>
                <a:lnTo>
                  <a:pt x="27" y="85"/>
                </a:lnTo>
                <a:lnTo>
                  <a:pt x="27" y="83"/>
                </a:lnTo>
                <a:lnTo>
                  <a:pt x="27" y="82"/>
                </a:lnTo>
                <a:lnTo>
                  <a:pt x="27" y="80"/>
                </a:lnTo>
                <a:lnTo>
                  <a:pt x="27" y="79"/>
                </a:lnTo>
                <a:lnTo>
                  <a:pt x="27" y="77"/>
                </a:lnTo>
                <a:lnTo>
                  <a:pt x="24" y="75"/>
                </a:lnTo>
                <a:lnTo>
                  <a:pt x="24" y="74"/>
                </a:lnTo>
                <a:lnTo>
                  <a:pt x="23" y="72"/>
                </a:lnTo>
                <a:lnTo>
                  <a:pt x="23" y="68"/>
                </a:lnTo>
                <a:lnTo>
                  <a:pt x="21" y="60"/>
                </a:lnTo>
                <a:lnTo>
                  <a:pt x="17" y="53"/>
                </a:lnTo>
                <a:lnTo>
                  <a:pt x="17" y="52"/>
                </a:lnTo>
                <a:lnTo>
                  <a:pt x="19" y="50"/>
                </a:lnTo>
                <a:lnTo>
                  <a:pt x="20" y="47"/>
                </a:lnTo>
                <a:lnTo>
                  <a:pt x="21" y="46"/>
                </a:lnTo>
                <a:lnTo>
                  <a:pt x="21" y="42"/>
                </a:lnTo>
                <a:lnTo>
                  <a:pt x="21" y="30"/>
                </a:lnTo>
                <a:lnTo>
                  <a:pt x="21" y="24"/>
                </a:lnTo>
                <a:lnTo>
                  <a:pt x="21" y="20"/>
                </a:lnTo>
                <a:lnTo>
                  <a:pt x="21" y="19"/>
                </a:lnTo>
                <a:lnTo>
                  <a:pt x="20" y="17"/>
                </a:lnTo>
                <a:lnTo>
                  <a:pt x="19" y="16"/>
                </a:lnTo>
                <a:lnTo>
                  <a:pt x="16" y="11"/>
                </a:lnTo>
                <a:lnTo>
                  <a:pt x="16" y="9"/>
                </a:lnTo>
                <a:lnTo>
                  <a:pt x="17" y="6"/>
                </a:lnTo>
                <a:lnTo>
                  <a:pt x="19" y="3"/>
                </a:lnTo>
                <a:lnTo>
                  <a:pt x="17" y="6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23" name="Freeform 1350"/>
          <p:cNvSpPr>
            <a:spLocks/>
          </p:cNvSpPr>
          <p:nvPr/>
        </p:nvSpPr>
        <p:spPr bwMode="auto">
          <a:xfrm>
            <a:off x="6615703" y="4674992"/>
            <a:ext cx="89645" cy="270599"/>
          </a:xfrm>
          <a:custGeom>
            <a:avLst/>
            <a:gdLst/>
            <a:ahLst/>
            <a:cxnLst>
              <a:cxn ang="0">
                <a:pos x="15" y="3"/>
              </a:cxn>
              <a:cxn ang="0">
                <a:pos x="10" y="3"/>
              </a:cxn>
              <a:cxn ang="0">
                <a:pos x="3" y="2"/>
              </a:cxn>
              <a:cxn ang="0">
                <a:pos x="7" y="5"/>
              </a:cxn>
              <a:cxn ang="0">
                <a:pos x="10" y="13"/>
              </a:cxn>
              <a:cxn ang="0">
                <a:pos x="13" y="22"/>
              </a:cxn>
              <a:cxn ang="0">
                <a:pos x="11" y="27"/>
              </a:cxn>
              <a:cxn ang="0">
                <a:pos x="10" y="33"/>
              </a:cxn>
              <a:cxn ang="0">
                <a:pos x="8" y="46"/>
              </a:cxn>
              <a:cxn ang="0">
                <a:pos x="10" y="53"/>
              </a:cxn>
              <a:cxn ang="0">
                <a:pos x="10" y="57"/>
              </a:cxn>
              <a:cxn ang="0">
                <a:pos x="4" y="58"/>
              </a:cxn>
              <a:cxn ang="0">
                <a:pos x="3" y="69"/>
              </a:cxn>
              <a:cxn ang="0">
                <a:pos x="0" y="77"/>
              </a:cxn>
              <a:cxn ang="0">
                <a:pos x="3" y="82"/>
              </a:cxn>
              <a:cxn ang="0">
                <a:pos x="7" y="85"/>
              </a:cxn>
              <a:cxn ang="0">
                <a:pos x="13" y="93"/>
              </a:cxn>
              <a:cxn ang="0">
                <a:pos x="25" y="91"/>
              </a:cxn>
              <a:cxn ang="0">
                <a:pos x="27" y="99"/>
              </a:cxn>
              <a:cxn ang="0">
                <a:pos x="25" y="110"/>
              </a:cxn>
              <a:cxn ang="0">
                <a:pos x="23" y="116"/>
              </a:cxn>
              <a:cxn ang="0">
                <a:pos x="27" y="124"/>
              </a:cxn>
              <a:cxn ang="0">
                <a:pos x="31" y="130"/>
              </a:cxn>
              <a:cxn ang="0">
                <a:pos x="36" y="134"/>
              </a:cxn>
              <a:cxn ang="0">
                <a:pos x="37" y="137"/>
              </a:cxn>
              <a:cxn ang="0">
                <a:pos x="39" y="132"/>
              </a:cxn>
              <a:cxn ang="0">
                <a:pos x="36" y="127"/>
              </a:cxn>
              <a:cxn ang="0">
                <a:pos x="37" y="123"/>
              </a:cxn>
              <a:cxn ang="0">
                <a:pos x="45" y="119"/>
              </a:cxn>
              <a:cxn ang="0">
                <a:pos x="47" y="108"/>
              </a:cxn>
              <a:cxn ang="0">
                <a:pos x="47" y="99"/>
              </a:cxn>
              <a:cxn ang="0">
                <a:pos x="41" y="88"/>
              </a:cxn>
              <a:cxn ang="0">
                <a:pos x="33" y="77"/>
              </a:cxn>
              <a:cxn ang="0">
                <a:pos x="31" y="79"/>
              </a:cxn>
              <a:cxn ang="0">
                <a:pos x="33" y="80"/>
              </a:cxn>
              <a:cxn ang="0">
                <a:pos x="33" y="86"/>
              </a:cxn>
              <a:cxn ang="0">
                <a:pos x="31" y="83"/>
              </a:cxn>
              <a:cxn ang="0">
                <a:pos x="29" y="88"/>
              </a:cxn>
              <a:cxn ang="0">
                <a:pos x="27" y="85"/>
              </a:cxn>
              <a:cxn ang="0">
                <a:pos x="27" y="80"/>
              </a:cxn>
              <a:cxn ang="0">
                <a:pos x="24" y="75"/>
              </a:cxn>
              <a:cxn ang="0">
                <a:pos x="23" y="68"/>
              </a:cxn>
              <a:cxn ang="0">
                <a:pos x="17" y="52"/>
              </a:cxn>
              <a:cxn ang="0">
                <a:pos x="21" y="46"/>
              </a:cxn>
              <a:cxn ang="0">
                <a:pos x="21" y="24"/>
              </a:cxn>
              <a:cxn ang="0">
                <a:pos x="20" y="17"/>
              </a:cxn>
              <a:cxn ang="0">
                <a:pos x="16" y="9"/>
              </a:cxn>
              <a:cxn ang="0">
                <a:pos x="17" y="6"/>
              </a:cxn>
            </a:cxnLst>
            <a:rect l="0" t="0" r="r" b="b"/>
            <a:pathLst>
              <a:path w="47" h="137">
                <a:moveTo>
                  <a:pt x="17" y="6"/>
                </a:moveTo>
                <a:lnTo>
                  <a:pt x="16" y="5"/>
                </a:lnTo>
                <a:lnTo>
                  <a:pt x="15" y="3"/>
                </a:lnTo>
                <a:lnTo>
                  <a:pt x="13" y="3"/>
                </a:lnTo>
                <a:lnTo>
                  <a:pt x="11" y="5"/>
                </a:lnTo>
                <a:lnTo>
                  <a:pt x="10" y="3"/>
                </a:lnTo>
                <a:lnTo>
                  <a:pt x="7" y="3"/>
                </a:lnTo>
                <a:lnTo>
                  <a:pt x="3" y="0"/>
                </a:lnTo>
                <a:lnTo>
                  <a:pt x="3" y="2"/>
                </a:lnTo>
                <a:lnTo>
                  <a:pt x="3" y="3"/>
                </a:lnTo>
                <a:lnTo>
                  <a:pt x="4" y="5"/>
                </a:lnTo>
                <a:lnTo>
                  <a:pt x="7" y="5"/>
                </a:lnTo>
                <a:lnTo>
                  <a:pt x="8" y="8"/>
                </a:lnTo>
                <a:lnTo>
                  <a:pt x="8" y="9"/>
                </a:lnTo>
                <a:lnTo>
                  <a:pt x="10" y="13"/>
                </a:lnTo>
                <a:lnTo>
                  <a:pt x="11" y="14"/>
                </a:lnTo>
                <a:lnTo>
                  <a:pt x="12" y="20"/>
                </a:lnTo>
                <a:lnTo>
                  <a:pt x="13" y="22"/>
                </a:lnTo>
                <a:lnTo>
                  <a:pt x="13" y="24"/>
                </a:lnTo>
                <a:lnTo>
                  <a:pt x="13" y="25"/>
                </a:lnTo>
                <a:lnTo>
                  <a:pt x="11" y="27"/>
                </a:lnTo>
                <a:lnTo>
                  <a:pt x="10" y="28"/>
                </a:lnTo>
                <a:lnTo>
                  <a:pt x="10" y="30"/>
                </a:lnTo>
                <a:lnTo>
                  <a:pt x="10" y="33"/>
                </a:lnTo>
                <a:lnTo>
                  <a:pt x="8" y="39"/>
                </a:lnTo>
                <a:lnTo>
                  <a:pt x="8" y="41"/>
                </a:lnTo>
                <a:lnTo>
                  <a:pt x="8" y="46"/>
                </a:lnTo>
                <a:lnTo>
                  <a:pt x="8" y="50"/>
                </a:lnTo>
                <a:lnTo>
                  <a:pt x="8" y="52"/>
                </a:lnTo>
                <a:lnTo>
                  <a:pt x="10" y="53"/>
                </a:lnTo>
                <a:lnTo>
                  <a:pt x="11" y="53"/>
                </a:lnTo>
                <a:lnTo>
                  <a:pt x="11" y="55"/>
                </a:lnTo>
                <a:lnTo>
                  <a:pt x="10" y="57"/>
                </a:lnTo>
                <a:lnTo>
                  <a:pt x="8" y="57"/>
                </a:lnTo>
                <a:lnTo>
                  <a:pt x="6" y="58"/>
                </a:lnTo>
                <a:lnTo>
                  <a:pt x="4" y="58"/>
                </a:lnTo>
                <a:lnTo>
                  <a:pt x="4" y="60"/>
                </a:lnTo>
                <a:lnTo>
                  <a:pt x="3" y="64"/>
                </a:lnTo>
                <a:lnTo>
                  <a:pt x="3" y="69"/>
                </a:lnTo>
                <a:lnTo>
                  <a:pt x="2" y="74"/>
                </a:lnTo>
                <a:lnTo>
                  <a:pt x="0" y="75"/>
                </a:lnTo>
                <a:lnTo>
                  <a:pt x="0" y="77"/>
                </a:lnTo>
                <a:lnTo>
                  <a:pt x="0" y="80"/>
                </a:lnTo>
                <a:lnTo>
                  <a:pt x="2" y="80"/>
                </a:lnTo>
                <a:lnTo>
                  <a:pt x="3" y="82"/>
                </a:lnTo>
                <a:lnTo>
                  <a:pt x="4" y="82"/>
                </a:lnTo>
                <a:lnTo>
                  <a:pt x="6" y="83"/>
                </a:lnTo>
                <a:lnTo>
                  <a:pt x="7" y="85"/>
                </a:lnTo>
                <a:lnTo>
                  <a:pt x="10" y="90"/>
                </a:lnTo>
                <a:lnTo>
                  <a:pt x="12" y="93"/>
                </a:lnTo>
                <a:lnTo>
                  <a:pt x="13" y="93"/>
                </a:lnTo>
                <a:lnTo>
                  <a:pt x="16" y="93"/>
                </a:lnTo>
                <a:lnTo>
                  <a:pt x="24" y="91"/>
                </a:lnTo>
                <a:lnTo>
                  <a:pt x="25" y="91"/>
                </a:lnTo>
                <a:lnTo>
                  <a:pt x="25" y="93"/>
                </a:lnTo>
                <a:lnTo>
                  <a:pt x="27" y="97"/>
                </a:lnTo>
                <a:lnTo>
                  <a:pt x="27" y="99"/>
                </a:lnTo>
                <a:lnTo>
                  <a:pt x="27" y="105"/>
                </a:lnTo>
                <a:lnTo>
                  <a:pt x="27" y="107"/>
                </a:lnTo>
                <a:lnTo>
                  <a:pt x="25" y="110"/>
                </a:lnTo>
                <a:lnTo>
                  <a:pt x="25" y="112"/>
                </a:lnTo>
                <a:lnTo>
                  <a:pt x="24" y="113"/>
                </a:lnTo>
                <a:lnTo>
                  <a:pt x="23" y="116"/>
                </a:lnTo>
                <a:lnTo>
                  <a:pt x="24" y="118"/>
                </a:lnTo>
                <a:lnTo>
                  <a:pt x="25" y="123"/>
                </a:lnTo>
                <a:lnTo>
                  <a:pt x="27" y="124"/>
                </a:lnTo>
                <a:lnTo>
                  <a:pt x="28" y="126"/>
                </a:lnTo>
                <a:lnTo>
                  <a:pt x="31" y="129"/>
                </a:lnTo>
                <a:lnTo>
                  <a:pt x="31" y="130"/>
                </a:lnTo>
                <a:lnTo>
                  <a:pt x="32" y="132"/>
                </a:lnTo>
                <a:lnTo>
                  <a:pt x="35" y="132"/>
                </a:lnTo>
                <a:lnTo>
                  <a:pt x="36" y="134"/>
                </a:lnTo>
                <a:lnTo>
                  <a:pt x="36" y="135"/>
                </a:lnTo>
                <a:lnTo>
                  <a:pt x="35" y="137"/>
                </a:lnTo>
                <a:lnTo>
                  <a:pt x="37" y="137"/>
                </a:lnTo>
                <a:lnTo>
                  <a:pt x="39" y="137"/>
                </a:lnTo>
                <a:lnTo>
                  <a:pt x="37" y="134"/>
                </a:lnTo>
                <a:lnTo>
                  <a:pt x="39" y="132"/>
                </a:lnTo>
                <a:lnTo>
                  <a:pt x="37" y="130"/>
                </a:lnTo>
                <a:lnTo>
                  <a:pt x="36" y="129"/>
                </a:lnTo>
                <a:lnTo>
                  <a:pt x="36" y="127"/>
                </a:lnTo>
                <a:lnTo>
                  <a:pt x="37" y="126"/>
                </a:lnTo>
                <a:lnTo>
                  <a:pt x="37" y="124"/>
                </a:lnTo>
                <a:lnTo>
                  <a:pt x="37" y="123"/>
                </a:lnTo>
                <a:lnTo>
                  <a:pt x="41" y="121"/>
                </a:lnTo>
                <a:lnTo>
                  <a:pt x="43" y="121"/>
                </a:lnTo>
                <a:lnTo>
                  <a:pt x="45" y="119"/>
                </a:lnTo>
                <a:lnTo>
                  <a:pt x="45" y="118"/>
                </a:lnTo>
                <a:lnTo>
                  <a:pt x="45" y="112"/>
                </a:lnTo>
                <a:lnTo>
                  <a:pt x="47" y="108"/>
                </a:lnTo>
                <a:lnTo>
                  <a:pt x="45" y="104"/>
                </a:lnTo>
                <a:lnTo>
                  <a:pt x="47" y="101"/>
                </a:lnTo>
                <a:lnTo>
                  <a:pt x="47" y="99"/>
                </a:lnTo>
                <a:lnTo>
                  <a:pt x="47" y="94"/>
                </a:lnTo>
                <a:lnTo>
                  <a:pt x="45" y="93"/>
                </a:lnTo>
                <a:lnTo>
                  <a:pt x="41" y="88"/>
                </a:lnTo>
                <a:lnTo>
                  <a:pt x="40" y="85"/>
                </a:lnTo>
                <a:lnTo>
                  <a:pt x="36" y="80"/>
                </a:lnTo>
                <a:lnTo>
                  <a:pt x="33" y="77"/>
                </a:lnTo>
                <a:lnTo>
                  <a:pt x="31" y="74"/>
                </a:lnTo>
                <a:lnTo>
                  <a:pt x="31" y="77"/>
                </a:lnTo>
                <a:lnTo>
                  <a:pt x="31" y="79"/>
                </a:lnTo>
                <a:lnTo>
                  <a:pt x="32" y="79"/>
                </a:lnTo>
                <a:lnTo>
                  <a:pt x="33" y="79"/>
                </a:lnTo>
                <a:lnTo>
                  <a:pt x="33" y="80"/>
                </a:lnTo>
                <a:lnTo>
                  <a:pt x="36" y="88"/>
                </a:lnTo>
                <a:lnTo>
                  <a:pt x="36" y="90"/>
                </a:lnTo>
                <a:lnTo>
                  <a:pt x="33" y="86"/>
                </a:lnTo>
                <a:lnTo>
                  <a:pt x="32" y="86"/>
                </a:lnTo>
                <a:lnTo>
                  <a:pt x="32" y="85"/>
                </a:lnTo>
                <a:lnTo>
                  <a:pt x="31" y="83"/>
                </a:lnTo>
                <a:lnTo>
                  <a:pt x="31" y="85"/>
                </a:lnTo>
                <a:lnTo>
                  <a:pt x="29" y="86"/>
                </a:lnTo>
                <a:lnTo>
                  <a:pt x="29" y="88"/>
                </a:lnTo>
                <a:lnTo>
                  <a:pt x="28" y="88"/>
                </a:lnTo>
                <a:lnTo>
                  <a:pt x="27" y="86"/>
                </a:lnTo>
                <a:lnTo>
                  <a:pt x="27" y="85"/>
                </a:lnTo>
                <a:lnTo>
                  <a:pt x="27" y="83"/>
                </a:lnTo>
                <a:lnTo>
                  <a:pt x="27" y="82"/>
                </a:lnTo>
                <a:lnTo>
                  <a:pt x="27" y="80"/>
                </a:lnTo>
                <a:lnTo>
                  <a:pt x="27" y="79"/>
                </a:lnTo>
                <a:lnTo>
                  <a:pt x="27" y="77"/>
                </a:lnTo>
                <a:lnTo>
                  <a:pt x="24" y="75"/>
                </a:lnTo>
                <a:lnTo>
                  <a:pt x="24" y="74"/>
                </a:lnTo>
                <a:lnTo>
                  <a:pt x="23" y="72"/>
                </a:lnTo>
                <a:lnTo>
                  <a:pt x="23" y="68"/>
                </a:lnTo>
                <a:lnTo>
                  <a:pt x="21" y="60"/>
                </a:lnTo>
                <a:lnTo>
                  <a:pt x="17" y="53"/>
                </a:lnTo>
                <a:lnTo>
                  <a:pt x="17" y="52"/>
                </a:lnTo>
                <a:lnTo>
                  <a:pt x="19" y="50"/>
                </a:lnTo>
                <a:lnTo>
                  <a:pt x="20" y="47"/>
                </a:lnTo>
                <a:lnTo>
                  <a:pt x="21" y="46"/>
                </a:lnTo>
                <a:lnTo>
                  <a:pt x="21" y="42"/>
                </a:lnTo>
                <a:lnTo>
                  <a:pt x="21" y="30"/>
                </a:lnTo>
                <a:lnTo>
                  <a:pt x="21" y="24"/>
                </a:lnTo>
                <a:lnTo>
                  <a:pt x="21" y="20"/>
                </a:lnTo>
                <a:lnTo>
                  <a:pt x="21" y="19"/>
                </a:lnTo>
                <a:lnTo>
                  <a:pt x="20" y="17"/>
                </a:lnTo>
                <a:lnTo>
                  <a:pt x="19" y="16"/>
                </a:lnTo>
                <a:lnTo>
                  <a:pt x="16" y="11"/>
                </a:lnTo>
                <a:lnTo>
                  <a:pt x="16" y="9"/>
                </a:lnTo>
                <a:lnTo>
                  <a:pt x="17" y="6"/>
                </a:lnTo>
                <a:lnTo>
                  <a:pt x="19" y="3"/>
                </a:lnTo>
                <a:lnTo>
                  <a:pt x="17" y="6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FFC000"/>
              </a:solidFill>
            </a:endParaRPr>
          </a:p>
        </p:txBody>
      </p:sp>
      <p:sp>
        <p:nvSpPr>
          <p:cNvPr id="1424" name="Freeform 1351"/>
          <p:cNvSpPr>
            <a:spLocks/>
          </p:cNvSpPr>
          <p:nvPr/>
        </p:nvSpPr>
        <p:spPr bwMode="auto">
          <a:xfrm>
            <a:off x="6822277" y="2804424"/>
            <a:ext cx="190984" cy="88053"/>
          </a:xfrm>
          <a:custGeom>
            <a:avLst/>
            <a:gdLst/>
            <a:ahLst/>
            <a:cxnLst>
              <a:cxn ang="0">
                <a:pos x="26" y="36"/>
              </a:cxn>
              <a:cxn ang="0">
                <a:pos x="31" y="36"/>
              </a:cxn>
              <a:cxn ang="0">
                <a:pos x="38" y="38"/>
              </a:cxn>
              <a:cxn ang="0">
                <a:pos x="41" y="34"/>
              </a:cxn>
              <a:cxn ang="0">
                <a:pos x="46" y="38"/>
              </a:cxn>
              <a:cxn ang="0">
                <a:pos x="50" y="41"/>
              </a:cxn>
              <a:cxn ang="0">
                <a:pos x="58" y="44"/>
              </a:cxn>
              <a:cxn ang="0">
                <a:pos x="65" y="42"/>
              </a:cxn>
              <a:cxn ang="0">
                <a:pos x="71" y="42"/>
              </a:cxn>
              <a:cxn ang="0">
                <a:pos x="77" y="39"/>
              </a:cxn>
              <a:cxn ang="0">
                <a:pos x="83" y="38"/>
              </a:cxn>
              <a:cxn ang="0">
                <a:pos x="87" y="39"/>
              </a:cxn>
              <a:cxn ang="0">
                <a:pos x="94" y="41"/>
              </a:cxn>
              <a:cxn ang="0">
                <a:pos x="99" y="42"/>
              </a:cxn>
              <a:cxn ang="0">
                <a:pos x="101" y="39"/>
              </a:cxn>
              <a:cxn ang="0">
                <a:pos x="95" y="36"/>
              </a:cxn>
              <a:cxn ang="0">
                <a:pos x="94" y="31"/>
              </a:cxn>
              <a:cxn ang="0">
                <a:pos x="97" y="28"/>
              </a:cxn>
              <a:cxn ang="0">
                <a:pos x="90" y="27"/>
              </a:cxn>
              <a:cxn ang="0">
                <a:pos x="89" y="20"/>
              </a:cxn>
              <a:cxn ang="0">
                <a:pos x="85" y="17"/>
              </a:cxn>
              <a:cxn ang="0">
                <a:pos x="81" y="17"/>
              </a:cxn>
              <a:cxn ang="0">
                <a:pos x="75" y="14"/>
              </a:cxn>
              <a:cxn ang="0">
                <a:pos x="71" y="14"/>
              </a:cxn>
              <a:cxn ang="0">
                <a:pos x="65" y="16"/>
              </a:cxn>
              <a:cxn ang="0">
                <a:pos x="61" y="17"/>
              </a:cxn>
              <a:cxn ang="0">
                <a:pos x="58" y="14"/>
              </a:cxn>
              <a:cxn ang="0">
                <a:pos x="47" y="8"/>
              </a:cxn>
              <a:cxn ang="0">
                <a:pos x="41" y="6"/>
              </a:cxn>
              <a:cxn ang="0">
                <a:pos x="30" y="6"/>
              </a:cxn>
              <a:cxn ang="0">
                <a:pos x="21" y="3"/>
              </a:cxn>
              <a:cxn ang="0">
                <a:pos x="16" y="1"/>
              </a:cxn>
              <a:cxn ang="0">
                <a:pos x="9" y="0"/>
              </a:cxn>
              <a:cxn ang="0">
                <a:pos x="5" y="0"/>
              </a:cxn>
              <a:cxn ang="0">
                <a:pos x="1" y="3"/>
              </a:cxn>
              <a:cxn ang="0">
                <a:pos x="6" y="6"/>
              </a:cxn>
              <a:cxn ang="0">
                <a:pos x="16" y="9"/>
              </a:cxn>
              <a:cxn ang="0">
                <a:pos x="21" y="14"/>
              </a:cxn>
              <a:cxn ang="0">
                <a:pos x="23" y="19"/>
              </a:cxn>
              <a:cxn ang="0">
                <a:pos x="27" y="27"/>
              </a:cxn>
              <a:cxn ang="0">
                <a:pos x="27" y="33"/>
              </a:cxn>
              <a:cxn ang="0">
                <a:pos x="23" y="34"/>
              </a:cxn>
            </a:cxnLst>
            <a:rect l="0" t="0" r="r" b="b"/>
            <a:pathLst>
              <a:path w="101" h="44">
                <a:moveTo>
                  <a:pt x="23" y="34"/>
                </a:moveTo>
                <a:lnTo>
                  <a:pt x="26" y="36"/>
                </a:lnTo>
                <a:lnTo>
                  <a:pt x="29" y="36"/>
                </a:lnTo>
                <a:lnTo>
                  <a:pt x="31" y="36"/>
                </a:lnTo>
                <a:lnTo>
                  <a:pt x="37" y="38"/>
                </a:lnTo>
                <a:lnTo>
                  <a:pt x="38" y="38"/>
                </a:lnTo>
                <a:lnTo>
                  <a:pt x="39" y="36"/>
                </a:lnTo>
                <a:lnTo>
                  <a:pt x="41" y="34"/>
                </a:lnTo>
                <a:lnTo>
                  <a:pt x="43" y="36"/>
                </a:lnTo>
                <a:lnTo>
                  <a:pt x="46" y="38"/>
                </a:lnTo>
                <a:lnTo>
                  <a:pt x="49" y="41"/>
                </a:lnTo>
                <a:lnTo>
                  <a:pt x="50" y="41"/>
                </a:lnTo>
                <a:lnTo>
                  <a:pt x="53" y="44"/>
                </a:lnTo>
                <a:lnTo>
                  <a:pt x="58" y="44"/>
                </a:lnTo>
                <a:lnTo>
                  <a:pt x="59" y="42"/>
                </a:lnTo>
                <a:lnTo>
                  <a:pt x="65" y="42"/>
                </a:lnTo>
                <a:lnTo>
                  <a:pt x="66" y="41"/>
                </a:lnTo>
                <a:lnTo>
                  <a:pt x="71" y="42"/>
                </a:lnTo>
                <a:lnTo>
                  <a:pt x="73" y="41"/>
                </a:lnTo>
                <a:lnTo>
                  <a:pt x="77" y="39"/>
                </a:lnTo>
                <a:lnTo>
                  <a:pt x="81" y="38"/>
                </a:lnTo>
                <a:lnTo>
                  <a:pt x="83" y="38"/>
                </a:lnTo>
                <a:lnTo>
                  <a:pt x="86" y="38"/>
                </a:lnTo>
                <a:lnTo>
                  <a:pt x="87" y="39"/>
                </a:lnTo>
                <a:lnTo>
                  <a:pt x="91" y="41"/>
                </a:lnTo>
                <a:lnTo>
                  <a:pt x="94" y="41"/>
                </a:lnTo>
                <a:lnTo>
                  <a:pt x="98" y="42"/>
                </a:lnTo>
                <a:lnTo>
                  <a:pt x="99" y="42"/>
                </a:lnTo>
                <a:lnTo>
                  <a:pt x="101" y="41"/>
                </a:lnTo>
                <a:lnTo>
                  <a:pt x="101" y="39"/>
                </a:lnTo>
                <a:lnTo>
                  <a:pt x="97" y="38"/>
                </a:lnTo>
                <a:lnTo>
                  <a:pt x="95" y="36"/>
                </a:lnTo>
                <a:lnTo>
                  <a:pt x="94" y="34"/>
                </a:lnTo>
                <a:lnTo>
                  <a:pt x="94" y="31"/>
                </a:lnTo>
                <a:lnTo>
                  <a:pt x="98" y="30"/>
                </a:lnTo>
                <a:lnTo>
                  <a:pt x="97" y="28"/>
                </a:lnTo>
                <a:lnTo>
                  <a:pt x="95" y="28"/>
                </a:lnTo>
                <a:lnTo>
                  <a:pt x="90" y="27"/>
                </a:lnTo>
                <a:lnTo>
                  <a:pt x="87" y="23"/>
                </a:lnTo>
                <a:lnTo>
                  <a:pt x="89" y="20"/>
                </a:lnTo>
                <a:lnTo>
                  <a:pt x="87" y="19"/>
                </a:lnTo>
                <a:lnTo>
                  <a:pt x="85" y="17"/>
                </a:lnTo>
                <a:lnTo>
                  <a:pt x="83" y="17"/>
                </a:lnTo>
                <a:lnTo>
                  <a:pt x="81" y="17"/>
                </a:lnTo>
                <a:lnTo>
                  <a:pt x="79" y="16"/>
                </a:lnTo>
                <a:lnTo>
                  <a:pt x="75" y="14"/>
                </a:lnTo>
                <a:lnTo>
                  <a:pt x="73" y="16"/>
                </a:lnTo>
                <a:lnTo>
                  <a:pt x="71" y="14"/>
                </a:lnTo>
                <a:lnTo>
                  <a:pt x="69" y="14"/>
                </a:lnTo>
                <a:lnTo>
                  <a:pt x="65" y="16"/>
                </a:lnTo>
                <a:lnTo>
                  <a:pt x="63" y="17"/>
                </a:lnTo>
                <a:lnTo>
                  <a:pt x="61" y="17"/>
                </a:lnTo>
                <a:lnTo>
                  <a:pt x="59" y="16"/>
                </a:lnTo>
                <a:lnTo>
                  <a:pt x="58" y="14"/>
                </a:lnTo>
                <a:lnTo>
                  <a:pt x="47" y="9"/>
                </a:lnTo>
                <a:lnTo>
                  <a:pt x="47" y="8"/>
                </a:lnTo>
                <a:lnTo>
                  <a:pt x="45" y="6"/>
                </a:lnTo>
                <a:lnTo>
                  <a:pt x="41" y="6"/>
                </a:lnTo>
                <a:lnTo>
                  <a:pt x="37" y="5"/>
                </a:lnTo>
                <a:lnTo>
                  <a:pt x="30" y="6"/>
                </a:lnTo>
                <a:lnTo>
                  <a:pt x="27" y="6"/>
                </a:lnTo>
                <a:lnTo>
                  <a:pt x="21" y="3"/>
                </a:lnTo>
                <a:lnTo>
                  <a:pt x="17" y="3"/>
                </a:lnTo>
                <a:lnTo>
                  <a:pt x="16" y="1"/>
                </a:lnTo>
                <a:lnTo>
                  <a:pt x="10" y="0"/>
                </a:lnTo>
                <a:lnTo>
                  <a:pt x="9" y="0"/>
                </a:lnTo>
                <a:lnTo>
                  <a:pt x="6" y="0"/>
                </a:lnTo>
                <a:lnTo>
                  <a:pt x="5" y="0"/>
                </a:lnTo>
                <a:lnTo>
                  <a:pt x="0" y="1"/>
                </a:lnTo>
                <a:lnTo>
                  <a:pt x="1" y="3"/>
                </a:lnTo>
                <a:lnTo>
                  <a:pt x="4" y="5"/>
                </a:lnTo>
                <a:lnTo>
                  <a:pt x="6" y="6"/>
                </a:lnTo>
                <a:lnTo>
                  <a:pt x="9" y="8"/>
                </a:lnTo>
                <a:lnTo>
                  <a:pt x="16" y="9"/>
                </a:lnTo>
                <a:lnTo>
                  <a:pt x="18" y="12"/>
                </a:lnTo>
                <a:lnTo>
                  <a:pt x="21" y="14"/>
                </a:lnTo>
                <a:lnTo>
                  <a:pt x="23" y="16"/>
                </a:lnTo>
                <a:lnTo>
                  <a:pt x="23" y="19"/>
                </a:lnTo>
                <a:lnTo>
                  <a:pt x="25" y="25"/>
                </a:lnTo>
                <a:lnTo>
                  <a:pt x="27" y="27"/>
                </a:lnTo>
                <a:lnTo>
                  <a:pt x="27" y="30"/>
                </a:lnTo>
                <a:lnTo>
                  <a:pt x="27" y="33"/>
                </a:lnTo>
                <a:lnTo>
                  <a:pt x="25" y="34"/>
                </a:lnTo>
                <a:lnTo>
                  <a:pt x="23" y="34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25" name="Freeform 1352"/>
          <p:cNvSpPr>
            <a:spLocks/>
          </p:cNvSpPr>
          <p:nvPr/>
        </p:nvSpPr>
        <p:spPr bwMode="auto">
          <a:xfrm>
            <a:off x="6822277" y="2804424"/>
            <a:ext cx="190984" cy="88053"/>
          </a:xfrm>
          <a:custGeom>
            <a:avLst/>
            <a:gdLst/>
            <a:ahLst/>
            <a:cxnLst>
              <a:cxn ang="0">
                <a:pos x="26" y="36"/>
              </a:cxn>
              <a:cxn ang="0">
                <a:pos x="31" y="36"/>
              </a:cxn>
              <a:cxn ang="0">
                <a:pos x="38" y="38"/>
              </a:cxn>
              <a:cxn ang="0">
                <a:pos x="41" y="34"/>
              </a:cxn>
              <a:cxn ang="0">
                <a:pos x="46" y="38"/>
              </a:cxn>
              <a:cxn ang="0">
                <a:pos x="50" y="41"/>
              </a:cxn>
              <a:cxn ang="0">
                <a:pos x="58" y="44"/>
              </a:cxn>
              <a:cxn ang="0">
                <a:pos x="65" y="42"/>
              </a:cxn>
              <a:cxn ang="0">
                <a:pos x="71" y="42"/>
              </a:cxn>
              <a:cxn ang="0">
                <a:pos x="77" y="39"/>
              </a:cxn>
              <a:cxn ang="0">
                <a:pos x="83" y="38"/>
              </a:cxn>
              <a:cxn ang="0">
                <a:pos x="87" y="39"/>
              </a:cxn>
              <a:cxn ang="0">
                <a:pos x="94" y="41"/>
              </a:cxn>
              <a:cxn ang="0">
                <a:pos x="99" y="42"/>
              </a:cxn>
              <a:cxn ang="0">
                <a:pos x="101" y="39"/>
              </a:cxn>
              <a:cxn ang="0">
                <a:pos x="95" y="36"/>
              </a:cxn>
              <a:cxn ang="0">
                <a:pos x="94" y="31"/>
              </a:cxn>
              <a:cxn ang="0">
                <a:pos x="97" y="28"/>
              </a:cxn>
              <a:cxn ang="0">
                <a:pos x="90" y="27"/>
              </a:cxn>
              <a:cxn ang="0">
                <a:pos x="89" y="20"/>
              </a:cxn>
              <a:cxn ang="0">
                <a:pos x="85" y="17"/>
              </a:cxn>
              <a:cxn ang="0">
                <a:pos x="81" y="17"/>
              </a:cxn>
              <a:cxn ang="0">
                <a:pos x="75" y="14"/>
              </a:cxn>
              <a:cxn ang="0">
                <a:pos x="71" y="14"/>
              </a:cxn>
              <a:cxn ang="0">
                <a:pos x="65" y="16"/>
              </a:cxn>
              <a:cxn ang="0">
                <a:pos x="61" y="17"/>
              </a:cxn>
              <a:cxn ang="0">
                <a:pos x="58" y="14"/>
              </a:cxn>
              <a:cxn ang="0">
                <a:pos x="47" y="8"/>
              </a:cxn>
              <a:cxn ang="0">
                <a:pos x="41" y="6"/>
              </a:cxn>
              <a:cxn ang="0">
                <a:pos x="30" y="6"/>
              </a:cxn>
              <a:cxn ang="0">
                <a:pos x="21" y="3"/>
              </a:cxn>
              <a:cxn ang="0">
                <a:pos x="16" y="1"/>
              </a:cxn>
              <a:cxn ang="0">
                <a:pos x="9" y="0"/>
              </a:cxn>
              <a:cxn ang="0">
                <a:pos x="5" y="0"/>
              </a:cxn>
              <a:cxn ang="0">
                <a:pos x="1" y="3"/>
              </a:cxn>
              <a:cxn ang="0">
                <a:pos x="6" y="6"/>
              </a:cxn>
              <a:cxn ang="0">
                <a:pos x="16" y="9"/>
              </a:cxn>
              <a:cxn ang="0">
                <a:pos x="21" y="14"/>
              </a:cxn>
              <a:cxn ang="0">
                <a:pos x="23" y="19"/>
              </a:cxn>
              <a:cxn ang="0">
                <a:pos x="27" y="27"/>
              </a:cxn>
              <a:cxn ang="0">
                <a:pos x="27" y="33"/>
              </a:cxn>
              <a:cxn ang="0">
                <a:pos x="23" y="34"/>
              </a:cxn>
            </a:cxnLst>
            <a:rect l="0" t="0" r="r" b="b"/>
            <a:pathLst>
              <a:path w="101" h="44">
                <a:moveTo>
                  <a:pt x="23" y="34"/>
                </a:moveTo>
                <a:lnTo>
                  <a:pt x="26" y="36"/>
                </a:lnTo>
                <a:lnTo>
                  <a:pt x="29" y="36"/>
                </a:lnTo>
                <a:lnTo>
                  <a:pt x="31" y="36"/>
                </a:lnTo>
                <a:lnTo>
                  <a:pt x="37" y="38"/>
                </a:lnTo>
                <a:lnTo>
                  <a:pt x="38" y="38"/>
                </a:lnTo>
                <a:lnTo>
                  <a:pt x="39" y="36"/>
                </a:lnTo>
                <a:lnTo>
                  <a:pt x="41" y="34"/>
                </a:lnTo>
                <a:lnTo>
                  <a:pt x="43" y="36"/>
                </a:lnTo>
                <a:lnTo>
                  <a:pt x="46" y="38"/>
                </a:lnTo>
                <a:lnTo>
                  <a:pt x="49" y="41"/>
                </a:lnTo>
                <a:lnTo>
                  <a:pt x="50" y="41"/>
                </a:lnTo>
                <a:lnTo>
                  <a:pt x="53" y="44"/>
                </a:lnTo>
                <a:lnTo>
                  <a:pt x="58" y="44"/>
                </a:lnTo>
                <a:lnTo>
                  <a:pt x="59" y="42"/>
                </a:lnTo>
                <a:lnTo>
                  <a:pt x="65" y="42"/>
                </a:lnTo>
                <a:lnTo>
                  <a:pt x="66" y="41"/>
                </a:lnTo>
                <a:lnTo>
                  <a:pt x="71" y="42"/>
                </a:lnTo>
                <a:lnTo>
                  <a:pt x="73" y="41"/>
                </a:lnTo>
                <a:lnTo>
                  <a:pt x="77" y="39"/>
                </a:lnTo>
                <a:lnTo>
                  <a:pt x="81" y="38"/>
                </a:lnTo>
                <a:lnTo>
                  <a:pt x="83" y="38"/>
                </a:lnTo>
                <a:lnTo>
                  <a:pt x="86" y="38"/>
                </a:lnTo>
                <a:lnTo>
                  <a:pt x="87" y="39"/>
                </a:lnTo>
                <a:lnTo>
                  <a:pt x="91" y="41"/>
                </a:lnTo>
                <a:lnTo>
                  <a:pt x="94" y="41"/>
                </a:lnTo>
                <a:lnTo>
                  <a:pt x="98" y="42"/>
                </a:lnTo>
                <a:lnTo>
                  <a:pt x="99" y="42"/>
                </a:lnTo>
                <a:lnTo>
                  <a:pt x="101" y="41"/>
                </a:lnTo>
                <a:lnTo>
                  <a:pt x="101" y="39"/>
                </a:lnTo>
                <a:lnTo>
                  <a:pt x="97" y="38"/>
                </a:lnTo>
                <a:lnTo>
                  <a:pt x="95" y="36"/>
                </a:lnTo>
                <a:lnTo>
                  <a:pt x="94" y="34"/>
                </a:lnTo>
                <a:lnTo>
                  <a:pt x="94" y="31"/>
                </a:lnTo>
                <a:lnTo>
                  <a:pt x="98" y="30"/>
                </a:lnTo>
                <a:lnTo>
                  <a:pt x="97" y="28"/>
                </a:lnTo>
                <a:lnTo>
                  <a:pt x="95" y="28"/>
                </a:lnTo>
                <a:lnTo>
                  <a:pt x="90" y="27"/>
                </a:lnTo>
                <a:lnTo>
                  <a:pt x="87" y="23"/>
                </a:lnTo>
                <a:lnTo>
                  <a:pt x="89" y="20"/>
                </a:lnTo>
                <a:lnTo>
                  <a:pt x="87" y="19"/>
                </a:lnTo>
                <a:lnTo>
                  <a:pt x="85" y="17"/>
                </a:lnTo>
                <a:lnTo>
                  <a:pt x="83" y="17"/>
                </a:lnTo>
                <a:lnTo>
                  <a:pt x="81" y="17"/>
                </a:lnTo>
                <a:lnTo>
                  <a:pt x="79" y="16"/>
                </a:lnTo>
                <a:lnTo>
                  <a:pt x="75" y="14"/>
                </a:lnTo>
                <a:lnTo>
                  <a:pt x="73" y="16"/>
                </a:lnTo>
                <a:lnTo>
                  <a:pt x="71" y="14"/>
                </a:lnTo>
                <a:lnTo>
                  <a:pt x="69" y="14"/>
                </a:lnTo>
                <a:lnTo>
                  <a:pt x="65" y="16"/>
                </a:lnTo>
                <a:lnTo>
                  <a:pt x="63" y="17"/>
                </a:lnTo>
                <a:lnTo>
                  <a:pt x="61" y="17"/>
                </a:lnTo>
                <a:lnTo>
                  <a:pt x="59" y="16"/>
                </a:lnTo>
                <a:lnTo>
                  <a:pt x="58" y="14"/>
                </a:lnTo>
                <a:lnTo>
                  <a:pt x="47" y="9"/>
                </a:lnTo>
                <a:lnTo>
                  <a:pt x="47" y="8"/>
                </a:lnTo>
                <a:lnTo>
                  <a:pt x="45" y="6"/>
                </a:lnTo>
                <a:lnTo>
                  <a:pt x="41" y="6"/>
                </a:lnTo>
                <a:lnTo>
                  <a:pt x="37" y="5"/>
                </a:lnTo>
                <a:lnTo>
                  <a:pt x="30" y="6"/>
                </a:lnTo>
                <a:lnTo>
                  <a:pt x="27" y="6"/>
                </a:lnTo>
                <a:lnTo>
                  <a:pt x="21" y="3"/>
                </a:lnTo>
                <a:lnTo>
                  <a:pt x="17" y="3"/>
                </a:lnTo>
                <a:lnTo>
                  <a:pt x="16" y="1"/>
                </a:lnTo>
                <a:lnTo>
                  <a:pt x="10" y="0"/>
                </a:lnTo>
                <a:lnTo>
                  <a:pt x="9" y="0"/>
                </a:lnTo>
                <a:lnTo>
                  <a:pt x="6" y="0"/>
                </a:lnTo>
                <a:lnTo>
                  <a:pt x="5" y="0"/>
                </a:lnTo>
                <a:lnTo>
                  <a:pt x="0" y="1"/>
                </a:lnTo>
                <a:lnTo>
                  <a:pt x="1" y="3"/>
                </a:lnTo>
                <a:lnTo>
                  <a:pt x="4" y="5"/>
                </a:lnTo>
                <a:lnTo>
                  <a:pt x="6" y="6"/>
                </a:lnTo>
                <a:lnTo>
                  <a:pt x="9" y="8"/>
                </a:lnTo>
                <a:lnTo>
                  <a:pt x="16" y="9"/>
                </a:lnTo>
                <a:lnTo>
                  <a:pt x="18" y="12"/>
                </a:lnTo>
                <a:lnTo>
                  <a:pt x="21" y="14"/>
                </a:lnTo>
                <a:lnTo>
                  <a:pt x="23" y="16"/>
                </a:lnTo>
                <a:lnTo>
                  <a:pt x="23" y="19"/>
                </a:lnTo>
                <a:lnTo>
                  <a:pt x="25" y="25"/>
                </a:lnTo>
                <a:lnTo>
                  <a:pt x="27" y="27"/>
                </a:lnTo>
                <a:lnTo>
                  <a:pt x="27" y="30"/>
                </a:lnTo>
                <a:lnTo>
                  <a:pt x="27" y="33"/>
                </a:lnTo>
                <a:lnTo>
                  <a:pt x="25" y="34"/>
                </a:lnTo>
                <a:lnTo>
                  <a:pt x="23" y="34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26" name="Freeform 1353"/>
          <p:cNvSpPr>
            <a:spLocks/>
          </p:cNvSpPr>
          <p:nvPr/>
        </p:nvSpPr>
        <p:spPr bwMode="auto">
          <a:xfrm>
            <a:off x="6947001" y="2935431"/>
            <a:ext cx="545668" cy="526164"/>
          </a:xfrm>
          <a:custGeom>
            <a:avLst/>
            <a:gdLst/>
            <a:ahLst/>
            <a:cxnLst>
              <a:cxn ang="0">
                <a:pos x="247" y="260"/>
              </a:cxn>
              <a:cxn ang="0">
                <a:pos x="226" y="256"/>
              </a:cxn>
              <a:cxn ang="0">
                <a:pos x="212" y="254"/>
              </a:cxn>
              <a:cxn ang="0">
                <a:pos x="194" y="243"/>
              </a:cxn>
              <a:cxn ang="0">
                <a:pos x="182" y="227"/>
              </a:cxn>
              <a:cxn ang="0">
                <a:pos x="165" y="235"/>
              </a:cxn>
              <a:cxn ang="0">
                <a:pos x="147" y="235"/>
              </a:cxn>
              <a:cxn ang="0">
                <a:pos x="137" y="231"/>
              </a:cxn>
              <a:cxn ang="0">
                <a:pos x="115" y="216"/>
              </a:cxn>
              <a:cxn ang="0">
                <a:pos x="102" y="201"/>
              </a:cxn>
              <a:cxn ang="0">
                <a:pos x="91" y="184"/>
              </a:cxn>
              <a:cxn ang="0">
                <a:pos x="82" y="174"/>
              </a:cxn>
              <a:cxn ang="0">
                <a:pos x="75" y="173"/>
              </a:cxn>
              <a:cxn ang="0">
                <a:pos x="69" y="166"/>
              </a:cxn>
              <a:cxn ang="0">
                <a:pos x="66" y="176"/>
              </a:cxn>
              <a:cxn ang="0">
                <a:pos x="54" y="160"/>
              </a:cxn>
              <a:cxn ang="0">
                <a:pos x="48" y="138"/>
              </a:cxn>
              <a:cxn ang="0">
                <a:pos x="34" y="125"/>
              </a:cxn>
              <a:cxn ang="0">
                <a:pos x="22" y="113"/>
              </a:cxn>
              <a:cxn ang="0">
                <a:pos x="18" y="103"/>
              </a:cxn>
              <a:cxn ang="0">
                <a:pos x="24" y="91"/>
              </a:cxn>
              <a:cxn ang="0">
                <a:pos x="32" y="72"/>
              </a:cxn>
              <a:cxn ang="0">
                <a:pos x="13" y="59"/>
              </a:cxn>
              <a:cxn ang="0">
                <a:pos x="1" y="36"/>
              </a:cxn>
              <a:cxn ang="0">
                <a:pos x="0" y="11"/>
              </a:cxn>
              <a:cxn ang="0">
                <a:pos x="9" y="3"/>
              </a:cxn>
              <a:cxn ang="0">
                <a:pos x="28" y="17"/>
              </a:cxn>
              <a:cxn ang="0">
                <a:pos x="42" y="9"/>
              </a:cxn>
              <a:cxn ang="0">
                <a:pos x="60" y="9"/>
              </a:cxn>
              <a:cxn ang="0">
                <a:pos x="61" y="20"/>
              </a:cxn>
              <a:cxn ang="0">
                <a:pos x="70" y="23"/>
              </a:cxn>
              <a:cxn ang="0">
                <a:pos x="79" y="42"/>
              </a:cxn>
              <a:cxn ang="0">
                <a:pos x="94" y="48"/>
              </a:cxn>
              <a:cxn ang="0">
                <a:pos x="131" y="53"/>
              </a:cxn>
              <a:cxn ang="0">
                <a:pos x="142" y="53"/>
              </a:cxn>
              <a:cxn ang="0">
                <a:pos x="155" y="41"/>
              </a:cxn>
              <a:cxn ang="0">
                <a:pos x="178" y="31"/>
              </a:cxn>
              <a:cxn ang="0">
                <a:pos x="194" y="26"/>
              </a:cxn>
              <a:cxn ang="0">
                <a:pos x="218" y="39"/>
              </a:cxn>
              <a:cxn ang="0">
                <a:pos x="230" y="47"/>
              </a:cxn>
              <a:cxn ang="0">
                <a:pos x="255" y="58"/>
              </a:cxn>
              <a:cxn ang="0">
                <a:pos x="256" y="78"/>
              </a:cxn>
              <a:cxn ang="0">
                <a:pos x="244" y="102"/>
              </a:cxn>
              <a:cxn ang="0">
                <a:pos x="247" y="118"/>
              </a:cxn>
              <a:cxn ang="0">
                <a:pos x="248" y="141"/>
              </a:cxn>
              <a:cxn ang="0">
                <a:pos x="262" y="151"/>
              </a:cxn>
              <a:cxn ang="0">
                <a:pos x="251" y="179"/>
              </a:cxn>
              <a:cxn ang="0">
                <a:pos x="266" y="202"/>
              </a:cxn>
              <a:cxn ang="0">
                <a:pos x="280" y="220"/>
              </a:cxn>
              <a:cxn ang="0">
                <a:pos x="287" y="232"/>
              </a:cxn>
              <a:cxn ang="0">
                <a:pos x="268" y="242"/>
              </a:cxn>
            </a:cxnLst>
            <a:rect l="0" t="0" r="r" b="b"/>
            <a:pathLst>
              <a:path w="287" h="264">
                <a:moveTo>
                  <a:pt x="262" y="262"/>
                </a:moveTo>
                <a:lnTo>
                  <a:pt x="259" y="264"/>
                </a:lnTo>
                <a:lnTo>
                  <a:pt x="255" y="262"/>
                </a:lnTo>
                <a:lnTo>
                  <a:pt x="252" y="262"/>
                </a:lnTo>
                <a:lnTo>
                  <a:pt x="247" y="260"/>
                </a:lnTo>
                <a:lnTo>
                  <a:pt x="246" y="257"/>
                </a:lnTo>
                <a:lnTo>
                  <a:pt x="243" y="259"/>
                </a:lnTo>
                <a:lnTo>
                  <a:pt x="234" y="259"/>
                </a:lnTo>
                <a:lnTo>
                  <a:pt x="228" y="257"/>
                </a:lnTo>
                <a:lnTo>
                  <a:pt x="226" y="256"/>
                </a:lnTo>
                <a:lnTo>
                  <a:pt x="224" y="257"/>
                </a:lnTo>
                <a:lnTo>
                  <a:pt x="224" y="259"/>
                </a:lnTo>
                <a:lnTo>
                  <a:pt x="220" y="256"/>
                </a:lnTo>
                <a:lnTo>
                  <a:pt x="216" y="254"/>
                </a:lnTo>
                <a:lnTo>
                  <a:pt x="212" y="254"/>
                </a:lnTo>
                <a:lnTo>
                  <a:pt x="206" y="254"/>
                </a:lnTo>
                <a:lnTo>
                  <a:pt x="203" y="253"/>
                </a:lnTo>
                <a:lnTo>
                  <a:pt x="199" y="253"/>
                </a:lnTo>
                <a:lnTo>
                  <a:pt x="196" y="248"/>
                </a:lnTo>
                <a:lnTo>
                  <a:pt x="194" y="243"/>
                </a:lnTo>
                <a:lnTo>
                  <a:pt x="192" y="235"/>
                </a:lnTo>
                <a:lnTo>
                  <a:pt x="191" y="231"/>
                </a:lnTo>
                <a:lnTo>
                  <a:pt x="187" y="229"/>
                </a:lnTo>
                <a:lnTo>
                  <a:pt x="184" y="227"/>
                </a:lnTo>
                <a:lnTo>
                  <a:pt x="182" y="227"/>
                </a:lnTo>
                <a:lnTo>
                  <a:pt x="177" y="229"/>
                </a:lnTo>
                <a:lnTo>
                  <a:pt x="171" y="231"/>
                </a:lnTo>
                <a:lnTo>
                  <a:pt x="169" y="234"/>
                </a:lnTo>
                <a:lnTo>
                  <a:pt x="167" y="235"/>
                </a:lnTo>
                <a:lnTo>
                  <a:pt x="165" y="235"/>
                </a:lnTo>
                <a:lnTo>
                  <a:pt x="159" y="238"/>
                </a:lnTo>
                <a:lnTo>
                  <a:pt x="157" y="238"/>
                </a:lnTo>
                <a:lnTo>
                  <a:pt x="153" y="237"/>
                </a:lnTo>
                <a:lnTo>
                  <a:pt x="151" y="235"/>
                </a:lnTo>
                <a:lnTo>
                  <a:pt x="147" y="235"/>
                </a:lnTo>
                <a:lnTo>
                  <a:pt x="143" y="235"/>
                </a:lnTo>
                <a:lnTo>
                  <a:pt x="141" y="235"/>
                </a:lnTo>
                <a:lnTo>
                  <a:pt x="138" y="232"/>
                </a:lnTo>
                <a:lnTo>
                  <a:pt x="139" y="232"/>
                </a:lnTo>
                <a:lnTo>
                  <a:pt x="137" y="231"/>
                </a:lnTo>
                <a:lnTo>
                  <a:pt x="129" y="227"/>
                </a:lnTo>
                <a:lnTo>
                  <a:pt x="126" y="223"/>
                </a:lnTo>
                <a:lnTo>
                  <a:pt x="123" y="220"/>
                </a:lnTo>
                <a:lnTo>
                  <a:pt x="119" y="216"/>
                </a:lnTo>
                <a:lnTo>
                  <a:pt x="115" y="216"/>
                </a:lnTo>
                <a:lnTo>
                  <a:pt x="111" y="216"/>
                </a:lnTo>
                <a:lnTo>
                  <a:pt x="109" y="215"/>
                </a:lnTo>
                <a:lnTo>
                  <a:pt x="106" y="212"/>
                </a:lnTo>
                <a:lnTo>
                  <a:pt x="105" y="206"/>
                </a:lnTo>
                <a:lnTo>
                  <a:pt x="102" y="201"/>
                </a:lnTo>
                <a:lnTo>
                  <a:pt x="101" y="196"/>
                </a:lnTo>
                <a:lnTo>
                  <a:pt x="95" y="191"/>
                </a:lnTo>
                <a:lnTo>
                  <a:pt x="94" y="187"/>
                </a:lnTo>
                <a:lnTo>
                  <a:pt x="93" y="184"/>
                </a:lnTo>
                <a:lnTo>
                  <a:pt x="91" y="184"/>
                </a:lnTo>
                <a:lnTo>
                  <a:pt x="87" y="179"/>
                </a:lnTo>
                <a:lnTo>
                  <a:pt x="87" y="176"/>
                </a:lnTo>
                <a:lnTo>
                  <a:pt x="86" y="174"/>
                </a:lnTo>
                <a:lnTo>
                  <a:pt x="85" y="174"/>
                </a:lnTo>
                <a:lnTo>
                  <a:pt x="82" y="174"/>
                </a:lnTo>
                <a:lnTo>
                  <a:pt x="79" y="177"/>
                </a:lnTo>
                <a:lnTo>
                  <a:pt x="79" y="176"/>
                </a:lnTo>
                <a:lnTo>
                  <a:pt x="78" y="176"/>
                </a:lnTo>
                <a:lnTo>
                  <a:pt x="77" y="174"/>
                </a:lnTo>
                <a:lnTo>
                  <a:pt x="75" y="173"/>
                </a:lnTo>
                <a:lnTo>
                  <a:pt x="74" y="171"/>
                </a:lnTo>
                <a:lnTo>
                  <a:pt x="73" y="168"/>
                </a:lnTo>
                <a:lnTo>
                  <a:pt x="71" y="166"/>
                </a:lnTo>
                <a:lnTo>
                  <a:pt x="70" y="166"/>
                </a:lnTo>
                <a:lnTo>
                  <a:pt x="69" y="166"/>
                </a:lnTo>
                <a:lnTo>
                  <a:pt x="69" y="169"/>
                </a:lnTo>
                <a:lnTo>
                  <a:pt x="69" y="171"/>
                </a:lnTo>
                <a:lnTo>
                  <a:pt x="69" y="173"/>
                </a:lnTo>
                <a:lnTo>
                  <a:pt x="66" y="173"/>
                </a:lnTo>
                <a:lnTo>
                  <a:pt x="66" y="176"/>
                </a:lnTo>
                <a:lnTo>
                  <a:pt x="65" y="174"/>
                </a:lnTo>
                <a:lnTo>
                  <a:pt x="58" y="169"/>
                </a:lnTo>
                <a:lnTo>
                  <a:pt x="57" y="168"/>
                </a:lnTo>
                <a:lnTo>
                  <a:pt x="56" y="165"/>
                </a:lnTo>
                <a:lnTo>
                  <a:pt x="54" y="160"/>
                </a:lnTo>
                <a:lnTo>
                  <a:pt x="50" y="158"/>
                </a:lnTo>
                <a:lnTo>
                  <a:pt x="52" y="152"/>
                </a:lnTo>
                <a:lnTo>
                  <a:pt x="52" y="144"/>
                </a:lnTo>
                <a:lnTo>
                  <a:pt x="50" y="141"/>
                </a:lnTo>
                <a:lnTo>
                  <a:pt x="48" y="138"/>
                </a:lnTo>
                <a:lnTo>
                  <a:pt x="46" y="133"/>
                </a:lnTo>
                <a:lnTo>
                  <a:pt x="44" y="130"/>
                </a:lnTo>
                <a:lnTo>
                  <a:pt x="41" y="130"/>
                </a:lnTo>
                <a:lnTo>
                  <a:pt x="37" y="129"/>
                </a:lnTo>
                <a:lnTo>
                  <a:pt x="34" y="125"/>
                </a:lnTo>
                <a:lnTo>
                  <a:pt x="30" y="122"/>
                </a:lnTo>
                <a:lnTo>
                  <a:pt x="26" y="121"/>
                </a:lnTo>
                <a:lnTo>
                  <a:pt x="26" y="118"/>
                </a:lnTo>
                <a:lnTo>
                  <a:pt x="25" y="114"/>
                </a:lnTo>
                <a:lnTo>
                  <a:pt x="22" y="113"/>
                </a:lnTo>
                <a:lnTo>
                  <a:pt x="22" y="110"/>
                </a:lnTo>
                <a:lnTo>
                  <a:pt x="20" y="110"/>
                </a:lnTo>
                <a:lnTo>
                  <a:pt x="18" y="108"/>
                </a:lnTo>
                <a:lnTo>
                  <a:pt x="17" y="105"/>
                </a:lnTo>
                <a:lnTo>
                  <a:pt x="18" y="103"/>
                </a:lnTo>
                <a:lnTo>
                  <a:pt x="18" y="102"/>
                </a:lnTo>
                <a:lnTo>
                  <a:pt x="20" y="96"/>
                </a:lnTo>
                <a:lnTo>
                  <a:pt x="21" y="94"/>
                </a:lnTo>
                <a:lnTo>
                  <a:pt x="24" y="92"/>
                </a:lnTo>
                <a:lnTo>
                  <a:pt x="24" y="91"/>
                </a:lnTo>
                <a:lnTo>
                  <a:pt x="26" y="85"/>
                </a:lnTo>
                <a:lnTo>
                  <a:pt x="29" y="81"/>
                </a:lnTo>
                <a:lnTo>
                  <a:pt x="28" y="77"/>
                </a:lnTo>
                <a:lnTo>
                  <a:pt x="29" y="74"/>
                </a:lnTo>
                <a:lnTo>
                  <a:pt x="32" y="72"/>
                </a:lnTo>
                <a:lnTo>
                  <a:pt x="28" y="72"/>
                </a:lnTo>
                <a:lnTo>
                  <a:pt x="21" y="70"/>
                </a:lnTo>
                <a:lnTo>
                  <a:pt x="18" y="67"/>
                </a:lnTo>
                <a:lnTo>
                  <a:pt x="17" y="61"/>
                </a:lnTo>
                <a:lnTo>
                  <a:pt x="13" y="59"/>
                </a:lnTo>
                <a:lnTo>
                  <a:pt x="10" y="55"/>
                </a:lnTo>
                <a:lnTo>
                  <a:pt x="9" y="45"/>
                </a:lnTo>
                <a:lnTo>
                  <a:pt x="9" y="42"/>
                </a:lnTo>
                <a:lnTo>
                  <a:pt x="5" y="37"/>
                </a:lnTo>
                <a:lnTo>
                  <a:pt x="1" y="36"/>
                </a:lnTo>
                <a:lnTo>
                  <a:pt x="2" y="30"/>
                </a:lnTo>
                <a:lnTo>
                  <a:pt x="2" y="26"/>
                </a:lnTo>
                <a:lnTo>
                  <a:pt x="2" y="22"/>
                </a:lnTo>
                <a:lnTo>
                  <a:pt x="1" y="15"/>
                </a:lnTo>
                <a:lnTo>
                  <a:pt x="0" y="11"/>
                </a:lnTo>
                <a:lnTo>
                  <a:pt x="0" y="9"/>
                </a:lnTo>
                <a:lnTo>
                  <a:pt x="4" y="6"/>
                </a:lnTo>
                <a:lnTo>
                  <a:pt x="4" y="5"/>
                </a:lnTo>
                <a:lnTo>
                  <a:pt x="6" y="0"/>
                </a:lnTo>
                <a:lnTo>
                  <a:pt x="9" y="3"/>
                </a:lnTo>
                <a:lnTo>
                  <a:pt x="10" y="5"/>
                </a:lnTo>
                <a:lnTo>
                  <a:pt x="18" y="15"/>
                </a:lnTo>
                <a:lnTo>
                  <a:pt x="22" y="17"/>
                </a:lnTo>
                <a:lnTo>
                  <a:pt x="26" y="17"/>
                </a:lnTo>
                <a:lnTo>
                  <a:pt x="28" y="17"/>
                </a:lnTo>
                <a:lnTo>
                  <a:pt x="33" y="17"/>
                </a:lnTo>
                <a:lnTo>
                  <a:pt x="34" y="17"/>
                </a:lnTo>
                <a:lnTo>
                  <a:pt x="37" y="17"/>
                </a:lnTo>
                <a:lnTo>
                  <a:pt x="40" y="14"/>
                </a:lnTo>
                <a:lnTo>
                  <a:pt x="42" y="9"/>
                </a:lnTo>
                <a:lnTo>
                  <a:pt x="45" y="8"/>
                </a:lnTo>
                <a:lnTo>
                  <a:pt x="48" y="5"/>
                </a:lnTo>
                <a:lnTo>
                  <a:pt x="56" y="3"/>
                </a:lnTo>
                <a:lnTo>
                  <a:pt x="60" y="6"/>
                </a:lnTo>
                <a:lnTo>
                  <a:pt x="60" y="9"/>
                </a:lnTo>
                <a:lnTo>
                  <a:pt x="62" y="14"/>
                </a:lnTo>
                <a:lnTo>
                  <a:pt x="57" y="17"/>
                </a:lnTo>
                <a:lnTo>
                  <a:pt x="57" y="19"/>
                </a:lnTo>
                <a:lnTo>
                  <a:pt x="60" y="19"/>
                </a:lnTo>
                <a:lnTo>
                  <a:pt x="61" y="20"/>
                </a:lnTo>
                <a:lnTo>
                  <a:pt x="64" y="22"/>
                </a:lnTo>
                <a:lnTo>
                  <a:pt x="65" y="23"/>
                </a:lnTo>
                <a:lnTo>
                  <a:pt x="67" y="23"/>
                </a:lnTo>
                <a:lnTo>
                  <a:pt x="69" y="25"/>
                </a:lnTo>
                <a:lnTo>
                  <a:pt x="70" y="23"/>
                </a:lnTo>
                <a:lnTo>
                  <a:pt x="70" y="31"/>
                </a:lnTo>
                <a:lnTo>
                  <a:pt x="71" y="36"/>
                </a:lnTo>
                <a:lnTo>
                  <a:pt x="73" y="39"/>
                </a:lnTo>
                <a:lnTo>
                  <a:pt x="77" y="42"/>
                </a:lnTo>
                <a:lnTo>
                  <a:pt x="79" y="42"/>
                </a:lnTo>
                <a:lnTo>
                  <a:pt x="82" y="44"/>
                </a:lnTo>
                <a:lnTo>
                  <a:pt x="86" y="44"/>
                </a:lnTo>
                <a:lnTo>
                  <a:pt x="90" y="44"/>
                </a:lnTo>
                <a:lnTo>
                  <a:pt x="91" y="45"/>
                </a:lnTo>
                <a:lnTo>
                  <a:pt x="94" y="48"/>
                </a:lnTo>
                <a:lnTo>
                  <a:pt x="97" y="52"/>
                </a:lnTo>
                <a:lnTo>
                  <a:pt x="102" y="55"/>
                </a:lnTo>
                <a:lnTo>
                  <a:pt x="113" y="58"/>
                </a:lnTo>
                <a:lnTo>
                  <a:pt x="115" y="58"/>
                </a:lnTo>
                <a:lnTo>
                  <a:pt x="131" y="53"/>
                </a:lnTo>
                <a:lnTo>
                  <a:pt x="135" y="53"/>
                </a:lnTo>
                <a:lnTo>
                  <a:pt x="142" y="52"/>
                </a:lnTo>
                <a:lnTo>
                  <a:pt x="141" y="53"/>
                </a:lnTo>
                <a:lnTo>
                  <a:pt x="137" y="53"/>
                </a:lnTo>
                <a:lnTo>
                  <a:pt x="142" y="53"/>
                </a:lnTo>
                <a:lnTo>
                  <a:pt x="149" y="53"/>
                </a:lnTo>
                <a:lnTo>
                  <a:pt x="149" y="48"/>
                </a:lnTo>
                <a:lnTo>
                  <a:pt x="146" y="42"/>
                </a:lnTo>
                <a:lnTo>
                  <a:pt x="150" y="42"/>
                </a:lnTo>
                <a:lnTo>
                  <a:pt x="155" y="41"/>
                </a:lnTo>
                <a:lnTo>
                  <a:pt x="165" y="34"/>
                </a:lnTo>
                <a:lnTo>
                  <a:pt x="169" y="31"/>
                </a:lnTo>
                <a:lnTo>
                  <a:pt x="173" y="30"/>
                </a:lnTo>
                <a:lnTo>
                  <a:pt x="175" y="30"/>
                </a:lnTo>
                <a:lnTo>
                  <a:pt x="178" y="31"/>
                </a:lnTo>
                <a:lnTo>
                  <a:pt x="182" y="31"/>
                </a:lnTo>
                <a:lnTo>
                  <a:pt x="183" y="30"/>
                </a:lnTo>
                <a:lnTo>
                  <a:pt x="183" y="28"/>
                </a:lnTo>
                <a:lnTo>
                  <a:pt x="187" y="26"/>
                </a:lnTo>
                <a:lnTo>
                  <a:pt x="194" y="26"/>
                </a:lnTo>
                <a:lnTo>
                  <a:pt x="198" y="31"/>
                </a:lnTo>
                <a:lnTo>
                  <a:pt x="199" y="33"/>
                </a:lnTo>
                <a:lnTo>
                  <a:pt x="210" y="36"/>
                </a:lnTo>
                <a:lnTo>
                  <a:pt x="214" y="39"/>
                </a:lnTo>
                <a:lnTo>
                  <a:pt x="218" y="39"/>
                </a:lnTo>
                <a:lnTo>
                  <a:pt x="220" y="37"/>
                </a:lnTo>
                <a:lnTo>
                  <a:pt x="224" y="39"/>
                </a:lnTo>
                <a:lnTo>
                  <a:pt x="227" y="41"/>
                </a:lnTo>
                <a:lnTo>
                  <a:pt x="230" y="44"/>
                </a:lnTo>
                <a:lnTo>
                  <a:pt x="230" y="47"/>
                </a:lnTo>
                <a:lnTo>
                  <a:pt x="232" y="48"/>
                </a:lnTo>
                <a:lnTo>
                  <a:pt x="238" y="50"/>
                </a:lnTo>
                <a:lnTo>
                  <a:pt x="243" y="55"/>
                </a:lnTo>
                <a:lnTo>
                  <a:pt x="248" y="58"/>
                </a:lnTo>
                <a:lnTo>
                  <a:pt x="255" y="58"/>
                </a:lnTo>
                <a:lnTo>
                  <a:pt x="256" y="59"/>
                </a:lnTo>
                <a:lnTo>
                  <a:pt x="256" y="69"/>
                </a:lnTo>
                <a:lnTo>
                  <a:pt x="258" y="72"/>
                </a:lnTo>
                <a:lnTo>
                  <a:pt x="256" y="75"/>
                </a:lnTo>
                <a:lnTo>
                  <a:pt x="256" y="78"/>
                </a:lnTo>
                <a:lnTo>
                  <a:pt x="256" y="83"/>
                </a:lnTo>
                <a:lnTo>
                  <a:pt x="255" y="89"/>
                </a:lnTo>
                <a:lnTo>
                  <a:pt x="251" y="94"/>
                </a:lnTo>
                <a:lnTo>
                  <a:pt x="251" y="99"/>
                </a:lnTo>
                <a:lnTo>
                  <a:pt x="244" y="102"/>
                </a:lnTo>
                <a:lnTo>
                  <a:pt x="244" y="103"/>
                </a:lnTo>
                <a:lnTo>
                  <a:pt x="244" y="110"/>
                </a:lnTo>
                <a:lnTo>
                  <a:pt x="248" y="110"/>
                </a:lnTo>
                <a:lnTo>
                  <a:pt x="250" y="113"/>
                </a:lnTo>
                <a:lnTo>
                  <a:pt x="247" y="118"/>
                </a:lnTo>
                <a:lnTo>
                  <a:pt x="246" y="124"/>
                </a:lnTo>
                <a:lnTo>
                  <a:pt x="247" y="127"/>
                </a:lnTo>
                <a:lnTo>
                  <a:pt x="248" y="130"/>
                </a:lnTo>
                <a:lnTo>
                  <a:pt x="250" y="136"/>
                </a:lnTo>
                <a:lnTo>
                  <a:pt x="248" y="141"/>
                </a:lnTo>
                <a:lnTo>
                  <a:pt x="248" y="144"/>
                </a:lnTo>
                <a:lnTo>
                  <a:pt x="251" y="147"/>
                </a:lnTo>
                <a:lnTo>
                  <a:pt x="255" y="147"/>
                </a:lnTo>
                <a:lnTo>
                  <a:pt x="258" y="149"/>
                </a:lnTo>
                <a:lnTo>
                  <a:pt x="262" y="151"/>
                </a:lnTo>
                <a:lnTo>
                  <a:pt x="263" y="155"/>
                </a:lnTo>
                <a:lnTo>
                  <a:pt x="263" y="160"/>
                </a:lnTo>
                <a:lnTo>
                  <a:pt x="262" y="165"/>
                </a:lnTo>
                <a:lnTo>
                  <a:pt x="255" y="173"/>
                </a:lnTo>
                <a:lnTo>
                  <a:pt x="251" y="179"/>
                </a:lnTo>
                <a:lnTo>
                  <a:pt x="251" y="180"/>
                </a:lnTo>
                <a:lnTo>
                  <a:pt x="252" y="184"/>
                </a:lnTo>
                <a:lnTo>
                  <a:pt x="256" y="187"/>
                </a:lnTo>
                <a:lnTo>
                  <a:pt x="262" y="199"/>
                </a:lnTo>
                <a:lnTo>
                  <a:pt x="266" y="202"/>
                </a:lnTo>
                <a:lnTo>
                  <a:pt x="270" y="204"/>
                </a:lnTo>
                <a:lnTo>
                  <a:pt x="278" y="207"/>
                </a:lnTo>
                <a:lnTo>
                  <a:pt x="279" y="209"/>
                </a:lnTo>
                <a:lnTo>
                  <a:pt x="280" y="216"/>
                </a:lnTo>
                <a:lnTo>
                  <a:pt x="280" y="220"/>
                </a:lnTo>
                <a:lnTo>
                  <a:pt x="280" y="224"/>
                </a:lnTo>
                <a:lnTo>
                  <a:pt x="286" y="226"/>
                </a:lnTo>
                <a:lnTo>
                  <a:pt x="287" y="227"/>
                </a:lnTo>
                <a:lnTo>
                  <a:pt x="287" y="231"/>
                </a:lnTo>
                <a:lnTo>
                  <a:pt x="287" y="232"/>
                </a:lnTo>
                <a:lnTo>
                  <a:pt x="283" y="235"/>
                </a:lnTo>
                <a:lnTo>
                  <a:pt x="279" y="235"/>
                </a:lnTo>
                <a:lnTo>
                  <a:pt x="275" y="238"/>
                </a:lnTo>
                <a:lnTo>
                  <a:pt x="271" y="238"/>
                </a:lnTo>
                <a:lnTo>
                  <a:pt x="268" y="242"/>
                </a:lnTo>
                <a:lnTo>
                  <a:pt x="266" y="245"/>
                </a:lnTo>
                <a:lnTo>
                  <a:pt x="263" y="254"/>
                </a:lnTo>
                <a:lnTo>
                  <a:pt x="262" y="257"/>
                </a:lnTo>
                <a:lnTo>
                  <a:pt x="262" y="26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27" name="Freeform 1354"/>
          <p:cNvSpPr>
            <a:spLocks/>
          </p:cNvSpPr>
          <p:nvPr/>
        </p:nvSpPr>
        <p:spPr bwMode="auto">
          <a:xfrm>
            <a:off x="6947001" y="2935431"/>
            <a:ext cx="496949" cy="526164"/>
          </a:xfrm>
          <a:custGeom>
            <a:avLst/>
            <a:gdLst/>
            <a:ahLst/>
            <a:cxnLst>
              <a:cxn ang="0">
                <a:pos x="252" y="262"/>
              </a:cxn>
              <a:cxn ang="0">
                <a:pos x="234" y="259"/>
              </a:cxn>
              <a:cxn ang="0">
                <a:pos x="224" y="259"/>
              </a:cxn>
              <a:cxn ang="0">
                <a:pos x="206" y="254"/>
              </a:cxn>
              <a:cxn ang="0">
                <a:pos x="194" y="243"/>
              </a:cxn>
              <a:cxn ang="0">
                <a:pos x="184" y="227"/>
              </a:cxn>
              <a:cxn ang="0">
                <a:pos x="169" y="234"/>
              </a:cxn>
              <a:cxn ang="0">
                <a:pos x="157" y="238"/>
              </a:cxn>
              <a:cxn ang="0">
                <a:pos x="143" y="235"/>
              </a:cxn>
              <a:cxn ang="0">
                <a:pos x="137" y="231"/>
              </a:cxn>
              <a:cxn ang="0">
                <a:pos x="119" y="216"/>
              </a:cxn>
              <a:cxn ang="0">
                <a:pos x="106" y="212"/>
              </a:cxn>
              <a:cxn ang="0">
                <a:pos x="95" y="191"/>
              </a:cxn>
              <a:cxn ang="0">
                <a:pos x="87" y="179"/>
              </a:cxn>
              <a:cxn ang="0">
                <a:pos x="82" y="174"/>
              </a:cxn>
              <a:cxn ang="0">
                <a:pos x="77" y="174"/>
              </a:cxn>
              <a:cxn ang="0">
                <a:pos x="71" y="166"/>
              </a:cxn>
              <a:cxn ang="0">
                <a:pos x="69" y="171"/>
              </a:cxn>
              <a:cxn ang="0">
                <a:pos x="65" y="174"/>
              </a:cxn>
              <a:cxn ang="0">
                <a:pos x="54" y="160"/>
              </a:cxn>
              <a:cxn ang="0">
                <a:pos x="50" y="141"/>
              </a:cxn>
              <a:cxn ang="0">
                <a:pos x="41" y="130"/>
              </a:cxn>
              <a:cxn ang="0">
                <a:pos x="26" y="121"/>
              </a:cxn>
              <a:cxn ang="0">
                <a:pos x="22" y="110"/>
              </a:cxn>
              <a:cxn ang="0">
                <a:pos x="18" y="103"/>
              </a:cxn>
              <a:cxn ang="0">
                <a:pos x="24" y="92"/>
              </a:cxn>
              <a:cxn ang="0">
                <a:pos x="28" y="77"/>
              </a:cxn>
              <a:cxn ang="0">
                <a:pos x="21" y="70"/>
              </a:cxn>
              <a:cxn ang="0">
                <a:pos x="10" y="55"/>
              </a:cxn>
              <a:cxn ang="0">
                <a:pos x="1" y="36"/>
              </a:cxn>
              <a:cxn ang="0">
                <a:pos x="1" y="15"/>
              </a:cxn>
              <a:cxn ang="0">
                <a:pos x="4" y="5"/>
              </a:cxn>
              <a:cxn ang="0">
                <a:pos x="18" y="15"/>
              </a:cxn>
              <a:cxn ang="0">
                <a:pos x="33" y="17"/>
              </a:cxn>
              <a:cxn ang="0">
                <a:pos x="42" y="9"/>
              </a:cxn>
              <a:cxn ang="0">
                <a:pos x="60" y="6"/>
              </a:cxn>
              <a:cxn ang="0">
                <a:pos x="57" y="19"/>
              </a:cxn>
              <a:cxn ang="0">
                <a:pos x="65" y="23"/>
              </a:cxn>
              <a:cxn ang="0">
                <a:pos x="70" y="31"/>
              </a:cxn>
              <a:cxn ang="0">
                <a:pos x="79" y="42"/>
              </a:cxn>
              <a:cxn ang="0">
                <a:pos x="91" y="45"/>
              </a:cxn>
              <a:cxn ang="0">
                <a:pos x="113" y="58"/>
              </a:cxn>
              <a:cxn ang="0">
                <a:pos x="142" y="52"/>
              </a:cxn>
              <a:cxn ang="0">
                <a:pos x="149" y="53"/>
              </a:cxn>
              <a:cxn ang="0">
                <a:pos x="155" y="41"/>
              </a:cxn>
              <a:cxn ang="0">
                <a:pos x="175" y="30"/>
              </a:cxn>
              <a:cxn ang="0">
                <a:pos x="183" y="28"/>
              </a:cxn>
              <a:cxn ang="0">
                <a:pos x="199" y="33"/>
              </a:cxn>
              <a:cxn ang="0">
                <a:pos x="220" y="37"/>
              </a:cxn>
            </a:cxnLst>
            <a:rect l="0" t="0" r="r" b="b"/>
            <a:pathLst>
              <a:path w="262" h="264">
                <a:moveTo>
                  <a:pt x="262" y="262"/>
                </a:moveTo>
                <a:lnTo>
                  <a:pt x="259" y="264"/>
                </a:lnTo>
                <a:lnTo>
                  <a:pt x="255" y="262"/>
                </a:lnTo>
                <a:lnTo>
                  <a:pt x="252" y="262"/>
                </a:lnTo>
                <a:lnTo>
                  <a:pt x="247" y="260"/>
                </a:lnTo>
                <a:lnTo>
                  <a:pt x="246" y="257"/>
                </a:lnTo>
                <a:lnTo>
                  <a:pt x="243" y="259"/>
                </a:lnTo>
                <a:lnTo>
                  <a:pt x="234" y="259"/>
                </a:lnTo>
                <a:lnTo>
                  <a:pt x="228" y="257"/>
                </a:lnTo>
                <a:lnTo>
                  <a:pt x="226" y="256"/>
                </a:lnTo>
                <a:lnTo>
                  <a:pt x="224" y="257"/>
                </a:lnTo>
                <a:lnTo>
                  <a:pt x="224" y="259"/>
                </a:lnTo>
                <a:lnTo>
                  <a:pt x="220" y="256"/>
                </a:lnTo>
                <a:lnTo>
                  <a:pt x="216" y="254"/>
                </a:lnTo>
                <a:lnTo>
                  <a:pt x="212" y="254"/>
                </a:lnTo>
                <a:lnTo>
                  <a:pt x="206" y="254"/>
                </a:lnTo>
                <a:lnTo>
                  <a:pt x="203" y="253"/>
                </a:lnTo>
                <a:lnTo>
                  <a:pt x="199" y="253"/>
                </a:lnTo>
                <a:lnTo>
                  <a:pt x="196" y="248"/>
                </a:lnTo>
                <a:lnTo>
                  <a:pt x="194" y="243"/>
                </a:lnTo>
                <a:lnTo>
                  <a:pt x="192" y="235"/>
                </a:lnTo>
                <a:lnTo>
                  <a:pt x="191" y="231"/>
                </a:lnTo>
                <a:lnTo>
                  <a:pt x="187" y="229"/>
                </a:lnTo>
                <a:lnTo>
                  <a:pt x="184" y="227"/>
                </a:lnTo>
                <a:lnTo>
                  <a:pt x="182" y="227"/>
                </a:lnTo>
                <a:lnTo>
                  <a:pt x="177" y="229"/>
                </a:lnTo>
                <a:lnTo>
                  <a:pt x="171" y="231"/>
                </a:lnTo>
                <a:lnTo>
                  <a:pt x="169" y="234"/>
                </a:lnTo>
                <a:lnTo>
                  <a:pt x="167" y="235"/>
                </a:lnTo>
                <a:lnTo>
                  <a:pt x="165" y="235"/>
                </a:lnTo>
                <a:lnTo>
                  <a:pt x="159" y="238"/>
                </a:lnTo>
                <a:lnTo>
                  <a:pt x="157" y="238"/>
                </a:lnTo>
                <a:lnTo>
                  <a:pt x="153" y="237"/>
                </a:lnTo>
                <a:lnTo>
                  <a:pt x="151" y="235"/>
                </a:lnTo>
                <a:lnTo>
                  <a:pt x="147" y="235"/>
                </a:lnTo>
                <a:lnTo>
                  <a:pt x="143" y="235"/>
                </a:lnTo>
                <a:lnTo>
                  <a:pt x="141" y="235"/>
                </a:lnTo>
                <a:lnTo>
                  <a:pt x="138" y="232"/>
                </a:lnTo>
                <a:lnTo>
                  <a:pt x="139" y="232"/>
                </a:lnTo>
                <a:lnTo>
                  <a:pt x="137" y="231"/>
                </a:lnTo>
                <a:lnTo>
                  <a:pt x="129" y="227"/>
                </a:lnTo>
                <a:lnTo>
                  <a:pt x="126" y="223"/>
                </a:lnTo>
                <a:lnTo>
                  <a:pt x="123" y="220"/>
                </a:lnTo>
                <a:lnTo>
                  <a:pt x="119" y="216"/>
                </a:lnTo>
                <a:lnTo>
                  <a:pt x="115" y="216"/>
                </a:lnTo>
                <a:lnTo>
                  <a:pt x="111" y="216"/>
                </a:lnTo>
                <a:lnTo>
                  <a:pt x="109" y="215"/>
                </a:lnTo>
                <a:lnTo>
                  <a:pt x="106" y="212"/>
                </a:lnTo>
                <a:lnTo>
                  <a:pt x="105" y="206"/>
                </a:lnTo>
                <a:lnTo>
                  <a:pt x="102" y="201"/>
                </a:lnTo>
                <a:lnTo>
                  <a:pt x="101" y="196"/>
                </a:lnTo>
                <a:lnTo>
                  <a:pt x="95" y="191"/>
                </a:lnTo>
                <a:lnTo>
                  <a:pt x="94" y="187"/>
                </a:lnTo>
                <a:lnTo>
                  <a:pt x="93" y="184"/>
                </a:lnTo>
                <a:lnTo>
                  <a:pt x="91" y="184"/>
                </a:lnTo>
                <a:lnTo>
                  <a:pt x="87" y="179"/>
                </a:lnTo>
                <a:lnTo>
                  <a:pt x="87" y="176"/>
                </a:lnTo>
                <a:lnTo>
                  <a:pt x="86" y="174"/>
                </a:lnTo>
                <a:lnTo>
                  <a:pt x="85" y="174"/>
                </a:lnTo>
                <a:lnTo>
                  <a:pt x="82" y="174"/>
                </a:lnTo>
                <a:lnTo>
                  <a:pt x="79" y="177"/>
                </a:lnTo>
                <a:lnTo>
                  <a:pt x="79" y="176"/>
                </a:lnTo>
                <a:lnTo>
                  <a:pt x="78" y="176"/>
                </a:lnTo>
                <a:lnTo>
                  <a:pt x="77" y="174"/>
                </a:lnTo>
                <a:lnTo>
                  <a:pt x="75" y="173"/>
                </a:lnTo>
                <a:lnTo>
                  <a:pt x="74" y="171"/>
                </a:lnTo>
                <a:lnTo>
                  <a:pt x="73" y="168"/>
                </a:lnTo>
                <a:lnTo>
                  <a:pt x="71" y="166"/>
                </a:lnTo>
                <a:lnTo>
                  <a:pt x="70" y="166"/>
                </a:lnTo>
                <a:lnTo>
                  <a:pt x="69" y="166"/>
                </a:lnTo>
                <a:lnTo>
                  <a:pt x="69" y="169"/>
                </a:lnTo>
                <a:lnTo>
                  <a:pt x="69" y="171"/>
                </a:lnTo>
                <a:lnTo>
                  <a:pt x="69" y="173"/>
                </a:lnTo>
                <a:lnTo>
                  <a:pt x="66" y="173"/>
                </a:lnTo>
                <a:lnTo>
                  <a:pt x="66" y="176"/>
                </a:lnTo>
                <a:lnTo>
                  <a:pt x="65" y="174"/>
                </a:lnTo>
                <a:lnTo>
                  <a:pt x="58" y="169"/>
                </a:lnTo>
                <a:lnTo>
                  <a:pt x="57" y="168"/>
                </a:lnTo>
                <a:lnTo>
                  <a:pt x="56" y="165"/>
                </a:lnTo>
                <a:lnTo>
                  <a:pt x="54" y="160"/>
                </a:lnTo>
                <a:lnTo>
                  <a:pt x="50" y="158"/>
                </a:lnTo>
                <a:lnTo>
                  <a:pt x="52" y="152"/>
                </a:lnTo>
                <a:lnTo>
                  <a:pt x="52" y="144"/>
                </a:lnTo>
                <a:lnTo>
                  <a:pt x="50" y="141"/>
                </a:lnTo>
                <a:lnTo>
                  <a:pt x="48" y="138"/>
                </a:lnTo>
                <a:lnTo>
                  <a:pt x="46" y="133"/>
                </a:lnTo>
                <a:lnTo>
                  <a:pt x="44" y="130"/>
                </a:lnTo>
                <a:lnTo>
                  <a:pt x="41" y="130"/>
                </a:lnTo>
                <a:lnTo>
                  <a:pt x="37" y="129"/>
                </a:lnTo>
                <a:lnTo>
                  <a:pt x="34" y="125"/>
                </a:lnTo>
                <a:lnTo>
                  <a:pt x="30" y="122"/>
                </a:lnTo>
                <a:lnTo>
                  <a:pt x="26" y="121"/>
                </a:lnTo>
                <a:lnTo>
                  <a:pt x="26" y="118"/>
                </a:lnTo>
                <a:lnTo>
                  <a:pt x="25" y="114"/>
                </a:lnTo>
                <a:lnTo>
                  <a:pt x="22" y="113"/>
                </a:lnTo>
                <a:lnTo>
                  <a:pt x="22" y="110"/>
                </a:lnTo>
                <a:lnTo>
                  <a:pt x="20" y="110"/>
                </a:lnTo>
                <a:lnTo>
                  <a:pt x="18" y="108"/>
                </a:lnTo>
                <a:lnTo>
                  <a:pt x="17" y="105"/>
                </a:lnTo>
                <a:lnTo>
                  <a:pt x="18" y="103"/>
                </a:lnTo>
                <a:lnTo>
                  <a:pt x="18" y="102"/>
                </a:lnTo>
                <a:lnTo>
                  <a:pt x="20" y="96"/>
                </a:lnTo>
                <a:lnTo>
                  <a:pt x="21" y="94"/>
                </a:lnTo>
                <a:lnTo>
                  <a:pt x="24" y="92"/>
                </a:lnTo>
                <a:lnTo>
                  <a:pt x="24" y="91"/>
                </a:lnTo>
                <a:lnTo>
                  <a:pt x="26" y="85"/>
                </a:lnTo>
                <a:lnTo>
                  <a:pt x="29" y="81"/>
                </a:lnTo>
                <a:lnTo>
                  <a:pt x="28" y="77"/>
                </a:lnTo>
                <a:lnTo>
                  <a:pt x="29" y="74"/>
                </a:lnTo>
                <a:lnTo>
                  <a:pt x="32" y="72"/>
                </a:lnTo>
                <a:lnTo>
                  <a:pt x="28" y="72"/>
                </a:lnTo>
                <a:lnTo>
                  <a:pt x="21" y="70"/>
                </a:lnTo>
                <a:lnTo>
                  <a:pt x="18" y="67"/>
                </a:lnTo>
                <a:lnTo>
                  <a:pt x="17" y="61"/>
                </a:lnTo>
                <a:lnTo>
                  <a:pt x="13" y="59"/>
                </a:lnTo>
                <a:lnTo>
                  <a:pt x="10" y="55"/>
                </a:lnTo>
                <a:lnTo>
                  <a:pt x="9" y="45"/>
                </a:lnTo>
                <a:lnTo>
                  <a:pt x="9" y="42"/>
                </a:lnTo>
                <a:lnTo>
                  <a:pt x="5" y="37"/>
                </a:lnTo>
                <a:lnTo>
                  <a:pt x="1" y="36"/>
                </a:lnTo>
                <a:lnTo>
                  <a:pt x="2" y="30"/>
                </a:lnTo>
                <a:lnTo>
                  <a:pt x="2" y="26"/>
                </a:lnTo>
                <a:lnTo>
                  <a:pt x="2" y="22"/>
                </a:lnTo>
                <a:lnTo>
                  <a:pt x="1" y="15"/>
                </a:lnTo>
                <a:lnTo>
                  <a:pt x="0" y="11"/>
                </a:lnTo>
                <a:lnTo>
                  <a:pt x="0" y="9"/>
                </a:lnTo>
                <a:lnTo>
                  <a:pt x="4" y="6"/>
                </a:lnTo>
                <a:lnTo>
                  <a:pt x="4" y="5"/>
                </a:lnTo>
                <a:lnTo>
                  <a:pt x="6" y="0"/>
                </a:lnTo>
                <a:lnTo>
                  <a:pt x="9" y="3"/>
                </a:lnTo>
                <a:lnTo>
                  <a:pt x="10" y="5"/>
                </a:lnTo>
                <a:lnTo>
                  <a:pt x="18" y="15"/>
                </a:lnTo>
                <a:lnTo>
                  <a:pt x="22" y="17"/>
                </a:lnTo>
                <a:lnTo>
                  <a:pt x="26" y="17"/>
                </a:lnTo>
                <a:lnTo>
                  <a:pt x="28" y="17"/>
                </a:lnTo>
                <a:lnTo>
                  <a:pt x="33" y="17"/>
                </a:lnTo>
                <a:lnTo>
                  <a:pt x="34" y="17"/>
                </a:lnTo>
                <a:lnTo>
                  <a:pt x="37" y="17"/>
                </a:lnTo>
                <a:lnTo>
                  <a:pt x="40" y="14"/>
                </a:lnTo>
                <a:lnTo>
                  <a:pt x="42" y="9"/>
                </a:lnTo>
                <a:lnTo>
                  <a:pt x="45" y="8"/>
                </a:lnTo>
                <a:lnTo>
                  <a:pt x="48" y="5"/>
                </a:lnTo>
                <a:lnTo>
                  <a:pt x="56" y="3"/>
                </a:lnTo>
                <a:lnTo>
                  <a:pt x="60" y="6"/>
                </a:lnTo>
                <a:lnTo>
                  <a:pt x="60" y="9"/>
                </a:lnTo>
                <a:lnTo>
                  <a:pt x="62" y="14"/>
                </a:lnTo>
                <a:lnTo>
                  <a:pt x="57" y="17"/>
                </a:lnTo>
                <a:lnTo>
                  <a:pt x="57" y="19"/>
                </a:lnTo>
                <a:lnTo>
                  <a:pt x="60" y="19"/>
                </a:lnTo>
                <a:lnTo>
                  <a:pt x="61" y="20"/>
                </a:lnTo>
                <a:lnTo>
                  <a:pt x="64" y="22"/>
                </a:lnTo>
                <a:lnTo>
                  <a:pt x="65" y="23"/>
                </a:lnTo>
                <a:lnTo>
                  <a:pt x="67" y="23"/>
                </a:lnTo>
                <a:lnTo>
                  <a:pt x="69" y="25"/>
                </a:lnTo>
                <a:lnTo>
                  <a:pt x="70" y="23"/>
                </a:lnTo>
                <a:lnTo>
                  <a:pt x="70" y="31"/>
                </a:lnTo>
                <a:lnTo>
                  <a:pt x="71" y="36"/>
                </a:lnTo>
                <a:lnTo>
                  <a:pt x="73" y="39"/>
                </a:lnTo>
                <a:lnTo>
                  <a:pt x="77" y="42"/>
                </a:lnTo>
                <a:lnTo>
                  <a:pt x="79" y="42"/>
                </a:lnTo>
                <a:lnTo>
                  <a:pt x="82" y="44"/>
                </a:lnTo>
                <a:lnTo>
                  <a:pt x="86" y="44"/>
                </a:lnTo>
                <a:lnTo>
                  <a:pt x="90" y="44"/>
                </a:lnTo>
                <a:lnTo>
                  <a:pt x="91" y="45"/>
                </a:lnTo>
                <a:lnTo>
                  <a:pt x="94" y="48"/>
                </a:lnTo>
                <a:lnTo>
                  <a:pt x="97" y="52"/>
                </a:lnTo>
                <a:lnTo>
                  <a:pt x="102" y="55"/>
                </a:lnTo>
                <a:lnTo>
                  <a:pt x="113" y="58"/>
                </a:lnTo>
                <a:lnTo>
                  <a:pt x="115" y="58"/>
                </a:lnTo>
                <a:lnTo>
                  <a:pt x="131" y="53"/>
                </a:lnTo>
                <a:lnTo>
                  <a:pt x="135" y="53"/>
                </a:lnTo>
                <a:lnTo>
                  <a:pt x="142" y="52"/>
                </a:lnTo>
                <a:lnTo>
                  <a:pt x="141" y="53"/>
                </a:lnTo>
                <a:lnTo>
                  <a:pt x="137" y="53"/>
                </a:lnTo>
                <a:lnTo>
                  <a:pt x="142" y="53"/>
                </a:lnTo>
                <a:lnTo>
                  <a:pt x="149" y="53"/>
                </a:lnTo>
                <a:lnTo>
                  <a:pt x="149" y="48"/>
                </a:lnTo>
                <a:lnTo>
                  <a:pt x="146" y="42"/>
                </a:lnTo>
                <a:lnTo>
                  <a:pt x="150" y="42"/>
                </a:lnTo>
                <a:lnTo>
                  <a:pt x="155" y="41"/>
                </a:lnTo>
                <a:lnTo>
                  <a:pt x="165" y="34"/>
                </a:lnTo>
                <a:lnTo>
                  <a:pt x="169" y="31"/>
                </a:lnTo>
                <a:lnTo>
                  <a:pt x="173" y="30"/>
                </a:lnTo>
                <a:lnTo>
                  <a:pt x="175" y="30"/>
                </a:lnTo>
                <a:lnTo>
                  <a:pt x="178" y="31"/>
                </a:lnTo>
                <a:lnTo>
                  <a:pt x="182" y="31"/>
                </a:lnTo>
                <a:lnTo>
                  <a:pt x="183" y="30"/>
                </a:lnTo>
                <a:lnTo>
                  <a:pt x="183" y="28"/>
                </a:lnTo>
                <a:lnTo>
                  <a:pt x="187" y="26"/>
                </a:lnTo>
                <a:lnTo>
                  <a:pt x="194" y="26"/>
                </a:lnTo>
                <a:lnTo>
                  <a:pt x="198" y="31"/>
                </a:lnTo>
                <a:lnTo>
                  <a:pt x="199" y="33"/>
                </a:lnTo>
                <a:lnTo>
                  <a:pt x="210" y="36"/>
                </a:lnTo>
                <a:lnTo>
                  <a:pt x="214" y="39"/>
                </a:lnTo>
                <a:lnTo>
                  <a:pt x="218" y="39"/>
                </a:lnTo>
                <a:lnTo>
                  <a:pt x="220" y="37"/>
                </a:lnTo>
                <a:lnTo>
                  <a:pt x="224" y="39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28" name="Freeform 1355"/>
          <p:cNvSpPr>
            <a:spLocks/>
          </p:cNvSpPr>
          <p:nvPr/>
        </p:nvSpPr>
        <p:spPr bwMode="auto">
          <a:xfrm>
            <a:off x="7373793" y="3014891"/>
            <a:ext cx="118877" cy="44240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" y="2"/>
              </a:cxn>
              <a:cxn ang="0">
                <a:pos x="6" y="5"/>
              </a:cxn>
              <a:cxn ang="0">
                <a:pos x="6" y="8"/>
              </a:cxn>
              <a:cxn ang="0">
                <a:pos x="8" y="9"/>
              </a:cxn>
              <a:cxn ang="0">
                <a:pos x="14" y="11"/>
              </a:cxn>
              <a:cxn ang="0">
                <a:pos x="19" y="16"/>
              </a:cxn>
              <a:cxn ang="0">
                <a:pos x="24" y="19"/>
              </a:cxn>
              <a:cxn ang="0">
                <a:pos x="31" y="19"/>
              </a:cxn>
              <a:cxn ang="0">
                <a:pos x="32" y="20"/>
              </a:cxn>
              <a:cxn ang="0">
                <a:pos x="32" y="30"/>
              </a:cxn>
              <a:cxn ang="0">
                <a:pos x="34" y="33"/>
              </a:cxn>
              <a:cxn ang="0">
                <a:pos x="32" y="36"/>
              </a:cxn>
              <a:cxn ang="0">
                <a:pos x="32" y="39"/>
              </a:cxn>
              <a:cxn ang="0">
                <a:pos x="32" y="44"/>
              </a:cxn>
              <a:cxn ang="0">
                <a:pos x="31" y="50"/>
              </a:cxn>
              <a:cxn ang="0">
                <a:pos x="27" y="55"/>
              </a:cxn>
              <a:cxn ang="0">
                <a:pos x="27" y="60"/>
              </a:cxn>
              <a:cxn ang="0">
                <a:pos x="20" y="63"/>
              </a:cxn>
              <a:cxn ang="0">
                <a:pos x="20" y="64"/>
              </a:cxn>
              <a:cxn ang="0">
                <a:pos x="20" y="71"/>
              </a:cxn>
              <a:cxn ang="0">
                <a:pos x="24" y="71"/>
              </a:cxn>
              <a:cxn ang="0">
                <a:pos x="26" y="74"/>
              </a:cxn>
              <a:cxn ang="0">
                <a:pos x="23" y="79"/>
              </a:cxn>
              <a:cxn ang="0">
                <a:pos x="22" y="85"/>
              </a:cxn>
              <a:cxn ang="0">
                <a:pos x="23" y="88"/>
              </a:cxn>
              <a:cxn ang="0">
                <a:pos x="24" y="91"/>
              </a:cxn>
              <a:cxn ang="0">
                <a:pos x="26" y="97"/>
              </a:cxn>
              <a:cxn ang="0">
                <a:pos x="24" y="102"/>
              </a:cxn>
              <a:cxn ang="0">
                <a:pos x="24" y="105"/>
              </a:cxn>
              <a:cxn ang="0">
                <a:pos x="27" y="108"/>
              </a:cxn>
              <a:cxn ang="0">
                <a:pos x="31" y="108"/>
              </a:cxn>
              <a:cxn ang="0">
                <a:pos x="34" y="110"/>
              </a:cxn>
              <a:cxn ang="0">
                <a:pos x="38" y="112"/>
              </a:cxn>
              <a:cxn ang="0">
                <a:pos x="39" y="116"/>
              </a:cxn>
              <a:cxn ang="0">
                <a:pos x="39" y="121"/>
              </a:cxn>
              <a:cxn ang="0">
                <a:pos x="38" y="126"/>
              </a:cxn>
              <a:cxn ang="0">
                <a:pos x="31" y="134"/>
              </a:cxn>
              <a:cxn ang="0">
                <a:pos x="27" y="140"/>
              </a:cxn>
              <a:cxn ang="0">
                <a:pos x="27" y="141"/>
              </a:cxn>
              <a:cxn ang="0">
                <a:pos x="28" y="145"/>
              </a:cxn>
              <a:cxn ang="0">
                <a:pos x="32" y="148"/>
              </a:cxn>
              <a:cxn ang="0">
                <a:pos x="38" y="160"/>
              </a:cxn>
              <a:cxn ang="0">
                <a:pos x="42" y="163"/>
              </a:cxn>
              <a:cxn ang="0">
                <a:pos x="46" y="165"/>
              </a:cxn>
              <a:cxn ang="0">
                <a:pos x="54" y="168"/>
              </a:cxn>
              <a:cxn ang="0">
                <a:pos x="55" y="170"/>
              </a:cxn>
              <a:cxn ang="0">
                <a:pos x="56" y="177"/>
              </a:cxn>
              <a:cxn ang="0">
                <a:pos x="56" y="181"/>
              </a:cxn>
              <a:cxn ang="0">
                <a:pos x="56" y="185"/>
              </a:cxn>
              <a:cxn ang="0">
                <a:pos x="62" y="187"/>
              </a:cxn>
              <a:cxn ang="0">
                <a:pos x="63" y="188"/>
              </a:cxn>
              <a:cxn ang="0">
                <a:pos x="63" y="192"/>
              </a:cxn>
              <a:cxn ang="0">
                <a:pos x="63" y="193"/>
              </a:cxn>
              <a:cxn ang="0">
                <a:pos x="59" y="196"/>
              </a:cxn>
              <a:cxn ang="0">
                <a:pos x="55" y="196"/>
              </a:cxn>
              <a:cxn ang="0">
                <a:pos x="51" y="199"/>
              </a:cxn>
              <a:cxn ang="0">
                <a:pos x="47" y="199"/>
              </a:cxn>
              <a:cxn ang="0">
                <a:pos x="44" y="203"/>
              </a:cxn>
              <a:cxn ang="0">
                <a:pos x="42" y="206"/>
              </a:cxn>
              <a:cxn ang="0">
                <a:pos x="39" y="215"/>
              </a:cxn>
              <a:cxn ang="0">
                <a:pos x="38" y="218"/>
              </a:cxn>
              <a:cxn ang="0">
                <a:pos x="38" y="223"/>
              </a:cxn>
            </a:cxnLst>
            <a:rect l="0" t="0" r="r" b="b"/>
            <a:pathLst>
              <a:path w="63" h="223">
                <a:moveTo>
                  <a:pt x="0" y="0"/>
                </a:moveTo>
                <a:lnTo>
                  <a:pt x="3" y="2"/>
                </a:lnTo>
                <a:lnTo>
                  <a:pt x="6" y="5"/>
                </a:lnTo>
                <a:lnTo>
                  <a:pt x="6" y="8"/>
                </a:lnTo>
                <a:lnTo>
                  <a:pt x="8" y="9"/>
                </a:lnTo>
                <a:lnTo>
                  <a:pt x="14" y="11"/>
                </a:lnTo>
                <a:lnTo>
                  <a:pt x="19" y="16"/>
                </a:lnTo>
                <a:lnTo>
                  <a:pt x="24" y="19"/>
                </a:lnTo>
                <a:lnTo>
                  <a:pt x="31" y="19"/>
                </a:lnTo>
                <a:lnTo>
                  <a:pt x="32" y="20"/>
                </a:lnTo>
                <a:lnTo>
                  <a:pt x="32" y="30"/>
                </a:lnTo>
                <a:lnTo>
                  <a:pt x="34" y="33"/>
                </a:lnTo>
                <a:lnTo>
                  <a:pt x="32" y="36"/>
                </a:lnTo>
                <a:lnTo>
                  <a:pt x="32" y="39"/>
                </a:lnTo>
                <a:lnTo>
                  <a:pt x="32" y="44"/>
                </a:lnTo>
                <a:lnTo>
                  <a:pt x="31" y="50"/>
                </a:lnTo>
                <a:lnTo>
                  <a:pt x="27" y="55"/>
                </a:lnTo>
                <a:lnTo>
                  <a:pt x="27" y="60"/>
                </a:lnTo>
                <a:lnTo>
                  <a:pt x="20" y="63"/>
                </a:lnTo>
                <a:lnTo>
                  <a:pt x="20" y="64"/>
                </a:lnTo>
                <a:lnTo>
                  <a:pt x="20" y="71"/>
                </a:lnTo>
                <a:lnTo>
                  <a:pt x="24" y="71"/>
                </a:lnTo>
                <a:lnTo>
                  <a:pt x="26" y="74"/>
                </a:lnTo>
                <a:lnTo>
                  <a:pt x="23" y="79"/>
                </a:lnTo>
                <a:lnTo>
                  <a:pt x="22" y="85"/>
                </a:lnTo>
                <a:lnTo>
                  <a:pt x="23" y="88"/>
                </a:lnTo>
                <a:lnTo>
                  <a:pt x="24" y="91"/>
                </a:lnTo>
                <a:lnTo>
                  <a:pt x="26" y="97"/>
                </a:lnTo>
                <a:lnTo>
                  <a:pt x="24" y="102"/>
                </a:lnTo>
                <a:lnTo>
                  <a:pt x="24" y="105"/>
                </a:lnTo>
                <a:lnTo>
                  <a:pt x="27" y="108"/>
                </a:lnTo>
                <a:lnTo>
                  <a:pt x="31" y="108"/>
                </a:lnTo>
                <a:lnTo>
                  <a:pt x="34" y="110"/>
                </a:lnTo>
                <a:lnTo>
                  <a:pt x="38" y="112"/>
                </a:lnTo>
                <a:lnTo>
                  <a:pt x="39" y="116"/>
                </a:lnTo>
                <a:lnTo>
                  <a:pt x="39" y="121"/>
                </a:lnTo>
                <a:lnTo>
                  <a:pt x="38" y="126"/>
                </a:lnTo>
                <a:lnTo>
                  <a:pt x="31" y="134"/>
                </a:lnTo>
                <a:lnTo>
                  <a:pt x="27" y="140"/>
                </a:lnTo>
                <a:lnTo>
                  <a:pt x="27" y="141"/>
                </a:lnTo>
                <a:lnTo>
                  <a:pt x="28" y="145"/>
                </a:lnTo>
                <a:lnTo>
                  <a:pt x="32" y="148"/>
                </a:lnTo>
                <a:lnTo>
                  <a:pt x="38" y="160"/>
                </a:lnTo>
                <a:lnTo>
                  <a:pt x="42" y="163"/>
                </a:lnTo>
                <a:lnTo>
                  <a:pt x="46" y="165"/>
                </a:lnTo>
                <a:lnTo>
                  <a:pt x="54" y="168"/>
                </a:lnTo>
                <a:lnTo>
                  <a:pt x="55" y="170"/>
                </a:lnTo>
                <a:lnTo>
                  <a:pt x="56" y="177"/>
                </a:lnTo>
                <a:lnTo>
                  <a:pt x="56" y="181"/>
                </a:lnTo>
                <a:lnTo>
                  <a:pt x="56" y="185"/>
                </a:lnTo>
                <a:lnTo>
                  <a:pt x="62" y="187"/>
                </a:lnTo>
                <a:lnTo>
                  <a:pt x="63" y="188"/>
                </a:lnTo>
                <a:lnTo>
                  <a:pt x="63" y="192"/>
                </a:lnTo>
                <a:lnTo>
                  <a:pt x="63" y="193"/>
                </a:lnTo>
                <a:lnTo>
                  <a:pt x="59" y="196"/>
                </a:lnTo>
                <a:lnTo>
                  <a:pt x="55" y="196"/>
                </a:lnTo>
                <a:lnTo>
                  <a:pt x="51" y="199"/>
                </a:lnTo>
                <a:lnTo>
                  <a:pt x="47" y="199"/>
                </a:lnTo>
                <a:lnTo>
                  <a:pt x="44" y="203"/>
                </a:lnTo>
                <a:lnTo>
                  <a:pt x="42" y="206"/>
                </a:lnTo>
                <a:lnTo>
                  <a:pt x="39" y="215"/>
                </a:lnTo>
                <a:lnTo>
                  <a:pt x="38" y="218"/>
                </a:lnTo>
                <a:lnTo>
                  <a:pt x="38" y="22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29" name="Freeform 1356"/>
          <p:cNvSpPr>
            <a:spLocks/>
          </p:cNvSpPr>
          <p:nvPr/>
        </p:nvSpPr>
        <p:spPr bwMode="auto">
          <a:xfrm>
            <a:off x="6381845" y="3227503"/>
            <a:ext cx="317657" cy="350059"/>
          </a:xfrm>
          <a:custGeom>
            <a:avLst/>
            <a:gdLst/>
            <a:ahLst/>
            <a:cxnLst>
              <a:cxn ang="0">
                <a:pos x="6" y="126"/>
              </a:cxn>
              <a:cxn ang="0">
                <a:pos x="6" y="76"/>
              </a:cxn>
              <a:cxn ang="0">
                <a:pos x="1" y="41"/>
              </a:cxn>
              <a:cxn ang="0">
                <a:pos x="0" y="27"/>
              </a:cxn>
              <a:cxn ang="0">
                <a:pos x="4" y="21"/>
              </a:cxn>
              <a:cxn ang="0">
                <a:pos x="1" y="7"/>
              </a:cxn>
              <a:cxn ang="0">
                <a:pos x="4" y="0"/>
              </a:cxn>
              <a:cxn ang="0">
                <a:pos x="9" y="2"/>
              </a:cxn>
              <a:cxn ang="0">
                <a:pos x="23" y="2"/>
              </a:cxn>
              <a:cxn ang="0">
                <a:pos x="41" y="7"/>
              </a:cxn>
              <a:cxn ang="0">
                <a:pos x="50" y="10"/>
              </a:cxn>
              <a:cxn ang="0">
                <a:pos x="62" y="13"/>
              </a:cxn>
              <a:cxn ang="0">
                <a:pos x="73" y="11"/>
              </a:cxn>
              <a:cxn ang="0">
                <a:pos x="85" y="4"/>
              </a:cxn>
              <a:cxn ang="0">
                <a:pos x="91" y="4"/>
              </a:cxn>
              <a:cxn ang="0">
                <a:pos x="89" y="5"/>
              </a:cxn>
              <a:cxn ang="0">
                <a:pos x="97" y="2"/>
              </a:cxn>
              <a:cxn ang="0">
                <a:pos x="106" y="4"/>
              </a:cxn>
              <a:cxn ang="0">
                <a:pos x="110" y="4"/>
              </a:cxn>
              <a:cxn ang="0">
                <a:pos x="114" y="7"/>
              </a:cxn>
              <a:cxn ang="0">
                <a:pos x="118" y="11"/>
              </a:cxn>
              <a:cxn ang="0">
                <a:pos x="125" y="10"/>
              </a:cxn>
              <a:cxn ang="0">
                <a:pos x="134" y="10"/>
              </a:cxn>
              <a:cxn ang="0">
                <a:pos x="143" y="8"/>
              </a:cxn>
              <a:cxn ang="0">
                <a:pos x="148" y="27"/>
              </a:cxn>
              <a:cxn ang="0">
                <a:pos x="150" y="52"/>
              </a:cxn>
              <a:cxn ang="0">
                <a:pos x="147" y="65"/>
              </a:cxn>
              <a:cxn ang="0">
                <a:pos x="143" y="68"/>
              </a:cxn>
              <a:cxn ang="0">
                <a:pos x="136" y="62"/>
              </a:cxn>
              <a:cxn ang="0">
                <a:pos x="129" y="49"/>
              </a:cxn>
              <a:cxn ang="0">
                <a:pos x="123" y="41"/>
              </a:cxn>
              <a:cxn ang="0">
                <a:pos x="119" y="30"/>
              </a:cxn>
              <a:cxn ang="0">
                <a:pos x="118" y="32"/>
              </a:cxn>
              <a:cxn ang="0">
                <a:pos x="117" y="38"/>
              </a:cxn>
              <a:cxn ang="0">
                <a:pos x="121" y="43"/>
              </a:cxn>
              <a:cxn ang="0">
                <a:pos x="125" y="57"/>
              </a:cxn>
              <a:cxn ang="0">
                <a:pos x="133" y="65"/>
              </a:cxn>
              <a:cxn ang="0">
                <a:pos x="138" y="79"/>
              </a:cxn>
              <a:cxn ang="0">
                <a:pos x="140" y="91"/>
              </a:cxn>
              <a:cxn ang="0">
                <a:pos x="148" y="107"/>
              </a:cxn>
              <a:cxn ang="0">
                <a:pos x="155" y="120"/>
              </a:cxn>
              <a:cxn ang="0">
                <a:pos x="164" y="135"/>
              </a:cxn>
              <a:cxn ang="0">
                <a:pos x="167" y="139"/>
              </a:cxn>
              <a:cxn ang="0">
                <a:pos x="163" y="148"/>
              </a:cxn>
              <a:cxn ang="0">
                <a:pos x="155" y="156"/>
              </a:cxn>
              <a:cxn ang="0">
                <a:pos x="142" y="175"/>
              </a:cxn>
              <a:cxn ang="0">
                <a:pos x="102" y="172"/>
              </a:cxn>
              <a:cxn ang="0">
                <a:pos x="102" y="167"/>
              </a:cxn>
              <a:cxn ang="0">
                <a:pos x="78" y="172"/>
              </a:cxn>
              <a:cxn ang="0">
                <a:pos x="34" y="172"/>
              </a:cxn>
              <a:cxn ang="0">
                <a:pos x="6" y="159"/>
              </a:cxn>
            </a:cxnLst>
            <a:rect l="0" t="0" r="r" b="b"/>
            <a:pathLst>
              <a:path w="167" h="176">
                <a:moveTo>
                  <a:pt x="6" y="159"/>
                </a:moveTo>
                <a:lnTo>
                  <a:pt x="6" y="143"/>
                </a:lnTo>
                <a:lnTo>
                  <a:pt x="6" y="126"/>
                </a:lnTo>
                <a:lnTo>
                  <a:pt x="6" y="109"/>
                </a:lnTo>
                <a:lnTo>
                  <a:pt x="6" y="91"/>
                </a:lnTo>
                <a:lnTo>
                  <a:pt x="6" y="76"/>
                </a:lnTo>
                <a:lnTo>
                  <a:pt x="6" y="59"/>
                </a:lnTo>
                <a:lnTo>
                  <a:pt x="6" y="46"/>
                </a:lnTo>
                <a:lnTo>
                  <a:pt x="1" y="41"/>
                </a:lnTo>
                <a:lnTo>
                  <a:pt x="2" y="37"/>
                </a:lnTo>
                <a:lnTo>
                  <a:pt x="0" y="33"/>
                </a:lnTo>
                <a:lnTo>
                  <a:pt x="0" y="27"/>
                </a:lnTo>
                <a:lnTo>
                  <a:pt x="1" y="26"/>
                </a:lnTo>
                <a:lnTo>
                  <a:pt x="2" y="24"/>
                </a:lnTo>
                <a:lnTo>
                  <a:pt x="4" y="21"/>
                </a:lnTo>
                <a:lnTo>
                  <a:pt x="2" y="16"/>
                </a:lnTo>
                <a:lnTo>
                  <a:pt x="2" y="8"/>
                </a:lnTo>
                <a:lnTo>
                  <a:pt x="1" y="7"/>
                </a:lnTo>
                <a:lnTo>
                  <a:pt x="1" y="5"/>
                </a:lnTo>
                <a:lnTo>
                  <a:pt x="4" y="2"/>
                </a:lnTo>
                <a:lnTo>
                  <a:pt x="4" y="0"/>
                </a:lnTo>
                <a:lnTo>
                  <a:pt x="6" y="0"/>
                </a:lnTo>
                <a:lnTo>
                  <a:pt x="8" y="2"/>
                </a:lnTo>
                <a:lnTo>
                  <a:pt x="9" y="2"/>
                </a:lnTo>
                <a:lnTo>
                  <a:pt x="14" y="0"/>
                </a:lnTo>
                <a:lnTo>
                  <a:pt x="18" y="0"/>
                </a:lnTo>
                <a:lnTo>
                  <a:pt x="23" y="2"/>
                </a:lnTo>
                <a:lnTo>
                  <a:pt x="33" y="4"/>
                </a:lnTo>
                <a:lnTo>
                  <a:pt x="38" y="5"/>
                </a:lnTo>
                <a:lnTo>
                  <a:pt x="41" y="7"/>
                </a:lnTo>
                <a:lnTo>
                  <a:pt x="46" y="8"/>
                </a:lnTo>
                <a:lnTo>
                  <a:pt x="47" y="8"/>
                </a:lnTo>
                <a:lnTo>
                  <a:pt x="50" y="10"/>
                </a:lnTo>
                <a:lnTo>
                  <a:pt x="54" y="10"/>
                </a:lnTo>
                <a:lnTo>
                  <a:pt x="58" y="11"/>
                </a:lnTo>
                <a:lnTo>
                  <a:pt x="62" y="13"/>
                </a:lnTo>
                <a:lnTo>
                  <a:pt x="65" y="15"/>
                </a:lnTo>
                <a:lnTo>
                  <a:pt x="69" y="13"/>
                </a:lnTo>
                <a:lnTo>
                  <a:pt x="73" y="11"/>
                </a:lnTo>
                <a:lnTo>
                  <a:pt x="77" y="8"/>
                </a:lnTo>
                <a:lnTo>
                  <a:pt x="82" y="5"/>
                </a:lnTo>
                <a:lnTo>
                  <a:pt x="85" y="4"/>
                </a:lnTo>
                <a:lnTo>
                  <a:pt x="89" y="4"/>
                </a:lnTo>
                <a:lnTo>
                  <a:pt x="91" y="2"/>
                </a:lnTo>
                <a:lnTo>
                  <a:pt x="91" y="4"/>
                </a:lnTo>
                <a:lnTo>
                  <a:pt x="89" y="4"/>
                </a:lnTo>
                <a:lnTo>
                  <a:pt x="87" y="5"/>
                </a:lnTo>
                <a:lnTo>
                  <a:pt x="89" y="5"/>
                </a:lnTo>
                <a:lnTo>
                  <a:pt x="94" y="5"/>
                </a:lnTo>
                <a:lnTo>
                  <a:pt x="95" y="4"/>
                </a:lnTo>
                <a:lnTo>
                  <a:pt x="97" y="2"/>
                </a:lnTo>
                <a:lnTo>
                  <a:pt x="98" y="2"/>
                </a:lnTo>
                <a:lnTo>
                  <a:pt x="99" y="2"/>
                </a:lnTo>
                <a:lnTo>
                  <a:pt x="106" y="4"/>
                </a:lnTo>
                <a:lnTo>
                  <a:pt x="109" y="2"/>
                </a:lnTo>
                <a:lnTo>
                  <a:pt x="110" y="2"/>
                </a:lnTo>
                <a:lnTo>
                  <a:pt x="110" y="4"/>
                </a:lnTo>
                <a:lnTo>
                  <a:pt x="111" y="4"/>
                </a:lnTo>
                <a:lnTo>
                  <a:pt x="113" y="5"/>
                </a:lnTo>
                <a:lnTo>
                  <a:pt x="114" y="7"/>
                </a:lnTo>
                <a:lnTo>
                  <a:pt x="117" y="8"/>
                </a:lnTo>
                <a:lnTo>
                  <a:pt x="118" y="10"/>
                </a:lnTo>
                <a:lnTo>
                  <a:pt x="118" y="11"/>
                </a:lnTo>
                <a:lnTo>
                  <a:pt x="122" y="11"/>
                </a:lnTo>
                <a:lnTo>
                  <a:pt x="125" y="11"/>
                </a:lnTo>
                <a:lnTo>
                  <a:pt x="125" y="10"/>
                </a:lnTo>
                <a:lnTo>
                  <a:pt x="126" y="10"/>
                </a:lnTo>
                <a:lnTo>
                  <a:pt x="127" y="11"/>
                </a:lnTo>
                <a:lnTo>
                  <a:pt x="134" y="10"/>
                </a:lnTo>
                <a:lnTo>
                  <a:pt x="139" y="8"/>
                </a:lnTo>
                <a:lnTo>
                  <a:pt x="142" y="5"/>
                </a:lnTo>
                <a:lnTo>
                  <a:pt x="143" y="8"/>
                </a:lnTo>
                <a:lnTo>
                  <a:pt x="143" y="10"/>
                </a:lnTo>
                <a:lnTo>
                  <a:pt x="143" y="11"/>
                </a:lnTo>
                <a:lnTo>
                  <a:pt x="148" y="27"/>
                </a:lnTo>
                <a:lnTo>
                  <a:pt x="154" y="40"/>
                </a:lnTo>
                <a:lnTo>
                  <a:pt x="151" y="46"/>
                </a:lnTo>
                <a:lnTo>
                  <a:pt x="150" y="52"/>
                </a:lnTo>
                <a:lnTo>
                  <a:pt x="147" y="60"/>
                </a:lnTo>
                <a:lnTo>
                  <a:pt x="147" y="62"/>
                </a:lnTo>
                <a:lnTo>
                  <a:pt x="147" y="65"/>
                </a:lnTo>
                <a:lnTo>
                  <a:pt x="147" y="66"/>
                </a:lnTo>
                <a:lnTo>
                  <a:pt x="146" y="68"/>
                </a:lnTo>
                <a:lnTo>
                  <a:pt x="143" y="68"/>
                </a:lnTo>
                <a:lnTo>
                  <a:pt x="142" y="68"/>
                </a:lnTo>
                <a:lnTo>
                  <a:pt x="139" y="66"/>
                </a:lnTo>
                <a:lnTo>
                  <a:pt x="136" y="62"/>
                </a:lnTo>
                <a:lnTo>
                  <a:pt x="133" y="59"/>
                </a:lnTo>
                <a:lnTo>
                  <a:pt x="130" y="54"/>
                </a:lnTo>
                <a:lnTo>
                  <a:pt x="129" y="49"/>
                </a:lnTo>
                <a:lnTo>
                  <a:pt x="127" y="46"/>
                </a:lnTo>
                <a:lnTo>
                  <a:pt x="125" y="43"/>
                </a:lnTo>
                <a:lnTo>
                  <a:pt x="123" y="41"/>
                </a:lnTo>
                <a:lnTo>
                  <a:pt x="122" y="38"/>
                </a:lnTo>
                <a:lnTo>
                  <a:pt x="121" y="32"/>
                </a:lnTo>
                <a:lnTo>
                  <a:pt x="119" y="30"/>
                </a:lnTo>
                <a:lnTo>
                  <a:pt x="119" y="29"/>
                </a:lnTo>
                <a:lnTo>
                  <a:pt x="118" y="30"/>
                </a:lnTo>
                <a:lnTo>
                  <a:pt x="118" y="32"/>
                </a:lnTo>
                <a:lnTo>
                  <a:pt x="117" y="33"/>
                </a:lnTo>
                <a:lnTo>
                  <a:pt x="117" y="37"/>
                </a:lnTo>
                <a:lnTo>
                  <a:pt x="117" y="38"/>
                </a:lnTo>
                <a:lnTo>
                  <a:pt x="119" y="40"/>
                </a:lnTo>
                <a:lnTo>
                  <a:pt x="121" y="41"/>
                </a:lnTo>
                <a:lnTo>
                  <a:pt x="121" y="43"/>
                </a:lnTo>
                <a:lnTo>
                  <a:pt x="121" y="46"/>
                </a:lnTo>
                <a:lnTo>
                  <a:pt x="121" y="49"/>
                </a:lnTo>
                <a:lnTo>
                  <a:pt x="125" y="57"/>
                </a:lnTo>
                <a:lnTo>
                  <a:pt x="130" y="63"/>
                </a:lnTo>
                <a:lnTo>
                  <a:pt x="131" y="65"/>
                </a:lnTo>
                <a:lnTo>
                  <a:pt x="133" y="65"/>
                </a:lnTo>
                <a:lnTo>
                  <a:pt x="134" y="73"/>
                </a:lnTo>
                <a:lnTo>
                  <a:pt x="135" y="74"/>
                </a:lnTo>
                <a:lnTo>
                  <a:pt x="138" y="79"/>
                </a:lnTo>
                <a:lnTo>
                  <a:pt x="139" y="87"/>
                </a:lnTo>
                <a:lnTo>
                  <a:pt x="140" y="90"/>
                </a:lnTo>
                <a:lnTo>
                  <a:pt x="140" y="91"/>
                </a:lnTo>
                <a:lnTo>
                  <a:pt x="144" y="98"/>
                </a:lnTo>
                <a:lnTo>
                  <a:pt x="146" y="102"/>
                </a:lnTo>
                <a:lnTo>
                  <a:pt x="148" y="107"/>
                </a:lnTo>
                <a:lnTo>
                  <a:pt x="152" y="115"/>
                </a:lnTo>
                <a:lnTo>
                  <a:pt x="154" y="118"/>
                </a:lnTo>
                <a:lnTo>
                  <a:pt x="155" y="120"/>
                </a:lnTo>
                <a:lnTo>
                  <a:pt x="158" y="128"/>
                </a:lnTo>
                <a:lnTo>
                  <a:pt x="160" y="131"/>
                </a:lnTo>
                <a:lnTo>
                  <a:pt x="164" y="135"/>
                </a:lnTo>
                <a:lnTo>
                  <a:pt x="166" y="135"/>
                </a:lnTo>
                <a:lnTo>
                  <a:pt x="167" y="137"/>
                </a:lnTo>
                <a:lnTo>
                  <a:pt x="167" y="139"/>
                </a:lnTo>
                <a:lnTo>
                  <a:pt x="163" y="137"/>
                </a:lnTo>
                <a:lnTo>
                  <a:pt x="163" y="140"/>
                </a:lnTo>
                <a:lnTo>
                  <a:pt x="163" y="148"/>
                </a:lnTo>
                <a:lnTo>
                  <a:pt x="164" y="151"/>
                </a:lnTo>
                <a:lnTo>
                  <a:pt x="159" y="157"/>
                </a:lnTo>
                <a:lnTo>
                  <a:pt x="155" y="156"/>
                </a:lnTo>
                <a:lnTo>
                  <a:pt x="151" y="165"/>
                </a:lnTo>
                <a:lnTo>
                  <a:pt x="143" y="167"/>
                </a:lnTo>
                <a:lnTo>
                  <a:pt x="142" y="175"/>
                </a:lnTo>
                <a:lnTo>
                  <a:pt x="134" y="176"/>
                </a:lnTo>
                <a:lnTo>
                  <a:pt x="129" y="172"/>
                </a:lnTo>
                <a:lnTo>
                  <a:pt x="102" y="172"/>
                </a:lnTo>
                <a:lnTo>
                  <a:pt x="103" y="168"/>
                </a:lnTo>
                <a:lnTo>
                  <a:pt x="102" y="168"/>
                </a:lnTo>
                <a:lnTo>
                  <a:pt x="102" y="167"/>
                </a:lnTo>
                <a:lnTo>
                  <a:pt x="99" y="172"/>
                </a:lnTo>
                <a:lnTo>
                  <a:pt x="91" y="172"/>
                </a:lnTo>
                <a:lnTo>
                  <a:pt x="78" y="172"/>
                </a:lnTo>
                <a:lnTo>
                  <a:pt x="63" y="172"/>
                </a:lnTo>
                <a:lnTo>
                  <a:pt x="49" y="172"/>
                </a:lnTo>
                <a:lnTo>
                  <a:pt x="34" y="172"/>
                </a:lnTo>
                <a:lnTo>
                  <a:pt x="21" y="172"/>
                </a:lnTo>
                <a:lnTo>
                  <a:pt x="6" y="172"/>
                </a:lnTo>
                <a:lnTo>
                  <a:pt x="6" y="159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30" name="Freeform 1357"/>
          <p:cNvSpPr>
            <a:spLocks/>
          </p:cNvSpPr>
          <p:nvPr/>
        </p:nvSpPr>
        <p:spPr bwMode="auto">
          <a:xfrm>
            <a:off x="6381845" y="3227503"/>
            <a:ext cx="317657" cy="350059"/>
          </a:xfrm>
          <a:custGeom>
            <a:avLst/>
            <a:gdLst/>
            <a:ahLst/>
            <a:cxnLst>
              <a:cxn ang="0">
                <a:pos x="6" y="126"/>
              </a:cxn>
              <a:cxn ang="0">
                <a:pos x="6" y="76"/>
              </a:cxn>
              <a:cxn ang="0">
                <a:pos x="1" y="41"/>
              </a:cxn>
              <a:cxn ang="0">
                <a:pos x="0" y="27"/>
              </a:cxn>
              <a:cxn ang="0">
                <a:pos x="4" y="21"/>
              </a:cxn>
              <a:cxn ang="0">
                <a:pos x="1" y="7"/>
              </a:cxn>
              <a:cxn ang="0">
                <a:pos x="4" y="0"/>
              </a:cxn>
              <a:cxn ang="0">
                <a:pos x="9" y="2"/>
              </a:cxn>
              <a:cxn ang="0">
                <a:pos x="23" y="2"/>
              </a:cxn>
              <a:cxn ang="0">
                <a:pos x="41" y="7"/>
              </a:cxn>
              <a:cxn ang="0">
                <a:pos x="50" y="10"/>
              </a:cxn>
              <a:cxn ang="0">
                <a:pos x="62" y="13"/>
              </a:cxn>
              <a:cxn ang="0">
                <a:pos x="73" y="11"/>
              </a:cxn>
              <a:cxn ang="0">
                <a:pos x="85" y="4"/>
              </a:cxn>
              <a:cxn ang="0">
                <a:pos x="91" y="4"/>
              </a:cxn>
              <a:cxn ang="0">
                <a:pos x="89" y="5"/>
              </a:cxn>
              <a:cxn ang="0">
                <a:pos x="97" y="2"/>
              </a:cxn>
              <a:cxn ang="0">
                <a:pos x="106" y="4"/>
              </a:cxn>
              <a:cxn ang="0">
                <a:pos x="110" y="4"/>
              </a:cxn>
              <a:cxn ang="0">
                <a:pos x="114" y="7"/>
              </a:cxn>
              <a:cxn ang="0">
                <a:pos x="118" y="11"/>
              </a:cxn>
              <a:cxn ang="0">
                <a:pos x="125" y="10"/>
              </a:cxn>
              <a:cxn ang="0">
                <a:pos x="134" y="10"/>
              </a:cxn>
              <a:cxn ang="0">
                <a:pos x="143" y="8"/>
              </a:cxn>
              <a:cxn ang="0">
                <a:pos x="148" y="27"/>
              </a:cxn>
              <a:cxn ang="0">
                <a:pos x="150" y="52"/>
              </a:cxn>
              <a:cxn ang="0">
                <a:pos x="147" y="65"/>
              </a:cxn>
              <a:cxn ang="0">
                <a:pos x="143" y="68"/>
              </a:cxn>
              <a:cxn ang="0">
                <a:pos x="136" y="62"/>
              </a:cxn>
              <a:cxn ang="0">
                <a:pos x="129" y="49"/>
              </a:cxn>
              <a:cxn ang="0">
                <a:pos x="123" y="41"/>
              </a:cxn>
              <a:cxn ang="0">
                <a:pos x="119" y="30"/>
              </a:cxn>
              <a:cxn ang="0">
                <a:pos x="118" y="32"/>
              </a:cxn>
              <a:cxn ang="0">
                <a:pos x="117" y="38"/>
              </a:cxn>
              <a:cxn ang="0">
                <a:pos x="121" y="43"/>
              </a:cxn>
              <a:cxn ang="0">
                <a:pos x="125" y="57"/>
              </a:cxn>
              <a:cxn ang="0">
                <a:pos x="133" y="65"/>
              </a:cxn>
              <a:cxn ang="0">
                <a:pos x="138" y="79"/>
              </a:cxn>
              <a:cxn ang="0">
                <a:pos x="140" y="91"/>
              </a:cxn>
              <a:cxn ang="0">
                <a:pos x="148" y="107"/>
              </a:cxn>
              <a:cxn ang="0">
                <a:pos x="155" y="120"/>
              </a:cxn>
              <a:cxn ang="0">
                <a:pos x="164" y="135"/>
              </a:cxn>
              <a:cxn ang="0">
                <a:pos x="167" y="139"/>
              </a:cxn>
              <a:cxn ang="0">
                <a:pos x="163" y="148"/>
              </a:cxn>
              <a:cxn ang="0">
                <a:pos x="155" y="156"/>
              </a:cxn>
              <a:cxn ang="0">
                <a:pos x="142" y="175"/>
              </a:cxn>
              <a:cxn ang="0">
                <a:pos x="102" y="172"/>
              </a:cxn>
              <a:cxn ang="0">
                <a:pos x="102" y="167"/>
              </a:cxn>
              <a:cxn ang="0">
                <a:pos x="78" y="172"/>
              </a:cxn>
              <a:cxn ang="0">
                <a:pos x="34" y="172"/>
              </a:cxn>
              <a:cxn ang="0">
                <a:pos x="6" y="159"/>
              </a:cxn>
            </a:cxnLst>
            <a:rect l="0" t="0" r="r" b="b"/>
            <a:pathLst>
              <a:path w="167" h="176">
                <a:moveTo>
                  <a:pt x="6" y="159"/>
                </a:moveTo>
                <a:lnTo>
                  <a:pt x="6" y="143"/>
                </a:lnTo>
                <a:lnTo>
                  <a:pt x="6" y="126"/>
                </a:lnTo>
                <a:lnTo>
                  <a:pt x="6" y="109"/>
                </a:lnTo>
                <a:lnTo>
                  <a:pt x="6" y="91"/>
                </a:lnTo>
                <a:lnTo>
                  <a:pt x="6" y="76"/>
                </a:lnTo>
                <a:lnTo>
                  <a:pt x="6" y="59"/>
                </a:lnTo>
                <a:lnTo>
                  <a:pt x="6" y="46"/>
                </a:lnTo>
                <a:lnTo>
                  <a:pt x="1" y="41"/>
                </a:lnTo>
                <a:lnTo>
                  <a:pt x="2" y="37"/>
                </a:lnTo>
                <a:lnTo>
                  <a:pt x="0" y="33"/>
                </a:lnTo>
                <a:lnTo>
                  <a:pt x="0" y="27"/>
                </a:lnTo>
                <a:lnTo>
                  <a:pt x="1" y="26"/>
                </a:lnTo>
                <a:lnTo>
                  <a:pt x="2" y="24"/>
                </a:lnTo>
                <a:lnTo>
                  <a:pt x="4" y="21"/>
                </a:lnTo>
                <a:lnTo>
                  <a:pt x="2" y="16"/>
                </a:lnTo>
                <a:lnTo>
                  <a:pt x="2" y="8"/>
                </a:lnTo>
                <a:lnTo>
                  <a:pt x="1" y="7"/>
                </a:lnTo>
                <a:lnTo>
                  <a:pt x="1" y="5"/>
                </a:lnTo>
                <a:lnTo>
                  <a:pt x="4" y="2"/>
                </a:lnTo>
                <a:lnTo>
                  <a:pt x="4" y="0"/>
                </a:lnTo>
                <a:lnTo>
                  <a:pt x="6" y="0"/>
                </a:lnTo>
                <a:lnTo>
                  <a:pt x="8" y="2"/>
                </a:lnTo>
                <a:lnTo>
                  <a:pt x="9" y="2"/>
                </a:lnTo>
                <a:lnTo>
                  <a:pt x="14" y="0"/>
                </a:lnTo>
                <a:lnTo>
                  <a:pt x="18" y="0"/>
                </a:lnTo>
                <a:lnTo>
                  <a:pt x="23" y="2"/>
                </a:lnTo>
                <a:lnTo>
                  <a:pt x="33" y="4"/>
                </a:lnTo>
                <a:lnTo>
                  <a:pt x="38" y="5"/>
                </a:lnTo>
                <a:lnTo>
                  <a:pt x="41" y="7"/>
                </a:lnTo>
                <a:lnTo>
                  <a:pt x="46" y="8"/>
                </a:lnTo>
                <a:lnTo>
                  <a:pt x="47" y="8"/>
                </a:lnTo>
                <a:lnTo>
                  <a:pt x="50" y="10"/>
                </a:lnTo>
                <a:lnTo>
                  <a:pt x="54" y="10"/>
                </a:lnTo>
                <a:lnTo>
                  <a:pt x="58" y="11"/>
                </a:lnTo>
                <a:lnTo>
                  <a:pt x="62" y="13"/>
                </a:lnTo>
                <a:lnTo>
                  <a:pt x="65" y="15"/>
                </a:lnTo>
                <a:lnTo>
                  <a:pt x="69" y="13"/>
                </a:lnTo>
                <a:lnTo>
                  <a:pt x="73" y="11"/>
                </a:lnTo>
                <a:lnTo>
                  <a:pt x="77" y="8"/>
                </a:lnTo>
                <a:lnTo>
                  <a:pt x="82" y="5"/>
                </a:lnTo>
                <a:lnTo>
                  <a:pt x="85" y="4"/>
                </a:lnTo>
                <a:lnTo>
                  <a:pt x="89" y="4"/>
                </a:lnTo>
                <a:lnTo>
                  <a:pt x="91" y="2"/>
                </a:lnTo>
                <a:lnTo>
                  <a:pt x="91" y="4"/>
                </a:lnTo>
                <a:lnTo>
                  <a:pt x="89" y="4"/>
                </a:lnTo>
                <a:lnTo>
                  <a:pt x="87" y="5"/>
                </a:lnTo>
                <a:lnTo>
                  <a:pt x="89" y="5"/>
                </a:lnTo>
                <a:lnTo>
                  <a:pt x="94" y="5"/>
                </a:lnTo>
                <a:lnTo>
                  <a:pt x="95" y="4"/>
                </a:lnTo>
                <a:lnTo>
                  <a:pt x="97" y="2"/>
                </a:lnTo>
                <a:lnTo>
                  <a:pt x="98" y="2"/>
                </a:lnTo>
                <a:lnTo>
                  <a:pt x="99" y="2"/>
                </a:lnTo>
                <a:lnTo>
                  <a:pt x="106" y="4"/>
                </a:lnTo>
                <a:lnTo>
                  <a:pt x="109" y="2"/>
                </a:lnTo>
                <a:lnTo>
                  <a:pt x="110" y="2"/>
                </a:lnTo>
                <a:lnTo>
                  <a:pt x="110" y="4"/>
                </a:lnTo>
                <a:lnTo>
                  <a:pt x="111" y="4"/>
                </a:lnTo>
                <a:lnTo>
                  <a:pt x="113" y="5"/>
                </a:lnTo>
                <a:lnTo>
                  <a:pt x="114" y="7"/>
                </a:lnTo>
                <a:lnTo>
                  <a:pt x="117" y="8"/>
                </a:lnTo>
                <a:lnTo>
                  <a:pt x="118" y="10"/>
                </a:lnTo>
                <a:lnTo>
                  <a:pt x="118" y="11"/>
                </a:lnTo>
                <a:lnTo>
                  <a:pt x="122" y="11"/>
                </a:lnTo>
                <a:lnTo>
                  <a:pt x="125" y="11"/>
                </a:lnTo>
                <a:lnTo>
                  <a:pt x="125" y="10"/>
                </a:lnTo>
                <a:lnTo>
                  <a:pt x="126" y="10"/>
                </a:lnTo>
                <a:lnTo>
                  <a:pt x="127" y="11"/>
                </a:lnTo>
                <a:lnTo>
                  <a:pt x="134" y="10"/>
                </a:lnTo>
                <a:lnTo>
                  <a:pt x="139" y="8"/>
                </a:lnTo>
                <a:lnTo>
                  <a:pt x="142" y="5"/>
                </a:lnTo>
                <a:lnTo>
                  <a:pt x="143" y="8"/>
                </a:lnTo>
                <a:lnTo>
                  <a:pt x="143" y="10"/>
                </a:lnTo>
                <a:lnTo>
                  <a:pt x="143" y="11"/>
                </a:lnTo>
                <a:lnTo>
                  <a:pt x="148" y="27"/>
                </a:lnTo>
                <a:lnTo>
                  <a:pt x="154" y="40"/>
                </a:lnTo>
                <a:lnTo>
                  <a:pt x="151" y="46"/>
                </a:lnTo>
                <a:lnTo>
                  <a:pt x="150" y="52"/>
                </a:lnTo>
                <a:lnTo>
                  <a:pt x="147" y="60"/>
                </a:lnTo>
                <a:lnTo>
                  <a:pt x="147" y="62"/>
                </a:lnTo>
                <a:lnTo>
                  <a:pt x="147" y="65"/>
                </a:lnTo>
                <a:lnTo>
                  <a:pt x="147" y="66"/>
                </a:lnTo>
                <a:lnTo>
                  <a:pt x="146" y="68"/>
                </a:lnTo>
                <a:lnTo>
                  <a:pt x="143" y="68"/>
                </a:lnTo>
                <a:lnTo>
                  <a:pt x="142" y="68"/>
                </a:lnTo>
                <a:lnTo>
                  <a:pt x="139" y="66"/>
                </a:lnTo>
                <a:lnTo>
                  <a:pt x="136" y="62"/>
                </a:lnTo>
                <a:lnTo>
                  <a:pt x="133" y="59"/>
                </a:lnTo>
                <a:lnTo>
                  <a:pt x="130" y="54"/>
                </a:lnTo>
                <a:lnTo>
                  <a:pt x="129" y="49"/>
                </a:lnTo>
                <a:lnTo>
                  <a:pt x="127" y="46"/>
                </a:lnTo>
                <a:lnTo>
                  <a:pt x="125" y="43"/>
                </a:lnTo>
                <a:lnTo>
                  <a:pt x="123" y="41"/>
                </a:lnTo>
                <a:lnTo>
                  <a:pt x="122" y="38"/>
                </a:lnTo>
                <a:lnTo>
                  <a:pt x="121" y="32"/>
                </a:lnTo>
                <a:lnTo>
                  <a:pt x="119" y="30"/>
                </a:lnTo>
                <a:lnTo>
                  <a:pt x="119" y="29"/>
                </a:lnTo>
                <a:lnTo>
                  <a:pt x="118" y="30"/>
                </a:lnTo>
                <a:lnTo>
                  <a:pt x="118" y="32"/>
                </a:lnTo>
                <a:lnTo>
                  <a:pt x="117" y="33"/>
                </a:lnTo>
                <a:lnTo>
                  <a:pt x="117" y="37"/>
                </a:lnTo>
                <a:lnTo>
                  <a:pt x="117" y="38"/>
                </a:lnTo>
                <a:lnTo>
                  <a:pt x="119" y="40"/>
                </a:lnTo>
                <a:lnTo>
                  <a:pt x="121" y="41"/>
                </a:lnTo>
                <a:lnTo>
                  <a:pt x="121" y="43"/>
                </a:lnTo>
                <a:lnTo>
                  <a:pt x="121" y="46"/>
                </a:lnTo>
                <a:lnTo>
                  <a:pt x="121" y="49"/>
                </a:lnTo>
                <a:lnTo>
                  <a:pt x="125" y="57"/>
                </a:lnTo>
                <a:lnTo>
                  <a:pt x="130" y="63"/>
                </a:lnTo>
                <a:lnTo>
                  <a:pt x="131" y="65"/>
                </a:lnTo>
                <a:lnTo>
                  <a:pt x="133" y="65"/>
                </a:lnTo>
                <a:lnTo>
                  <a:pt x="134" y="73"/>
                </a:lnTo>
                <a:lnTo>
                  <a:pt x="135" y="74"/>
                </a:lnTo>
                <a:lnTo>
                  <a:pt x="138" y="79"/>
                </a:lnTo>
                <a:lnTo>
                  <a:pt x="139" y="87"/>
                </a:lnTo>
                <a:lnTo>
                  <a:pt x="140" y="90"/>
                </a:lnTo>
                <a:lnTo>
                  <a:pt x="140" y="91"/>
                </a:lnTo>
                <a:lnTo>
                  <a:pt x="144" y="98"/>
                </a:lnTo>
                <a:lnTo>
                  <a:pt x="146" y="102"/>
                </a:lnTo>
                <a:lnTo>
                  <a:pt x="148" y="107"/>
                </a:lnTo>
                <a:lnTo>
                  <a:pt x="152" y="115"/>
                </a:lnTo>
                <a:lnTo>
                  <a:pt x="154" y="118"/>
                </a:lnTo>
                <a:lnTo>
                  <a:pt x="155" y="120"/>
                </a:lnTo>
                <a:lnTo>
                  <a:pt x="158" y="128"/>
                </a:lnTo>
                <a:lnTo>
                  <a:pt x="160" y="131"/>
                </a:lnTo>
                <a:lnTo>
                  <a:pt x="164" y="135"/>
                </a:lnTo>
                <a:lnTo>
                  <a:pt x="166" y="135"/>
                </a:lnTo>
                <a:lnTo>
                  <a:pt x="167" y="137"/>
                </a:lnTo>
                <a:lnTo>
                  <a:pt x="167" y="139"/>
                </a:lnTo>
                <a:lnTo>
                  <a:pt x="163" y="137"/>
                </a:lnTo>
                <a:lnTo>
                  <a:pt x="163" y="140"/>
                </a:lnTo>
                <a:lnTo>
                  <a:pt x="163" y="148"/>
                </a:lnTo>
                <a:lnTo>
                  <a:pt x="164" y="151"/>
                </a:lnTo>
                <a:lnTo>
                  <a:pt x="159" y="157"/>
                </a:lnTo>
                <a:lnTo>
                  <a:pt x="155" y="156"/>
                </a:lnTo>
                <a:lnTo>
                  <a:pt x="151" y="165"/>
                </a:lnTo>
                <a:lnTo>
                  <a:pt x="143" y="167"/>
                </a:lnTo>
                <a:lnTo>
                  <a:pt x="142" y="175"/>
                </a:lnTo>
                <a:lnTo>
                  <a:pt x="134" y="176"/>
                </a:lnTo>
                <a:lnTo>
                  <a:pt x="129" y="172"/>
                </a:lnTo>
                <a:lnTo>
                  <a:pt x="102" y="172"/>
                </a:lnTo>
                <a:lnTo>
                  <a:pt x="103" y="168"/>
                </a:lnTo>
                <a:lnTo>
                  <a:pt x="102" y="168"/>
                </a:lnTo>
                <a:lnTo>
                  <a:pt x="102" y="167"/>
                </a:lnTo>
                <a:lnTo>
                  <a:pt x="99" y="172"/>
                </a:lnTo>
                <a:lnTo>
                  <a:pt x="91" y="172"/>
                </a:lnTo>
                <a:lnTo>
                  <a:pt x="78" y="172"/>
                </a:lnTo>
                <a:lnTo>
                  <a:pt x="63" y="172"/>
                </a:lnTo>
                <a:lnTo>
                  <a:pt x="49" y="172"/>
                </a:lnTo>
                <a:lnTo>
                  <a:pt x="34" y="172"/>
                </a:lnTo>
                <a:lnTo>
                  <a:pt x="21" y="172"/>
                </a:lnTo>
                <a:lnTo>
                  <a:pt x="6" y="172"/>
                </a:lnTo>
                <a:lnTo>
                  <a:pt x="6" y="159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31" name="Freeform 1358"/>
          <p:cNvSpPr>
            <a:spLocks/>
          </p:cNvSpPr>
          <p:nvPr/>
        </p:nvSpPr>
        <p:spPr bwMode="auto">
          <a:xfrm>
            <a:off x="5428875" y="3036366"/>
            <a:ext cx="580747" cy="637841"/>
          </a:xfrm>
          <a:custGeom>
            <a:avLst/>
            <a:gdLst/>
            <a:ahLst/>
            <a:cxnLst>
              <a:cxn ang="0">
                <a:pos x="0" y="166"/>
              </a:cxn>
              <a:cxn ang="0">
                <a:pos x="17" y="135"/>
              </a:cxn>
              <a:cxn ang="0">
                <a:pos x="25" y="132"/>
              </a:cxn>
              <a:cxn ang="0">
                <a:pos x="36" y="129"/>
              </a:cxn>
              <a:cxn ang="0">
                <a:pos x="51" y="124"/>
              </a:cxn>
              <a:cxn ang="0">
                <a:pos x="56" y="115"/>
              </a:cxn>
              <a:cxn ang="0">
                <a:pos x="74" y="107"/>
              </a:cxn>
              <a:cxn ang="0">
                <a:pos x="73" y="101"/>
              </a:cxn>
              <a:cxn ang="0">
                <a:pos x="72" y="96"/>
              </a:cxn>
              <a:cxn ang="0">
                <a:pos x="80" y="94"/>
              </a:cxn>
              <a:cxn ang="0">
                <a:pos x="85" y="88"/>
              </a:cxn>
              <a:cxn ang="0">
                <a:pos x="93" y="86"/>
              </a:cxn>
              <a:cxn ang="0">
                <a:pos x="110" y="86"/>
              </a:cxn>
              <a:cxn ang="0">
                <a:pos x="113" y="80"/>
              </a:cxn>
              <a:cxn ang="0">
                <a:pos x="108" y="71"/>
              </a:cxn>
              <a:cxn ang="0">
                <a:pos x="106" y="63"/>
              </a:cxn>
              <a:cxn ang="0">
                <a:pos x="105" y="53"/>
              </a:cxn>
              <a:cxn ang="0">
                <a:pos x="105" y="42"/>
              </a:cxn>
              <a:cxn ang="0">
                <a:pos x="98" y="36"/>
              </a:cxn>
              <a:cxn ang="0">
                <a:pos x="114" y="25"/>
              </a:cxn>
              <a:cxn ang="0">
                <a:pos x="128" y="22"/>
              </a:cxn>
              <a:cxn ang="0">
                <a:pos x="138" y="14"/>
              </a:cxn>
              <a:cxn ang="0">
                <a:pos x="170" y="8"/>
              </a:cxn>
              <a:cxn ang="0">
                <a:pos x="182" y="5"/>
              </a:cxn>
              <a:cxn ang="0">
                <a:pos x="203" y="3"/>
              </a:cxn>
              <a:cxn ang="0">
                <a:pos x="219" y="3"/>
              </a:cxn>
              <a:cxn ang="0">
                <a:pos x="231" y="2"/>
              </a:cxn>
              <a:cxn ang="0">
                <a:pos x="247" y="3"/>
              </a:cxn>
              <a:cxn ang="0">
                <a:pos x="259" y="3"/>
              </a:cxn>
              <a:cxn ang="0">
                <a:pos x="255" y="9"/>
              </a:cxn>
              <a:cxn ang="0">
                <a:pos x="254" y="30"/>
              </a:cxn>
              <a:cxn ang="0">
                <a:pos x="247" y="47"/>
              </a:cxn>
              <a:cxn ang="0">
                <a:pos x="239" y="55"/>
              </a:cxn>
              <a:cxn ang="0">
                <a:pos x="250" y="71"/>
              </a:cxn>
              <a:cxn ang="0">
                <a:pos x="265" y="88"/>
              </a:cxn>
              <a:cxn ang="0">
                <a:pos x="269" y="121"/>
              </a:cxn>
              <a:cxn ang="0">
                <a:pos x="274" y="145"/>
              </a:cxn>
              <a:cxn ang="0">
                <a:pos x="274" y="171"/>
              </a:cxn>
              <a:cxn ang="0">
                <a:pos x="269" y="198"/>
              </a:cxn>
              <a:cxn ang="0">
                <a:pos x="282" y="223"/>
              </a:cxn>
              <a:cxn ang="0">
                <a:pos x="304" y="240"/>
              </a:cxn>
              <a:cxn ang="0">
                <a:pos x="262" y="275"/>
              </a:cxn>
              <a:cxn ang="0">
                <a:pos x="210" y="313"/>
              </a:cxn>
              <a:cxn ang="0">
                <a:pos x="183" y="320"/>
              </a:cxn>
              <a:cxn ang="0">
                <a:pos x="176" y="317"/>
              </a:cxn>
              <a:cxn ang="0">
                <a:pos x="177" y="311"/>
              </a:cxn>
              <a:cxn ang="0">
                <a:pos x="173" y="305"/>
              </a:cxn>
              <a:cxn ang="0">
                <a:pos x="164" y="302"/>
              </a:cxn>
              <a:cxn ang="0">
                <a:pos x="156" y="297"/>
              </a:cxn>
              <a:cxn ang="0">
                <a:pos x="148" y="289"/>
              </a:cxn>
              <a:cxn ang="0">
                <a:pos x="145" y="283"/>
              </a:cxn>
            </a:cxnLst>
            <a:rect l="0" t="0" r="r" b="b"/>
            <a:pathLst>
              <a:path w="304" h="322">
                <a:moveTo>
                  <a:pt x="55" y="214"/>
                </a:moveTo>
                <a:lnTo>
                  <a:pt x="35" y="199"/>
                </a:lnTo>
                <a:lnTo>
                  <a:pt x="17" y="188"/>
                </a:lnTo>
                <a:lnTo>
                  <a:pt x="0" y="176"/>
                </a:lnTo>
                <a:lnTo>
                  <a:pt x="0" y="166"/>
                </a:lnTo>
                <a:lnTo>
                  <a:pt x="0" y="146"/>
                </a:lnTo>
                <a:lnTo>
                  <a:pt x="7" y="140"/>
                </a:lnTo>
                <a:lnTo>
                  <a:pt x="12" y="137"/>
                </a:lnTo>
                <a:lnTo>
                  <a:pt x="16" y="137"/>
                </a:lnTo>
                <a:lnTo>
                  <a:pt x="17" y="135"/>
                </a:lnTo>
                <a:lnTo>
                  <a:pt x="20" y="134"/>
                </a:lnTo>
                <a:lnTo>
                  <a:pt x="21" y="132"/>
                </a:lnTo>
                <a:lnTo>
                  <a:pt x="23" y="132"/>
                </a:lnTo>
                <a:lnTo>
                  <a:pt x="24" y="132"/>
                </a:lnTo>
                <a:lnTo>
                  <a:pt x="25" y="132"/>
                </a:lnTo>
                <a:lnTo>
                  <a:pt x="28" y="132"/>
                </a:lnTo>
                <a:lnTo>
                  <a:pt x="29" y="132"/>
                </a:lnTo>
                <a:lnTo>
                  <a:pt x="31" y="132"/>
                </a:lnTo>
                <a:lnTo>
                  <a:pt x="31" y="129"/>
                </a:lnTo>
                <a:lnTo>
                  <a:pt x="36" y="129"/>
                </a:lnTo>
                <a:lnTo>
                  <a:pt x="37" y="127"/>
                </a:lnTo>
                <a:lnTo>
                  <a:pt x="39" y="127"/>
                </a:lnTo>
                <a:lnTo>
                  <a:pt x="44" y="127"/>
                </a:lnTo>
                <a:lnTo>
                  <a:pt x="48" y="126"/>
                </a:lnTo>
                <a:lnTo>
                  <a:pt x="51" y="124"/>
                </a:lnTo>
                <a:lnTo>
                  <a:pt x="52" y="123"/>
                </a:lnTo>
                <a:lnTo>
                  <a:pt x="52" y="121"/>
                </a:lnTo>
                <a:lnTo>
                  <a:pt x="52" y="119"/>
                </a:lnTo>
                <a:lnTo>
                  <a:pt x="53" y="118"/>
                </a:lnTo>
                <a:lnTo>
                  <a:pt x="56" y="115"/>
                </a:lnTo>
                <a:lnTo>
                  <a:pt x="60" y="115"/>
                </a:lnTo>
                <a:lnTo>
                  <a:pt x="61" y="113"/>
                </a:lnTo>
                <a:lnTo>
                  <a:pt x="69" y="108"/>
                </a:lnTo>
                <a:lnTo>
                  <a:pt x="74" y="108"/>
                </a:lnTo>
                <a:lnTo>
                  <a:pt x="74" y="107"/>
                </a:lnTo>
                <a:lnTo>
                  <a:pt x="73" y="105"/>
                </a:lnTo>
                <a:lnTo>
                  <a:pt x="73" y="104"/>
                </a:lnTo>
                <a:lnTo>
                  <a:pt x="72" y="105"/>
                </a:lnTo>
                <a:lnTo>
                  <a:pt x="72" y="102"/>
                </a:lnTo>
                <a:lnTo>
                  <a:pt x="73" y="101"/>
                </a:lnTo>
                <a:lnTo>
                  <a:pt x="73" y="99"/>
                </a:lnTo>
                <a:lnTo>
                  <a:pt x="72" y="99"/>
                </a:lnTo>
                <a:lnTo>
                  <a:pt x="70" y="99"/>
                </a:lnTo>
                <a:lnTo>
                  <a:pt x="70" y="97"/>
                </a:lnTo>
                <a:lnTo>
                  <a:pt x="72" y="96"/>
                </a:lnTo>
                <a:lnTo>
                  <a:pt x="73" y="94"/>
                </a:lnTo>
                <a:lnTo>
                  <a:pt x="74" y="94"/>
                </a:lnTo>
                <a:lnTo>
                  <a:pt x="76" y="94"/>
                </a:lnTo>
                <a:lnTo>
                  <a:pt x="78" y="94"/>
                </a:lnTo>
                <a:lnTo>
                  <a:pt x="80" y="94"/>
                </a:lnTo>
                <a:lnTo>
                  <a:pt x="84" y="93"/>
                </a:lnTo>
                <a:lnTo>
                  <a:pt x="85" y="93"/>
                </a:lnTo>
                <a:lnTo>
                  <a:pt x="85" y="91"/>
                </a:lnTo>
                <a:lnTo>
                  <a:pt x="85" y="90"/>
                </a:lnTo>
                <a:lnTo>
                  <a:pt x="85" y="88"/>
                </a:lnTo>
                <a:lnTo>
                  <a:pt x="86" y="88"/>
                </a:lnTo>
                <a:lnTo>
                  <a:pt x="88" y="88"/>
                </a:lnTo>
                <a:lnTo>
                  <a:pt x="89" y="88"/>
                </a:lnTo>
                <a:lnTo>
                  <a:pt x="90" y="86"/>
                </a:lnTo>
                <a:lnTo>
                  <a:pt x="93" y="86"/>
                </a:lnTo>
                <a:lnTo>
                  <a:pt x="101" y="86"/>
                </a:lnTo>
                <a:lnTo>
                  <a:pt x="102" y="86"/>
                </a:lnTo>
                <a:lnTo>
                  <a:pt x="105" y="86"/>
                </a:lnTo>
                <a:lnTo>
                  <a:pt x="109" y="86"/>
                </a:lnTo>
                <a:lnTo>
                  <a:pt x="110" y="86"/>
                </a:lnTo>
                <a:lnTo>
                  <a:pt x="112" y="86"/>
                </a:lnTo>
                <a:lnTo>
                  <a:pt x="110" y="85"/>
                </a:lnTo>
                <a:lnTo>
                  <a:pt x="112" y="83"/>
                </a:lnTo>
                <a:lnTo>
                  <a:pt x="113" y="82"/>
                </a:lnTo>
                <a:lnTo>
                  <a:pt x="113" y="80"/>
                </a:lnTo>
                <a:lnTo>
                  <a:pt x="114" y="80"/>
                </a:lnTo>
                <a:lnTo>
                  <a:pt x="112" y="79"/>
                </a:lnTo>
                <a:lnTo>
                  <a:pt x="109" y="77"/>
                </a:lnTo>
                <a:lnTo>
                  <a:pt x="108" y="72"/>
                </a:lnTo>
                <a:lnTo>
                  <a:pt x="108" y="71"/>
                </a:lnTo>
                <a:lnTo>
                  <a:pt x="106" y="69"/>
                </a:lnTo>
                <a:lnTo>
                  <a:pt x="106" y="68"/>
                </a:lnTo>
                <a:lnTo>
                  <a:pt x="106" y="66"/>
                </a:lnTo>
                <a:lnTo>
                  <a:pt x="106" y="64"/>
                </a:lnTo>
                <a:lnTo>
                  <a:pt x="106" y="63"/>
                </a:lnTo>
                <a:lnTo>
                  <a:pt x="106" y="61"/>
                </a:lnTo>
                <a:lnTo>
                  <a:pt x="105" y="60"/>
                </a:lnTo>
                <a:lnTo>
                  <a:pt x="105" y="58"/>
                </a:lnTo>
                <a:lnTo>
                  <a:pt x="105" y="57"/>
                </a:lnTo>
                <a:lnTo>
                  <a:pt x="105" y="53"/>
                </a:lnTo>
                <a:lnTo>
                  <a:pt x="105" y="50"/>
                </a:lnTo>
                <a:lnTo>
                  <a:pt x="104" y="49"/>
                </a:lnTo>
                <a:lnTo>
                  <a:pt x="105" y="47"/>
                </a:lnTo>
                <a:lnTo>
                  <a:pt x="104" y="44"/>
                </a:lnTo>
                <a:lnTo>
                  <a:pt x="105" y="42"/>
                </a:lnTo>
                <a:lnTo>
                  <a:pt x="104" y="42"/>
                </a:lnTo>
                <a:lnTo>
                  <a:pt x="102" y="41"/>
                </a:lnTo>
                <a:lnTo>
                  <a:pt x="101" y="39"/>
                </a:lnTo>
                <a:lnTo>
                  <a:pt x="100" y="38"/>
                </a:lnTo>
                <a:lnTo>
                  <a:pt x="98" y="36"/>
                </a:lnTo>
                <a:lnTo>
                  <a:pt x="100" y="36"/>
                </a:lnTo>
                <a:lnTo>
                  <a:pt x="101" y="35"/>
                </a:lnTo>
                <a:lnTo>
                  <a:pt x="105" y="35"/>
                </a:lnTo>
                <a:lnTo>
                  <a:pt x="109" y="31"/>
                </a:lnTo>
                <a:lnTo>
                  <a:pt x="114" y="25"/>
                </a:lnTo>
                <a:lnTo>
                  <a:pt x="117" y="24"/>
                </a:lnTo>
                <a:lnTo>
                  <a:pt x="120" y="24"/>
                </a:lnTo>
                <a:lnTo>
                  <a:pt x="121" y="24"/>
                </a:lnTo>
                <a:lnTo>
                  <a:pt x="125" y="20"/>
                </a:lnTo>
                <a:lnTo>
                  <a:pt x="128" y="22"/>
                </a:lnTo>
                <a:lnTo>
                  <a:pt x="130" y="20"/>
                </a:lnTo>
                <a:lnTo>
                  <a:pt x="132" y="19"/>
                </a:lnTo>
                <a:lnTo>
                  <a:pt x="134" y="16"/>
                </a:lnTo>
                <a:lnTo>
                  <a:pt x="136" y="16"/>
                </a:lnTo>
                <a:lnTo>
                  <a:pt x="138" y="14"/>
                </a:lnTo>
                <a:lnTo>
                  <a:pt x="141" y="13"/>
                </a:lnTo>
                <a:lnTo>
                  <a:pt x="149" y="9"/>
                </a:lnTo>
                <a:lnTo>
                  <a:pt x="152" y="9"/>
                </a:lnTo>
                <a:lnTo>
                  <a:pt x="166" y="8"/>
                </a:lnTo>
                <a:lnTo>
                  <a:pt x="170" y="8"/>
                </a:lnTo>
                <a:lnTo>
                  <a:pt x="173" y="6"/>
                </a:lnTo>
                <a:lnTo>
                  <a:pt x="176" y="5"/>
                </a:lnTo>
                <a:lnTo>
                  <a:pt x="177" y="5"/>
                </a:lnTo>
                <a:lnTo>
                  <a:pt x="180" y="5"/>
                </a:lnTo>
                <a:lnTo>
                  <a:pt x="182" y="5"/>
                </a:lnTo>
                <a:lnTo>
                  <a:pt x="183" y="5"/>
                </a:lnTo>
                <a:lnTo>
                  <a:pt x="189" y="3"/>
                </a:lnTo>
                <a:lnTo>
                  <a:pt x="193" y="3"/>
                </a:lnTo>
                <a:lnTo>
                  <a:pt x="197" y="3"/>
                </a:lnTo>
                <a:lnTo>
                  <a:pt x="203" y="3"/>
                </a:lnTo>
                <a:lnTo>
                  <a:pt x="206" y="6"/>
                </a:lnTo>
                <a:lnTo>
                  <a:pt x="209" y="6"/>
                </a:lnTo>
                <a:lnTo>
                  <a:pt x="213" y="6"/>
                </a:lnTo>
                <a:lnTo>
                  <a:pt x="214" y="5"/>
                </a:lnTo>
                <a:lnTo>
                  <a:pt x="219" y="3"/>
                </a:lnTo>
                <a:lnTo>
                  <a:pt x="222" y="3"/>
                </a:lnTo>
                <a:lnTo>
                  <a:pt x="225" y="0"/>
                </a:lnTo>
                <a:lnTo>
                  <a:pt x="227" y="0"/>
                </a:lnTo>
                <a:lnTo>
                  <a:pt x="230" y="2"/>
                </a:lnTo>
                <a:lnTo>
                  <a:pt x="231" y="2"/>
                </a:lnTo>
                <a:lnTo>
                  <a:pt x="234" y="3"/>
                </a:lnTo>
                <a:lnTo>
                  <a:pt x="237" y="2"/>
                </a:lnTo>
                <a:lnTo>
                  <a:pt x="239" y="0"/>
                </a:lnTo>
                <a:lnTo>
                  <a:pt x="245" y="2"/>
                </a:lnTo>
                <a:lnTo>
                  <a:pt x="247" y="3"/>
                </a:lnTo>
                <a:lnTo>
                  <a:pt x="250" y="3"/>
                </a:lnTo>
                <a:lnTo>
                  <a:pt x="253" y="2"/>
                </a:lnTo>
                <a:lnTo>
                  <a:pt x="257" y="3"/>
                </a:lnTo>
                <a:lnTo>
                  <a:pt x="259" y="2"/>
                </a:lnTo>
                <a:lnTo>
                  <a:pt x="259" y="3"/>
                </a:lnTo>
                <a:lnTo>
                  <a:pt x="258" y="5"/>
                </a:lnTo>
                <a:lnTo>
                  <a:pt x="257" y="6"/>
                </a:lnTo>
                <a:lnTo>
                  <a:pt x="254" y="8"/>
                </a:lnTo>
                <a:lnTo>
                  <a:pt x="253" y="9"/>
                </a:lnTo>
                <a:lnTo>
                  <a:pt x="255" y="9"/>
                </a:lnTo>
                <a:lnTo>
                  <a:pt x="255" y="11"/>
                </a:lnTo>
                <a:lnTo>
                  <a:pt x="254" y="19"/>
                </a:lnTo>
                <a:lnTo>
                  <a:pt x="254" y="22"/>
                </a:lnTo>
                <a:lnTo>
                  <a:pt x="254" y="25"/>
                </a:lnTo>
                <a:lnTo>
                  <a:pt x="254" y="30"/>
                </a:lnTo>
                <a:lnTo>
                  <a:pt x="255" y="33"/>
                </a:lnTo>
                <a:lnTo>
                  <a:pt x="255" y="35"/>
                </a:lnTo>
                <a:lnTo>
                  <a:pt x="254" y="41"/>
                </a:lnTo>
                <a:lnTo>
                  <a:pt x="253" y="44"/>
                </a:lnTo>
                <a:lnTo>
                  <a:pt x="247" y="47"/>
                </a:lnTo>
                <a:lnTo>
                  <a:pt x="246" y="50"/>
                </a:lnTo>
                <a:lnTo>
                  <a:pt x="245" y="52"/>
                </a:lnTo>
                <a:lnTo>
                  <a:pt x="243" y="53"/>
                </a:lnTo>
                <a:lnTo>
                  <a:pt x="242" y="53"/>
                </a:lnTo>
                <a:lnTo>
                  <a:pt x="239" y="55"/>
                </a:lnTo>
                <a:lnTo>
                  <a:pt x="239" y="58"/>
                </a:lnTo>
                <a:lnTo>
                  <a:pt x="241" y="61"/>
                </a:lnTo>
                <a:lnTo>
                  <a:pt x="243" y="68"/>
                </a:lnTo>
                <a:lnTo>
                  <a:pt x="249" y="69"/>
                </a:lnTo>
                <a:lnTo>
                  <a:pt x="250" y="71"/>
                </a:lnTo>
                <a:lnTo>
                  <a:pt x="251" y="77"/>
                </a:lnTo>
                <a:lnTo>
                  <a:pt x="251" y="82"/>
                </a:lnTo>
                <a:lnTo>
                  <a:pt x="257" y="85"/>
                </a:lnTo>
                <a:lnTo>
                  <a:pt x="263" y="88"/>
                </a:lnTo>
                <a:lnTo>
                  <a:pt x="265" y="88"/>
                </a:lnTo>
                <a:lnTo>
                  <a:pt x="265" y="90"/>
                </a:lnTo>
                <a:lnTo>
                  <a:pt x="267" y="108"/>
                </a:lnTo>
                <a:lnTo>
                  <a:pt x="269" y="119"/>
                </a:lnTo>
                <a:lnTo>
                  <a:pt x="270" y="121"/>
                </a:lnTo>
                <a:lnTo>
                  <a:pt x="269" y="121"/>
                </a:lnTo>
                <a:lnTo>
                  <a:pt x="266" y="123"/>
                </a:lnTo>
                <a:lnTo>
                  <a:pt x="266" y="127"/>
                </a:lnTo>
                <a:lnTo>
                  <a:pt x="269" y="132"/>
                </a:lnTo>
                <a:lnTo>
                  <a:pt x="273" y="138"/>
                </a:lnTo>
                <a:lnTo>
                  <a:pt x="274" y="145"/>
                </a:lnTo>
                <a:lnTo>
                  <a:pt x="274" y="151"/>
                </a:lnTo>
                <a:lnTo>
                  <a:pt x="274" y="160"/>
                </a:lnTo>
                <a:lnTo>
                  <a:pt x="275" y="162"/>
                </a:lnTo>
                <a:lnTo>
                  <a:pt x="275" y="166"/>
                </a:lnTo>
                <a:lnTo>
                  <a:pt x="274" y="171"/>
                </a:lnTo>
                <a:lnTo>
                  <a:pt x="274" y="188"/>
                </a:lnTo>
                <a:lnTo>
                  <a:pt x="271" y="190"/>
                </a:lnTo>
                <a:lnTo>
                  <a:pt x="269" y="192"/>
                </a:lnTo>
                <a:lnTo>
                  <a:pt x="267" y="193"/>
                </a:lnTo>
                <a:lnTo>
                  <a:pt x="269" y="198"/>
                </a:lnTo>
                <a:lnTo>
                  <a:pt x="274" y="204"/>
                </a:lnTo>
                <a:lnTo>
                  <a:pt x="277" y="209"/>
                </a:lnTo>
                <a:lnTo>
                  <a:pt x="278" y="214"/>
                </a:lnTo>
                <a:lnTo>
                  <a:pt x="278" y="218"/>
                </a:lnTo>
                <a:lnTo>
                  <a:pt x="282" y="223"/>
                </a:lnTo>
                <a:lnTo>
                  <a:pt x="287" y="223"/>
                </a:lnTo>
                <a:lnTo>
                  <a:pt x="290" y="223"/>
                </a:lnTo>
                <a:lnTo>
                  <a:pt x="298" y="226"/>
                </a:lnTo>
                <a:lnTo>
                  <a:pt x="303" y="236"/>
                </a:lnTo>
                <a:lnTo>
                  <a:pt x="304" y="240"/>
                </a:lnTo>
                <a:lnTo>
                  <a:pt x="304" y="242"/>
                </a:lnTo>
                <a:lnTo>
                  <a:pt x="298" y="247"/>
                </a:lnTo>
                <a:lnTo>
                  <a:pt x="286" y="256"/>
                </a:lnTo>
                <a:lnTo>
                  <a:pt x="274" y="265"/>
                </a:lnTo>
                <a:lnTo>
                  <a:pt x="262" y="275"/>
                </a:lnTo>
                <a:lnTo>
                  <a:pt x="250" y="284"/>
                </a:lnTo>
                <a:lnTo>
                  <a:pt x="238" y="294"/>
                </a:lnTo>
                <a:lnTo>
                  <a:pt x="226" y="303"/>
                </a:lnTo>
                <a:lnTo>
                  <a:pt x="214" y="313"/>
                </a:lnTo>
                <a:lnTo>
                  <a:pt x="210" y="313"/>
                </a:lnTo>
                <a:lnTo>
                  <a:pt x="193" y="319"/>
                </a:lnTo>
                <a:lnTo>
                  <a:pt x="190" y="319"/>
                </a:lnTo>
                <a:lnTo>
                  <a:pt x="189" y="319"/>
                </a:lnTo>
                <a:lnTo>
                  <a:pt x="186" y="320"/>
                </a:lnTo>
                <a:lnTo>
                  <a:pt x="183" y="320"/>
                </a:lnTo>
                <a:lnTo>
                  <a:pt x="181" y="322"/>
                </a:lnTo>
                <a:lnTo>
                  <a:pt x="180" y="322"/>
                </a:lnTo>
                <a:lnTo>
                  <a:pt x="178" y="322"/>
                </a:lnTo>
                <a:lnTo>
                  <a:pt x="176" y="319"/>
                </a:lnTo>
                <a:lnTo>
                  <a:pt x="176" y="317"/>
                </a:lnTo>
                <a:lnTo>
                  <a:pt x="177" y="316"/>
                </a:lnTo>
                <a:lnTo>
                  <a:pt x="176" y="314"/>
                </a:lnTo>
                <a:lnTo>
                  <a:pt x="177" y="314"/>
                </a:lnTo>
                <a:lnTo>
                  <a:pt x="177" y="313"/>
                </a:lnTo>
                <a:lnTo>
                  <a:pt x="177" y="311"/>
                </a:lnTo>
                <a:lnTo>
                  <a:pt x="177" y="309"/>
                </a:lnTo>
                <a:lnTo>
                  <a:pt x="177" y="306"/>
                </a:lnTo>
                <a:lnTo>
                  <a:pt x="176" y="306"/>
                </a:lnTo>
                <a:lnTo>
                  <a:pt x="176" y="305"/>
                </a:lnTo>
                <a:lnTo>
                  <a:pt x="173" y="305"/>
                </a:lnTo>
                <a:lnTo>
                  <a:pt x="170" y="303"/>
                </a:lnTo>
                <a:lnTo>
                  <a:pt x="169" y="303"/>
                </a:lnTo>
                <a:lnTo>
                  <a:pt x="168" y="302"/>
                </a:lnTo>
                <a:lnTo>
                  <a:pt x="165" y="302"/>
                </a:lnTo>
                <a:lnTo>
                  <a:pt x="164" y="302"/>
                </a:lnTo>
                <a:lnTo>
                  <a:pt x="164" y="298"/>
                </a:lnTo>
                <a:lnTo>
                  <a:pt x="162" y="298"/>
                </a:lnTo>
                <a:lnTo>
                  <a:pt x="160" y="298"/>
                </a:lnTo>
                <a:lnTo>
                  <a:pt x="157" y="298"/>
                </a:lnTo>
                <a:lnTo>
                  <a:pt x="156" y="297"/>
                </a:lnTo>
                <a:lnTo>
                  <a:pt x="154" y="295"/>
                </a:lnTo>
                <a:lnTo>
                  <a:pt x="153" y="294"/>
                </a:lnTo>
                <a:lnTo>
                  <a:pt x="153" y="292"/>
                </a:lnTo>
                <a:lnTo>
                  <a:pt x="149" y="291"/>
                </a:lnTo>
                <a:lnTo>
                  <a:pt x="148" y="289"/>
                </a:lnTo>
                <a:lnTo>
                  <a:pt x="145" y="289"/>
                </a:lnTo>
                <a:lnTo>
                  <a:pt x="145" y="287"/>
                </a:lnTo>
                <a:lnTo>
                  <a:pt x="146" y="284"/>
                </a:lnTo>
                <a:lnTo>
                  <a:pt x="145" y="284"/>
                </a:lnTo>
                <a:lnTo>
                  <a:pt x="145" y="283"/>
                </a:lnTo>
                <a:lnTo>
                  <a:pt x="72" y="228"/>
                </a:lnTo>
                <a:lnTo>
                  <a:pt x="55" y="21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32" name="Freeform 1359"/>
          <p:cNvSpPr>
            <a:spLocks/>
          </p:cNvSpPr>
          <p:nvPr/>
        </p:nvSpPr>
        <p:spPr bwMode="auto">
          <a:xfrm>
            <a:off x="5428875" y="3036367"/>
            <a:ext cx="528128" cy="425226"/>
          </a:xfrm>
          <a:custGeom>
            <a:avLst/>
            <a:gdLst/>
            <a:ahLst/>
            <a:cxnLst>
              <a:cxn ang="0">
                <a:pos x="0" y="176"/>
              </a:cxn>
              <a:cxn ang="0">
                <a:pos x="12" y="137"/>
              </a:cxn>
              <a:cxn ang="0">
                <a:pos x="21" y="132"/>
              </a:cxn>
              <a:cxn ang="0">
                <a:pos x="28" y="132"/>
              </a:cxn>
              <a:cxn ang="0">
                <a:pos x="36" y="129"/>
              </a:cxn>
              <a:cxn ang="0">
                <a:pos x="48" y="126"/>
              </a:cxn>
              <a:cxn ang="0">
                <a:pos x="52" y="119"/>
              </a:cxn>
              <a:cxn ang="0">
                <a:pos x="61" y="113"/>
              </a:cxn>
              <a:cxn ang="0">
                <a:pos x="73" y="105"/>
              </a:cxn>
              <a:cxn ang="0">
                <a:pos x="73" y="101"/>
              </a:cxn>
              <a:cxn ang="0">
                <a:pos x="70" y="97"/>
              </a:cxn>
              <a:cxn ang="0">
                <a:pos x="76" y="94"/>
              </a:cxn>
              <a:cxn ang="0">
                <a:pos x="85" y="93"/>
              </a:cxn>
              <a:cxn ang="0">
                <a:pos x="86" y="88"/>
              </a:cxn>
              <a:cxn ang="0">
                <a:pos x="93" y="86"/>
              </a:cxn>
              <a:cxn ang="0">
                <a:pos x="109" y="86"/>
              </a:cxn>
              <a:cxn ang="0">
                <a:pos x="112" y="83"/>
              </a:cxn>
              <a:cxn ang="0">
                <a:pos x="112" y="79"/>
              </a:cxn>
              <a:cxn ang="0">
                <a:pos x="106" y="69"/>
              </a:cxn>
              <a:cxn ang="0">
                <a:pos x="106" y="63"/>
              </a:cxn>
              <a:cxn ang="0">
                <a:pos x="105" y="57"/>
              </a:cxn>
              <a:cxn ang="0">
                <a:pos x="105" y="47"/>
              </a:cxn>
              <a:cxn ang="0">
                <a:pos x="102" y="41"/>
              </a:cxn>
              <a:cxn ang="0">
                <a:pos x="100" y="36"/>
              </a:cxn>
              <a:cxn ang="0">
                <a:pos x="114" y="25"/>
              </a:cxn>
              <a:cxn ang="0">
                <a:pos x="125" y="20"/>
              </a:cxn>
              <a:cxn ang="0">
                <a:pos x="134" y="16"/>
              </a:cxn>
              <a:cxn ang="0">
                <a:pos x="149" y="9"/>
              </a:cxn>
              <a:cxn ang="0">
                <a:pos x="173" y="6"/>
              </a:cxn>
              <a:cxn ang="0">
                <a:pos x="182" y="5"/>
              </a:cxn>
              <a:cxn ang="0">
                <a:pos x="197" y="3"/>
              </a:cxn>
              <a:cxn ang="0">
                <a:pos x="213" y="6"/>
              </a:cxn>
              <a:cxn ang="0">
                <a:pos x="225" y="0"/>
              </a:cxn>
              <a:cxn ang="0">
                <a:pos x="234" y="3"/>
              </a:cxn>
              <a:cxn ang="0">
                <a:pos x="247" y="3"/>
              </a:cxn>
              <a:cxn ang="0">
                <a:pos x="259" y="2"/>
              </a:cxn>
              <a:cxn ang="0">
                <a:pos x="254" y="8"/>
              </a:cxn>
              <a:cxn ang="0">
                <a:pos x="254" y="19"/>
              </a:cxn>
              <a:cxn ang="0">
                <a:pos x="255" y="33"/>
              </a:cxn>
              <a:cxn ang="0">
                <a:pos x="247" y="47"/>
              </a:cxn>
              <a:cxn ang="0">
                <a:pos x="242" y="53"/>
              </a:cxn>
              <a:cxn ang="0">
                <a:pos x="243" y="68"/>
              </a:cxn>
              <a:cxn ang="0">
                <a:pos x="251" y="82"/>
              </a:cxn>
              <a:cxn ang="0">
                <a:pos x="265" y="90"/>
              </a:cxn>
              <a:cxn ang="0">
                <a:pos x="269" y="121"/>
              </a:cxn>
              <a:cxn ang="0">
                <a:pos x="273" y="138"/>
              </a:cxn>
              <a:cxn ang="0">
                <a:pos x="275" y="162"/>
              </a:cxn>
              <a:cxn ang="0">
                <a:pos x="271" y="190"/>
              </a:cxn>
              <a:cxn ang="0">
                <a:pos x="274" y="204"/>
              </a:cxn>
            </a:cxnLst>
            <a:rect l="0" t="0" r="r" b="b"/>
            <a:pathLst>
              <a:path w="277" h="214">
                <a:moveTo>
                  <a:pt x="55" y="214"/>
                </a:moveTo>
                <a:lnTo>
                  <a:pt x="35" y="199"/>
                </a:lnTo>
                <a:lnTo>
                  <a:pt x="17" y="188"/>
                </a:lnTo>
                <a:lnTo>
                  <a:pt x="0" y="176"/>
                </a:lnTo>
                <a:lnTo>
                  <a:pt x="0" y="166"/>
                </a:lnTo>
                <a:lnTo>
                  <a:pt x="0" y="146"/>
                </a:lnTo>
                <a:lnTo>
                  <a:pt x="7" y="140"/>
                </a:lnTo>
                <a:lnTo>
                  <a:pt x="12" y="137"/>
                </a:lnTo>
                <a:lnTo>
                  <a:pt x="16" y="137"/>
                </a:lnTo>
                <a:lnTo>
                  <a:pt x="17" y="135"/>
                </a:lnTo>
                <a:lnTo>
                  <a:pt x="20" y="134"/>
                </a:lnTo>
                <a:lnTo>
                  <a:pt x="21" y="132"/>
                </a:lnTo>
                <a:lnTo>
                  <a:pt x="23" y="132"/>
                </a:lnTo>
                <a:lnTo>
                  <a:pt x="24" y="132"/>
                </a:lnTo>
                <a:lnTo>
                  <a:pt x="25" y="132"/>
                </a:lnTo>
                <a:lnTo>
                  <a:pt x="28" y="132"/>
                </a:lnTo>
                <a:lnTo>
                  <a:pt x="29" y="132"/>
                </a:lnTo>
                <a:lnTo>
                  <a:pt x="31" y="132"/>
                </a:lnTo>
                <a:lnTo>
                  <a:pt x="31" y="129"/>
                </a:lnTo>
                <a:lnTo>
                  <a:pt x="36" y="129"/>
                </a:lnTo>
                <a:lnTo>
                  <a:pt x="37" y="127"/>
                </a:lnTo>
                <a:lnTo>
                  <a:pt x="39" y="127"/>
                </a:lnTo>
                <a:lnTo>
                  <a:pt x="44" y="127"/>
                </a:lnTo>
                <a:lnTo>
                  <a:pt x="48" y="126"/>
                </a:lnTo>
                <a:lnTo>
                  <a:pt x="51" y="124"/>
                </a:lnTo>
                <a:lnTo>
                  <a:pt x="52" y="123"/>
                </a:lnTo>
                <a:lnTo>
                  <a:pt x="52" y="121"/>
                </a:lnTo>
                <a:lnTo>
                  <a:pt x="52" y="119"/>
                </a:lnTo>
                <a:lnTo>
                  <a:pt x="53" y="118"/>
                </a:lnTo>
                <a:lnTo>
                  <a:pt x="56" y="115"/>
                </a:lnTo>
                <a:lnTo>
                  <a:pt x="60" y="115"/>
                </a:lnTo>
                <a:lnTo>
                  <a:pt x="61" y="113"/>
                </a:lnTo>
                <a:lnTo>
                  <a:pt x="69" y="108"/>
                </a:lnTo>
                <a:lnTo>
                  <a:pt x="74" y="108"/>
                </a:lnTo>
                <a:lnTo>
                  <a:pt x="74" y="107"/>
                </a:lnTo>
                <a:lnTo>
                  <a:pt x="73" y="105"/>
                </a:lnTo>
                <a:lnTo>
                  <a:pt x="73" y="104"/>
                </a:lnTo>
                <a:lnTo>
                  <a:pt x="72" y="105"/>
                </a:lnTo>
                <a:lnTo>
                  <a:pt x="72" y="102"/>
                </a:lnTo>
                <a:lnTo>
                  <a:pt x="73" y="101"/>
                </a:lnTo>
                <a:lnTo>
                  <a:pt x="73" y="99"/>
                </a:lnTo>
                <a:lnTo>
                  <a:pt x="72" y="99"/>
                </a:lnTo>
                <a:lnTo>
                  <a:pt x="70" y="99"/>
                </a:lnTo>
                <a:lnTo>
                  <a:pt x="70" y="97"/>
                </a:lnTo>
                <a:lnTo>
                  <a:pt x="72" y="96"/>
                </a:lnTo>
                <a:lnTo>
                  <a:pt x="73" y="94"/>
                </a:lnTo>
                <a:lnTo>
                  <a:pt x="74" y="94"/>
                </a:lnTo>
                <a:lnTo>
                  <a:pt x="76" y="94"/>
                </a:lnTo>
                <a:lnTo>
                  <a:pt x="78" y="94"/>
                </a:lnTo>
                <a:lnTo>
                  <a:pt x="80" y="94"/>
                </a:lnTo>
                <a:lnTo>
                  <a:pt x="84" y="93"/>
                </a:lnTo>
                <a:lnTo>
                  <a:pt x="85" y="93"/>
                </a:lnTo>
                <a:lnTo>
                  <a:pt x="85" y="91"/>
                </a:lnTo>
                <a:lnTo>
                  <a:pt x="85" y="90"/>
                </a:lnTo>
                <a:lnTo>
                  <a:pt x="85" y="88"/>
                </a:lnTo>
                <a:lnTo>
                  <a:pt x="86" y="88"/>
                </a:lnTo>
                <a:lnTo>
                  <a:pt x="88" y="88"/>
                </a:lnTo>
                <a:lnTo>
                  <a:pt x="89" y="88"/>
                </a:lnTo>
                <a:lnTo>
                  <a:pt x="90" y="86"/>
                </a:lnTo>
                <a:lnTo>
                  <a:pt x="93" y="86"/>
                </a:lnTo>
                <a:lnTo>
                  <a:pt x="101" y="86"/>
                </a:lnTo>
                <a:lnTo>
                  <a:pt x="102" y="86"/>
                </a:lnTo>
                <a:lnTo>
                  <a:pt x="105" y="86"/>
                </a:lnTo>
                <a:lnTo>
                  <a:pt x="109" y="86"/>
                </a:lnTo>
                <a:lnTo>
                  <a:pt x="110" y="86"/>
                </a:lnTo>
                <a:lnTo>
                  <a:pt x="112" y="86"/>
                </a:lnTo>
                <a:lnTo>
                  <a:pt x="110" y="85"/>
                </a:lnTo>
                <a:lnTo>
                  <a:pt x="112" y="83"/>
                </a:lnTo>
                <a:lnTo>
                  <a:pt x="113" y="82"/>
                </a:lnTo>
                <a:lnTo>
                  <a:pt x="113" y="80"/>
                </a:lnTo>
                <a:lnTo>
                  <a:pt x="114" y="80"/>
                </a:lnTo>
                <a:lnTo>
                  <a:pt x="112" y="79"/>
                </a:lnTo>
                <a:lnTo>
                  <a:pt x="109" y="77"/>
                </a:lnTo>
                <a:lnTo>
                  <a:pt x="108" y="72"/>
                </a:lnTo>
                <a:lnTo>
                  <a:pt x="108" y="71"/>
                </a:lnTo>
                <a:lnTo>
                  <a:pt x="106" y="69"/>
                </a:lnTo>
                <a:lnTo>
                  <a:pt x="106" y="68"/>
                </a:lnTo>
                <a:lnTo>
                  <a:pt x="106" y="66"/>
                </a:lnTo>
                <a:lnTo>
                  <a:pt x="106" y="64"/>
                </a:lnTo>
                <a:lnTo>
                  <a:pt x="106" y="63"/>
                </a:lnTo>
                <a:lnTo>
                  <a:pt x="106" y="61"/>
                </a:lnTo>
                <a:lnTo>
                  <a:pt x="105" y="60"/>
                </a:lnTo>
                <a:lnTo>
                  <a:pt x="105" y="58"/>
                </a:lnTo>
                <a:lnTo>
                  <a:pt x="105" y="57"/>
                </a:lnTo>
                <a:lnTo>
                  <a:pt x="105" y="53"/>
                </a:lnTo>
                <a:lnTo>
                  <a:pt x="105" y="50"/>
                </a:lnTo>
                <a:lnTo>
                  <a:pt x="104" y="49"/>
                </a:lnTo>
                <a:lnTo>
                  <a:pt x="105" y="47"/>
                </a:lnTo>
                <a:lnTo>
                  <a:pt x="104" y="44"/>
                </a:lnTo>
                <a:lnTo>
                  <a:pt x="105" y="42"/>
                </a:lnTo>
                <a:lnTo>
                  <a:pt x="104" y="42"/>
                </a:lnTo>
                <a:lnTo>
                  <a:pt x="102" y="41"/>
                </a:lnTo>
                <a:lnTo>
                  <a:pt x="101" y="39"/>
                </a:lnTo>
                <a:lnTo>
                  <a:pt x="100" y="38"/>
                </a:lnTo>
                <a:lnTo>
                  <a:pt x="98" y="36"/>
                </a:lnTo>
                <a:lnTo>
                  <a:pt x="100" y="36"/>
                </a:lnTo>
                <a:lnTo>
                  <a:pt x="101" y="35"/>
                </a:lnTo>
                <a:lnTo>
                  <a:pt x="105" y="35"/>
                </a:lnTo>
                <a:lnTo>
                  <a:pt x="109" y="31"/>
                </a:lnTo>
                <a:lnTo>
                  <a:pt x="114" y="25"/>
                </a:lnTo>
                <a:lnTo>
                  <a:pt x="117" y="24"/>
                </a:lnTo>
                <a:lnTo>
                  <a:pt x="120" y="24"/>
                </a:lnTo>
                <a:lnTo>
                  <a:pt x="121" y="24"/>
                </a:lnTo>
                <a:lnTo>
                  <a:pt x="125" y="20"/>
                </a:lnTo>
                <a:lnTo>
                  <a:pt x="128" y="22"/>
                </a:lnTo>
                <a:lnTo>
                  <a:pt x="130" y="20"/>
                </a:lnTo>
                <a:lnTo>
                  <a:pt x="132" y="19"/>
                </a:lnTo>
                <a:lnTo>
                  <a:pt x="134" y="16"/>
                </a:lnTo>
                <a:lnTo>
                  <a:pt x="136" y="16"/>
                </a:lnTo>
                <a:lnTo>
                  <a:pt x="138" y="14"/>
                </a:lnTo>
                <a:lnTo>
                  <a:pt x="141" y="13"/>
                </a:lnTo>
                <a:lnTo>
                  <a:pt x="149" y="9"/>
                </a:lnTo>
                <a:lnTo>
                  <a:pt x="152" y="9"/>
                </a:lnTo>
                <a:lnTo>
                  <a:pt x="166" y="8"/>
                </a:lnTo>
                <a:lnTo>
                  <a:pt x="170" y="8"/>
                </a:lnTo>
                <a:lnTo>
                  <a:pt x="173" y="6"/>
                </a:lnTo>
                <a:lnTo>
                  <a:pt x="176" y="5"/>
                </a:lnTo>
                <a:lnTo>
                  <a:pt x="177" y="5"/>
                </a:lnTo>
                <a:lnTo>
                  <a:pt x="180" y="5"/>
                </a:lnTo>
                <a:lnTo>
                  <a:pt x="182" y="5"/>
                </a:lnTo>
                <a:lnTo>
                  <a:pt x="183" y="5"/>
                </a:lnTo>
                <a:lnTo>
                  <a:pt x="189" y="3"/>
                </a:lnTo>
                <a:lnTo>
                  <a:pt x="193" y="3"/>
                </a:lnTo>
                <a:lnTo>
                  <a:pt x="197" y="3"/>
                </a:lnTo>
                <a:lnTo>
                  <a:pt x="203" y="3"/>
                </a:lnTo>
                <a:lnTo>
                  <a:pt x="206" y="6"/>
                </a:lnTo>
                <a:lnTo>
                  <a:pt x="209" y="6"/>
                </a:lnTo>
                <a:lnTo>
                  <a:pt x="213" y="6"/>
                </a:lnTo>
                <a:lnTo>
                  <a:pt x="214" y="5"/>
                </a:lnTo>
                <a:lnTo>
                  <a:pt x="219" y="3"/>
                </a:lnTo>
                <a:lnTo>
                  <a:pt x="222" y="3"/>
                </a:lnTo>
                <a:lnTo>
                  <a:pt x="225" y="0"/>
                </a:lnTo>
                <a:lnTo>
                  <a:pt x="227" y="0"/>
                </a:lnTo>
                <a:lnTo>
                  <a:pt x="230" y="2"/>
                </a:lnTo>
                <a:lnTo>
                  <a:pt x="231" y="2"/>
                </a:lnTo>
                <a:lnTo>
                  <a:pt x="234" y="3"/>
                </a:lnTo>
                <a:lnTo>
                  <a:pt x="237" y="2"/>
                </a:lnTo>
                <a:lnTo>
                  <a:pt x="239" y="0"/>
                </a:lnTo>
                <a:lnTo>
                  <a:pt x="245" y="2"/>
                </a:lnTo>
                <a:lnTo>
                  <a:pt x="247" y="3"/>
                </a:lnTo>
                <a:lnTo>
                  <a:pt x="250" y="3"/>
                </a:lnTo>
                <a:lnTo>
                  <a:pt x="253" y="2"/>
                </a:lnTo>
                <a:lnTo>
                  <a:pt x="257" y="3"/>
                </a:lnTo>
                <a:lnTo>
                  <a:pt x="259" y="2"/>
                </a:lnTo>
                <a:lnTo>
                  <a:pt x="259" y="3"/>
                </a:lnTo>
                <a:lnTo>
                  <a:pt x="258" y="5"/>
                </a:lnTo>
                <a:lnTo>
                  <a:pt x="257" y="6"/>
                </a:lnTo>
                <a:lnTo>
                  <a:pt x="254" y="8"/>
                </a:lnTo>
                <a:lnTo>
                  <a:pt x="253" y="9"/>
                </a:lnTo>
                <a:lnTo>
                  <a:pt x="255" y="9"/>
                </a:lnTo>
                <a:lnTo>
                  <a:pt x="255" y="11"/>
                </a:lnTo>
                <a:lnTo>
                  <a:pt x="254" y="19"/>
                </a:lnTo>
                <a:lnTo>
                  <a:pt x="254" y="22"/>
                </a:lnTo>
                <a:lnTo>
                  <a:pt x="254" y="25"/>
                </a:lnTo>
                <a:lnTo>
                  <a:pt x="254" y="30"/>
                </a:lnTo>
                <a:lnTo>
                  <a:pt x="255" y="33"/>
                </a:lnTo>
                <a:lnTo>
                  <a:pt x="255" y="35"/>
                </a:lnTo>
                <a:lnTo>
                  <a:pt x="254" y="41"/>
                </a:lnTo>
                <a:lnTo>
                  <a:pt x="253" y="44"/>
                </a:lnTo>
                <a:lnTo>
                  <a:pt x="247" y="47"/>
                </a:lnTo>
                <a:lnTo>
                  <a:pt x="246" y="50"/>
                </a:lnTo>
                <a:lnTo>
                  <a:pt x="245" y="52"/>
                </a:lnTo>
                <a:lnTo>
                  <a:pt x="243" y="53"/>
                </a:lnTo>
                <a:lnTo>
                  <a:pt x="242" y="53"/>
                </a:lnTo>
                <a:lnTo>
                  <a:pt x="239" y="55"/>
                </a:lnTo>
                <a:lnTo>
                  <a:pt x="239" y="58"/>
                </a:lnTo>
                <a:lnTo>
                  <a:pt x="241" y="61"/>
                </a:lnTo>
                <a:lnTo>
                  <a:pt x="243" y="68"/>
                </a:lnTo>
                <a:lnTo>
                  <a:pt x="249" y="69"/>
                </a:lnTo>
                <a:lnTo>
                  <a:pt x="250" y="71"/>
                </a:lnTo>
                <a:lnTo>
                  <a:pt x="251" y="77"/>
                </a:lnTo>
                <a:lnTo>
                  <a:pt x="251" y="82"/>
                </a:lnTo>
                <a:lnTo>
                  <a:pt x="257" y="85"/>
                </a:lnTo>
                <a:lnTo>
                  <a:pt x="263" y="88"/>
                </a:lnTo>
                <a:lnTo>
                  <a:pt x="265" y="88"/>
                </a:lnTo>
                <a:lnTo>
                  <a:pt x="265" y="90"/>
                </a:lnTo>
                <a:lnTo>
                  <a:pt x="267" y="108"/>
                </a:lnTo>
                <a:lnTo>
                  <a:pt x="269" y="119"/>
                </a:lnTo>
                <a:lnTo>
                  <a:pt x="270" y="121"/>
                </a:lnTo>
                <a:lnTo>
                  <a:pt x="269" y="121"/>
                </a:lnTo>
                <a:lnTo>
                  <a:pt x="266" y="123"/>
                </a:lnTo>
                <a:lnTo>
                  <a:pt x="266" y="127"/>
                </a:lnTo>
                <a:lnTo>
                  <a:pt x="269" y="132"/>
                </a:lnTo>
                <a:lnTo>
                  <a:pt x="273" y="138"/>
                </a:lnTo>
                <a:lnTo>
                  <a:pt x="274" y="145"/>
                </a:lnTo>
                <a:lnTo>
                  <a:pt x="274" y="151"/>
                </a:lnTo>
                <a:lnTo>
                  <a:pt x="274" y="160"/>
                </a:lnTo>
                <a:lnTo>
                  <a:pt x="275" y="162"/>
                </a:lnTo>
                <a:lnTo>
                  <a:pt x="275" y="166"/>
                </a:lnTo>
                <a:lnTo>
                  <a:pt x="274" y="171"/>
                </a:lnTo>
                <a:lnTo>
                  <a:pt x="274" y="188"/>
                </a:lnTo>
                <a:lnTo>
                  <a:pt x="271" y="190"/>
                </a:lnTo>
                <a:lnTo>
                  <a:pt x="269" y="192"/>
                </a:lnTo>
                <a:lnTo>
                  <a:pt x="267" y="193"/>
                </a:lnTo>
                <a:lnTo>
                  <a:pt x="269" y="198"/>
                </a:lnTo>
                <a:lnTo>
                  <a:pt x="274" y="204"/>
                </a:lnTo>
                <a:lnTo>
                  <a:pt x="277" y="209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33" name="Freeform 1360"/>
          <p:cNvSpPr>
            <a:spLocks/>
          </p:cNvSpPr>
          <p:nvPr/>
        </p:nvSpPr>
        <p:spPr bwMode="auto">
          <a:xfrm>
            <a:off x="5534110" y="3448708"/>
            <a:ext cx="475511" cy="225499"/>
          </a:xfrm>
          <a:custGeom>
            <a:avLst/>
            <a:gdLst/>
            <a:ahLst/>
            <a:cxnLst>
              <a:cxn ang="0">
                <a:pos x="222" y="0"/>
              </a:cxn>
              <a:cxn ang="0">
                <a:pos x="223" y="5"/>
              </a:cxn>
              <a:cxn ang="0">
                <a:pos x="223" y="9"/>
              </a:cxn>
              <a:cxn ang="0">
                <a:pos x="227" y="14"/>
              </a:cxn>
              <a:cxn ang="0">
                <a:pos x="232" y="14"/>
              </a:cxn>
              <a:cxn ang="0">
                <a:pos x="235" y="14"/>
              </a:cxn>
              <a:cxn ang="0">
                <a:pos x="243" y="17"/>
              </a:cxn>
              <a:cxn ang="0">
                <a:pos x="248" y="27"/>
              </a:cxn>
              <a:cxn ang="0">
                <a:pos x="249" y="31"/>
              </a:cxn>
              <a:cxn ang="0">
                <a:pos x="249" y="33"/>
              </a:cxn>
              <a:cxn ang="0">
                <a:pos x="243" y="38"/>
              </a:cxn>
              <a:cxn ang="0">
                <a:pos x="231" y="47"/>
              </a:cxn>
              <a:cxn ang="0">
                <a:pos x="219" y="56"/>
              </a:cxn>
              <a:cxn ang="0">
                <a:pos x="207" y="66"/>
              </a:cxn>
              <a:cxn ang="0">
                <a:pos x="195" y="75"/>
              </a:cxn>
              <a:cxn ang="0">
                <a:pos x="183" y="85"/>
              </a:cxn>
              <a:cxn ang="0">
                <a:pos x="171" y="94"/>
              </a:cxn>
              <a:cxn ang="0">
                <a:pos x="159" y="104"/>
              </a:cxn>
              <a:cxn ang="0">
                <a:pos x="155" y="104"/>
              </a:cxn>
              <a:cxn ang="0">
                <a:pos x="138" y="110"/>
              </a:cxn>
              <a:cxn ang="0">
                <a:pos x="135" y="110"/>
              </a:cxn>
              <a:cxn ang="0">
                <a:pos x="134" y="110"/>
              </a:cxn>
              <a:cxn ang="0">
                <a:pos x="131" y="111"/>
              </a:cxn>
              <a:cxn ang="0">
                <a:pos x="128" y="111"/>
              </a:cxn>
              <a:cxn ang="0">
                <a:pos x="126" y="113"/>
              </a:cxn>
              <a:cxn ang="0">
                <a:pos x="125" y="113"/>
              </a:cxn>
              <a:cxn ang="0">
                <a:pos x="123" y="113"/>
              </a:cxn>
              <a:cxn ang="0">
                <a:pos x="121" y="110"/>
              </a:cxn>
              <a:cxn ang="0">
                <a:pos x="121" y="108"/>
              </a:cxn>
              <a:cxn ang="0">
                <a:pos x="122" y="107"/>
              </a:cxn>
              <a:cxn ang="0">
                <a:pos x="121" y="105"/>
              </a:cxn>
              <a:cxn ang="0">
                <a:pos x="122" y="105"/>
              </a:cxn>
              <a:cxn ang="0">
                <a:pos x="122" y="104"/>
              </a:cxn>
              <a:cxn ang="0">
                <a:pos x="122" y="102"/>
              </a:cxn>
              <a:cxn ang="0">
                <a:pos x="122" y="100"/>
              </a:cxn>
              <a:cxn ang="0">
                <a:pos x="122" y="97"/>
              </a:cxn>
              <a:cxn ang="0">
                <a:pos x="121" y="97"/>
              </a:cxn>
              <a:cxn ang="0">
                <a:pos x="121" y="96"/>
              </a:cxn>
              <a:cxn ang="0">
                <a:pos x="118" y="96"/>
              </a:cxn>
              <a:cxn ang="0">
                <a:pos x="115" y="94"/>
              </a:cxn>
              <a:cxn ang="0">
                <a:pos x="114" y="94"/>
              </a:cxn>
              <a:cxn ang="0">
                <a:pos x="113" y="93"/>
              </a:cxn>
              <a:cxn ang="0">
                <a:pos x="110" y="93"/>
              </a:cxn>
              <a:cxn ang="0">
                <a:pos x="109" y="93"/>
              </a:cxn>
              <a:cxn ang="0">
                <a:pos x="109" y="89"/>
              </a:cxn>
              <a:cxn ang="0">
                <a:pos x="107" y="89"/>
              </a:cxn>
              <a:cxn ang="0">
                <a:pos x="105" y="89"/>
              </a:cxn>
              <a:cxn ang="0">
                <a:pos x="102" y="89"/>
              </a:cxn>
              <a:cxn ang="0">
                <a:pos x="101" y="88"/>
              </a:cxn>
              <a:cxn ang="0">
                <a:pos x="99" y="86"/>
              </a:cxn>
              <a:cxn ang="0">
                <a:pos x="98" y="85"/>
              </a:cxn>
              <a:cxn ang="0">
                <a:pos x="98" y="83"/>
              </a:cxn>
              <a:cxn ang="0">
                <a:pos x="94" y="82"/>
              </a:cxn>
              <a:cxn ang="0">
                <a:pos x="93" y="80"/>
              </a:cxn>
              <a:cxn ang="0">
                <a:pos x="90" y="80"/>
              </a:cxn>
              <a:cxn ang="0">
                <a:pos x="90" y="78"/>
              </a:cxn>
              <a:cxn ang="0">
                <a:pos x="91" y="75"/>
              </a:cxn>
              <a:cxn ang="0">
                <a:pos x="90" y="75"/>
              </a:cxn>
              <a:cxn ang="0">
                <a:pos x="90" y="74"/>
              </a:cxn>
              <a:cxn ang="0">
                <a:pos x="17" y="19"/>
              </a:cxn>
              <a:cxn ang="0">
                <a:pos x="0" y="5"/>
              </a:cxn>
            </a:cxnLst>
            <a:rect l="0" t="0" r="r" b="b"/>
            <a:pathLst>
              <a:path w="249" h="113">
                <a:moveTo>
                  <a:pt x="222" y="0"/>
                </a:moveTo>
                <a:lnTo>
                  <a:pt x="223" y="5"/>
                </a:lnTo>
                <a:lnTo>
                  <a:pt x="223" y="9"/>
                </a:lnTo>
                <a:lnTo>
                  <a:pt x="227" y="14"/>
                </a:lnTo>
                <a:lnTo>
                  <a:pt x="232" y="14"/>
                </a:lnTo>
                <a:lnTo>
                  <a:pt x="235" y="14"/>
                </a:lnTo>
                <a:lnTo>
                  <a:pt x="243" y="17"/>
                </a:lnTo>
                <a:lnTo>
                  <a:pt x="248" y="27"/>
                </a:lnTo>
                <a:lnTo>
                  <a:pt x="249" y="31"/>
                </a:lnTo>
                <a:lnTo>
                  <a:pt x="249" y="33"/>
                </a:lnTo>
                <a:lnTo>
                  <a:pt x="243" y="38"/>
                </a:lnTo>
                <a:lnTo>
                  <a:pt x="231" y="47"/>
                </a:lnTo>
                <a:lnTo>
                  <a:pt x="219" y="56"/>
                </a:lnTo>
                <a:lnTo>
                  <a:pt x="207" y="66"/>
                </a:lnTo>
                <a:lnTo>
                  <a:pt x="195" y="75"/>
                </a:lnTo>
                <a:lnTo>
                  <a:pt x="183" y="85"/>
                </a:lnTo>
                <a:lnTo>
                  <a:pt x="171" y="94"/>
                </a:lnTo>
                <a:lnTo>
                  <a:pt x="159" y="104"/>
                </a:lnTo>
                <a:lnTo>
                  <a:pt x="155" y="104"/>
                </a:lnTo>
                <a:lnTo>
                  <a:pt x="138" y="110"/>
                </a:lnTo>
                <a:lnTo>
                  <a:pt x="135" y="110"/>
                </a:lnTo>
                <a:lnTo>
                  <a:pt x="134" y="110"/>
                </a:lnTo>
                <a:lnTo>
                  <a:pt x="131" y="111"/>
                </a:lnTo>
                <a:lnTo>
                  <a:pt x="128" y="111"/>
                </a:lnTo>
                <a:lnTo>
                  <a:pt x="126" y="113"/>
                </a:lnTo>
                <a:lnTo>
                  <a:pt x="125" y="113"/>
                </a:lnTo>
                <a:lnTo>
                  <a:pt x="123" y="113"/>
                </a:lnTo>
                <a:lnTo>
                  <a:pt x="121" y="110"/>
                </a:lnTo>
                <a:lnTo>
                  <a:pt x="121" y="108"/>
                </a:lnTo>
                <a:lnTo>
                  <a:pt x="122" y="107"/>
                </a:lnTo>
                <a:lnTo>
                  <a:pt x="121" y="105"/>
                </a:lnTo>
                <a:lnTo>
                  <a:pt x="122" y="105"/>
                </a:lnTo>
                <a:lnTo>
                  <a:pt x="122" y="104"/>
                </a:lnTo>
                <a:lnTo>
                  <a:pt x="122" y="102"/>
                </a:lnTo>
                <a:lnTo>
                  <a:pt x="122" y="100"/>
                </a:lnTo>
                <a:lnTo>
                  <a:pt x="122" y="97"/>
                </a:lnTo>
                <a:lnTo>
                  <a:pt x="121" y="97"/>
                </a:lnTo>
                <a:lnTo>
                  <a:pt x="121" y="96"/>
                </a:lnTo>
                <a:lnTo>
                  <a:pt x="118" y="96"/>
                </a:lnTo>
                <a:lnTo>
                  <a:pt x="115" y="94"/>
                </a:lnTo>
                <a:lnTo>
                  <a:pt x="114" y="94"/>
                </a:lnTo>
                <a:lnTo>
                  <a:pt x="113" y="93"/>
                </a:lnTo>
                <a:lnTo>
                  <a:pt x="110" y="93"/>
                </a:lnTo>
                <a:lnTo>
                  <a:pt x="109" y="93"/>
                </a:lnTo>
                <a:lnTo>
                  <a:pt x="109" y="89"/>
                </a:lnTo>
                <a:lnTo>
                  <a:pt x="107" y="89"/>
                </a:lnTo>
                <a:lnTo>
                  <a:pt x="105" y="89"/>
                </a:lnTo>
                <a:lnTo>
                  <a:pt x="102" y="89"/>
                </a:lnTo>
                <a:lnTo>
                  <a:pt x="101" y="88"/>
                </a:lnTo>
                <a:lnTo>
                  <a:pt x="99" y="86"/>
                </a:lnTo>
                <a:lnTo>
                  <a:pt x="98" y="85"/>
                </a:lnTo>
                <a:lnTo>
                  <a:pt x="98" y="83"/>
                </a:lnTo>
                <a:lnTo>
                  <a:pt x="94" y="82"/>
                </a:lnTo>
                <a:lnTo>
                  <a:pt x="93" y="80"/>
                </a:lnTo>
                <a:lnTo>
                  <a:pt x="90" y="80"/>
                </a:lnTo>
                <a:lnTo>
                  <a:pt x="90" y="78"/>
                </a:lnTo>
                <a:lnTo>
                  <a:pt x="91" y="75"/>
                </a:lnTo>
                <a:lnTo>
                  <a:pt x="90" y="75"/>
                </a:lnTo>
                <a:lnTo>
                  <a:pt x="90" y="74"/>
                </a:lnTo>
                <a:lnTo>
                  <a:pt x="17" y="19"/>
                </a:lnTo>
                <a:lnTo>
                  <a:pt x="0" y="5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34" name="Freeform 1361"/>
          <p:cNvSpPr>
            <a:spLocks/>
          </p:cNvSpPr>
          <p:nvPr/>
        </p:nvSpPr>
        <p:spPr bwMode="auto">
          <a:xfrm>
            <a:off x="6134345" y="2630469"/>
            <a:ext cx="192933" cy="98790"/>
          </a:xfrm>
          <a:custGeom>
            <a:avLst/>
            <a:gdLst/>
            <a:ahLst/>
            <a:cxnLst>
              <a:cxn ang="0">
                <a:pos x="20" y="9"/>
              </a:cxn>
              <a:cxn ang="0">
                <a:pos x="36" y="14"/>
              </a:cxn>
              <a:cxn ang="0">
                <a:pos x="41" y="9"/>
              </a:cxn>
              <a:cxn ang="0">
                <a:pos x="53" y="6"/>
              </a:cxn>
              <a:cxn ang="0">
                <a:pos x="62" y="5"/>
              </a:cxn>
              <a:cxn ang="0">
                <a:pos x="66" y="1"/>
              </a:cxn>
              <a:cxn ang="0">
                <a:pos x="75" y="0"/>
              </a:cxn>
              <a:cxn ang="0">
                <a:pos x="82" y="1"/>
              </a:cxn>
              <a:cxn ang="0">
                <a:pos x="90" y="3"/>
              </a:cxn>
              <a:cxn ang="0">
                <a:pos x="98" y="6"/>
              </a:cxn>
              <a:cxn ang="0">
                <a:pos x="101" y="11"/>
              </a:cxn>
              <a:cxn ang="0">
                <a:pos x="98" y="14"/>
              </a:cxn>
              <a:cxn ang="0">
                <a:pos x="93" y="14"/>
              </a:cxn>
              <a:cxn ang="0">
                <a:pos x="89" y="19"/>
              </a:cxn>
              <a:cxn ang="0">
                <a:pos x="87" y="23"/>
              </a:cxn>
              <a:cxn ang="0">
                <a:pos x="82" y="30"/>
              </a:cxn>
              <a:cxn ang="0">
                <a:pos x="78" y="34"/>
              </a:cxn>
              <a:cxn ang="0">
                <a:pos x="71" y="41"/>
              </a:cxn>
              <a:cxn ang="0">
                <a:pos x="61" y="41"/>
              </a:cxn>
              <a:cxn ang="0">
                <a:pos x="54" y="42"/>
              </a:cxn>
              <a:cxn ang="0">
                <a:pos x="46" y="45"/>
              </a:cxn>
              <a:cxn ang="0">
                <a:pos x="39" y="47"/>
              </a:cxn>
              <a:cxn ang="0">
                <a:pos x="33" y="49"/>
              </a:cxn>
              <a:cxn ang="0">
                <a:pos x="24" y="47"/>
              </a:cxn>
              <a:cxn ang="0">
                <a:pos x="18" y="42"/>
              </a:cxn>
              <a:cxn ang="0">
                <a:pos x="12" y="38"/>
              </a:cxn>
              <a:cxn ang="0">
                <a:pos x="5" y="33"/>
              </a:cxn>
              <a:cxn ang="0">
                <a:pos x="2" y="30"/>
              </a:cxn>
              <a:cxn ang="0">
                <a:pos x="2" y="27"/>
              </a:cxn>
              <a:cxn ang="0">
                <a:pos x="5" y="23"/>
              </a:cxn>
              <a:cxn ang="0">
                <a:pos x="8" y="19"/>
              </a:cxn>
              <a:cxn ang="0">
                <a:pos x="8" y="14"/>
              </a:cxn>
              <a:cxn ang="0">
                <a:pos x="16" y="12"/>
              </a:cxn>
            </a:cxnLst>
            <a:rect l="0" t="0" r="r" b="b"/>
            <a:pathLst>
              <a:path w="101" h="49">
                <a:moveTo>
                  <a:pt x="16" y="8"/>
                </a:moveTo>
                <a:lnTo>
                  <a:pt x="20" y="9"/>
                </a:lnTo>
                <a:lnTo>
                  <a:pt x="26" y="14"/>
                </a:lnTo>
                <a:lnTo>
                  <a:pt x="36" y="14"/>
                </a:lnTo>
                <a:lnTo>
                  <a:pt x="37" y="14"/>
                </a:lnTo>
                <a:lnTo>
                  <a:pt x="41" y="9"/>
                </a:lnTo>
                <a:lnTo>
                  <a:pt x="49" y="8"/>
                </a:lnTo>
                <a:lnTo>
                  <a:pt x="53" y="6"/>
                </a:lnTo>
                <a:lnTo>
                  <a:pt x="58" y="6"/>
                </a:lnTo>
                <a:lnTo>
                  <a:pt x="62" y="5"/>
                </a:lnTo>
                <a:lnTo>
                  <a:pt x="65" y="5"/>
                </a:lnTo>
                <a:lnTo>
                  <a:pt x="66" y="1"/>
                </a:lnTo>
                <a:lnTo>
                  <a:pt x="70" y="0"/>
                </a:lnTo>
                <a:lnTo>
                  <a:pt x="75" y="0"/>
                </a:lnTo>
                <a:lnTo>
                  <a:pt x="78" y="0"/>
                </a:lnTo>
                <a:lnTo>
                  <a:pt x="82" y="1"/>
                </a:lnTo>
                <a:lnTo>
                  <a:pt x="87" y="3"/>
                </a:lnTo>
                <a:lnTo>
                  <a:pt x="90" y="3"/>
                </a:lnTo>
                <a:lnTo>
                  <a:pt x="94" y="5"/>
                </a:lnTo>
                <a:lnTo>
                  <a:pt x="98" y="6"/>
                </a:lnTo>
                <a:lnTo>
                  <a:pt x="101" y="8"/>
                </a:lnTo>
                <a:lnTo>
                  <a:pt x="101" y="11"/>
                </a:lnTo>
                <a:lnTo>
                  <a:pt x="101" y="12"/>
                </a:lnTo>
                <a:lnTo>
                  <a:pt x="98" y="14"/>
                </a:lnTo>
                <a:lnTo>
                  <a:pt x="95" y="14"/>
                </a:lnTo>
                <a:lnTo>
                  <a:pt x="93" y="14"/>
                </a:lnTo>
                <a:lnTo>
                  <a:pt x="89" y="17"/>
                </a:lnTo>
                <a:lnTo>
                  <a:pt x="89" y="19"/>
                </a:lnTo>
                <a:lnTo>
                  <a:pt x="87" y="20"/>
                </a:lnTo>
                <a:lnTo>
                  <a:pt x="87" y="23"/>
                </a:lnTo>
                <a:lnTo>
                  <a:pt x="83" y="27"/>
                </a:lnTo>
                <a:lnTo>
                  <a:pt x="82" y="30"/>
                </a:lnTo>
                <a:lnTo>
                  <a:pt x="79" y="33"/>
                </a:lnTo>
                <a:lnTo>
                  <a:pt x="78" y="34"/>
                </a:lnTo>
                <a:lnTo>
                  <a:pt x="75" y="39"/>
                </a:lnTo>
                <a:lnTo>
                  <a:pt x="71" y="41"/>
                </a:lnTo>
                <a:lnTo>
                  <a:pt x="62" y="42"/>
                </a:lnTo>
                <a:lnTo>
                  <a:pt x="61" y="41"/>
                </a:lnTo>
                <a:lnTo>
                  <a:pt x="57" y="42"/>
                </a:lnTo>
                <a:lnTo>
                  <a:pt x="54" y="42"/>
                </a:lnTo>
                <a:lnTo>
                  <a:pt x="50" y="44"/>
                </a:lnTo>
                <a:lnTo>
                  <a:pt x="46" y="45"/>
                </a:lnTo>
                <a:lnTo>
                  <a:pt x="43" y="45"/>
                </a:lnTo>
                <a:lnTo>
                  <a:pt x="39" y="47"/>
                </a:lnTo>
                <a:lnTo>
                  <a:pt x="37" y="49"/>
                </a:lnTo>
                <a:lnTo>
                  <a:pt x="33" y="49"/>
                </a:lnTo>
                <a:lnTo>
                  <a:pt x="28" y="49"/>
                </a:lnTo>
                <a:lnTo>
                  <a:pt x="24" y="47"/>
                </a:lnTo>
                <a:lnTo>
                  <a:pt x="21" y="45"/>
                </a:lnTo>
                <a:lnTo>
                  <a:pt x="18" y="42"/>
                </a:lnTo>
                <a:lnTo>
                  <a:pt x="14" y="41"/>
                </a:lnTo>
                <a:lnTo>
                  <a:pt x="12" y="38"/>
                </a:lnTo>
                <a:lnTo>
                  <a:pt x="8" y="36"/>
                </a:lnTo>
                <a:lnTo>
                  <a:pt x="5" y="33"/>
                </a:lnTo>
                <a:lnTo>
                  <a:pt x="4" y="30"/>
                </a:lnTo>
                <a:lnTo>
                  <a:pt x="2" y="30"/>
                </a:lnTo>
                <a:lnTo>
                  <a:pt x="0" y="30"/>
                </a:lnTo>
                <a:lnTo>
                  <a:pt x="2" y="27"/>
                </a:lnTo>
                <a:lnTo>
                  <a:pt x="6" y="27"/>
                </a:lnTo>
                <a:lnTo>
                  <a:pt x="5" y="23"/>
                </a:lnTo>
                <a:lnTo>
                  <a:pt x="5" y="22"/>
                </a:lnTo>
                <a:lnTo>
                  <a:pt x="8" y="19"/>
                </a:lnTo>
                <a:lnTo>
                  <a:pt x="6" y="16"/>
                </a:lnTo>
                <a:lnTo>
                  <a:pt x="8" y="14"/>
                </a:lnTo>
                <a:lnTo>
                  <a:pt x="14" y="14"/>
                </a:lnTo>
                <a:lnTo>
                  <a:pt x="16" y="12"/>
                </a:lnTo>
                <a:lnTo>
                  <a:pt x="16" y="8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35" name="Freeform 1362"/>
          <p:cNvSpPr>
            <a:spLocks/>
          </p:cNvSpPr>
          <p:nvPr/>
        </p:nvSpPr>
        <p:spPr bwMode="auto">
          <a:xfrm>
            <a:off x="6134345" y="2630469"/>
            <a:ext cx="192933" cy="98790"/>
          </a:xfrm>
          <a:custGeom>
            <a:avLst/>
            <a:gdLst/>
            <a:ahLst/>
            <a:cxnLst>
              <a:cxn ang="0">
                <a:pos x="20" y="9"/>
              </a:cxn>
              <a:cxn ang="0">
                <a:pos x="36" y="14"/>
              </a:cxn>
              <a:cxn ang="0">
                <a:pos x="41" y="9"/>
              </a:cxn>
              <a:cxn ang="0">
                <a:pos x="53" y="6"/>
              </a:cxn>
              <a:cxn ang="0">
                <a:pos x="62" y="5"/>
              </a:cxn>
              <a:cxn ang="0">
                <a:pos x="66" y="1"/>
              </a:cxn>
              <a:cxn ang="0">
                <a:pos x="75" y="0"/>
              </a:cxn>
              <a:cxn ang="0">
                <a:pos x="82" y="1"/>
              </a:cxn>
              <a:cxn ang="0">
                <a:pos x="90" y="3"/>
              </a:cxn>
              <a:cxn ang="0">
                <a:pos x="98" y="6"/>
              </a:cxn>
              <a:cxn ang="0">
                <a:pos x="101" y="11"/>
              </a:cxn>
              <a:cxn ang="0">
                <a:pos x="98" y="14"/>
              </a:cxn>
              <a:cxn ang="0">
                <a:pos x="93" y="14"/>
              </a:cxn>
              <a:cxn ang="0">
                <a:pos x="89" y="19"/>
              </a:cxn>
              <a:cxn ang="0">
                <a:pos x="87" y="23"/>
              </a:cxn>
              <a:cxn ang="0">
                <a:pos x="82" y="30"/>
              </a:cxn>
              <a:cxn ang="0">
                <a:pos x="78" y="34"/>
              </a:cxn>
              <a:cxn ang="0">
                <a:pos x="71" y="41"/>
              </a:cxn>
              <a:cxn ang="0">
                <a:pos x="61" y="41"/>
              </a:cxn>
              <a:cxn ang="0">
                <a:pos x="54" y="42"/>
              </a:cxn>
              <a:cxn ang="0">
                <a:pos x="46" y="45"/>
              </a:cxn>
              <a:cxn ang="0">
                <a:pos x="39" y="47"/>
              </a:cxn>
              <a:cxn ang="0">
                <a:pos x="33" y="49"/>
              </a:cxn>
              <a:cxn ang="0">
                <a:pos x="24" y="47"/>
              </a:cxn>
              <a:cxn ang="0">
                <a:pos x="18" y="42"/>
              </a:cxn>
              <a:cxn ang="0">
                <a:pos x="12" y="38"/>
              </a:cxn>
              <a:cxn ang="0">
                <a:pos x="5" y="33"/>
              </a:cxn>
              <a:cxn ang="0">
                <a:pos x="2" y="30"/>
              </a:cxn>
              <a:cxn ang="0">
                <a:pos x="2" y="27"/>
              </a:cxn>
              <a:cxn ang="0">
                <a:pos x="5" y="23"/>
              </a:cxn>
              <a:cxn ang="0">
                <a:pos x="8" y="19"/>
              </a:cxn>
              <a:cxn ang="0">
                <a:pos x="8" y="14"/>
              </a:cxn>
              <a:cxn ang="0">
                <a:pos x="16" y="12"/>
              </a:cxn>
            </a:cxnLst>
            <a:rect l="0" t="0" r="r" b="b"/>
            <a:pathLst>
              <a:path w="101" h="49">
                <a:moveTo>
                  <a:pt x="16" y="8"/>
                </a:moveTo>
                <a:lnTo>
                  <a:pt x="20" y="9"/>
                </a:lnTo>
                <a:lnTo>
                  <a:pt x="26" y="14"/>
                </a:lnTo>
                <a:lnTo>
                  <a:pt x="36" y="14"/>
                </a:lnTo>
                <a:lnTo>
                  <a:pt x="37" y="14"/>
                </a:lnTo>
                <a:lnTo>
                  <a:pt x="41" y="9"/>
                </a:lnTo>
                <a:lnTo>
                  <a:pt x="49" y="8"/>
                </a:lnTo>
                <a:lnTo>
                  <a:pt x="53" y="6"/>
                </a:lnTo>
                <a:lnTo>
                  <a:pt x="58" y="6"/>
                </a:lnTo>
                <a:lnTo>
                  <a:pt x="62" y="5"/>
                </a:lnTo>
                <a:lnTo>
                  <a:pt x="65" y="5"/>
                </a:lnTo>
                <a:lnTo>
                  <a:pt x="66" y="1"/>
                </a:lnTo>
                <a:lnTo>
                  <a:pt x="70" y="0"/>
                </a:lnTo>
                <a:lnTo>
                  <a:pt x="75" y="0"/>
                </a:lnTo>
                <a:lnTo>
                  <a:pt x="78" y="0"/>
                </a:lnTo>
                <a:lnTo>
                  <a:pt x="82" y="1"/>
                </a:lnTo>
                <a:lnTo>
                  <a:pt x="87" y="3"/>
                </a:lnTo>
                <a:lnTo>
                  <a:pt x="90" y="3"/>
                </a:lnTo>
                <a:lnTo>
                  <a:pt x="94" y="5"/>
                </a:lnTo>
                <a:lnTo>
                  <a:pt x="98" y="6"/>
                </a:lnTo>
                <a:lnTo>
                  <a:pt x="101" y="8"/>
                </a:lnTo>
                <a:lnTo>
                  <a:pt x="101" y="11"/>
                </a:lnTo>
                <a:lnTo>
                  <a:pt x="101" y="12"/>
                </a:lnTo>
                <a:lnTo>
                  <a:pt x="98" y="14"/>
                </a:lnTo>
                <a:lnTo>
                  <a:pt x="95" y="14"/>
                </a:lnTo>
                <a:lnTo>
                  <a:pt x="93" y="14"/>
                </a:lnTo>
                <a:lnTo>
                  <a:pt x="89" y="17"/>
                </a:lnTo>
                <a:lnTo>
                  <a:pt x="89" y="19"/>
                </a:lnTo>
                <a:lnTo>
                  <a:pt x="87" y="20"/>
                </a:lnTo>
                <a:lnTo>
                  <a:pt x="87" y="23"/>
                </a:lnTo>
                <a:lnTo>
                  <a:pt x="83" y="27"/>
                </a:lnTo>
                <a:lnTo>
                  <a:pt x="82" y="30"/>
                </a:lnTo>
                <a:lnTo>
                  <a:pt x="79" y="33"/>
                </a:lnTo>
                <a:lnTo>
                  <a:pt x="78" y="34"/>
                </a:lnTo>
                <a:lnTo>
                  <a:pt x="75" y="39"/>
                </a:lnTo>
                <a:lnTo>
                  <a:pt x="71" y="41"/>
                </a:lnTo>
                <a:lnTo>
                  <a:pt x="62" y="42"/>
                </a:lnTo>
                <a:lnTo>
                  <a:pt x="61" y="41"/>
                </a:lnTo>
                <a:lnTo>
                  <a:pt x="57" y="42"/>
                </a:lnTo>
                <a:lnTo>
                  <a:pt x="54" y="42"/>
                </a:lnTo>
                <a:lnTo>
                  <a:pt x="50" y="44"/>
                </a:lnTo>
                <a:lnTo>
                  <a:pt x="46" y="45"/>
                </a:lnTo>
                <a:lnTo>
                  <a:pt x="43" y="45"/>
                </a:lnTo>
                <a:lnTo>
                  <a:pt x="39" y="47"/>
                </a:lnTo>
                <a:lnTo>
                  <a:pt x="37" y="49"/>
                </a:lnTo>
                <a:lnTo>
                  <a:pt x="33" y="49"/>
                </a:lnTo>
                <a:lnTo>
                  <a:pt x="28" y="49"/>
                </a:lnTo>
                <a:lnTo>
                  <a:pt x="24" y="47"/>
                </a:lnTo>
                <a:lnTo>
                  <a:pt x="21" y="45"/>
                </a:lnTo>
                <a:lnTo>
                  <a:pt x="18" y="42"/>
                </a:lnTo>
                <a:lnTo>
                  <a:pt x="14" y="41"/>
                </a:lnTo>
                <a:lnTo>
                  <a:pt x="12" y="38"/>
                </a:lnTo>
                <a:lnTo>
                  <a:pt x="8" y="36"/>
                </a:lnTo>
                <a:lnTo>
                  <a:pt x="5" y="33"/>
                </a:lnTo>
                <a:lnTo>
                  <a:pt x="4" y="30"/>
                </a:lnTo>
                <a:lnTo>
                  <a:pt x="2" y="30"/>
                </a:lnTo>
                <a:lnTo>
                  <a:pt x="0" y="30"/>
                </a:lnTo>
                <a:lnTo>
                  <a:pt x="2" y="27"/>
                </a:lnTo>
                <a:lnTo>
                  <a:pt x="6" y="27"/>
                </a:lnTo>
                <a:lnTo>
                  <a:pt x="5" y="23"/>
                </a:lnTo>
                <a:lnTo>
                  <a:pt x="5" y="22"/>
                </a:lnTo>
                <a:lnTo>
                  <a:pt x="8" y="19"/>
                </a:lnTo>
                <a:lnTo>
                  <a:pt x="6" y="16"/>
                </a:lnTo>
                <a:lnTo>
                  <a:pt x="8" y="14"/>
                </a:lnTo>
                <a:lnTo>
                  <a:pt x="14" y="14"/>
                </a:lnTo>
                <a:lnTo>
                  <a:pt x="16" y="12"/>
                </a:lnTo>
                <a:lnTo>
                  <a:pt x="16" y="8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36" name="Freeform 1363"/>
          <p:cNvSpPr>
            <a:spLocks/>
          </p:cNvSpPr>
          <p:nvPr/>
        </p:nvSpPr>
        <p:spPr bwMode="auto">
          <a:xfrm>
            <a:off x="4968956" y="1994778"/>
            <a:ext cx="313759" cy="111675"/>
          </a:xfrm>
          <a:custGeom>
            <a:avLst/>
            <a:gdLst/>
            <a:ahLst/>
            <a:cxnLst>
              <a:cxn ang="0">
                <a:pos x="60" y="51"/>
              </a:cxn>
              <a:cxn ang="0">
                <a:pos x="40" y="48"/>
              </a:cxn>
              <a:cxn ang="0">
                <a:pos x="28" y="47"/>
              </a:cxn>
              <a:cxn ang="0">
                <a:pos x="42" y="42"/>
              </a:cxn>
              <a:cxn ang="0">
                <a:pos x="42" y="36"/>
              </a:cxn>
              <a:cxn ang="0">
                <a:pos x="32" y="34"/>
              </a:cxn>
              <a:cxn ang="0">
                <a:pos x="22" y="31"/>
              </a:cxn>
              <a:cxn ang="0">
                <a:pos x="8" y="31"/>
              </a:cxn>
              <a:cxn ang="0">
                <a:pos x="23" y="28"/>
              </a:cxn>
              <a:cxn ang="0">
                <a:pos x="39" y="28"/>
              </a:cxn>
              <a:cxn ang="0">
                <a:pos x="30" y="25"/>
              </a:cxn>
              <a:cxn ang="0">
                <a:pos x="40" y="20"/>
              </a:cxn>
              <a:cxn ang="0">
                <a:pos x="32" y="18"/>
              </a:cxn>
              <a:cxn ang="0">
                <a:pos x="18" y="18"/>
              </a:cxn>
              <a:cxn ang="0">
                <a:pos x="0" y="18"/>
              </a:cxn>
              <a:cxn ang="0">
                <a:pos x="8" y="17"/>
              </a:cxn>
              <a:cxn ang="0">
                <a:pos x="12" y="15"/>
              </a:cxn>
              <a:cxn ang="0">
                <a:pos x="19" y="14"/>
              </a:cxn>
              <a:cxn ang="0">
                <a:pos x="10" y="9"/>
              </a:cxn>
              <a:cxn ang="0">
                <a:pos x="14" y="7"/>
              </a:cxn>
              <a:cxn ang="0">
                <a:pos x="26" y="9"/>
              </a:cxn>
              <a:cxn ang="0">
                <a:pos x="32" y="11"/>
              </a:cxn>
              <a:cxn ang="0">
                <a:pos x="28" y="6"/>
              </a:cxn>
              <a:cxn ang="0">
                <a:pos x="26" y="4"/>
              </a:cxn>
              <a:cxn ang="0">
                <a:pos x="24" y="1"/>
              </a:cxn>
              <a:cxn ang="0">
                <a:pos x="34" y="4"/>
              </a:cxn>
              <a:cxn ang="0">
                <a:pos x="47" y="9"/>
              </a:cxn>
              <a:cxn ang="0">
                <a:pos x="47" y="15"/>
              </a:cxn>
              <a:cxn ang="0">
                <a:pos x="46" y="18"/>
              </a:cxn>
              <a:cxn ang="0">
                <a:pos x="50" y="22"/>
              </a:cxn>
              <a:cxn ang="0">
                <a:pos x="55" y="17"/>
              </a:cxn>
              <a:cxn ang="0">
                <a:pos x="63" y="17"/>
              </a:cxn>
              <a:cxn ang="0">
                <a:pos x="64" y="7"/>
              </a:cxn>
              <a:cxn ang="0">
                <a:pos x="76" y="14"/>
              </a:cxn>
              <a:cxn ang="0">
                <a:pos x="80" y="9"/>
              </a:cxn>
              <a:cxn ang="0">
                <a:pos x="88" y="7"/>
              </a:cxn>
              <a:cxn ang="0">
                <a:pos x="95" y="14"/>
              </a:cxn>
              <a:cxn ang="0">
                <a:pos x="95" y="9"/>
              </a:cxn>
              <a:cxn ang="0">
                <a:pos x="104" y="11"/>
              </a:cxn>
              <a:cxn ang="0">
                <a:pos x="113" y="7"/>
              </a:cxn>
              <a:cxn ang="0">
                <a:pos x="121" y="3"/>
              </a:cxn>
              <a:cxn ang="0">
                <a:pos x="128" y="3"/>
              </a:cxn>
              <a:cxn ang="0">
                <a:pos x="137" y="7"/>
              </a:cxn>
              <a:cxn ang="0">
                <a:pos x="145" y="3"/>
              </a:cxn>
              <a:cxn ang="0">
                <a:pos x="143" y="9"/>
              </a:cxn>
              <a:cxn ang="0">
                <a:pos x="147" y="15"/>
              </a:cxn>
              <a:cxn ang="0">
                <a:pos x="159" y="15"/>
              </a:cxn>
              <a:cxn ang="0">
                <a:pos x="163" y="25"/>
              </a:cxn>
              <a:cxn ang="0">
                <a:pos x="163" y="28"/>
              </a:cxn>
              <a:cxn ang="0">
                <a:pos x="151" y="33"/>
              </a:cxn>
              <a:cxn ang="0">
                <a:pos x="152" y="37"/>
              </a:cxn>
              <a:cxn ang="0">
                <a:pos x="141" y="39"/>
              </a:cxn>
              <a:cxn ang="0">
                <a:pos x="132" y="42"/>
              </a:cxn>
              <a:cxn ang="0">
                <a:pos x="113" y="48"/>
              </a:cxn>
              <a:cxn ang="0">
                <a:pos x="105" y="50"/>
              </a:cxn>
              <a:cxn ang="0">
                <a:pos x="83" y="56"/>
              </a:cxn>
            </a:cxnLst>
            <a:rect l="0" t="0" r="r" b="b"/>
            <a:pathLst>
              <a:path w="165" h="56">
                <a:moveTo>
                  <a:pt x="68" y="53"/>
                </a:moveTo>
                <a:lnTo>
                  <a:pt x="68" y="55"/>
                </a:lnTo>
                <a:lnTo>
                  <a:pt x="66" y="53"/>
                </a:lnTo>
                <a:lnTo>
                  <a:pt x="63" y="53"/>
                </a:lnTo>
                <a:lnTo>
                  <a:pt x="60" y="51"/>
                </a:lnTo>
                <a:lnTo>
                  <a:pt x="55" y="48"/>
                </a:lnTo>
                <a:lnTo>
                  <a:pt x="50" y="48"/>
                </a:lnTo>
                <a:lnTo>
                  <a:pt x="47" y="48"/>
                </a:lnTo>
                <a:lnTo>
                  <a:pt x="42" y="48"/>
                </a:lnTo>
                <a:lnTo>
                  <a:pt x="40" y="48"/>
                </a:lnTo>
                <a:lnTo>
                  <a:pt x="38" y="48"/>
                </a:lnTo>
                <a:lnTo>
                  <a:pt x="32" y="48"/>
                </a:lnTo>
                <a:lnTo>
                  <a:pt x="30" y="48"/>
                </a:lnTo>
                <a:lnTo>
                  <a:pt x="28" y="48"/>
                </a:lnTo>
                <a:lnTo>
                  <a:pt x="28" y="47"/>
                </a:lnTo>
                <a:lnTo>
                  <a:pt x="27" y="44"/>
                </a:lnTo>
                <a:lnTo>
                  <a:pt x="31" y="45"/>
                </a:lnTo>
                <a:lnTo>
                  <a:pt x="32" y="45"/>
                </a:lnTo>
                <a:lnTo>
                  <a:pt x="38" y="44"/>
                </a:lnTo>
                <a:lnTo>
                  <a:pt x="42" y="42"/>
                </a:lnTo>
                <a:lnTo>
                  <a:pt x="42" y="39"/>
                </a:lnTo>
                <a:lnTo>
                  <a:pt x="36" y="40"/>
                </a:lnTo>
                <a:lnTo>
                  <a:pt x="39" y="39"/>
                </a:lnTo>
                <a:lnTo>
                  <a:pt x="39" y="37"/>
                </a:lnTo>
                <a:lnTo>
                  <a:pt x="42" y="36"/>
                </a:lnTo>
                <a:lnTo>
                  <a:pt x="39" y="36"/>
                </a:lnTo>
                <a:lnTo>
                  <a:pt x="36" y="37"/>
                </a:lnTo>
                <a:lnTo>
                  <a:pt x="35" y="36"/>
                </a:lnTo>
                <a:lnTo>
                  <a:pt x="34" y="36"/>
                </a:lnTo>
                <a:lnTo>
                  <a:pt x="32" y="34"/>
                </a:lnTo>
                <a:lnTo>
                  <a:pt x="31" y="31"/>
                </a:lnTo>
                <a:lnTo>
                  <a:pt x="30" y="31"/>
                </a:lnTo>
                <a:lnTo>
                  <a:pt x="26" y="31"/>
                </a:lnTo>
                <a:lnTo>
                  <a:pt x="24" y="31"/>
                </a:lnTo>
                <a:lnTo>
                  <a:pt x="22" y="31"/>
                </a:lnTo>
                <a:lnTo>
                  <a:pt x="19" y="31"/>
                </a:lnTo>
                <a:lnTo>
                  <a:pt x="16" y="31"/>
                </a:lnTo>
                <a:lnTo>
                  <a:pt x="14" y="33"/>
                </a:lnTo>
                <a:lnTo>
                  <a:pt x="10" y="33"/>
                </a:lnTo>
                <a:lnTo>
                  <a:pt x="8" y="31"/>
                </a:lnTo>
                <a:lnTo>
                  <a:pt x="10" y="29"/>
                </a:lnTo>
                <a:lnTo>
                  <a:pt x="12" y="29"/>
                </a:lnTo>
                <a:lnTo>
                  <a:pt x="18" y="29"/>
                </a:lnTo>
                <a:lnTo>
                  <a:pt x="20" y="28"/>
                </a:lnTo>
                <a:lnTo>
                  <a:pt x="23" y="28"/>
                </a:lnTo>
                <a:lnTo>
                  <a:pt x="26" y="26"/>
                </a:lnTo>
                <a:lnTo>
                  <a:pt x="28" y="28"/>
                </a:lnTo>
                <a:lnTo>
                  <a:pt x="31" y="26"/>
                </a:lnTo>
                <a:lnTo>
                  <a:pt x="34" y="28"/>
                </a:lnTo>
                <a:lnTo>
                  <a:pt x="39" y="28"/>
                </a:lnTo>
                <a:lnTo>
                  <a:pt x="42" y="25"/>
                </a:lnTo>
                <a:lnTo>
                  <a:pt x="40" y="25"/>
                </a:lnTo>
                <a:lnTo>
                  <a:pt x="39" y="26"/>
                </a:lnTo>
                <a:lnTo>
                  <a:pt x="36" y="25"/>
                </a:lnTo>
                <a:lnTo>
                  <a:pt x="30" y="25"/>
                </a:lnTo>
                <a:lnTo>
                  <a:pt x="31" y="23"/>
                </a:lnTo>
                <a:lnTo>
                  <a:pt x="32" y="23"/>
                </a:lnTo>
                <a:lnTo>
                  <a:pt x="34" y="22"/>
                </a:lnTo>
                <a:lnTo>
                  <a:pt x="36" y="22"/>
                </a:lnTo>
                <a:lnTo>
                  <a:pt x="40" y="20"/>
                </a:lnTo>
                <a:lnTo>
                  <a:pt x="38" y="18"/>
                </a:lnTo>
                <a:lnTo>
                  <a:pt x="36" y="20"/>
                </a:lnTo>
                <a:lnTo>
                  <a:pt x="34" y="20"/>
                </a:lnTo>
                <a:lnTo>
                  <a:pt x="34" y="18"/>
                </a:lnTo>
                <a:lnTo>
                  <a:pt x="32" y="18"/>
                </a:lnTo>
                <a:lnTo>
                  <a:pt x="31" y="17"/>
                </a:lnTo>
                <a:lnTo>
                  <a:pt x="24" y="17"/>
                </a:lnTo>
                <a:lnTo>
                  <a:pt x="23" y="17"/>
                </a:lnTo>
                <a:lnTo>
                  <a:pt x="19" y="18"/>
                </a:lnTo>
                <a:lnTo>
                  <a:pt x="18" y="18"/>
                </a:lnTo>
                <a:lnTo>
                  <a:pt x="12" y="20"/>
                </a:lnTo>
                <a:lnTo>
                  <a:pt x="11" y="20"/>
                </a:lnTo>
                <a:lnTo>
                  <a:pt x="7" y="18"/>
                </a:lnTo>
                <a:lnTo>
                  <a:pt x="0" y="20"/>
                </a:lnTo>
                <a:lnTo>
                  <a:pt x="0" y="18"/>
                </a:lnTo>
                <a:lnTo>
                  <a:pt x="2" y="17"/>
                </a:lnTo>
                <a:lnTo>
                  <a:pt x="4" y="17"/>
                </a:lnTo>
                <a:lnTo>
                  <a:pt x="10" y="18"/>
                </a:lnTo>
                <a:lnTo>
                  <a:pt x="11" y="17"/>
                </a:lnTo>
                <a:lnTo>
                  <a:pt x="8" y="17"/>
                </a:lnTo>
                <a:lnTo>
                  <a:pt x="10" y="17"/>
                </a:lnTo>
                <a:lnTo>
                  <a:pt x="10" y="15"/>
                </a:lnTo>
                <a:lnTo>
                  <a:pt x="7" y="15"/>
                </a:lnTo>
                <a:lnTo>
                  <a:pt x="6" y="14"/>
                </a:lnTo>
                <a:lnTo>
                  <a:pt x="12" y="15"/>
                </a:lnTo>
                <a:lnTo>
                  <a:pt x="15" y="17"/>
                </a:lnTo>
                <a:lnTo>
                  <a:pt x="19" y="15"/>
                </a:lnTo>
                <a:lnTo>
                  <a:pt x="16" y="15"/>
                </a:lnTo>
                <a:lnTo>
                  <a:pt x="19" y="15"/>
                </a:lnTo>
                <a:lnTo>
                  <a:pt x="19" y="14"/>
                </a:lnTo>
                <a:lnTo>
                  <a:pt x="14" y="14"/>
                </a:lnTo>
                <a:lnTo>
                  <a:pt x="11" y="12"/>
                </a:lnTo>
                <a:lnTo>
                  <a:pt x="14" y="12"/>
                </a:lnTo>
                <a:lnTo>
                  <a:pt x="12" y="11"/>
                </a:lnTo>
                <a:lnTo>
                  <a:pt x="10" y="9"/>
                </a:lnTo>
                <a:lnTo>
                  <a:pt x="14" y="11"/>
                </a:lnTo>
                <a:lnTo>
                  <a:pt x="15" y="9"/>
                </a:lnTo>
                <a:lnTo>
                  <a:pt x="12" y="7"/>
                </a:lnTo>
                <a:lnTo>
                  <a:pt x="16" y="9"/>
                </a:lnTo>
                <a:lnTo>
                  <a:pt x="14" y="7"/>
                </a:lnTo>
                <a:lnTo>
                  <a:pt x="16" y="7"/>
                </a:lnTo>
                <a:lnTo>
                  <a:pt x="22" y="7"/>
                </a:lnTo>
                <a:lnTo>
                  <a:pt x="22" y="11"/>
                </a:lnTo>
                <a:lnTo>
                  <a:pt x="24" y="11"/>
                </a:lnTo>
                <a:lnTo>
                  <a:pt x="26" y="9"/>
                </a:lnTo>
                <a:lnTo>
                  <a:pt x="28" y="11"/>
                </a:lnTo>
                <a:lnTo>
                  <a:pt x="28" y="12"/>
                </a:lnTo>
                <a:lnTo>
                  <a:pt x="30" y="11"/>
                </a:lnTo>
                <a:lnTo>
                  <a:pt x="31" y="12"/>
                </a:lnTo>
                <a:lnTo>
                  <a:pt x="32" y="11"/>
                </a:lnTo>
                <a:lnTo>
                  <a:pt x="31" y="9"/>
                </a:lnTo>
                <a:lnTo>
                  <a:pt x="27" y="7"/>
                </a:lnTo>
                <a:lnTo>
                  <a:pt x="24" y="6"/>
                </a:lnTo>
                <a:lnTo>
                  <a:pt x="26" y="4"/>
                </a:lnTo>
                <a:lnTo>
                  <a:pt x="28" y="6"/>
                </a:lnTo>
                <a:lnTo>
                  <a:pt x="30" y="6"/>
                </a:lnTo>
                <a:lnTo>
                  <a:pt x="31" y="6"/>
                </a:lnTo>
                <a:lnTo>
                  <a:pt x="28" y="4"/>
                </a:lnTo>
                <a:lnTo>
                  <a:pt x="27" y="4"/>
                </a:lnTo>
                <a:lnTo>
                  <a:pt x="26" y="4"/>
                </a:lnTo>
                <a:lnTo>
                  <a:pt x="23" y="4"/>
                </a:lnTo>
                <a:lnTo>
                  <a:pt x="20" y="4"/>
                </a:lnTo>
                <a:lnTo>
                  <a:pt x="22" y="3"/>
                </a:lnTo>
                <a:lnTo>
                  <a:pt x="22" y="1"/>
                </a:lnTo>
                <a:lnTo>
                  <a:pt x="24" y="1"/>
                </a:lnTo>
                <a:lnTo>
                  <a:pt x="27" y="3"/>
                </a:lnTo>
                <a:lnTo>
                  <a:pt x="28" y="3"/>
                </a:lnTo>
                <a:lnTo>
                  <a:pt x="30" y="3"/>
                </a:lnTo>
                <a:lnTo>
                  <a:pt x="31" y="3"/>
                </a:lnTo>
                <a:lnTo>
                  <a:pt x="34" y="4"/>
                </a:lnTo>
                <a:lnTo>
                  <a:pt x="38" y="6"/>
                </a:lnTo>
                <a:lnTo>
                  <a:pt x="39" y="7"/>
                </a:lnTo>
                <a:lnTo>
                  <a:pt x="43" y="9"/>
                </a:lnTo>
                <a:lnTo>
                  <a:pt x="46" y="9"/>
                </a:lnTo>
                <a:lnTo>
                  <a:pt x="47" y="9"/>
                </a:lnTo>
                <a:lnTo>
                  <a:pt x="44" y="11"/>
                </a:lnTo>
                <a:lnTo>
                  <a:pt x="48" y="12"/>
                </a:lnTo>
                <a:lnTo>
                  <a:pt x="48" y="14"/>
                </a:lnTo>
                <a:lnTo>
                  <a:pt x="47" y="14"/>
                </a:lnTo>
                <a:lnTo>
                  <a:pt x="47" y="15"/>
                </a:lnTo>
                <a:lnTo>
                  <a:pt x="46" y="15"/>
                </a:lnTo>
                <a:lnTo>
                  <a:pt x="42" y="14"/>
                </a:lnTo>
                <a:lnTo>
                  <a:pt x="43" y="15"/>
                </a:lnTo>
                <a:lnTo>
                  <a:pt x="47" y="17"/>
                </a:lnTo>
                <a:lnTo>
                  <a:pt x="46" y="18"/>
                </a:lnTo>
                <a:lnTo>
                  <a:pt x="48" y="17"/>
                </a:lnTo>
                <a:lnTo>
                  <a:pt x="48" y="18"/>
                </a:lnTo>
                <a:lnTo>
                  <a:pt x="47" y="20"/>
                </a:lnTo>
                <a:lnTo>
                  <a:pt x="50" y="20"/>
                </a:lnTo>
                <a:lnTo>
                  <a:pt x="50" y="22"/>
                </a:lnTo>
                <a:lnTo>
                  <a:pt x="50" y="23"/>
                </a:lnTo>
                <a:lnTo>
                  <a:pt x="52" y="22"/>
                </a:lnTo>
                <a:lnTo>
                  <a:pt x="52" y="20"/>
                </a:lnTo>
                <a:lnTo>
                  <a:pt x="55" y="20"/>
                </a:lnTo>
                <a:lnTo>
                  <a:pt x="55" y="17"/>
                </a:lnTo>
                <a:lnTo>
                  <a:pt x="56" y="15"/>
                </a:lnTo>
                <a:lnTo>
                  <a:pt x="59" y="15"/>
                </a:lnTo>
                <a:lnTo>
                  <a:pt x="59" y="17"/>
                </a:lnTo>
                <a:lnTo>
                  <a:pt x="62" y="18"/>
                </a:lnTo>
                <a:lnTo>
                  <a:pt x="63" y="17"/>
                </a:lnTo>
                <a:lnTo>
                  <a:pt x="64" y="15"/>
                </a:lnTo>
                <a:lnTo>
                  <a:pt x="64" y="14"/>
                </a:lnTo>
                <a:lnTo>
                  <a:pt x="63" y="11"/>
                </a:lnTo>
                <a:lnTo>
                  <a:pt x="63" y="7"/>
                </a:lnTo>
                <a:lnTo>
                  <a:pt x="64" y="7"/>
                </a:lnTo>
                <a:lnTo>
                  <a:pt x="66" y="7"/>
                </a:lnTo>
                <a:lnTo>
                  <a:pt x="70" y="11"/>
                </a:lnTo>
                <a:lnTo>
                  <a:pt x="74" y="12"/>
                </a:lnTo>
                <a:lnTo>
                  <a:pt x="74" y="14"/>
                </a:lnTo>
                <a:lnTo>
                  <a:pt x="76" y="14"/>
                </a:lnTo>
                <a:lnTo>
                  <a:pt x="78" y="14"/>
                </a:lnTo>
                <a:lnTo>
                  <a:pt x="78" y="12"/>
                </a:lnTo>
                <a:lnTo>
                  <a:pt x="78" y="11"/>
                </a:lnTo>
                <a:lnTo>
                  <a:pt x="78" y="9"/>
                </a:lnTo>
                <a:lnTo>
                  <a:pt x="80" y="9"/>
                </a:lnTo>
                <a:lnTo>
                  <a:pt x="82" y="9"/>
                </a:lnTo>
                <a:lnTo>
                  <a:pt x="83" y="7"/>
                </a:lnTo>
                <a:lnTo>
                  <a:pt x="87" y="6"/>
                </a:lnTo>
                <a:lnTo>
                  <a:pt x="87" y="7"/>
                </a:lnTo>
                <a:lnTo>
                  <a:pt x="88" y="7"/>
                </a:lnTo>
                <a:lnTo>
                  <a:pt x="88" y="9"/>
                </a:lnTo>
                <a:lnTo>
                  <a:pt x="91" y="9"/>
                </a:lnTo>
                <a:lnTo>
                  <a:pt x="91" y="11"/>
                </a:lnTo>
                <a:lnTo>
                  <a:pt x="93" y="12"/>
                </a:lnTo>
                <a:lnTo>
                  <a:pt x="95" y="14"/>
                </a:lnTo>
                <a:lnTo>
                  <a:pt x="96" y="15"/>
                </a:lnTo>
                <a:lnTo>
                  <a:pt x="97" y="14"/>
                </a:lnTo>
                <a:lnTo>
                  <a:pt x="97" y="12"/>
                </a:lnTo>
                <a:lnTo>
                  <a:pt x="96" y="11"/>
                </a:lnTo>
                <a:lnTo>
                  <a:pt x="95" y="9"/>
                </a:lnTo>
                <a:lnTo>
                  <a:pt x="95" y="7"/>
                </a:lnTo>
                <a:lnTo>
                  <a:pt x="96" y="7"/>
                </a:lnTo>
                <a:lnTo>
                  <a:pt x="99" y="7"/>
                </a:lnTo>
                <a:lnTo>
                  <a:pt x="101" y="7"/>
                </a:lnTo>
                <a:lnTo>
                  <a:pt x="104" y="11"/>
                </a:lnTo>
                <a:lnTo>
                  <a:pt x="105" y="9"/>
                </a:lnTo>
                <a:lnTo>
                  <a:pt x="108" y="9"/>
                </a:lnTo>
                <a:lnTo>
                  <a:pt x="109" y="7"/>
                </a:lnTo>
                <a:lnTo>
                  <a:pt x="112" y="6"/>
                </a:lnTo>
                <a:lnTo>
                  <a:pt x="113" y="7"/>
                </a:lnTo>
                <a:lnTo>
                  <a:pt x="116" y="7"/>
                </a:lnTo>
                <a:lnTo>
                  <a:pt x="119" y="7"/>
                </a:lnTo>
                <a:lnTo>
                  <a:pt x="121" y="7"/>
                </a:lnTo>
                <a:lnTo>
                  <a:pt x="121" y="4"/>
                </a:lnTo>
                <a:lnTo>
                  <a:pt x="121" y="3"/>
                </a:lnTo>
                <a:lnTo>
                  <a:pt x="120" y="1"/>
                </a:lnTo>
                <a:lnTo>
                  <a:pt x="123" y="1"/>
                </a:lnTo>
                <a:lnTo>
                  <a:pt x="125" y="0"/>
                </a:lnTo>
                <a:lnTo>
                  <a:pt x="127" y="1"/>
                </a:lnTo>
                <a:lnTo>
                  <a:pt x="128" y="3"/>
                </a:lnTo>
                <a:lnTo>
                  <a:pt x="132" y="3"/>
                </a:lnTo>
                <a:lnTo>
                  <a:pt x="132" y="4"/>
                </a:lnTo>
                <a:lnTo>
                  <a:pt x="132" y="6"/>
                </a:lnTo>
                <a:lnTo>
                  <a:pt x="136" y="7"/>
                </a:lnTo>
                <a:lnTo>
                  <a:pt x="137" y="7"/>
                </a:lnTo>
                <a:lnTo>
                  <a:pt x="139" y="6"/>
                </a:lnTo>
                <a:lnTo>
                  <a:pt x="137" y="6"/>
                </a:lnTo>
                <a:lnTo>
                  <a:pt x="143" y="6"/>
                </a:lnTo>
                <a:lnTo>
                  <a:pt x="144" y="3"/>
                </a:lnTo>
                <a:lnTo>
                  <a:pt x="145" y="3"/>
                </a:lnTo>
                <a:lnTo>
                  <a:pt x="149" y="3"/>
                </a:lnTo>
                <a:lnTo>
                  <a:pt x="151" y="3"/>
                </a:lnTo>
                <a:lnTo>
                  <a:pt x="147" y="4"/>
                </a:lnTo>
                <a:lnTo>
                  <a:pt x="141" y="7"/>
                </a:lnTo>
                <a:lnTo>
                  <a:pt x="143" y="9"/>
                </a:lnTo>
                <a:lnTo>
                  <a:pt x="144" y="11"/>
                </a:lnTo>
                <a:lnTo>
                  <a:pt x="148" y="9"/>
                </a:lnTo>
                <a:lnTo>
                  <a:pt x="148" y="11"/>
                </a:lnTo>
                <a:lnTo>
                  <a:pt x="147" y="14"/>
                </a:lnTo>
                <a:lnTo>
                  <a:pt x="147" y="15"/>
                </a:lnTo>
                <a:lnTo>
                  <a:pt x="153" y="14"/>
                </a:lnTo>
                <a:lnTo>
                  <a:pt x="153" y="15"/>
                </a:lnTo>
                <a:lnTo>
                  <a:pt x="153" y="17"/>
                </a:lnTo>
                <a:lnTo>
                  <a:pt x="159" y="17"/>
                </a:lnTo>
                <a:lnTo>
                  <a:pt x="159" y="15"/>
                </a:lnTo>
                <a:lnTo>
                  <a:pt x="160" y="17"/>
                </a:lnTo>
                <a:lnTo>
                  <a:pt x="163" y="20"/>
                </a:lnTo>
                <a:lnTo>
                  <a:pt x="163" y="22"/>
                </a:lnTo>
                <a:lnTo>
                  <a:pt x="161" y="23"/>
                </a:lnTo>
                <a:lnTo>
                  <a:pt x="163" y="25"/>
                </a:lnTo>
                <a:lnTo>
                  <a:pt x="164" y="25"/>
                </a:lnTo>
                <a:lnTo>
                  <a:pt x="165" y="23"/>
                </a:lnTo>
                <a:lnTo>
                  <a:pt x="165" y="26"/>
                </a:lnTo>
                <a:lnTo>
                  <a:pt x="164" y="28"/>
                </a:lnTo>
                <a:lnTo>
                  <a:pt x="163" y="28"/>
                </a:lnTo>
                <a:lnTo>
                  <a:pt x="163" y="29"/>
                </a:lnTo>
                <a:lnTo>
                  <a:pt x="161" y="29"/>
                </a:lnTo>
                <a:lnTo>
                  <a:pt x="159" y="31"/>
                </a:lnTo>
                <a:lnTo>
                  <a:pt x="153" y="33"/>
                </a:lnTo>
                <a:lnTo>
                  <a:pt x="151" y="33"/>
                </a:lnTo>
                <a:lnTo>
                  <a:pt x="152" y="34"/>
                </a:lnTo>
                <a:lnTo>
                  <a:pt x="151" y="34"/>
                </a:lnTo>
                <a:lnTo>
                  <a:pt x="152" y="34"/>
                </a:lnTo>
                <a:lnTo>
                  <a:pt x="155" y="34"/>
                </a:lnTo>
                <a:lnTo>
                  <a:pt x="152" y="37"/>
                </a:lnTo>
                <a:lnTo>
                  <a:pt x="149" y="39"/>
                </a:lnTo>
                <a:lnTo>
                  <a:pt x="147" y="39"/>
                </a:lnTo>
                <a:lnTo>
                  <a:pt x="145" y="40"/>
                </a:lnTo>
                <a:lnTo>
                  <a:pt x="141" y="40"/>
                </a:lnTo>
                <a:lnTo>
                  <a:pt x="141" y="39"/>
                </a:lnTo>
                <a:lnTo>
                  <a:pt x="140" y="37"/>
                </a:lnTo>
                <a:lnTo>
                  <a:pt x="139" y="37"/>
                </a:lnTo>
                <a:lnTo>
                  <a:pt x="137" y="40"/>
                </a:lnTo>
                <a:lnTo>
                  <a:pt x="133" y="40"/>
                </a:lnTo>
                <a:lnTo>
                  <a:pt x="132" y="42"/>
                </a:lnTo>
                <a:lnTo>
                  <a:pt x="128" y="45"/>
                </a:lnTo>
                <a:lnTo>
                  <a:pt x="123" y="47"/>
                </a:lnTo>
                <a:lnTo>
                  <a:pt x="120" y="47"/>
                </a:lnTo>
                <a:lnTo>
                  <a:pt x="116" y="47"/>
                </a:lnTo>
                <a:lnTo>
                  <a:pt x="113" y="48"/>
                </a:lnTo>
                <a:lnTo>
                  <a:pt x="112" y="47"/>
                </a:lnTo>
                <a:lnTo>
                  <a:pt x="111" y="48"/>
                </a:lnTo>
                <a:lnTo>
                  <a:pt x="109" y="48"/>
                </a:lnTo>
                <a:lnTo>
                  <a:pt x="109" y="50"/>
                </a:lnTo>
                <a:lnTo>
                  <a:pt x="105" y="50"/>
                </a:lnTo>
                <a:lnTo>
                  <a:pt x="97" y="55"/>
                </a:lnTo>
                <a:lnTo>
                  <a:pt x="91" y="56"/>
                </a:lnTo>
                <a:lnTo>
                  <a:pt x="88" y="56"/>
                </a:lnTo>
                <a:lnTo>
                  <a:pt x="84" y="56"/>
                </a:lnTo>
                <a:lnTo>
                  <a:pt x="83" y="56"/>
                </a:lnTo>
                <a:lnTo>
                  <a:pt x="80" y="55"/>
                </a:lnTo>
                <a:lnTo>
                  <a:pt x="76" y="55"/>
                </a:lnTo>
                <a:lnTo>
                  <a:pt x="72" y="53"/>
                </a:lnTo>
                <a:lnTo>
                  <a:pt x="68" y="53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37" name="Freeform 1364"/>
          <p:cNvSpPr>
            <a:spLocks/>
          </p:cNvSpPr>
          <p:nvPr/>
        </p:nvSpPr>
        <p:spPr bwMode="auto">
          <a:xfrm>
            <a:off x="4968956" y="1996925"/>
            <a:ext cx="206575" cy="107381"/>
          </a:xfrm>
          <a:custGeom>
            <a:avLst/>
            <a:gdLst/>
            <a:ahLst/>
            <a:cxnLst>
              <a:cxn ang="0">
                <a:pos x="63" y="52"/>
              </a:cxn>
              <a:cxn ang="0">
                <a:pos x="47" y="47"/>
              </a:cxn>
              <a:cxn ang="0">
                <a:pos x="32" y="47"/>
              </a:cxn>
              <a:cxn ang="0">
                <a:pos x="27" y="43"/>
              </a:cxn>
              <a:cxn ang="0">
                <a:pos x="42" y="41"/>
              </a:cxn>
              <a:cxn ang="0">
                <a:pos x="39" y="36"/>
              </a:cxn>
              <a:cxn ang="0">
                <a:pos x="35" y="35"/>
              </a:cxn>
              <a:cxn ang="0">
                <a:pos x="30" y="30"/>
              </a:cxn>
              <a:cxn ang="0">
                <a:pos x="19" y="30"/>
              </a:cxn>
              <a:cxn ang="0">
                <a:pos x="8" y="30"/>
              </a:cxn>
              <a:cxn ang="0">
                <a:pos x="20" y="27"/>
              </a:cxn>
              <a:cxn ang="0">
                <a:pos x="31" y="25"/>
              </a:cxn>
              <a:cxn ang="0">
                <a:pos x="40" y="24"/>
              </a:cxn>
              <a:cxn ang="0">
                <a:pos x="31" y="22"/>
              </a:cxn>
              <a:cxn ang="0">
                <a:pos x="40" y="19"/>
              </a:cxn>
              <a:cxn ang="0">
                <a:pos x="34" y="17"/>
              </a:cxn>
              <a:cxn ang="0">
                <a:pos x="23" y="16"/>
              </a:cxn>
              <a:cxn ang="0">
                <a:pos x="11" y="19"/>
              </a:cxn>
              <a:cxn ang="0">
                <a:pos x="2" y="16"/>
              </a:cxn>
              <a:cxn ang="0">
                <a:pos x="8" y="16"/>
              </a:cxn>
              <a:cxn ang="0">
                <a:pos x="6" y="13"/>
              </a:cxn>
              <a:cxn ang="0">
                <a:pos x="16" y="14"/>
              </a:cxn>
              <a:cxn ang="0">
                <a:pos x="11" y="11"/>
              </a:cxn>
              <a:cxn ang="0">
                <a:pos x="14" y="10"/>
              </a:cxn>
              <a:cxn ang="0">
                <a:pos x="14" y="6"/>
              </a:cxn>
              <a:cxn ang="0">
                <a:pos x="24" y="10"/>
              </a:cxn>
              <a:cxn ang="0">
                <a:pos x="30" y="10"/>
              </a:cxn>
              <a:cxn ang="0">
                <a:pos x="27" y="6"/>
              </a:cxn>
              <a:cxn ang="0">
                <a:pos x="30" y="5"/>
              </a:cxn>
              <a:cxn ang="0">
                <a:pos x="26" y="3"/>
              </a:cxn>
              <a:cxn ang="0">
                <a:pos x="22" y="0"/>
              </a:cxn>
              <a:cxn ang="0">
                <a:pos x="30" y="2"/>
              </a:cxn>
              <a:cxn ang="0">
                <a:pos x="39" y="6"/>
              </a:cxn>
              <a:cxn ang="0">
                <a:pos x="44" y="10"/>
              </a:cxn>
              <a:cxn ang="0">
                <a:pos x="47" y="14"/>
              </a:cxn>
              <a:cxn ang="0">
                <a:pos x="47" y="16"/>
              </a:cxn>
              <a:cxn ang="0">
                <a:pos x="47" y="19"/>
              </a:cxn>
              <a:cxn ang="0">
                <a:pos x="52" y="21"/>
              </a:cxn>
              <a:cxn ang="0">
                <a:pos x="56" y="14"/>
              </a:cxn>
              <a:cxn ang="0">
                <a:pos x="63" y="16"/>
              </a:cxn>
              <a:cxn ang="0">
                <a:pos x="63" y="6"/>
              </a:cxn>
              <a:cxn ang="0">
                <a:pos x="74" y="11"/>
              </a:cxn>
              <a:cxn ang="0">
                <a:pos x="78" y="11"/>
              </a:cxn>
              <a:cxn ang="0">
                <a:pos x="82" y="8"/>
              </a:cxn>
              <a:cxn ang="0">
                <a:pos x="88" y="6"/>
              </a:cxn>
              <a:cxn ang="0">
                <a:pos x="93" y="11"/>
              </a:cxn>
              <a:cxn ang="0">
                <a:pos x="97" y="11"/>
              </a:cxn>
              <a:cxn ang="0">
                <a:pos x="96" y="6"/>
              </a:cxn>
              <a:cxn ang="0">
                <a:pos x="105" y="8"/>
              </a:cxn>
            </a:cxnLst>
            <a:rect l="0" t="0" r="r" b="b"/>
            <a:pathLst>
              <a:path w="108" h="54">
                <a:moveTo>
                  <a:pt x="68" y="52"/>
                </a:moveTo>
                <a:lnTo>
                  <a:pt x="68" y="54"/>
                </a:lnTo>
                <a:lnTo>
                  <a:pt x="66" y="52"/>
                </a:lnTo>
                <a:lnTo>
                  <a:pt x="63" y="52"/>
                </a:lnTo>
                <a:lnTo>
                  <a:pt x="60" y="50"/>
                </a:lnTo>
                <a:lnTo>
                  <a:pt x="55" y="47"/>
                </a:lnTo>
                <a:lnTo>
                  <a:pt x="50" y="47"/>
                </a:lnTo>
                <a:lnTo>
                  <a:pt x="47" y="47"/>
                </a:lnTo>
                <a:lnTo>
                  <a:pt x="42" y="47"/>
                </a:lnTo>
                <a:lnTo>
                  <a:pt x="40" y="47"/>
                </a:lnTo>
                <a:lnTo>
                  <a:pt x="38" y="47"/>
                </a:lnTo>
                <a:lnTo>
                  <a:pt x="32" y="47"/>
                </a:lnTo>
                <a:lnTo>
                  <a:pt x="30" y="47"/>
                </a:lnTo>
                <a:lnTo>
                  <a:pt x="28" y="47"/>
                </a:lnTo>
                <a:lnTo>
                  <a:pt x="28" y="46"/>
                </a:lnTo>
                <a:lnTo>
                  <a:pt x="27" y="43"/>
                </a:lnTo>
                <a:lnTo>
                  <a:pt x="31" y="44"/>
                </a:lnTo>
                <a:lnTo>
                  <a:pt x="32" y="44"/>
                </a:lnTo>
                <a:lnTo>
                  <a:pt x="38" y="43"/>
                </a:lnTo>
                <a:lnTo>
                  <a:pt x="42" y="41"/>
                </a:lnTo>
                <a:lnTo>
                  <a:pt x="42" y="38"/>
                </a:lnTo>
                <a:lnTo>
                  <a:pt x="36" y="39"/>
                </a:lnTo>
                <a:lnTo>
                  <a:pt x="39" y="38"/>
                </a:lnTo>
                <a:lnTo>
                  <a:pt x="39" y="36"/>
                </a:lnTo>
                <a:lnTo>
                  <a:pt x="42" y="35"/>
                </a:lnTo>
                <a:lnTo>
                  <a:pt x="39" y="35"/>
                </a:lnTo>
                <a:lnTo>
                  <a:pt x="36" y="36"/>
                </a:lnTo>
                <a:lnTo>
                  <a:pt x="35" y="35"/>
                </a:lnTo>
                <a:lnTo>
                  <a:pt x="34" y="35"/>
                </a:lnTo>
                <a:lnTo>
                  <a:pt x="32" y="33"/>
                </a:lnTo>
                <a:lnTo>
                  <a:pt x="31" y="30"/>
                </a:lnTo>
                <a:lnTo>
                  <a:pt x="30" y="30"/>
                </a:lnTo>
                <a:lnTo>
                  <a:pt x="26" y="30"/>
                </a:lnTo>
                <a:lnTo>
                  <a:pt x="24" y="30"/>
                </a:lnTo>
                <a:lnTo>
                  <a:pt x="22" y="30"/>
                </a:lnTo>
                <a:lnTo>
                  <a:pt x="19" y="30"/>
                </a:lnTo>
                <a:lnTo>
                  <a:pt x="16" y="30"/>
                </a:lnTo>
                <a:lnTo>
                  <a:pt x="14" y="32"/>
                </a:lnTo>
                <a:lnTo>
                  <a:pt x="10" y="32"/>
                </a:lnTo>
                <a:lnTo>
                  <a:pt x="8" y="30"/>
                </a:lnTo>
                <a:lnTo>
                  <a:pt x="10" y="28"/>
                </a:lnTo>
                <a:lnTo>
                  <a:pt x="12" y="28"/>
                </a:lnTo>
                <a:lnTo>
                  <a:pt x="18" y="28"/>
                </a:lnTo>
                <a:lnTo>
                  <a:pt x="20" y="27"/>
                </a:lnTo>
                <a:lnTo>
                  <a:pt x="23" y="27"/>
                </a:lnTo>
                <a:lnTo>
                  <a:pt x="26" y="25"/>
                </a:lnTo>
                <a:lnTo>
                  <a:pt x="28" y="27"/>
                </a:lnTo>
                <a:lnTo>
                  <a:pt x="31" y="25"/>
                </a:lnTo>
                <a:lnTo>
                  <a:pt x="34" y="27"/>
                </a:lnTo>
                <a:lnTo>
                  <a:pt x="39" y="27"/>
                </a:lnTo>
                <a:lnTo>
                  <a:pt x="42" y="24"/>
                </a:lnTo>
                <a:lnTo>
                  <a:pt x="40" y="24"/>
                </a:lnTo>
                <a:lnTo>
                  <a:pt x="39" y="25"/>
                </a:lnTo>
                <a:lnTo>
                  <a:pt x="36" y="24"/>
                </a:lnTo>
                <a:lnTo>
                  <a:pt x="30" y="24"/>
                </a:lnTo>
                <a:lnTo>
                  <a:pt x="31" y="22"/>
                </a:lnTo>
                <a:lnTo>
                  <a:pt x="32" y="22"/>
                </a:lnTo>
                <a:lnTo>
                  <a:pt x="34" y="21"/>
                </a:lnTo>
                <a:lnTo>
                  <a:pt x="36" y="21"/>
                </a:lnTo>
                <a:lnTo>
                  <a:pt x="40" y="19"/>
                </a:lnTo>
                <a:lnTo>
                  <a:pt x="38" y="17"/>
                </a:lnTo>
                <a:lnTo>
                  <a:pt x="36" y="19"/>
                </a:lnTo>
                <a:lnTo>
                  <a:pt x="34" y="19"/>
                </a:lnTo>
                <a:lnTo>
                  <a:pt x="34" y="17"/>
                </a:lnTo>
                <a:lnTo>
                  <a:pt x="32" y="17"/>
                </a:lnTo>
                <a:lnTo>
                  <a:pt x="31" y="16"/>
                </a:lnTo>
                <a:lnTo>
                  <a:pt x="24" y="16"/>
                </a:lnTo>
                <a:lnTo>
                  <a:pt x="23" y="16"/>
                </a:lnTo>
                <a:lnTo>
                  <a:pt x="19" y="17"/>
                </a:lnTo>
                <a:lnTo>
                  <a:pt x="18" y="17"/>
                </a:lnTo>
                <a:lnTo>
                  <a:pt x="12" y="19"/>
                </a:lnTo>
                <a:lnTo>
                  <a:pt x="11" y="19"/>
                </a:lnTo>
                <a:lnTo>
                  <a:pt x="7" y="17"/>
                </a:lnTo>
                <a:lnTo>
                  <a:pt x="0" y="19"/>
                </a:lnTo>
                <a:lnTo>
                  <a:pt x="0" y="17"/>
                </a:lnTo>
                <a:lnTo>
                  <a:pt x="2" y="16"/>
                </a:lnTo>
                <a:lnTo>
                  <a:pt x="4" y="16"/>
                </a:lnTo>
                <a:lnTo>
                  <a:pt x="10" y="17"/>
                </a:lnTo>
                <a:lnTo>
                  <a:pt x="11" y="16"/>
                </a:lnTo>
                <a:lnTo>
                  <a:pt x="8" y="16"/>
                </a:lnTo>
                <a:lnTo>
                  <a:pt x="10" y="16"/>
                </a:lnTo>
                <a:lnTo>
                  <a:pt x="10" y="14"/>
                </a:lnTo>
                <a:lnTo>
                  <a:pt x="7" y="14"/>
                </a:lnTo>
                <a:lnTo>
                  <a:pt x="6" y="13"/>
                </a:lnTo>
                <a:lnTo>
                  <a:pt x="12" y="14"/>
                </a:lnTo>
                <a:lnTo>
                  <a:pt x="15" y="16"/>
                </a:lnTo>
                <a:lnTo>
                  <a:pt x="19" y="14"/>
                </a:lnTo>
                <a:lnTo>
                  <a:pt x="16" y="14"/>
                </a:lnTo>
                <a:lnTo>
                  <a:pt x="19" y="14"/>
                </a:lnTo>
                <a:lnTo>
                  <a:pt x="19" y="13"/>
                </a:lnTo>
                <a:lnTo>
                  <a:pt x="14" y="13"/>
                </a:lnTo>
                <a:lnTo>
                  <a:pt x="11" y="11"/>
                </a:lnTo>
                <a:lnTo>
                  <a:pt x="14" y="11"/>
                </a:lnTo>
                <a:lnTo>
                  <a:pt x="12" y="10"/>
                </a:lnTo>
                <a:lnTo>
                  <a:pt x="10" y="8"/>
                </a:lnTo>
                <a:lnTo>
                  <a:pt x="14" y="10"/>
                </a:lnTo>
                <a:lnTo>
                  <a:pt x="15" y="8"/>
                </a:lnTo>
                <a:lnTo>
                  <a:pt x="12" y="6"/>
                </a:lnTo>
                <a:lnTo>
                  <a:pt x="16" y="8"/>
                </a:lnTo>
                <a:lnTo>
                  <a:pt x="14" y="6"/>
                </a:lnTo>
                <a:lnTo>
                  <a:pt x="16" y="6"/>
                </a:lnTo>
                <a:lnTo>
                  <a:pt x="22" y="6"/>
                </a:lnTo>
                <a:lnTo>
                  <a:pt x="22" y="10"/>
                </a:lnTo>
                <a:lnTo>
                  <a:pt x="24" y="10"/>
                </a:lnTo>
                <a:lnTo>
                  <a:pt x="26" y="8"/>
                </a:lnTo>
                <a:lnTo>
                  <a:pt x="28" y="10"/>
                </a:lnTo>
                <a:lnTo>
                  <a:pt x="28" y="11"/>
                </a:lnTo>
                <a:lnTo>
                  <a:pt x="30" y="10"/>
                </a:lnTo>
                <a:lnTo>
                  <a:pt x="31" y="11"/>
                </a:lnTo>
                <a:lnTo>
                  <a:pt x="32" y="10"/>
                </a:lnTo>
                <a:lnTo>
                  <a:pt x="31" y="8"/>
                </a:lnTo>
                <a:lnTo>
                  <a:pt x="27" y="6"/>
                </a:lnTo>
                <a:lnTo>
                  <a:pt x="24" y="5"/>
                </a:lnTo>
                <a:lnTo>
                  <a:pt x="26" y="3"/>
                </a:lnTo>
                <a:lnTo>
                  <a:pt x="28" y="5"/>
                </a:lnTo>
                <a:lnTo>
                  <a:pt x="30" y="5"/>
                </a:lnTo>
                <a:lnTo>
                  <a:pt x="31" y="5"/>
                </a:lnTo>
                <a:lnTo>
                  <a:pt x="28" y="3"/>
                </a:lnTo>
                <a:lnTo>
                  <a:pt x="27" y="3"/>
                </a:lnTo>
                <a:lnTo>
                  <a:pt x="26" y="3"/>
                </a:lnTo>
                <a:lnTo>
                  <a:pt x="23" y="3"/>
                </a:lnTo>
                <a:lnTo>
                  <a:pt x="20" y="3"/>
                </a:lnTo>
                <a:lnTo>
                  <a:pt x="22" y="2"/>
                </a:lnTo>
                <a:lnTo>
                  <a:pt x="22" y="0"/>
                </a:lnTo>
                <a:lnTo>
                  <a:pt x="24" y="0"/>
                </a:lnTo>
                <a:lnTo>
                  <a:pt x="27" y="2"/>
                </a:lnTo>
                <a:lnTo>
                  <a:pt x="28" y="2"/>
                </a:lnTo>
                <a:lnTo>
                  <a:pt x="30" y="2"/>
                </a:lnTo>
                <a:lnTo>
                  <a:pt x="31" y="2"/>
                </a:lnTo>
                <a:lnTo>
                  <a:pt x="34" y="3"/>
                </a:lnTo>
                <a:lnTo>
                  <a:pt x="38" y="5"/>
                </a:lnTo>
                <a:lnTo>
                  <a:pt x="39" y="6"/>
                </a:lnTo>
                <a:lnTo>
                  <a:pt x="43" y="8"/>
                </a:lnTo>
                <a:lnTo>
                  <a:pt x="46" y="8"/>
                </a:lnTo>
                <a:lnTo>
                  <a:pt x="47" y="8"/>
                </a:lnTo>
                <a:lnTo>
                  <a:pt x="44" y="10"/>
                </a:lnTo>
                <a:lnTo>
                  <a:pt x="48" y="11"/>
                </a:lnTo>
                <a:lnTo>
                  <a:pt x="48" y="13"/>
                </a:lnTo>
                <a:lnTo>
                  <a:pt x="47" y="13"/>
                </a:lnTo>
                <a:lnTo>
                  <a:pt x="47" y="14"/>
                </a:lnTo>
                <a:lnTo>
                  <a:pt x="46" y="14"/>
                </a:lnTo>
                <a:lnTo>
                  <a:pt x="42" y="13"/>
                </a:lnTo>
                <a:lnTo>
                  <a:pt x="43" y="14"/>
                </a:lnTo>
                <a:lnTo>
                  <a:pt x="47" y="16"/>
                </a:lnTo>
                <a:lnTo>
                  <a:pt x="46" y="17"/>
                </a:lnTo>
                <a:lnTo>
                  <a:pt x="48" y="16"/>
                </a:lnTo>
                <a:lnTo>
                  <a:pt x="48" y="17"/>
                </a:lnTo>
                <a:lnTo>
                  <a:pt x="47" y="19"/>
                </a:lnTo>
                <a:lnTo>
                  <a:pt x="50" y="19"/>
                </a:lnTo>
                <a:lnTo>
                  <a:pt x="50" y="21"/>
                </a:lnTo>
                <a:lnTo>
                  <a:pt x="50" y="22"/>
                </a:lnTo>
                <a:lnTo>
                  <a:pt x="52" y="21"/>
                </a:lnTo>
                <a:lnTo>
                  <a:pt x="52" y="19"/>
                </a:lnTo>
                <a:lnTo>
                  <a:pt x="55" y="19"/>
                </a:lnTo>
                <a:lnTo>
                  <a:pt x="55" y="16"/>
                </a:lnTo>
                <a:lnTo>
                  <a:pt x="56" y="14"/>
                </a:lnTo>
                <a:lnTo>
                  <a:pt x="59" y="14"/>
                </a:lnTo>
                <a:lnTo>
                  <a:pt x="59" y="16"/>
                </a:lnTo>
                <a:lnTo>
                  <a:pt x="62" y="17"/>
                </a:lnTo>
                <a:lnTo>
                  <a:pt x="63" y="16"/>
                </a:lnTo>
                <a:lnTo>
                  <a:pt x="64" y="14"/>
                </a:lnTo>
                <a:lnTo>
                  <a:pt x="64" y="13"/>
                </a:lnTo>
                <a:lnTo>
                  <a:pt x="63" y="10"/>
                </a:lnTo>
                <a:lnTo>
                  <a:pt x="63" y="6"/>
                </a:lnTo>
                <a:lnTo>
                  <a:pt x="64" y="6"/>
                </a:lnTo>
                <a:lnTo>
                  <a:pt x="66" y="6"/>
                </a:lnTo>
                <a:lnTo>
                  <a:pt x="70" y="10"/>
                </a:lnTo>
                <a:lnTo>
                  <a:pt x="74" y="11"/>
                </a:lnTo>
                <a:lnTo>
                  <a:pt x="74" y="13"/>
                </a:lnTo>
                <a:lnTo>
                  <a:pt x="76" y="13"/>
                </a:lnTo>
                <a:lnTo>
                  <a:pt x="78" y="13"/>
                </a:lnTo>
                <a:lnTo>
                  <a:pt x="78" y="11"/>
                </a:lnTo>
                <a:lnTo>
                  <a:pt x="78" y="10"/>
                </a:lnTo>
                <a:lnTo>
                  <a:pt x="78" y="8"/>
                </a:lnTo>
                <a:lnTo>
                  <a:pt x="80" y="8"/>
                </a:lnTo>
                <a:lnTo>
                  <a:pt x="82" y="8"/>
                </a:lnTo>
                <a:lnTo>
                  <a:pt x="83" y="6"/>
                </a:lnTo>
                <a:lnTo>
                  <a:pt x="87" y="5"/>
                </a:lnTo>
                <a:lnTo>
                  <a:pt x="87" y="6"/>
                </a:lnTo>
                <a:lnTo>
                  <a:pt x="88" y="6"/>
                </a:lnTo>
                <a:lnTo>
                  <a:pt x="88" y="8"/>
                </a:lnTo>
                <a:lnTo>
                  <a:pt x="91" y="8"/>
                </a:lnTo>
                <a:lnTo>
                  <a:pt x="91" y="10"/>
                </a:lnTo>
                <a:lnTo>
                  <a:pt x="93" y="11"/>
                </a:lnTo>
                <a:lnTo>
                  <a:pt x="95" y="13"/>
                </a:lnTo>
                <a:lnTo>
                  <a:pt x="96" y="14"/>
                </a:lnTo>
                <a:lnTo>
                  <a:pt x="97" y="13"/>
                </a:lnTo>
                <a:lnTo>
                  <a:pt x="97" y="11"/>
                </a:lnTo>
                <a:lnTo>
                  <a:pt x="96" y="10"/>
                </a:lnTo>
                <a:lnTo>
                  <a:pt x="95" y="8"/>
                </a:lnTo>
                <a:lnTo>
                  <a:pt x="95" y="6"/>
                </a:lnTo>
                <a:lnTo>
                  <a:pt x="96" y="6"/>
                </a:lnTo>
                <a:lnTo>
                  <a:pt x="99" y="6"/>
                </a:lnTo>
                <a:lnTo>
                  <a:pt x="101" y="6"/>
                </a:lnTo>
                <a:lnTo>
                  <a:pt x="104" y="10"/>
                </a:lnTo>
                <a:lnTo>
                  <a:pt x="105" y="8"/>
                </a:lnTo>
                <a:lnTo>
                  <a:pt x="108" y="8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38" name="Freeform 1365"/>
          <p:cNvSpPr>
            <a:spLocks/>
          </p:cNvSpPr>
          <p:nvPr/>
        </p:nvSpPr>
        <p:spPr bwMode="auto">
          <a:xfrm>
            <a:off x="5097576" y="1994778"/>
            <a:ext cx="185136" cy="111675"/>
          </a:xfrm>
          <a:custGeom>
            <a:avLst/>
            <a:gdLst/>
            <a:ahLst/>
            <a:cxnLst>
              <a:cxn ang="0">
                <a:pos x="41" y="7"/>
              </a:cxn>
              <a:cxn ang="0">
                <a:pos x="45" y="7"/>
              </a:cxn>
              <a:cxn ang="0">
                <a:pos x="51" y="7"/>
              </a:cxn>
              <a:cxn ang="0">
                <a:pos x="53" y="4"/>
              </a:cxn>
              <a:cxn ang="0">
                <a:pos x="52" y="1"/>
              </a:cxn>
              <a:cxn ang="0">
                <a:pos x="57" y="0"/>
              </a:cxn>
              <a:cxn ang="0">
                <a:pos x="60" y="3"/>
              </a:cxn>
              <a:cxn ang="0">
                <a:pos x="64" y="4"/>
              </a:cxn>
              <a:cxn ang="0">
                <a:pos x="68" y="7"/>
              </a:cxn>
              <a:cxn ang="0">
                <a:pos x="71" y="6"/>
              </a:cxn>
              <a:cxn ang="0">
                <a:pos x="75" y="6"/>
              </a:cxn>
              <a:cxn ang="0">
                <a:pos x="77" y="3"/>
              </a:cxn>
              <a:cxn ang="0">
                <a:pos x="83" y="3"/>
              </a:cxn>
              <a:cxn ang="0">
                <a:pos x="73" y="7"/>
              </a:cxn>
              <a:cxn ang="0">
                <a:pos x="76" y="11"/>
              </a:cxn>
              <a:cxn ang="0">
                <a:pos x="80" y="11"/>
              </a:cxn>
              <a:cxn ang="0">
                <a:pos x="79" y="15"/>
              </a:cxn>
              <a:cxn ang="0">
                <a:pos x="85" y="15"/>
              </a:cxn>
              <a:cxn ang="0">
                <a:pos x="91" y="17"/>
              </a:cxn>
              <a:cxn ang="0">
                <a:pos x="92" y="17"/>
              </a:cxn>
              <a:cxn ang="0">
                <a:pos x="95" y="22"/>
              </a:cxn>
              <a:cxn ang="0">
                <a:pos x="95" y="25"/>
              </a:cxn>
              <a:cxn ang="0">
                <a:pos x="97" y="23"/>
              </a:cxn>
              <a:cxn ang="0">
                <a:pos x="96" y="28"/>
              </a:cxn>
              <a:cxn ang="0">
                <a:pos x="95" y="29"/>
              </a:cxn>
              <a:cxn ang="0">
                <a:pos x="91" y="31"/>
              </a:cxn>
              <a:cxn ang="0">
                <a:pos x="83" y="33"/>
              </a:cxn>
              <a:cxn ang="0">
                <a:pos x="83" y="34"/>
              </a:cxn>
              <a:cxn ang="0">
                <a:pos x="87" y="34"/>
              </a:cxn>
              <a:cxn ang="0">
                <a:pos x="81" y="39"/>
              </a:cxn>
              <a:cxn ang="0">
                <a:pos x="77" y="40"/>
              </a:cxn>
              <a:cxn ang="0">
                <a:pos x="73" y="39"/>
              </a:cxn>
              <a:cxn ang="0">
                <a:pos x="71" y="37"/>
              </a:cxn>
              <a:cxn ang="0">
                <a:pos x="65" y="40"/>
              </a:cxn>
              <a:cxn ang="0">
                <a:pos x="60" y="45"/>
              </a:cxn>
              <a:cxn ang="0">
                <a:pos x="52" y="47"/>
              </a:cxn>
              <a:cxn ang="0">
                <a:pos x="45" y="48"/>
              </a:cxn>
              <a:cxn ang="0">
                <a:pos x="43" y="48"/>
              </a:cxn>
              <a:cxn ang="0">
                <a:pos x="41" y="50"/>
              </a:cxn>
              <a:cxn ang="0">
                <a:pos x="29" y="55"/>
              </a:cxn>
              <a:cxn ang="0">
                <a:pos x="20" y="56"/>
              </a:cxn>
              <a:cxn ang="0">
                <a:pos x="15" y="56"/>
              </a:cxn>
              <a:cxn ang="0">
                <a:pos x="8" y="55"/>
              </a:cxn>
              <a:cxn ang="0">
                <a:pos x="0" y="53"/>
              </a:cxn>
            </a:cxnLst>
            <a:rect l="0" t="0" r="r" b="b"/>
            <a:pathLst>
              <a:path w="97" h="56">
                <a:moveTo>
                  <a:pt x="40" y="9"/>
                </a:moveTo>
                <a:lnTo>
                  <a:pt x="41" y="7"/>
                </a:lnTo>
                <a:lnTo>
                  <a:pt x="44" y="6"/>
                </a:lnTo>
                <a:lnTo>
                  <a:pt x="45" y="7"/>
                </a:lnTo>
                <a:lnTo>
                  <a:pt x="48" y="7"/>
                </a:lnTo>
                <a:lnTo>
                  <a:pt x="51" y="7"/>
                </a:lnTo>
                <a:lnTo>
                  <a:pt x="53" y="7"/>
                </a:lnTo>
                <a:lnTo>
                  <a:pt x="53" y="4"/>
                </a:lnTo>
                <a:lnTo>
                  <a:pt x="53" y="3"/>
                </a:lnTo>
                <a:lnTo>
                  <a:pt x="52" y="1"/>
                </a:lnTo>
                <a:lnTo>
                  <a:pt x="55" y="1"/>
                </a:lnTo>
                <a:lnTo>
                  <a:pt x="57" y="0"/>
                </a:lnTo>
                <a:lnTo>
                  <a:pt x="59" y="1"/>
                </a:lnTo>
                <a:lnTo>
                  <a:pt x="60" y="3"/>
                </a:lnTo>
                <a:lnTo>
                  <a:pt x="64" y="3"/>
                </a:lnTo>
                <a:lnTo>
                  <a:pt x="64" y="4"/>
                </a:lnTo>
                <a:lnTo>
                  <a:pt x="64" y="6"/>
                </a:lnTo>
                <a:lnTo>
                  <a:pt x="68" y="7"/>
                </a:lnTo>
                <a:lnTo>
                  <a:pt x="69" y="7"/>
                </a:lnTo>
                <a:lnTo>
                  <a:pt x="71" y="6"/>
                </a:lnTo>
                <a:lnTo>
                  <a:pt x="69" y="6"/>
                </a:lnTo>
                <a:lnTo>
                  <a:pt x="75" y="6"/>
                </a:lnTo>
                <a:lnTo>
                  <a:pt x="76" y="3"/>
                </a:lnTo>
                <a:lnTo>
                  <a:pt x="77" y="3"/>
                </a:lnTo>
                <a:lnTo>
                  <a:pt x="81" y="3"/>
                </a:lnTo>
                <a:lnTo>
                  <a:pt x="83" y="3"/>
                </a:lnTo>
                <a:lnTo>
                  <a:pt x="79" y="4"/>
                </a:lnTo>
                <a:lnTo>
                  <a:pt x="73" y="7"/>
                </a:lnTo>
                <a:lnTo>
                  <a:pt x="75" y="9"/>
                </a:lnTo>
                <a:lnTo>
                  <a:pt x="76" y="11"/>
                </a:lnTo>
                <a:lnTo>
                  <a:pt x="80" y="9"/>
                </a:lnTo>
                <a:lnTo>
                  <a:pt x="80" y="11"/>
                </a:lnTo>
                <a:lnTo>
                  <a:pt x="79" y="14"/>
                </a:lnTo>
                <a:lnTo>
                  <a:pt x="79" y="15"/>
                </a:lnTo>
                <a:lnTo>
                  <a:pt x="85" y="14"/>
                </a:lnTo>
                <a:lnTo>
                  <a:pt x="85" y="15"/>
                </a:lnTo>
                <a:lnTo>
                  <a:pt x="85" y="17"/>
                </a:lnTo>
                <a:lnTo>
                  <a:pt x="91" y="17"/>
                </a:lnTo>
                <a:lnTo>
                  <a:pt x="91" y="15"/>
                </a:lnTo>
                <a:lnTo>
                  <a:pt x="92" y="17"/>
                </a:lnTo>
                <a:lnTo>
                  <a:pt x="95" y="20"/>
                </a:lnTo>
                <a:lnTo>
                  <a:pt x="95" y="22"/>
                </a:lnTo>
                <a:lnTo>
                  <a:pt x="93" y="23"/>
                </a:lnTo>
                <a:lnTo>
                  <a:pt x="95" y="25"/>
                </a:lnTo>
                <a:lnTo>
                  <a:pt x="96" y="25"/>
                </a:lnTo>
                <a:lnTo>
                  <a:pt x="97" y="23"/>
                </a:lnTo>
                <a:lnTo>
                  <a:pt x="97" y="26"/>
                </a:lnTo>
                <a:lnTo>
                  <a:pt x="96" y="28"/>
                </a:lnTo>
                <a:lnTo>
                  <a:pt x="95" y="28"/>
                </a:lnTo>
                <a:lnTo>
                  <a:pt x="95" y="29"/>
                </a:lnTo>
                <a:lnTo>
                  <a:pt x="93" y="29"/>
                </a:lnTo>
                <a:lnTo>
                  <a:pt x="91" y="31"/>
                </a:lnTo>
                <a:lnTo>
                  <a:pt x="85" y="33"/>
                </a:lnTo>
                <a:lnTo>
                  <a:pt x="83" y="33"/>
                </a:lnTo>
                <a:lnTo>
                  <a:pt x="84" y="34"/>
                </a:lnTo>
                <a:lnTo>
                  <a:pt x="83" y="34"/>
                </a:lnTo>
                <a:lnTo>
                  <a:pt x="84" y="34"/>
                </a:lnTo>
                <a:lnTo>
                  <a:pt x="87" y="34"/>
                </a:lnTo>
                <a:lnTo>
                  <a:pt x="84" y="37"/>
                </a:lnTo>
                <a:lnTo>
                  <a:pt x="81" y="39"/>
                </a:lnTo>
                <a:lnTo>
                  <a:pt x="79" y="39"/>
                </a:lnTo>
                <a:lnTo>
                  <a:pt x="77" y="40"/>
                </a:lnTo>
                <a:lnTo>
                  <a:pt x="73" y="40"/>
                </a:lnTo>
                <a:lnTo>
                  <a:pt x="73" y="39"/>
                </a:lnTo>
                <a:lnTo>
                  <a:pt x="72" y="37"/>
                </a:lnTo>
                <a:lnTo>
                  <a:pt x="71" y="37"/>
                </a:lnTo>
                <a:lnTo>
                  <a:pt x="69" y="40"/>
                </a:lnTo>
                <a:lnTo>
                  <a:pt x="65" y="40"/>
                </a:lnTo>
                <a:lnTo>
                  <a:pt x="64" y="42"/>
                </a:lnTo>
                <a:lnTo>
                  <a:pt x="60" y="45"/>
                </a:lnTo>
                <a:lnTo>
                  <a:pt x="55" y="47"/>
                </a:lnTo>
                <a:lnTo>
                  <a:pt x="52" y="47"/>
                </a:lnTo>
                <a:lnTo>
                  <a:pt x="48" y="47"/>
                </a:lnTo>
                <a:lnTo>
                  <a:pt x="45" y="48"/>
                </a:lnTo>
                <a:lnTo>
                  <a:pt x="44" y="47"/>
                </a:lnTo>
                <a:lnTo>
                  <a:pt x="43" y="48"/>
                </a:lnTo>
                <a:lnTo>
                  <a:pt x="41" y="48"/>
                </a:lnTo>
                <a:lnTo>
                  <a:pt x="41" y="50"/>
                </a:lnTo>
                <a:lnTo>
                  <a:pt x="37" y="50"/>
                </a:lnTo>
                <a:lnTo>
                  <a:pt x="29" y="55"/>
                </a:lnTo>
                <a:lnTo>
                  <a:pt x="23" y="56"/>
                </a:lnTo>
                <a:lnTo>
                  <a:pt x="20" y="56"/>
                </a:lnTo>
                <a:lnTo>
                  <a:pt x="16" y="56"/>
                </a:lnTo>
                <a:lnTo>
                  <a:pt x="15" y="56"/>
                </a:lnTo>
                <a:lnTo>
                  <a:pt x="12" y="55"/>
                </a:lnTo>
                <a:lnTo>
                  <a:pt x="8" y="55"/>
                </a:lnTo>
                <a:lnTo>
                  <a:pt x="4" y="53"/>
                </a:lnTo>
                <a:lnTo>
                  <a:pt x="0" y="53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39" name="Freeform 1366"/>
          <p:cNvSpPr>
            <a:spLocks/>
          </p:cNvSpPr>
          <p:nvPr/>
        </p:nvSpPr>
        <p:spPr bwMode="auto">
          <a:xfrm>
            <a:off x="7609597" y="2892477"/>
            <a:ext cx="218268" cy="158923"/>
          </a:xfrm>
          <a:custGeom>
            <a:avLst/>
            <a:gdLst/>
            <a:ahLst/>
            <a:cxnLst>
              <a:cxn ang="0">
                <a:pos x="11" y="74"/>
              </a:cxn>
              <a:cxn ang="0">
                <a:pos x="19" y="69"/>
              </a:cxn>
              <a:cxn ang="0">
                <a:pos x="23" y="69"/>
              </a:cxn>
              <a:cxn ang="0">
                <a:pos x="27" y="69"/>
              </a:cxn>
              <a:cxn ang="0">
                <a:pos x="31" y="67"/>
              </a:cxn>
              <a:cxn ang="0">
                <a:pos x="35" y="63"/>
              </a:cxn>
              <a:cxn ang="0">
                <a:pos x="40" y="64"/>
              </a:cxn>
              <a:cxn ang="0">
                <a:pos x="44" y="61"/>
              </a:cxn>
              <a:cxn ang="0">
                <a:pos x="45" y="53"/>
              </a:cxn>
              <a:cxn ang="0">
                <a:pos x="51" y="47"/>
              </a:cxn>
              <a:cxn ang="0">
                <a:pos x="56" y="47"/>
              </a:cxn>
              <a:cxn ang="0">
                <a:pos x="58" y="55"/>
              </a:cxn>
              <a:cxn ang="0">
                <a:pos x="62" y="56"/>
              </a:cxn>
              <a:cxn ang="0">
                <a:pos x="62" y="61"/>
              </a:cxn>
              <a:cxn ang="0">
                <a:pos x="62" y="66"/>
              </a:cxn>
              <a:cxn ang="0">
                <a:pos x="61" y="74"/>
              </a:cxn>
              <a:cxn ang="0">
                <a:pos x="66" y="80"/>
              </a:cxn>
              <a:cxn ang="0">
                <a:pos x="74" y="74"/>
              </a:cxn>
              <a:cxn ang="0">
                <a:pos x="85" y="69"/>
              </a:cxn>
              <a:cxn ang="0">
                <a:pos x="90" y="66"/>
              </a:cxn>
              <a:cxn ang="0">
                <a:pos x="94" y="66"/>
              </a:cxn>
              <a:cxn ang="0">
                <a:pos x="97" y="69"/>
              </a:cxn>
              <a:cxn ang="0">
                <a:pos x="101" y="67"/>
              </a:cxn>
              <a:cxn ang="0">
                <a:pos x="109" y="66"/>
              </a:cxn>
              <a:cxn ang="0">
                <a:pos x="113" y="69"/>
              </a:cxn>
              <a:cxn ang="0">
                <a:pos x="114" y="59"/>
              </a:cxn>
              <a:cxn ang="0">
                <a:pos x="110" y="45"/>
              </a:cxn>
              <a:cxn ang="0">
                <a:pos x="97" y="45"/>
              </a:cxn>
              <a:cxn ang="0">
                <a:pos x="98" y="28"/>
              </a:cxn>
              <a:cxn ang="0">
                <a:pos x="89" y="30"/>
              </a:cxn>
              <a:cxn ang="0">
                <a:pos x="77" y="31"/>
              </a:cxn>
              <a:cxn ang="0">
                <a:pos x="68" y="33"/>
              </a:cxn>
              <a:cxn ang="0">
                <a:pos x="62" y="27"/>
              </a:cxn>
              <a:cxn ang="0">
                <a:pos x="49" y="27"/>
              </a:cxn>
              <a:cxn ang="0">
                <a:pos x="39" y="28"/>
              </a:cxn>
              <a:cxn ang="0">
                <a:pos x="31" y="27"/>
              </a:cxn>
              <a:cxn ang="0">
                <a:pos x="29" y="20"/>
              </a:cxn>
              <a:cxn ang="0">
                <a:pos x="37" y="17"/>
              </a:cxn>
              <a:cxn ang="0">
                <a:pos x="48" y="20"/>
              </a:cxn>
              <a:cxn ang="0">
                <a:pos x="53" y="17"/>
              </a:cxn>
              <a:cxn ang="0">
                <a:pos x="51" y="16"/>
              </a:cxn>
              <a:cxn ang="0">
                <a:pos x="47" y="9"/>
              </a:cxn>
              <a:cxn ang="0">
                <a:pos x="52" y="6"/>
              </a:cxn>
              <a:cxn ang="0">
                <a:pos x="49" y="0"/>
              </a:cxn>
              <a:cxn ang="0">
                <a:pos x="44" y="3"/>
              </a:cxn>
              <a:cxn ang="0">
                <a:pos x="35" y="8"/>
              </a:cxn>
              <a:cxn ang="0">
                <a:pos x="31" y="9"/>
              </a:cxn>
              <a:cxn ang="0">
                <a:pos x="29" y="14"/>
              </a:cxn>
              <a:cxn ang="0">
                <a:pos x="23" y="17"/>
              </a:cxn>
              <a:cxn ang="0">
                <a:pos x="17" y="27"/>
              </a:cxn>
              <a:cxn ang="0">
                <a:pos x="9" y="27"/>
              </a:cxn>
              <a:cxn ang="0">
                <a:pos x="3" y="27"/>
              </a:cxn>
              <a:cxn ang="0">
                <a:pos x="0" y="31"/>
              </a:cxn>
              <a:cxn ang="0">
                <a:pos x="5" y="36"/>
              </a:cxn>
              <a:cxn ang="0">
                <a:pos x="12" y="37"/>
              </a:cxn>
              <a:cxn ang="0">
                <a:pos x="11" y="44"/>
              </a:cxn>
              <a:cxn ang="0">
                <a:pos x="15" y="50"/>
              </a:cxn>
              <a:cxn ang="0">
                <a:pos x="13" y="55"/>
              </a:cxn>
              <a:cxn ang="0">
                <a:pos x="8" y="61"/>
              </a:cxn>
              <a:cxn ang="0">
                <a:pos x="7" y="67"/>
              </a:cxn>
            </a:cxnLst>
            <a:rect l="0" t="0" r="r" b="b"/>
            <a:pathLst>
              <a:path w="114" h="80">
                <a:moveTo>
                  <a:pt x="5" y="69"/>
                </a:moveTo>
                <a:lnTo>
                  <a:pt x="7" y="69"/>
                </a:lnTo>
                <a:lnTo>
                  <a:pt x="11" y="74"/>
                </a:lnTo>
                <a:lnTo>
                  <a:pt x="13" y="72"/>
                </a:lnTo>
                <a:lnTo>
                  <a:pt x="15" y="72"/>
                </a:lnTo>
                <a:lnTo>
                  <a:pt x="19" y="69"/>
                </a:lnTo>
                <a:lnTo>
                  <a:pt x="20" y="69"/>
                </a:lnTo>
                <a:lnTo>
                  <a:pt x="21" y="69"/>
                </a:lnTo>
                <a:lnTo>
                  <a:pt x="23" y="69"/>
                </a:lnTo>
                <a:lnTo>
                  <a:pt x="24" y="67"/>
                </a:lnTo>
                <a:lnTo>
                  <a:pt x="25" y="67"/>
                </a:lnTo>
                <a:lnTo>
                  <a:pt x="27" y="69"/>
                </a:lnTo>
                <a:lnTo>
                  <a:pt x="31" y="70"/>
                </a:lnTo>
                <a:lnTo>
                  <a:pt x="32" y="69"/>
                </a:lnTo>
                <a:lnTo>
                  <a:pt x="31" y="67"/>
                </a:lnTo>
                <a:lnTo>
                  <a:pt x="31" y="66"/>
                </a:lnTo>
                <a:lnTo>
                  <a:pt x="33" y="63"/>
                </a:lnTo>
                <a:lnTo>
                  <a:pt x="35" y="63"/>
                </a:lnTo>
                <a:lnTo>
                  <a:pt x="36" y="63"/>
                </a:lnTo>
                <a:lnTo>
                  <a:pt x="39" y="63"/>
                </a:lnTo>
                <a:lnTo>
                  <a:pt x="40" y="64"/>
                </a:lnTo>
                <a:lnTo>
                  <a:pt x="41" y="64"/>
                </a:lnTo>
                <a:lnTo>
                  <a:pt x="43" y="64"/>
                </a:lnTo>
                <a:lnTo>
                  <a:pt x="44" y="61"/>
                </a:lnTo>
                <a:lnTo>
                  <a:pt x="43" y="59"/>
                </a:lnTo>
                <a:lnTo>
                  <a:pt x="43" y="58"/>
                </a:lnTo>
                <a:lnTo>
                  <a:pt x="45" y="53"/>
                </a:lnTo>
                <a:lnTo>
                  <a:pt x="49" y="50"/>
                </a:lnTo>
                <a:lnTo>
                  <a:pt x="51" y="48"/>
                </a:lnTo>
                <a:lnTo>
                  <a:pt x="51" y="47"/>
                </a:lnTo>
                <a:lnTo>
                  <a:pt x="52" y="48"/>
                </a:lnTo>
                <a:lnTo>
                  <a:pt x="55" y="47"/>
                </a:lnTo>
                <a:lnTo>
                  <a:pt x="56" y="47"/>
                </a:lnTo>
                <a:lnTo>
                  <a:pt x="60" y="50"/>
                </a:lnTo>
                <a:lnTo>
                  <a:pt x="60" y="52"/>
                </a:lnTo>
                <a:lnTo>
                  <a:pt x="58" y="55"/>
                </a:lnTo>
                <a:lnTo>
                  <a:pt x="60" y="56"/>
                </a:lnTo>
                <a:lnTo>
                  <a:pt x="61" y="56"/>
                </a:lnTo>
                <a:lnTo>
                  <a:pt x="62" y="56"/>
                </a:lnTo>
                <a:lnTo>
                  <a:pt x="64" y="58"/>
                </a:lnTo>
                <a:lnTo>
                  <a:pt x="62" y="59"/>
                </a:lnTo>
                <a:lnTo>
                  <a:pt x="62" y="61"/>
                </a:lnTo>
                <a:lnTo>
                  <a:pt x="62" y="63"/>
                </a:lnTo>
                <a:lnTo>
                  <a:pt x="62" y="64"/>
                </a:lnTo>
                <a:lnTo>
                  <a:pt x="62" y="66"/>
                </a:lnTo>
                <a:lnTo>
                  <a:pt x="62" y="69"/>
                </a:lnTo>
                <a:lnTo>
                  <a:pt x="61" y="70"/>
                </a:lnTo>
                <a:lnTo>
                  <a:pt x="61" y="74"/>
                </a:lnTo>
                <a:lnTo>
                  <a:pt x="64" y="75"/>
                </a:lnTo>
                <a:lnTo>
                  <a:pt x="65" y="78"/>
                </a:lnTo>
                <a:lnTo>
                  <a:pt x="66" y="80"/>
                </a:lnTo>
                <a:lnTo>
                  <a:pt x="68" y="78"/>
                </a:lnTo>
                <a:lnTo>
                  <a:pt x="72" y="77"/>
                </a:lnTo>
                <a:lnTo>
                  <a:pt x="74" y="74"/>
                </a:lnTo>
                <a:lnTo>
                  <a:pt x="81" y="72"/>
                </a:lnTo>
                <a:lnTo>
                  <a:pt x="82" y="70"/>
                </a:lnTo>
                <a:lnTo>
                  <a:pt x="85" y="69"/>
                </a:lnTo>
                <a:lnTo>
                  <a:pt x="86" y="69"/>
                </a:lnTo>
                <a:lnTo>
                  <a:pt x="89" y="67"/>
                </a:lnTo>
                <a:lnTo>
                  <a:pt x="90" y="66"/>
                </a:lnTo>
                <a:lnTo>
                  <a:pt x="92" y="66"/>
                </a:lnTo>
                <a:lnTo>
                  <a:pt x="93" y="66"/>
                </a:lnTo>
                <a:lnTo>
                  <a:pt x="94" y="66"/>
                </a:lnTo>
                <a:lnTo>
                  <a:pt x="96" y="66"/>
                </a:lnTo>
                <a:lnTo>
                  <a:pt x="97" y="66"/>
                </a:lnTo>
                <a:lnTo>
                  <a:pt x="97" y="69"/>
                </a:lnTo>
                <a:lnTo>
                  <a:pt x="98" y="69"/>
                </a:lnTo>
                <a:lnTo>
                  <a:pt x="100" y="67"/>
                </a:lnTo>
                <a:lnTo>
                  <a:pt x="101" y="67"/>
                </a:lnTo>
                <a:lnTo>
                  <a:pt x="105" y="67"/>
                </a:lnTo>
                <a:lnTo>
                  <a:pt x="108" y="66"/>
                </a:lnTo>
                <a:lnTo>
                  <a:pt x="109" y="66"/>
                </a:lnTo>
                <a:lnTo>
                  <a:pt x="110" y="67"/>
                </a:lnTo>
                <a:lnTo>
                  <a:pt x="113" y="67"/>
                </a:lnTo>
                <a:lnTo>
                  <a:pt x="113" y="69"/>
                </a:lnTo>
                <a:lnTo>
                  <a:pt x="112" y="69"/>
                </a:lnTo>
                <a:lnTo>
                  <a:pt x="114" y="69"/>
                </a:lnTo>
                <a:lnTo>
                  <a:pt x="114" y="59"/>
                </a:lnTo>
                <a:lnTo>
                  <a:pt x="112" y="53"/>
                </a:lnTo>
                <a:lnTo>
                  <a:pt x="112" y="48"/>
                </a:lnTo>
                <a:lnTo>
                  <a:pt x="110" y="45"/>
                </a:lnTo>
                <a:lnTo>
                  <a:pt x="105" y="45"/>
                </a:lnTo>
                <a:lnTo>
                  <a:pt x="100" y="47"/>
                </a:lnTo>
                <a:lnTo>
                  <a:pt x="97" y="45"/>
                </a:lnTo>
                <a:lnTo>
                  <a:pt x="96" y="41"/>
                </a:lnTo>
                <a:lnTo>
                  <a:pt x="94" y="36"/>
                </a:lnTo>
                <a:lnTo>
                  <a:pt x="98" y="28"/>
                </a:lnTo>
                <a:lnTo>
                  <a:pt x="93" y="27"/>
                </a:lnTo>
                <a:lnTo>
                  <a:pt x="92" y="30"/>
                </a:lnTo>
                <a:lnTo>
                  <a:pt x="89" y="30"/>
                </a:lnTo>
                <a:lnTo>
                  <a:pt x="86" y="31"/>
                </a:lnTo>
                <a:lnTo>
                  <a:pt x="82" y="30"/>
                </a:lnTo>
                <a:lnTo>
                  <a:pt x="77" y="31"/>
                </a:lnTo>
                <a:lnTo>
                  <a:pt x="73" y="33"/>
                </a:lnTo>
                <a:lnTo>
                  <a:pt x="72" y="31"/>
                </a:lnTo>
                <a:lnTo>
                  <a:pt x="68" y="33"/>
                </a:lnTo>
                <a:lnTo>
                  <a:pt x="66" y="28"/>
                </a:lnTo>
                <a:lnTo>
                  <a:pt x="64" y="28"/>
                </a:lnTo>
                <a:lnTo>
                  <a:pt x="62" y="27"/>
                </a:lnTo>
                <a:lnTo>
                  <a:pt x="53" y="30"/>
                </a:lnTo>
                <a:lnTo>
                  <a:pt x="51" y="28"/>
                </a:lnTo>
                <a:lnTo>
                  <a:pt x="49" y="27"/>
                </a:lnTo>
                <a:lnTo>
                  <a:pt x="48" y="27"/>
                </a:lnTo>
                <a:lnTo>
                  <a:pt x="45" y="27"/>
                </a:lnTo>
                <a:lnTo>
                  <a:pt x="39" y="28"/>
                </a:lnTo>
                <a:lnTo>
                  <a:pt x="35" y="27"/>
                </a:lnTo>
                <a:lnTo>
                  <a:pt x="32" y="28"/>
                </a:lnTo>
                <a:lnTo>
                  <a:pt x="31" y="27"/>
                </a:lnTo>
                <a:lnTo>
                  <a:pt x="29" y="25"/>
                </a:lnTo>
                <a:lnTo>
                  <a:pt x="29" y="22"/>
                </a:lnTo>
                <a:lnTo>
                  <a:pt x="29" y="20"/>
                </a:lnTo>
                <a:lnTo>
                  <a:pt x="33" y="19"/>
                </a:lnTo>
                <a:lnTo>
                  <a:pt x="35" y="17"/>
                </a:lnTo>
                <a:lnTo>
                  <a:pt x="37" y="17"/>
                </a:lnTo>
                <a:lnTo>
                  <a:pt x="41" y="17"/>
                </a:lnTo>
                <a:lnTo>
                  <a:pt x="44" y="17"/>
                </a:lnTo>
                <a:lnTo>
                  <a:pt x="48" y="20"/>
                </a:lnTo>
                <a:lnTo>
                  <a:pt x="49" y="19"/>
                </a:lnTo>
                <a:lnTo>
                  <a:pt x="51" y="17"/>
                </a:lnTo>
                <a:lnTo>
                  <a:pt x="53" y="17"/>
                </a:lnTo>
                <a:lnTo>
                  <a:pt x="55" y="14"/>
                </a:lnTo>
                <a:lnTo>
                  <a:pt x="53" y="14"/>
                </a:lnTo>
                <a:lnTo>
                  <a:pt x="51" y="16"/>
                </a:lnTo>
                <a:lnTo>
                  <a:pt x="49" y="16"/>
                </a:lnTo>
                <a:lnTo>
                  <a:pt x="48" y="14"/>
                </a:lnTo>
                <a:lnTo>
                  <a:pt x="47" y="9"/>
                </a:lnTo>
                <a:lnTo>
                  <a:pt x="48" y="9"/>
                </a:lnTo>
                <a:lnTo>
                  <a:pt x="51" y="8"/>
                </a:lnTo>
                <a:lnTo>
                  <a:pt x="52" y="6"/>
                </a:lnTo>
                <a:lnTo>
                  <a:pt x="51" y="5"/>
                </a:lnTo>
                <a:lnTo>
                  <a:pt x="49" y="3"/>
                </a:lnTo>
                <a:lnTo>
                  <a:pt x="49" y="0"/>
                </a:lnTo>
                <a:lnTo>
                  <a:pt x="47" y="0"/>
                </a:lnTo>
                <a:lnTo>
                  <a:pt x="45" y="1"/>
                </a:lnTo>
                <a:lnTo>
                  <a:pt x="44" y="3"/>
                </a:lnTo>
                <a:lnTo>
                  <a:pt x="40" y="5"/>
                </a:lnTo>
                <a:lnTo>
                  <a:pt x="36" y="8"/>
                </a:lnTo>
                <a:lnTo>
                  <a:pt x="35" y="8"/>
                </a:lnTo>
                <a:lnTo>
                  <a:pt x="32" y="6"/>
                </a:lnTo>
                <a:lnTo>
                  <a:pt x="31" y="8"/>
                </a:lnTo>
                <a:lnTo>
                  <a:pt x="31" y="9"/>
                </a:lnTo>
                <a:lnTo>
                  <a:pt x="29" y="11"/>
                </a:lnTo>
                <a:lnTo>
                  <a:pt x="29" y="12"/>
                </a:lnTo>
                <a:lnTo>
                  <a:pt x="29" y="14"/>
                </a:lnTo>
                <a:lnTo>
                  <a:pt x="29" y="16"/>
                </a:lnTo>
                <a:lnTo>
                  <a:pt x="28" y="17"/>
                </a:lnTo>
                <a:lnTo>
                  <a:pt x="23" y="17"/>
                </a:lnTo>
                <a:lnTo>
                  <a:pt x="21" y="19"/>
                </a:lnTo>
                <a:lnTo>
                  <a:pt x="21" y="20"/>
                </a:lnTo>
                <a:lnTo>
                  <a:pt x="17" y="27"/>
                </a:lnTo>
                <a:lnTo>
                  <a:pt x="16" y="27"/>
                </a:lnTo>
                <a:lnTo>
                  <a:pt x="12" y="27"/>
                </a:lnTo>
                <a:lnTo>
                  <a:pt x="9" y="27"/>
                </a:lnTo>
                <a:lnTo>
                  <a:pt x="8" y="25"/>
                </a:lnTo>
                <a:lnTo>
                  <a:pt x="5" y="27"/>
                </a:lnTo>
                <a:lnTo>
                  <a:pt x="3" y="27"/>
                </a:lnTo>
                <a:lnTo>
                  <a:pt x="3" y="28"/>
                </a:lnTo>
                <a:lnTo>
                  <a:pt x="3" y="30"/>
                </a:lnTo>
                <a:lnTo>
                  <a:pt x="0" y="31"/>
                </a:lnTo>
                <a:lnTo>
                  <a:pt x="3" y="33"/>
                </a:lnTo>
                <a:lnTo>
                  <a:pt x="4" y="34"/>
                </a:lnTo>
                <a:lnTo>
                  <a:pt x="5" y="36"/>
                </a:lnTo>
                <a:lnTo>
                  <a:pt x="7" y="36"/>
                </a:lnTo>
                <a:lnTo>
                  <a:pt x="9" y="36"/>
                </a:lnTo>
                <a:lnTo>
                  <a:pt x="12" y="37"/>
                </a:lnTo>
                <a:lnTo>
                  <a:pt x="12" y="39"/>
                </a:lnTo>
                <a:lnTo>
                  <a:pt x="12" y="41"/>
                </a:lnTo>
                <a:lnTo>
                  <a:pt x="11" y="44"/>
                </a:lnTo>
                <a:lnTo>
                  <a:pt x="12" y="47"/>
                </a:lnTo>
                <a:lnTo>
                  <a:pt x="13" y="48"/>
                </a:lnTo>
                <a:lnTo>
                  <a:pt x="15" y="50"/>
                </a:lnTo>
                <a:lnTo>
                  <a:pt x="16" y="52"/>
                </a:lnTo>
                <a:lnTo>
                  <a:pt x="15" y="53"/>
                </a:lnTo>
                <a:lnTo>
                  <a:pt x="13" y="55"/>
                </a:lnTo>
                <a:lnTo>
                  <a:pt x="12" y="56"/>
                </a:lnTo>
                <a:lnTo>
                  <a:pt x="11" y="58"/>
                </a:lnTo>
                <a:lnTo>
                  <a:pt x="8" y="61"/>
                </a:lnTo>
                <a:lnTo>
                  <a:pt x="7" y="64"/>
                </a:lnTo>
                <a:lnTo>
                  <a:pt x="7" y="66"/>
                </a:lnTo>
                <a:lnTo>
                  <a:pt x="7" y="67"/>
                </a:lnTo>
                <a:lnTo>
                  <a:pt x="5" y="69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40" name="Freeform 1367"/>
          <p:cNvSpPr>
            <a:spLocks/>
          </p:cNvSpPr>
          <p:nvPr/>
        </p:nvSpPr>
        <p:spPr bwMode="auto">
          <a:xfrm>
            <a:off x="8200090" y="2501613"/>
            <a:ext cx="908148" cy="375831"/>
          </a:xfrm>
          <a:custGeom>
            <a:avLst/>
            <a:gdLst/>
            <a:ahLst/>
            <a:cxnLst>
              <a:cxn ang="0">
                <a:pos x="12" y="47"/>
              </a:cxn>
              <a:cxn ang="0">
                <a:pos x="35" y="37"/>
              </a:cxn>
              <a:cxn ang="0">
                <a:pos x="67" y="26"/>
              </a:cxn>
              <a:cxn ang="0">
                <a:pos x="86" y="31"/>
              </a:cxn>
              <a:cxn ang="0">
                <a:pos x="107" y="39"/>
              </a:cxn>
              <a:cxn ang="0">
                <a:pos x="140" y="39"/>
              </a:cxn>
              <a:cxn ang="0">
                <a:pos x="152" y="32"/>
              </a:cxn>
              <a:cxn ang="0">
                <a:pos x="152" y="20"/>
              </a:cxn>
              <a:cxn ang="0">
                <a:pos x="160" y="6"/>
              </a:cxn>
              <a:cxn ang="0">
                <a:pos x="177" y="1"/>
              </a:cxn>
              <a:cxn ang="0">
                <a:pos x="201" y="9"/>
              </a:cxn>
              <a:cxn ang="0">
                <a:pos x="216" y="22"/>
              </a:cxn>
              <a:cxn ang="0">
                <a:pos x="228" y="31"/>
              </a:cxn>
              <a:cxn ang="0">
                <a:pos x="260" y="26"/>
              </a:cxn>
              <a:cxn ang="0">
                <a:pos x="286" y="36"/>
              </a:cxn>
              <a:cxn ang="0">
                <a:pos x="308" y="45"/>
              </a:cxn>
              <a:cxn ang="0">
                <a:pos x="334" y="51"/>
              </a:cxn>
              <a:cxn ang="0">
                <a:pos x="371" y="47"/>
              </a:cxn>
              <a:cxn ang="0">
                <a:pos x="402" y="34"/>
              </a:cxn>
              <a:cxn ang="0">
                <a:pos x="425" y="40"/>
              </a:cxn>
              <a:cxn ang="0">
                <a:pos x="427" y="42"/>
              </a:cxn>
              <a:cxn ang="0">
                <a:pos x="419" y="56"/>
              </a:cxn>
              <a:cxn ang="0">
                <a:pos x="417" y="72"/>
              </a:cxn>
              <a:cxn ang="0">
                <a:pos x="438" y="81"/>
              </a:cxn>
              <a:cxn ang="0">
                <a:pos x="459" y="75"/>
              </a:cxn>
              <a:cxn ang="0">
                <a:pos x="472" y="91"/>
              </a:cxn>
              <a:cxn ang="0">
                <a:pos x="474" y="98"/>
              </a:cxn>
              <a:cxn ang="0">
                <a:pos x="450" y="98"/>
              </a:cxn>
              <a:cxn ang="0">
                <a:pos x="419" y="114"/>
              </a:cxn>
              <a:cxn ang="0">
                <a:pos x="406" y="117"/>
              </a:cxn>
              <a:cxn ang="0">
                <a:pos x="382" y="131"/>
              </a:cxn>
              <a:cxn ang="0">
                <a:pos x="363" y="128"/>
              </a:cxn>
              <a:cxn ang="0">
                <a:pos x="362" y="147"/>
              </a:cxn>
              <a:cxn ang="0">
                <a:pos x="339" y="168"/>
              </a:cxn>
              <a:cxn ang="0">
                <a:pos x="318" y="174"/>
              </a:cxn>
              <a:cxn ang="0">
                <a:pos x="294" y="175"/>
              </a:cxn>
              <a:cxn ang="0">
                <a:pos x="276" y="180"/>
              </a:cxn>
              <a:cxn ang="0">
                <a:pos x="256" y="188"/>
              </a:cxn>
              <a:cxn ang="0">
                <a:pos x="240" y="183"/>
              </a:cxn>
              <a:cxn ang="0">
                <a:pos x="213" y="175"/>
              </a:cxn>
              <a:cxn ang="0">
                <a:pos x="195" y="166"/>
              </a:cxn>
              <a:cxn ang="0">
                <a:pos x="139" y="168"/>
              </a:cxn>
              <a:cxn ang="0">
                <a:pos x="124" y="157"/>
              </a:cxn>
              <a:cxn ang="0">
                <a:pos x="112" y="139"/>
              </a:cxn>
              <a:cxn ang="0">
                <a:pos x="92" y="133"/>
              </a:cxn>
              <a:cxn ang="0">
                <a:pos x="74" y="127"/>
              </a:cxn>
              <a:cxn ang="0">
                <a:pos x="50" y="124"/>
              </a:cxn>
              <a:cxn ang="0">
                <a:pos x="46" y="114"/>
              </a:cxn>
              <a:cxn ang="0">
                <a:pos x="42" y="91"/>
              </a:cxn>
              <a:cxn ang="0">
                <a:pos x="30" y="76"/>
              </a:cxn>
              <a:cxn ang="0">
                <a:pos x="15" y="75"/>
              </a:cxn>
              <a:cxn ang="0">
                <a:pos x="0" y="58"/>
              </a:cxn>
            </a:cxnLst>
            <a:rect l="0" t="0" r="r" b="b"/>
            <a:pathLst>
              <a:path w="476" h="188">
                <a:moveTo>
                  <a:pt x="0" y="56"/>
                </a:moveTo>
                <a:lnTo>
                  <a:pt x="3" y="51"/>
                </a:lnTo>
                <a:lnTo>
                  <a:pt x="8" y="48"/>
                </a:lnTo>
                <a:lnTo>
                  <a:pt x="12" y="47"/>
                </a:lnTo>
                <a:lnTo>
                  <a:pt x="18" y="45"/>
                </a:lnTo>
                <a:lnTo>
                  <a:pt x="23" y="42"/>
                </a:lnTo>
                <a:lnTo>
                  <a:pt x="28" y="39"/>
                </a:lnTo>
                <a:lnTo>
                  <a:pt x="35" y="37"/>
                </a:lnTo>
                <a:lnTo>
                  <a:pt x="43" y="32"/>
                </a:lnTo>
                <a:lnTo>
                  <a:pt x="54" y="29"/>
                </a:lnTo>
                <a:lnTo>
                  <a:pt x="60" y="28"/>
                </a:lnTo>
                <a:lnTo>
                  <a:pt x="67" y="26"/>
                </a:lnTo>
                <a:lnTo>
                  <a:pt x="72" y="28"/>
                </a:lnTo>
                <a:lnTo>
                  <a:pt x="78" y="29"/>
                </a:lnTo>
                <a:lnTo>
                  <a:pt x="82" y="31"/>
                </a:lnTo>
                <a:lnTo>
                  <a:pt x="86" y="31"/>
                </a:lnTo>
                <a:lnTo>
                  <a:pt x="92" y="29"/>
                </a:lnTo>
                <a:lnTo>
                  <a:pt x="96" y="31"/>
                </a:lnTo>
                <a:lnTo>
                  <a:pt x="105" y="37"/>
                </a:lnTo>
                <a:lnTo>
                  <a:pt x="107" y="39"/>
                </a:lnTo>
                <a:lnTo>
                  <a:pt x="111" y="39"/>
                </a:lnTo>
                <a:lnTo>
                  <a:pt x="124" y="37"/>
                </a:lnTo>
                <a:lnTo>
                  <a:pt x="128" y="39"/>
                </a:lnTo>
                <a:lnTo>
                  <a:pt x="140" y="39"/>
                </a:lnTo>
                <a:lnTo>
                  <a:pt x="151" y="37"/>
                </a:lnTo>
                <a:lnTo>
                  <a:pt x="153" y="37"/>
                </a:lnTo>
                <a:lnTo>
                  <a:pt x="153" y="36"/>
                </a:lnTo>
                <a:lnTo>
                  <a:pt x="152" y="32"/>
                </a:lnTo>
                <a:lnTo>
                  <a:pt x="152" y="29"/>
                </a:lnTo>
                <a:lnTo>
                  <a:pt x="155" y="26"/>
                </a:lnTo>
                <a:lnTo>
                  <a:pt x="155" y="23"/>
                </a:lnTo>
                <a:lnTo>
                  <a:pt x="152" y="20"/>
                </a:lnTo>
                <a:lnTo>
                  <a:pt x="151" y="17"/>
                </a:lnTo>
                <a:lnTo>
                  <a:pt x="152" y="12"/>
                </a:lnTo>
                <a:lnTo>
                  <a:pt x="156" y="9"/>
                </a:lnTo>
                <a:lnTo>
                  <a:pt x="160" y="6"/>
                </a:lnTo>
                <a:lnTo>
                  <a:pt x="165" y="4"/>
                </a:lnTo>
                <a:lnTo>
                  <a:pt x="168" y="0"/>
                </a:lnTo>
                <a:lnTo>
                  <a:pt x="172" y="0"/>
                </a:lnTo>
                <a:lnTo>
                  <a:pt x="177" y="1"/>
                </a:lnTo>
                <a:lnTo>
                  <a:pt x="181" y="3"/>
                </a:lnTo>
                <a:lnTo>
                  <a:pt x="192" y="6"/>
                </a:lnTo>
                <a:lnTo>
                  <a:pt x="195" y="9"/>
                </a:lnTo>
                <a:lnTo>
                  <a:pt x="201" y="9"/>
                </a:lnTo>
                <a:lnTo>
                  <a:pt x="208" y="11"/>
                </a:lnTo>
                <a:lnTo>
                  <a:pt x="212" y="12"/>
                </a:lnTo>
                <a:lnTo>
                  <a:pt x="214" y="15"/>
                </a:lnTo>
                <a:lnTo>
                  <a:pt x="216" y="22"/>
                </a:lnTo>
                <a:lnTo>
                  <a:pt x="216" y="25"/>
                </a:lnTo>
                <a:lnTo>
                  <a:pt x="217" y="25"/>
                </a:lnTo>
                <a:lnTo>
                  <a:pt x="221" y="28"/>
                </a:lnTo>
                <a:lnTo>
                  <a:pt x="228" y="31"/>
                </a:lnTo>
                <a:lnTo>
                  <a:pt x="237" y="34"/>
                </a:lnTo>
                <a:lnTo>
                  <a:pt x="245" y="32"/>
                </a:lnTo>
                <a:lnTo>
                  <a:pt x="252" y="29"/>
                </a:lnTo>
                <a:lnTo>
                  <a:pt x="260" y="26"/>
                </a:lnTo>
                <a:lnTo>
                  <a:pt x="268" y="28"/>
                </a:lnTo>
                <a:lnTo>
                  <a:pt x="281" y="32"/>
                </a:lnTo>
                <a:lnTo>
                  <a:pt x="284" y="34"/>
                </a:lnTo>
                <a:lnTo>
                  <a:pt x="286" y="36"/>
                </a:lnTo>
                <a:lnTo>
                  <a:pt x="292" y="39"/>
                </a:lnTo>
                <a:lnTo>
                  <a:pt x="298" y="39"/>
                </a:lnTo>
                <a:lnTo>
                  <a:pt x="304" y="40"/>
                </a:lnTo>
                <a:lnTo>
                  <a:pt x="308" y="45"/>
                </a:lnTo>
                <a:lnTo>
                  <a:pt x="314" y="48"/>
                </a:lnTo>
                <a:lnTo>
                  <a:pt x="323" y="50"/>
                </a:lnTo>
                <a:lnTo>
                  <a:pt x="330" y="51"/>
                </a:lnTo>
                <a:lnTo>
                  <a:pt x="334" y="51"/>
                </a:lnTo>
                <a:lnTo>
                  <a:pt x="341" y="51"/>
                </a:lnTo>
                <a:lnTo>
                  <a:pt x="346" y="53"/>
                </a:lnTo>
                <a:lnTo>
                  <a:pt x="362" y="48"/>
                </a:lnTo>
                <a:lnTo>
                  <a:pt x="371" y="47"/>
                </a:lnTo>
                <a:lnTo>
                  <a:pt x="378" y="47"/>
                </a:lnTo>
                <a:lnTo>
                  <a:pt x="389" y="40"/>
                </a:lnTo>
                <a:lnTo>
                  <a:pt x="395" y="36"/>
                </a:lnTo>
                <a:lnTo>
                  <a:pt x="402" y="34"/>
                </a:lnTo>
                <a:lnTo>
                  <a:pt x="409" y="37"/>
                </a:lnTo>
                <a:lnTo>
                  <a:pt x="414" y="40"/>
                </a:lnTo>
                <a:lnTo>
                  <a:pt x="419" y="40"/>
                </a:lnTo>
                <a:lnTo>
                  <a:pt x="425" y="40"/>
                </a:lnTo>
                <a:lnTo>
                  <a:pt x="428" y="39"/>
                </a:lnTo>
                <a:lnTo>
                  <a:pt x="430" y="39"/>
                </a:lnTo>
                <a:lnTo>
                  <a:pt x="430" y="40"/>
                </a:lnTo>
                <a:lnTo>
                  <a:pt x="427" y="42"/>
                </a:lnTo>
                <a:lnTo>
                  <a:pt x="423" y="48"/>
                </a:lnTo>
                <a:lnTo>
                  <a:pt x="419" y="51"/>
                </a:lnTo>
                <a:lnTo>
                  <a:pt x="419" y="53"/>
                </a:lnTo>
                <a:lnTo>
                  <a:pt x="419" y="56"/>
                </a:lnTo>
                <a:lnTo>
                  <a:pt x="419" y="59"/>
                </a:lnTo>
                <a:lnTo>
                  <a:pt x="419" y="64"/>
                </a:lnTo>
                <a:lnTo>
                  <a:pt x="417" y="67"/>
                </a:lnTo>
                <a:lnTo>
                  <a:pt x="417" y="72"/>
                </a:lnTo>
                <a:lnTo>
                  <a:pt x="418" y="76"/>
                </a:lnTo>
                <a:lnTo>
                  <a:pt x="421" y="80"/>
                </a:lnTo>
                <a:lnTo>
                  <a:pt x="431" y="81"/>
                </a:lnTo>
                <a:lnTo>
                  <a:pt x="438" y="81"/>
                </a:lnTo>
                <a:lnTo>
                  <a:pt x="444" y="80"/>
                </a:lnTo>
                <a:lnTo>
                  <a:pt x="450" y="76"/>
                </a:lnTo>
                <a:lnTo>
                  <a:pt x="458" y="73"/>
                </a:lnTo>
                <a:lnTo>
                  <a:pt x="459" y="75"/>
                </a:lnTo>
                <a:lnTo>
                  <a:pt x="463" y="78"/>
                </a:lnTo>
                <a:lnTo>
                  <a:pt x="471" y="84"/>
                </a:lnTo>
                <a:lnTo>
                  <a:pt x="472" y="87"/>
                </a:lnTo>
                <a:lnTo>
                  <a:pt x="472" y="91"/>
                </a:lnTo>
                <a:lnTo>
                  <a:pt x="472" y="92"/>
                </a:lnTo>
                <a:lnTo>
                  <a:pt x="476" y="94"/>
                </a:lnTo>
                <a:lnTo>
                  <a:pt x="476" y="97"/>
                </a:lnTo>
                <a:lnTo>
                  <a:pt x="474" y="98"/>
                </a:lnTo>
                <a:lnTo>
                  <a:pt x="468" y="97"/>
                </a:lnTo>
                <a:lnTo>
                  <a:pt x="463" y="97"/>
                </a:lnTo>
                <a:lnTo>
                  <a:pt x="456" y="97"/>
                </a:lnTo>
                <a:lnTo>
                  <a:pt x="450" y="98"/>
                </a:lnTo>
                <a:lnTo>
                  <a:pt x="443" y="98"/>
                </a:lnTo>
                <a:lnTo>
                  <a:pt x="436" y="98"/>
                </a:lnTo>
                <a:lnTo>
                  <a:pt x="432" y="102"/>
                </a:lnTo>
                <a:lnTo>
                  <a:pt x="419" y="114"/>
                </a:lnTo>
                <a:lnTo>
                  <a:pt x="414" y="117"/>
                </a:lnTo>
                <a:lnTo>
                  <a:pt x="413" y="117"/>
                </a:lnTo>
                <a:lnTo>
                  <a:pt x="409" y="117"/>
                </a:lnTo>
                <a:lnTo>
                  <a:pt x="406" y="117"/>
                </a:lnTo>
                <a:lnTo>
                  <a:pt x="401" y="122"/>
                </a:lnTo>
                <a:lnTo>
                  <a:pt x="395" y="127"/>
                </a:lnTo>
                <a:lnTo>
                  <a:pt x="387" y="131"/>
                </a:lnTo>
                <a:lnTo>
                  <a:pt x="382" y="131"/>
                </a:lnTo>
                <a:lnTo>
                  <a:pt x="377" y="130"/>
                </a:lnTo>
                <a:lnTo>
                  <a:pt x="374" y="127"/>
                </a:lnTo>
                <a:lnTo>
                  <a:pt x="369" y="127"/>
                </a:lnTo>
                <a:lnTo>
                  <a:pt x="363" y="128"/>
                </a:lnTo>
                <a:lnTo>
                  <a:pt x="361" y="131"/>
                </a:lnTo>
                <a:lnTo>
                  <a:pt x="357" y="136"/>
                </a:lnTo>
                <a:lnTo>
                  <a:pt x="357" y="139"/>
                </a:lnTo>
                <a:lnTo>
                  <a:pt x="362" y="147"/>
                </a:lnTo>
                <a:lnTo>
                  <a:pt x="363" y="150"/>
                </a:lnTo>
                <a:lnTo>
                  <a:pt x="347" y="161"/>
                </a:lnTo>
                <a:lnTo>
                  <a:pt x="345" y="164"/>
                </a:lnTo>
                <a:lnTo>
                  <a:pt x="339" y="168"/>
                </a:lnTo>
                <a:lnTo>
                  <a:pt x="335" y="171"/>
                </a:lnTo>
                <a:lnTo>
                  <a:pt x="327" y="172"/>
                </a:lnTo>
                <a:lnTo>
                  <a:pt x="319" y="174"/>
                </a:lnTo>
                <a:lnTo>
                  <a:pt x="318" y="174"/>
                </a:lnTo>
                <a:lnTo>
                  <a:pt x="310" y="172"/>
                </a:lnTo>
                <a:lnTo>
                  <a:pt x="306" y="174"/>
                </a:lnTo>
                <a:lnTo>
                  <a:pt x="298" y="172"/>
                </a:lnTo>
                <a:lnTo>
                  <a:pt x="294" y="175"/>
                </a:lnTo>
                <a:lnTo>
                  <a:pt x="284" y="177"/>
                </a:lnTo>
                <a:lnTo>
                  <a:pt x="281" y="177"/>
                </a:lnTo>
                <a:lnTo>
                  <a:pt x="278" y="180"/>
                </a:lnTo>
                <a:lnTo>
                  <a:pt x="276" y="180"/>
                </a:lnTo>
                <a:lnTo>
                  <a:pt x="272" y="182"/>
                </a:lnTo>
                <a:lnTo>
                  <a:pt x="264" y="183"/>
                </a:lnTo>
                <a:lnTo>
                  <a:pt x="258" y="188"/>
                </a:lnTo>
                <a:lnTo>
                  <a:pt x="256" y="188"/>
                </a:lnTo>
                <a:lnTo>
                  <a:pt x="253" y="186"/>
                </a:lnTo>
                <a:lnTo>
                  <a:pt x="249" y="185"/>
                </a:lnTo>
                <a:lnTo>
                  <a:pt x="248" y="185"/>
                </a:lnTo>
                <a:lnTo>
                  <a:pt x="240" y="183"/>
                </a:lnTo>
                <a:lnTo>
                  <a:pt x="234" y="182"/>
                </a:lnTo>
                <a:lnTo>
                  <a:pt x="229" y="180"/>
                </a:lnTo>
                <a:lnTo>
                  <a:pt x="220" y="177"/>
                </a:lnTo>
                <a:lnTo>
                  <a:pt x="213" y="175"/>
                </a:lnTo>
                <a:lnTo>
                  <a:pt x="209" y="172"/>
                </a:lnTo>
                <a:lnTo>
                  <a:pt x="206" y="169"/>
                </a:lnTo>
                <a:lnTo>
                  <a:pt x="204" y="168"/>
                </a:lnTo>
                <a:lnTo>
                  <a:pt x="195" y="166"/>
                </a:lnTo>
                <a:lnTo>
                  <a:pt x="191" y="164"/>
                </a:lnTo>
                <a:lnTo>
                  <a:pt x="185" y="166"/>
                </a:lnTo>
                <a:lnTo>
                  <a:pt x="144" y="168"/>
                </a:lnTo>
                <a:lnTo>
                  <a:pt x="139" y="168"/>
                </a:lnTo>
                <a:lnTo>
                  <a:pt x="135" y="166"/>
                </a:lnTo>
                <a:lnTo>
                  <a:pt x="131" y="163"/>
                </a:lnTo>
                <a:lnTo>
                  <a:pt x="127" y="160"/>
                </a:lnTo>
                <a:lnTo>
                  <a:pt x="124" y="157"/>
                </a:lnTo>
                <a:lnTo>
                  <a:pt x="121" y="152"/>
                </a:lnTo>
                <a:lnTo>
                  <a:pt x="119" y="147"/>
                </a:lnTo>
                <a:lnTo>
                  <a:pt x="116" y="142"/>
                </a:lnTo>
                <a:lnTo>
                  <a:pt x="112" y="139"/>
                </a:lnTo>
                <a:lnTo>
                  <a:pt x="109" y="139"/>
                </a:lnTo>
                <a:lnTo>
                  <a:pt x="105" y="136"/>
                </a:lnTo>
                <a:lnTo>
                  <a:pt x="97" y="135"/>
                </a:lnTo>
                <a:lnTo>
                  <a:pt x="92" y="133"/>
                </a:lnTo>
                <a:lnTo>
                  <a:pt x="88" y="130"/>
                </a:lnTo>
                <a:lnTo>
                  <a:pt x="80" y="128"/>
                </a:lnTo>
                <a:lnTo>
                  <a:pt x="78" y="127"/>
                </a:lnTo>
                <a:lnTo>
                  <a:pt x="74" y="127"/>
                </a:lnTo>
                <a:lnTo>
                  <a:pt x="70" y="128"/>
                </a:lnTo>
                <a:lnTo>
                  <a:pt x="67" y="128"/>
                </a:lnTo>
                <a:lnTo>
                  <a:pt x="58" y="125"/>
                </a:lnTo>
                <a:lnTo>
                  <a:pt x="50" y="124"/>
                </a:lnTo>
                <a:lnTo>
                  <a:pt x="46" y="124"/>
                </a:lnTo>
                <a:lnTo>
                  <a:pt x="43" y="122"/>
                </a:lnTo>
                <a:lnTo>
                  <a:pt x="43" y="119"/>
                </a:lnTo>
                <a:lnTo>
                  <a:pt x="46" y="114"/>
                </a:lnTo>
                <a:lnTo>
                  <a:pt x="46" y="109"/>
                </a:lnTo>
                <a:lnTo>
                  <a:pt x="46" y="106"/>
                </a:lnTo>
                <a:lnTo>
                  <a:pt x="44" y="100"/>
                </a:lnTo>
                <a:lnTo>
                  <a:pt x="42" y="91"/>
                </a:lnTo>
                <a:lnTo>
                  <a:pt x="39" y="86"/>
                </a:lnTo>
                <a:lnTo>
                  <a:pt x="36" y="81"/>
                </a:lnTo>
                <a:lnTo>
                  <a:pt x="34" y="78"/>
                </a:lnTo>
                <a:lnTo>
                  <a:pt x="30" y="76"/>
                </a:lnTo>
                <a:lnTo>
                  <a:pt x="26" y="75"/>
                </a:lnTo>
                <a:lnTo>
                  <a:pt x="22" y="75"/>
                </a:lnTo>
                <a:lnTo>
                  <a:pt x="19" y="76"/>
                </a:lnTo>
                <a:lnTo>
                  <a:pt x="15" y="75"/>
                </a:lnTo>
                <a:lnTo>
                  <a:pt x="12" y="70"/>
                </a:lnTo>
                <a:lnTo>
                  <a:pt x="4" y="65"/>
                </a:lnTo>
                <a:lnTo>
                  <a:pt x="2" y="59"/>
                </a:lnTo>
                <a:lnTo>
                  <a:pt x="0" y="58"/>
                </a:lnTo>
                <a:lnTo>
                  <a:pt x="0" y="56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41" name="Freeform 1369"/>
          <p:cNvSpPr>
            <a:spLocks/>
          </p:cNvSpPr>
          <p:nvPr/>
        </p:nvSpPr>
        <p:spPr bwMode="auto">
          <a:xfrm>
            <a:off x="8200090" y="2615436"/>
            <a:ext cx="72105" cy="57987"/>
          </a:xfrm>
          <a:custGeom>
            <a:avLst/>
            <a:gdLst/>
            <a:ahLst/>
            <a:cxnLst>
              <a:cxn ang="0">
                <a:pos x="39" y="30"/>
              </a:cxn>
              <a:cxn ang="0">
                <a:pos x="36" y="25"/>
              </a:cxn>
              <a:cxn ang="0">
                <a:pos x="34" y="22"/>
              </a:cxn>
              <a:cxn ang="0">
                <a:pos x="30" y="20"/>
              </a:cxn>
              <a:cxn ang="0">
                <a:pos x="26" y="19"/>
              </a:cxn>
              <a:cxn ang="0">
                <a:pos x="22" y="19"/>
              </a:cxn>
              <a:cxn ang="0">
                <a:pos x="19" y="20"/>
              </a:cxn>
              <a:cxn ang="0">
                <a:pos x="15" y="19"/>
              </a:cxn>
              <a:cxn ang="0">
                <a:pos x="12" y="14"/>
              </a:cxn>
              <a:cxn ang="0">
                <a:pos x="4" y="9"/>
              </a:cxn>
              <a:cxn ang="0">
                <a:pos x="2" y="3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39" h="30">
                <a:moveTo>
                  <a:pt x="39" y="30"/>
                </a:moveTo>
                <a:lnTo>
                  <a:pt x="36" y="25"/>
                </a:lnTo>
                <a:lnTo>
                  <a:pt x="34" y="22"/>
                </a:lnTo>
                <a:lnTo>
                  <a:pt x="30" y="20"/>
                </a:lnTo>
                <a:lnTo>
                  <a:pt x="26" y="19"/>
                </a:lnTo>
                <a:lnTo>
                  <a:pt x="22" y="19"/>
                </a:lnTo>
                <a:lnTo>
                  <a:pt x="19" y="20"/>
                </a:lnTo>
                <a:lnTo>
                  <a:pt x="15" y="19"/>
                </a:lnTo>
                <a:lnTo>
                  <a:pt x="12" y="14"/>
                </a:lnTo>
                <a:lnTo>
                  <a:pt x="4" y="9"/>
                </a:lnTo>
                <a:lnTo>
                  <a:pt x="2" y="3"/>
                </a:lnTo>
                <a:lnTo>
                  <a:pt x="0" y="2"/>
                </a:lnTo>
                <a:lnTo>
                  <a:pt x="0" y="0"/>
                </a:lnTo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42" name="Freeform 1370"/>
          <p:cNvSpPr>
            <a:spLocks/>
          </p:cNvSpPr>
          <p:nvPr/>
        </p:nvSpPr>
        <p:spPr bwMode="auto">
          <a:xfrm>
            <a:off x="8556722" y="4105875"/>
            <a:ext cx="116929" cy="186843"/>
          </a:xfrm>
          <a:custGeom>
            <a:avLst/>
            <a:gdLst/>
            <a:ahLst/>
            <a:cxnLst>
              <a:cxn ang="0">
                <a:pos x="1" y="5"/>
              </a:cxn>
              <a:cxn ang="0">
                <a:pos x="1" y="8"/>
              </a:cxn>
              <a:cxn ang="0">
                <a:pos x="2" y="14"/>
              </a:cxn>
              <a:cxn ang="0">
                <a:pos x="4" y="18"/>
              </a:cxn>
              <a:cxn ang="0">
                <a:pos x="4" y="28"/>
              </a:cxn>
              <a:cxn ang="0">
                <a:pos x="5" y="32"/>
              </a:cxn>
              <a:cxn ang="0">
                <a:pos x="6" y="33"/>
              </a:cxn>
              <a:cxn ang="0">
                <a:pos x="8" y="38"/>
              </a:cxn>
              <a:cxn ang="0">
                <a:pos x="6" y="43"/>
              </a:cxn>
              <a:cxn ang="0">
                <a:pos x="9" y="46"/>
              </a:cxn>
              <a:cxn ang="0">
                <a:pos x="9" y="49"/>
              </a:cxn>
              <a:cxn ang="0">
                <a:pos x="14" y="57"/>
              </a:cxn>
              <a:cxn ang="0">
                <a:pos x="15" y="60"/>
              </a:cxn>
              <a:cxn ang="0">
                <a:pos x="18" y="63"/>
              </a:cxn>
              <a:cxn ang="0">
                <a:pos x="18" y="68"/>
              </a:cxn>
              <a:cxn ang="0">
                <a:pos x="21" y="71"/>
              </a:cxn>
              <a:cxn ang="0">
                <a:pos x="25" y="74"/>
              </a:cxn>
              <a:cxn ang="0">
                <a:pos x="31" y="80"/>
              </a:cxn>
              <a:cxn ang="0">
                <a:pos x="35" y="82"/>
              </a:cxn>
              <a:cxn ang="0">
                <a:pos x="39" y="87"/>
              </a:cxn>
              <a:cxn ang="0">
                <a:pos x="42" y="88"/>
              </a:cxn>
              <a:cxn ang="0">
                <a:pos x="45" y="90"/>
              </a:cxn>
              <a:cxn ang="0">
                <a:pos x="49" y="94"/>
              </a:cxn>
              <a:cxn ang="0">
                <a:pos x="49" y="93"/>
              </a:cxn>
              <a:cxn ang="0">
                <a:pos x="50" y="94"/>
              </a:cxn>
              <a:cxn ang="0">
                <a:pos x="51" y="93"/>
              </a:cxn>
              <a:cxn ang="0">
                <a:pos x="53" y="91"/>
              </a:cxn>
              <a:cxn ang="0">
                <a:pos x="54" y="90"/>
              </a:cxn>
              <a:cxn ang="0">
                <a:pos x="58" y="91"/>
              </a:cxn>
              <a:cxn ang="0">
                <a:pos x="59" y="94"/>
              </a:cxn>
              <a:cxn ang="0">
                <a:pos x="61" y="91"/>
              </a:cxn>
              <a:cxn ang="0">
                <a:pos x="62" y="87"/>
              </a:cxn>
              <a:cxn ang="0">
                <a:pos x="57" y="77"/>
              </a:cxn>
              <a:cxn ang="0">
                <a:pos x="55" y="72"/>
              </a:cxn>
              <a:cxn ang="0">
                <a:pos x="51" y="68"/>
              </a:cxn>
              <a:cxn ang="0">
                <a:pos x="50" y="61"/>
              </a:cxn>
              <a:cxn ang="0">
                <a:pos x="49" y="49"/>
              </a:cxn>
              <a:cxn ang="0">
                <a:pos x="50" y="41"/>
              </a:cxn>
              <a:cxn ang="0">
                <a:pos x="50" y="35"/>
              </a:cxn>
              <a:cxn ang="0">
                <a:pos x="49" y="32"/>
              </a:cxn>
              <a:cxn ang="0">
                <a:pos x="47" y="27"/>
              </a:cxn>
              <a:cxn ang="0">
                <a:pos x="43" y="19"/>
              </a:cxn>
              <a:cxn ang="0">
                <a:pos x="37" y="14"/>
              </a:cxn>
              <a:cxn ang="0">
                <a:pos x="33" y="10"/>
              </a:cxn>
              <a:cxn ang="0">
                <a:pos x="30" y="10"/>
              </a:cxn>
              <a:cxn ang="0">
                <a:pos x="27" y="14"/>
              </a:cxn>
              <a:cxn ang="0">
                <a:pos x="25" y="14"/>
              </a:cxn>
              <a:cxn ang="0">
                <a:pos x="22" y="13"/>
              </a:cxn>
              <a:cxn ang="0">
                <a:pos x="15" y="19"/>
              </a:cxn>
              <a:cxn ang="0">
                <a:pos x="14" y="14"/>
              </a:cxn>
              <a:cxn ang="0">
                <a:pos x="15" y="10"/>
              </a:cxn>
              <a:cxn ang="0">
                <a:pos x="13" y="5"/>
              </a:cxn>
              <a:cxn ang="0">
                <a:pos x="10" y="3"/>
              </a:cxn>
              <a:cxn ang="0">
                <a:pos x="5" y="3"/>
              </a:cxn>
              <a:cxn ang="0">
                <a:pos x="4" y="0"/>
              </a:cxn>
              <a:cxn ang="0">
                <a:pos x="0" y="0"/>
              </a:cxn>
              <a:cxn ang="0">
                <a:pos x="1" y="5"/>
              </a:cxn>
            </a:cxnLst>
            <a:rect l="0" t="0" r="r" b="b"/>
            <a:pathLst>
              <a:path w="62" h="94">
                <a:moveTo>
                  <a:pt x="1" y="5"/>
                </a:moveTo>
                <a:lnTo>
                  <a:pt x="1" y="8"/>
                </a:lnTo>
                <a:lnTo>
                  <a:pt x="2" y="14"/>
                </a:lnTo>
                <a:lnTo>
                  <a:pt x="4" y="18"/>
                </a:lnTo>
                <a:lnTo>
                  <a:pt x="4" y="28"/>
                </a:lnTo>
                <a:lnTo>
                  <a:pt x="5" y="32"/>
                </a:lnTo>
                <a:lnTo>
                  <a:pt x="6" y="33"/>
                </a:lnTo>
                <a:lnTo>
                  <a:pt x="8" y="38"/>
                </a:lnTo>
                <a:lnTo>
                  <a:pt x="6" y="43"/>
                </a:lnTo>
                <a:lnTo>
                  <a:pt x="9" y="46"/>
                </a:lnTo>
                <a:lnTo>
                  <a:pt x="9" y="49"/>
                </a:lnTo>
                <a:lnTo>
                  <a:pt x="14" y="57"/>
                </a:lnTo>
                <a:lnTo>
                  <a:pt x="15" y="60"/>
                </a:lnTo>
                <a:lnTo>
                  <a:pt x="18" y="63"/>
                </a:lnTo>
                <a:lnTo>
                  <a:pt x="18" y="68"/>
                </a:lnTo>
                <a:lnTo>
                  <a:pt x="21" y="71"/>
                </a:lnTo>
                <a:lnTo>
                  <a:pt x="25" y="74"/>
                </a:lnTo>
                <a:lnTo>
                  <a:pt x="31" y="80"/>
                </a:lnTo>
                <a:lnTo>
                  <a:pt x="35" y="82"/>
                </a:lnTo>
                <a:lnTo>
                  <a:pt x="39" y="87"/>
                </a:lnTo>
                <a:lnTo>
                  <a:pt x="42" y="88"/>
                </a:lnTo>
                <a:lnTo>
                  <a:pt x="45" y="90"/>
                </a:lnTo>
                <a:lnTo>
                  <a:pt x="49" y="94"/>
                </a:lnTo>
                <a:lnTo>
                  <a:pt x="49" y="93"/>
                </a:lnTo>
                <a:lnTo>
                  <a:pt x="50" y="94"/>
                </a:lnTo>
                <a:lnTo>
                  <a:pt x="51" y="93"/>
                </a:lnTo>
                <a:lnTo>
                  <a:pt x="53" y="91"/>
                </a:lnTo>
                <a:lnTo>
                  <a:pt x="54" y="90"/>
                </a:lnTo>
                <a:lnTo>
                  <a:pt x="58" y="91"/>
                </a:lnTo>
                <a:lnTo>
                  <a:pt x="59" y="94"/>
                </a:lnTo>
                <a:lnTo>
                  <a:pt x="61" y="91"/>
                </a:lnTo>
                <a:lnTo>
                  <a:pt x="62" y="87"/>
                </a:lnTo>
                <a:lnTo>
                  <a:pt x="57" y="77"/>
                </a:lnTo>
                <a:lnTo>
                  <a:pt x="55" y="72"/>
                </a:lnTo>
                <a:lnTo>
                  <a:pt x="51" y="68"/>
                </a:lnTo>
                <a:lnTo>
                  <a:pt x="50" y="61"/>
                </a:lnTo>
                <a:lnTo>
                  <a:pt x="49" y="49"/>
                </a:lnTo>
                <a:lnTo>
                  <a:pt x="50" y="41"/>
                </a:lnTo>
                <a:lnTo>
                  <a:pt x="50" y="35"/>
                </a:lnTo>
                <a:lnTo>
                  <a:pt x="49" y="32"/>
                </a:lnTo>
                <a:lnTo>
                  <a:pt x="47" y="27"/>
                </a:lnTo>
                <a:lnTo>
                  <a:pt x="43" y="19"/>
                </a:lnTo>
                <a:lnTo>
                  <a:pt x="37" y="14"/>
                </a:lnTo>
                <a:lnTo>
                  <a:pt x="33" y="10"/>
                </a:lnTo>
                <a:lnTo>
                  <a:pt x="30" y="10"/>
                </a:lnTo>
                <a:lnTo>
                  <a:pt x="27" y="14"/>
                </a:lnTo>
                <a:lnTo>
                  <a:pt x="25" y="14"/>
                </a:lnTo>
                <a:lnTo>
                  <a:pt x="22" y="13"/>
                </a:lnTo>
                <a:lnTo>
                  <a:pt x="15" y="19"/>
                </a:lnTo>
                <a:lnTo>
                  <a:pt x="14" y="14"/>
                </a:lnTo>
                <a:lnTo>
                  <a:pt x="15" y="10"/>
                </a:lnTo>
                <a:lnTo>
                  <a:pt x="13" y="5"/>
                </a:lnTo>
                <a:lnTo>
                  <a:pt x="10" y="3"/>
                </a:lnTo>
                <a:lnTo>
                  <a:pt x="5" y="3"/>
                </a:lnTo>
                <a:lnTo>
                  <a:pt x="4" y="0"/>
                </a:lnTo>
                <a:lnTo>
                  <a:pt x="0" y="0"/>
                </a:lnTo>
                <a:lnTo>
                  <a:pt x="1" y="5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43" name="Freeform 1371"/>
          <p:cNvSpPr>
            <a:spLocks/>
          </p:cNvSpPr>
          <p:nvPr/>
        </p:nvSpPr>
        <p:spPr bwMode="auto">
          <a:xfrm>
            <a:off x="8556722" y="4105875"/>
            <a:ext cx="116929" cy="186843"/>
          </a:xfrm>
          <a:custGeom>
            <a:avLst/>
            <a:gdLst/>
            <a:ahLst/>
            <a:cxnLst>
              <a:cxn ang="0">
                <a:pos x="1" y="5"/>
              </a:cxn>
              <a:cxn ang="0">
                <a:pos x="1" y="8"/>
              </a:cxn>
              <a:cxn ang="0">
                <a:pos x="2" y="14"/>
              </a:cxn>
              <a:cxn ang="0">
                <a:pos x="4" y="18"/>
              </a:cxn>
              <a:cxn ang="0">
                <a:pos x="4" y="28"/>
              </a:cxn>
              <a:cxn ang="0">
                <a:pos x="5" y="32"/>
              </a:cxn>
              <a:cxn ang="0">
                <a:pos x="6" y="33"/>
              </a:cxn>
              <a:cxn ang="0">
                <a:pos x="8" y="38"/>
              </a:cxn>
              <a:cxn ang="0">
                <a:pos x="6" y="43"/>
              </a:cxn>
              <a:cxn ang="0">
                <a:pos x="9" y="46"/>
              </a:cxn>
              <a:cxn ang="0">
                <a:pos x="9" y="49"/>
              </a:cxn>
              <a:cxn ang="0">
                <a:pos x="14" y="57"/>
              </a:cxn>
              <a:cxn ang="0">
                <a:pos x="15" y="60"/>
              </a:cxn>
              <a:cxn ang="0">
                <a:pos x="18" y="63"/>
              </a:cxn>
              <a:cxn ang="0">
                <a:pos x="18" y="68"/>
              </a:cxn>
              <a:cxn ang="0">
                <a:pos x="21" y="71"/>
              </a:cxn>
              <a:cxn ang="0">
                <a:pos x="25" y="74"/>
              </a:cxn>
              <a:cxn ang="0">
                <a:pos x="31" y="80"/>
              </a:cxn>
              <a:cxn ang="0">
                <a:pos x="35" y="82"/>
              </a:cxn>
              <a:cxn ang="0">
                <a:pos x="39" y="87"/>
              </a:cxn>
              <a:cxn ang="0">
                <a:pos x="42" y="88"/>
              </a:cxn>
              <a:cxn ang="0">
                <a:pos x="45" y="90"/>
              </a:cxn>
              <a:cxn ang="0">
                <a:pos x="49" y="94"/>
              </a:cxn>
              <a:cxn ang="0">
                <a:pos x="49" y="93"/>
              </a:cxn>
              <a:cxn ang="0">
                <a:pos x="50" y="94"/>
              </a:cxn>
              <a:cxn ang="0">
                <a:pos x="51" y="93"/>
              </a:cxn>
              <a:cxn ang="0">
                <a:pos x="53" y="91"/>
              </a:cxn>
              <a:cxn ang="0">
                <a:pos x="54" y="90"/>
              </a:cxn>
              <a:cxn ang="0">
                <a:pos x="58" y="91"/>
              </a:cxn>
              <a:cxn ang="0">
                <a:pos x="59" y="94"/>
              </a:cxn>
              <a:cxn ang="0">
                <a:pos x="61" y="91"/>
              </a:cxn>
              <a:cxn ang="0">
                <a:pos x="62" y="87"/>
              </a:cxn>
              <a:cxn ang="0">
                <a:pos x="57" y="77"/>
              </a:cxn>
              <a:cxn ang="0">
                <a:pos x="55" y="72"/>
              </a:cxn>
              <a:cxn ang="0">
                <a:pos x="51" y="68"/>
              </a:cxn>
              <a:cxn ang="0">
                <a:pos x="50" y="61"/>
              </a:cxn>
              <a:cxn ang="0">
                <a:pos x="49" y="49"/>
              </a:cxn>
              <a:cxn ang="0">
                <a:pos x="50" y="41"/>
              </a:cxn>
              <a:cxn ang="0">
                <a:pos x="50" y="35"/>
              </a:cxn>
              <a:cxn ang="0">
                <a:pos x="49" y="32"/>
              </a:cxn>
              <a:cxn ang="0">
                <a:pos x="47" y="27"/>
              </a:cxn>
              <a:cxn ang="0">
                <a:pos x="43" y="19"/>
              </a:cxn>
              <a:cxn ang="0">
                <a:pos x="37" y="14"/>
              </a:cxn>
              <a:cxn ang="0">
                <a:pos x="33" y="10"/>
              </a:cxn>
              <a:cxn ang="0">
                <a:pos x="30" y="10"/>
              </a:cxn>
              <a:cxn ang="0">
                <a:pos x="27" y="14"/>
              </a:cxn>
              <a:cxn ang="0">
                <a:pos x="25" y="14"/>
              </a:cxn>
              <a:cxn ang="0">
                <a:pos x="22" y="13"/>
              </a:cxn>
              <a:cxn ang="0">
                <a:pos x="15" y="19"/>
              </a:cxn>
              <a:cxn ang="0">
                <a:pos x="14" y="14"/>
              </a:cxn>
              <a:cxn ang="0">
                <a:pos x="15" y="10"/>
              </a:cxn>
              <a:cxn ang="0">
                <a:pos x="13" y="5"/>
              </a:cxn>
              <a:cxn ang="0">
                <a:pos x="10" y="3"/>
              </a:cxn>
              <a:cxn ang="0">
                <a:pos x="5" y="3"/>
              </a:cxn>
              <a:cxn ang="0">
                <a:pos x="4" y="0"/>
              </a:cxn>
              <a:cxn ang="0">
                <a:pos x="0" y="0"/>
              </a:cxn>
              <a:cxn ang="0">
                <a:pos x="1" y="5"/>
              </a:cxn>
            </a:cxnLst>
            <a:rect l="0" t="0" r="r" b="b"/>
            <a:pathLst>
              <a:path w="62" h="94">
                <a:moveTo>
                  <a:pt x="1" y="5"/>
                </a:moveTo>
                <a:lnTo>
                  <a:pt x="1" y="8"/>
                </a:lnTo>
                <a:lnTo>
                  <a:pt x="2" y="14"/>
                </a:lnTo>
                <a:lnTo>
                  <a:pt x="4" y="18"/>
                </a:lnTo>
                <a:lnTo>
                  <a:pt x="4" y="28"/>
                </a:lnTo>
                <a:lnTo>
                  <a:pt x="5" y="32"/>
                </a:lnTo>
                <a:lnTo>
                  <a:pt x="6" y="33"/>
                </a:lnTo>
                <a:lnTo>
                  <a:pt x="8" y="38"/>
                </a:lnTo>
                <a:lnTo>
                  <a:pt x="6" y="43"/>
                </a:lnTo>
                <a:lnTo>
                  <a:pt x="9" y="46"/>
                </a:lnTo>
                <a:lnTo>
                  <a:pt x="9" y="49"/>
                </a:lnTo>
                <a:lnTo>
                  <a:pt x="14" y="57"/>
                </a:lnTo>
                <a:lnTo>
                  <a:pt x="15" y="60"/>
                </a:lnTo>
                <a:lnTo>
                  <a:pt x="18" y="63"/>
                </a:lnTo>
                <a:lnTo>
                  <a:pt x="18" y="68"/>
                </a:lnTo>
                <a:lnTo>
                  <a:pt x="21" y="71"/>
                </a:lnTo>
                <a:lnTo>
                  <a:pt x="25" y="74"/>
                </a:lnTo>
                <a:lnTo>
                  <a:pt x="31" y="80"/>
                </a:lnTo>
                <a:lnTo>
                  <a:pt x="35" y="82"/>
                </a:lnTo>
                <a:lnTo>
                  <a:pt x="39" y="87"/>
                </a:lnTo>
                <a:lnTo>
                  <a:pt x="42" y="88"/>
                </a:lnTo>
                <a:lnTo>
                  <a:pt x="45" y="90"/>
                </a:lnTo>
                <a:lnTo>
                  <a:pt x="49" y="94"/>
                </a:lnTo>
                <a:lnTo>
                  <a:pt x="49" y="93"/>
                </a:lnTo>
                <a:lnTo>
                  <a:pt x="50" y="94"/>
                </a:lnTo>
                <a:lnTo>
                  <a:pt x="51" y="93"/>
                </a:lnTo>
                <a:lnTo>
                  <a:pt x="53" y="91"/>
                </a:lnTo>
                <a:lnTo>
                  <a:pt x="54" y="90"/>
                </a:lnTo>
                <a:lnTo>
                  <a:pt x="58" y="91"/>
                </a:lnTo>
                <a:lnTo>
                  <a:pt x="59" y="94"/>
                </a:lnTo>
                <a:lnTo>
                  <a:pt x="61" y="91"/>
                </a:lnTo>
                <a:lnTo>
                  <a:pt x="62" y="87"/>
                </a:lnTo>
                <a:lnTo>
                  <a:pt x="57" y="77"/>
                </a:lnTo>
                <a:lnTo>
                  <a:pt x="55" y="72"/>
                </a:lnTo>
                <a:lnTo>
                  <a:pt x="51" y="68"/>
                </a:lnTo>
                <a:lnTo>
                  <a:pt x="50" y="61"/>
                </a:lnTo>
                <a:lnTo>
                  <a:pt x="49" y="49"/>
                </a:lnTo>
                <a:lnTo>
                  <a:pt x="50" y="41"/>
                </a:lnTo>
                <a:lnTo>
                  <a:pt x="50" y="35"/>
                </a:lnTo>
                <a:lnTo>
                  <a:pt x="49" y="32"/>
                </a:lnTo>
                <a:lnTo>
                  <a:pt x="47" y="27"/>
                </a:lnTo>
                <a:lnTo>
                  <a:pt x="43" y="19"/>
                </a:lnTo>
                <a:lnTo>
                  <a:pt x="37" y="14"/>
                </a:lnTo>
                <a:lnTo>
                  <a:pt x="33" y="10"/>
                </a:lnTo>
                <a:lnTo>
                  <a:pt x="30" y="10"/>
                </a:lnTo>
                <a:lnTo>
                  <a:pt x="27" y="14"/>
                </a:lnTo>
                <a:lnTo>
                  <a:pt x="25" y="14"/>
                </a:lnTo>
                <a:lnTo>
                  <a:pt x="22" y="13"/>
                </a:lnTo>
                <a:lnTo>
                  <a:pt x="15" y="19"/>
                </a:lnTo>
                <a:lnTo>
                  <a:pt x="14" y="14"/>
                </a:lnTo>
                <a:lnTo>
                  <a:pt x="15" y="10"/>
                </a:lnTo>
                <a:lnTo>
                  <a:pt x="13" y="5"/>
                </a:lnTo>
                <a:lnTo>
                  <a:pt x="10" y="3"/>
                </a:lnTo>
                <a:lnTo>
                  <a:pt x="5" y="3"/>
                </a:lnTo>
                <a:lnTo>
                  <a:pt x="4" y="0"/>
                </a:lnTo>
                <a:lnTo>
                  <a:pt x="0" y="0"/>
                </a:lnTo>
                <a:lnTo>
                  <a:pt x="1" y="5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44" name="Freeform 1372"/>
          <p:cNvSpPr>
            <a:spLocks/>
          </p:cNvSpPr>
          <p:nvPr/>
        </p:nvSpPr>
        <p:spPr bwMode="auto">
          <a:xfrm>
            <a:off x="6077831" y="2409265"/>
            <a:ext cx="284527" cy="201875"/>
          </a:xfrm>
          <a:custGeom>
            <a:avLst/>
            <a:gdLst/>
            <a:ahLst/>
            <a:cxnLst>
              <a:cxn ang="0">
                <a:pos x="143" y="60"/>
              </a:cxn>
              <a:cxn ang="0">
                <a:pos x="145" y="66"/>
              </a:cxn>
              <a:cxn ang="0">
                <a:pos x="148" y="70"/>
              </a:cxn>
              <a:cxn ang="0">
                <a:pos x="149" y="76"/>
              </a:cxn>
              <a:cxn ang="0">
                <a:pos x="144" y="80"/>
              </a:cxn>
              <a:cxn ang="0">
                <a:pos x="135" y="88"/>
              </a:cxn>
              <a:cxn ang="0">
                <a:pos x="129" y="99"/>
              </a:cxn>
              <a:cxn ang="0">
                <a:pos x="127" y="102"/>
              </a:cxn>
              <a:cxn ang="0">
                <a:pos x="123" y="101"/>
              </a:cxn>
              <a:cxn ang="0">
                <a:pos x="117" y="98"/>
              </a:cxn>
              <a:cxn ang="0">
                <a:pos x="111" y="96"/>
              </a:cxn>
              <a:cxn ang="0">
                <a:pos x="104" y="98"/>
              </a:cxn>
              <a:cxn ang="0">
                <a:pos x="100" y="96"/>
              </a:cxn>
              <a:cxn ang="0">
                <a:pos x="92" y="99"/>
              </a:cxn>
              <a:cxn ang="0">
                <a:pos x="87" y="99"/>
              </a:cxn>
              <a:cxn ang="0">
                <a:pos x="83" y="95"/>
              </a:cxn>
              <a:cxn ang="0">
                <a:pos x="77" y="95"/>
              </a:cxn>
              <a:cxn ang="0">
                <a:pos x="72" y="95"/>
              </a:cxn>
              <a:cxn ang="0">
                <a:pos x="62" y="87"/>
              </a:cxn>
              <a:cxn ang="0">
                <a:pos x="58" y="85"/>
              </a:cxn>
              <a:cxn ang="0">
                <a:pos x="55" y="80"/>
              </a:cxn>
              <a:cxn ang="0">
                <a:pos x="43" y="79"/>
              </a:cxn>
              <a:cxn ang="0">
                <a:pos x="43" y="82"/>
              </a:cxn>
              <a:cxn ang="0">
                <a:pos x="38" y="82"/>
              </a:cxn>
              <a:cxn ang="0">
                <a:pos x="34" y="76"/>
              </a:cxn>
              <a:cxn ang="0">
                <a:pos x="28" y="73"/>
              </a:cxn>
              <a:cxn ang="0">
                <a:pos x="20" y="71"/>
              </a:cxn>
              <a:cxn ang="0">
                <a:pos x="15" y="68"/>
              </a:cxn>
              <a:cxn ang="0">
                <a:pos x="10" y="71"/>
              </a:cxn>
              <a:cxn ang="0">
                <a:pos x="11" y="66"/>
              </a:cxn>
              <a:cxn ang="0">
                <a:pos x="11" y="60"/>
              </a:cxn>
              <a:cxn ang="0">
                <a:pos x="7" y="52"/>
              </a:cxn>
              <a:cxn ang="0">
                <a:pos x="7" y="46"/>
              </a:cxn>
              <a:cxn ang="0">
                <a:pos x="6" y="40"/>
              </a:cxn>
              <a:cxn ang="0">
                <a:pos x="0" y="37"/>
              </a:cxn>
              <a:cxn ang="0">
                <a:pos x="2" y="32"/>
              </a:cxn>
              <a:cxn ang="0">
                <a:pos x="3" y="27"/>
              </a:cxn>
              <a:cxn ang="0">
                <a:pos x="2" y="21"/>
              </a:cxn>
              <a:cxn ang="0">
                <a:pos x="6" y="21"/>
              </a:cxn>
              <a:cxn ang="0">
                <a:pos x="6" y="18"/>
              </a:cxn>
              <a:cxn ang="0">
                <a:pos x="4" y="16"/>
              </a:cxn>
              <a:cxn ang="0">
                <a:pos x="8" y="16"/>
              </a:cxn>
              <a:cxn ang="0">
                <a:pos x="15" y="13"/>
              </a:cxn>
              <a:cxn ang="0">
                <a:pos x="28" y="10"/>
              </a:cxn>
              <a:cxn ang="0">
                <a:pos x="42" y="4"/>
              </a:cxn>
              <a:cxn ang="0">
                <a:pos x="59" y="0"/>
              </a:cxn>
              <a:cxn ang="0">
                <a:pos x="66" y="0"/>
              </a:cxn>
              <a:cxn ang="0">
                <a:pos x="71" y="2"/>
              </a:cxn>
              <a:cxn ang="0">
                <a:pos x="66" y="2"/>
              </a:cxn>
              <a:cxn ang="0">
                <a:pos x="69" y="10"/>
              </a:cxn>
              <a:cxn ang="0">
                <a:pos x="71" y="8"/>
              </a:cxn>
              <a:cxn ang="0">
                <a:pos x="73" y="8"/>
              </a:cxn>
              <a:cxn ang="0">
                <a:pos x="80" y="8"/>
              </a:cxn>
              <a:cxn ang="0">
                <a:pos x="87" y="8"/>
              </a:cxn>
              <a:cxn ang="0">
                <a:pos x="117" y="10"/>
              </a:cxn>
              <a:cxn ang="0">
                <a:pos x="131" y="8"/>
              </a:cxn>
              <a:cxn ang="0">
                <a:pos x="140" y="11"/>
              </a:cxn>
              <a:cxn ang="0">
                <a:pos x="141" y="18"/>
              </a:cxn>
              <a:cxn ang="0">
                <a:pos x="147" y="33"/>
              </a:cxn>
              <a:cxn ang="0">
                <a:pos x="144" y="41"/>
              </a:cxn>
              <a:cxn ang="0">
                <a:pos x="137" y="44"/>
              </a:cxn>
              <a:cxn ang="0">
                <a:pos x="143" y="49"/>
              </a:cxn>
            </a:cxnLst>
            <a:rect l="0" t="0" r="r" b="b"/>
            <a:pathLst>
              <a:path w="149" h="102">
                <a:moveTo>
                  <a:pt x="141" y="59"/>
                </a:moveTo>
                <a:lnTo>
                  <a:pt x="143" y="60"/>
                </a:lnTo>
                <a:lnTo>
                  <a:pt x="143" y="63"/>
                </a:lnTo>
                <a:lnTo>
                  <a:pt x="145" y="66"/>
                </a:lnTo>
                <a:lnTo>
                  <a:pt x="145" y="68"/>
                </a:lnTo>
                <a:lnTo>
                  <a:pt x="148" y="70"/>
                </a:lnTo>
                <a:lnTo>
                  <a:pt x="148" y="73"/>
                </a:lnTo>
                <a:lnTo>
                  <a:pt x="149" y="76"/>
                </a:lnTo>
                <a:lnTo>
                  <a:pt x="148" y="77"/>
                </a:lnTo>
                <a:lnTo>
                  <a:pt x="144" y="80"/>
                </a:lnTo>
                <a:lnTo>
                  <a:pt x="139" y="84"/>
                </a:lnTo>
                <a:lnTo>
                  <a:pt x="135" y="88"/>
                </a:lnTo>
                <a:lnTo>
                  <a:pt x="129" y="96"/>
                </a:lnTo>
                <a:lnTo>
                  <a:pt x="129" y="99"/>
                </a:lnTo>
                <a:lnTo>
                  <a:pt x="129" y="101"/>
                </a:lnTo>
                <a:lnTo>
                  <a:pt x="127" y="102"/>
                </a:lnTo>
                <a:lnTo>
                  <a:pt x="125" y="102"/>
                </a:lnTo>
                <a:lnTo>
                  <a:pt x="123" y="101"/>
                </a:lnTo>
                <a:lnTo>
                  <a:pt x="120" y="99"/>
                </a:lnTo>
                <a:lnTo>
                  <a:pt x="117" y="98"/>
                </a:lnTo>
                <a:lnTo>
                  <a:pt x="115" y="96"/>
                </a:lnTo>
                <a:lnTo>
                  <a:pt x="111" y="96"/>
                </a:lnTo>
                <a:lnTo>
                  <a:pt x="108" y="96"/>
                </a:lnTo>
                <a:lnTo>
                  <a:pt x="104" y="98"/>
                </a:lnTo>
                <a:lnTo>
                  <a:pt x="103" y="98"/>
                </a:lnTo>
                <a:lnTo>
                  <a:pt x="100" y="96"/>
                </a:lnTo>
                <a:lnTo>
                  <a:pt x="95" y="96"/>
                </a:lnTo>
                <a:lnTo>
                  <a:pt x="92" y="99"/>
                </a:lnTo>
                <a:lnTo>
                  <a:pt x="89" y="99"/>
                </a:lnTo>
                <a:lnTo>
                  <a:pt x="87" y="99"/>
                </a:lnTo>
                <a:lnTo>
                  <a:pt x="85" y="98"/>
                </a:lnTo>
                <a:lnTo>
                  <a:pt x="83" y="95"/>
                </a:lnTo>
                <a:lnTo>
                  <a:pt x="80" y="95"/>
                </a:lnTo>
                <a:lnTo>
                  <a:pt x="77" y="95"/>
                </a:lnTo>
                <a:lnTo>
                  <a:pt x="75" y="96"/>
                </a:lnTo>
                <a:lnTo>
                  <a:pt x="72" y="95"/>
                </a:lnTo>
                <a:lnTo>
                  <a:pt x="67" y="93"/>
                </a:lnTo>
                <a:lnTo>
                  <a:pt x="62" y="87"/>
                </a:lnTo>
                <a:lnTo>
                  <a:pt x="59" y="85"/>
                </a:lnTo>
                <a:lnTo>
                  <a:pt x="58" y="85"/>
                </a:lnTo>
                <a:lnTo>
                  <a:pt x="55" y="85"/>
                </a:lnTo>
                <a:lnTo>
                  <a:pt x="55" y="80"/>
                </a:lnTo>
                <a:lnTo>
                  <a:pt x="50" y="80"/>
                </a:lnTo>
                <a:lnTo>
                  <a:pt x="43" y="79"/>
                </a:lnTo>
                <a:lnTo>
                  <a:pt x="42" y="80"/>
                </a:lnTo>
                <a:lnTo>
                  <a:pt x="43" y="82"/>
                </a:lnTo>
                <a:lnTo>
                  <a:pt x="40" y="84"/>
                </a:lnTo>
                <a:lnTo>
                  <a:pt x="38" y="82"/>
                </a:lnTo>
                <a:lnTo>
                  <a:pt x="32" y="79"/>
                </a:lnTo>
                <a:lnTo>
                  <a:pt x="34" y="76"/>
                </a:lnTo>
                <a:lnTo>
                  <a:pt x="30" y="74"/>
                </a:lnTo>
                <a:lnTo>
                  <a:pt x="28" y="73"/>
                </a:lnTo>
                <a:lnTo>
                  <a:pt x="22" y="71"/>
                </a:lnTo>
                <a:lnTo>
                  <a:pt x="20" y="71"/>
                </a:lnTo>
                <a:lnTo>
                  <a:pt x="18" y="70"/>
                </a:lnTo>
                <a:lnTo>
                  <a:pt x="15" y="68"/>
                </a:lnTo>
                <a:lnTo>
                  <a:pt x="11" y="71"/>
                </a:lnTo>
                <a:lnTo>
                  <a:pt x="10" y="71"/>
                </a:lnTo>
                <a:lnTo>
                  <a:pt x="11" y="70"/>
                </a:lnTo>
                <a:lnTo>
                  <a:pt x="11" y="66"/>
                </a:lnTo>
                <a:lnTo>
                  <a:pt x="12" y="62"/>
                </a:lnTo>
                <a:lnTo>
                  <a:pt x="11" y="60"/>
                </a:lnTo>
                <a:lnTo>
                  <a:pt x="7" y="57"/>
                </a:lnTo>
                <a:lnTo>
                  <a:pt x="7" y="52"/>
                </a:lnTo>
                <a:lnTo>
                  <a:pt x="7" y="51"/>
                </a:lnTo>
                <a:lnTo>
                  <a:pt x="7" y="46"/>
                </a:lnTo>
                <a:lnTo>
                  <a:pt x="6" y="44"/>
                </a:lnTo>
                <a:lnTo>
                  <a:pt x="6" y="40"/>
                </a:lnTo>
                <a:lnTo>
                  <a:pt x="4" y="38"/>
                </a:lnTo>
                <a:lnTo>
                  <a:pt x="0" y="37"/>
                </a:lnTo>
                <a:lnTo>
                  <a:pt x="0" y="35"/>
                </a:lnTo>
                <a:lnTo>
                  <a:pt x="2" y="32"/>
                </a:lnTo>
                <a:lnTo>
                  <a:pt x="3" y="30"/>
                </a:lnTo>
                <a:lnTo>
                  <a:pt x="3" y="27"/>
                </a:lnTo>
                <a:lnTo>
                  <a:pt x="3" y="24"/>
                </a:lnTo>
                <a:lnTo>
                  <a:pt x="2" y="21"/>
                </a:lnTo>
                <a:lnTo>
                  <a:pt x="0" y="19"/>
                </a:lnTo>
                <a:lnTo>
                  <a:pt x="6" y="21"/>
                </a:lnTo>
                <a:lnTo>
                  <a:pt x="6" y="19"/>
                </a:lnTo>
                <a:lnTo>
                  <a:pt x="6" y="18"/>
                </a:lnTo>
                <a:lnTo>
                  <a:pt x="2" y="18"/>
                </a:lnTo>
                <a:lnTo>
                  <a:pt x="4" y="16"/>
                </a:lnTo>
                <a:lnTo>
                  <a:pt x="7" y="16"/>
                </a:lnTo>
                <a:lnTo>
                  <a:pt x="8" y="16"/>
                </a:lnTo>
                <a:lnTo>
                  <a:pt x="11" y="15"/>
                </a:lnTo>
                <a:lnTo>
                  <a:pt x="15" y="13"/>
                </a:lnTo>
                <a:lnTo>
                  <a:pt x="19" y="11"/>
                </a:lnTo>
                <a:lnTo>
                  <a:pt x="28" y="10"/>
                </a:lnTo>
                <a:lnTo>
                  <a:pt x="38" y="5"/>
                </a:lnTo>
                <a:lnTo>
                  <a:pt x="42" y="4"/>
                </a:lnTo>
                <a:lnTo>
                  <a:pt x="47" y="2"/>
                </a:lnTo>
                <a:lnTo>
                  <a:pt x="59" y="0"/>
                </a:lnTo>
                <a:lnTo>
                  <a:pt x="63" y="0"/>
                </a:lnTo>
                <a:lnTo>
                  <a:pt x="66" y="0"/>
                </a:lnTo>
                <a:lnTo>
                  <a:pt x="68" y="0"/>
                </a:lnTo>
                <a:lnTo>
                  <a:pt x="71" y="2"/>
                </a:lnTo>
                <a:lnTo>
                  <a:pt x="69" y="4"/>
                </a:lnTo>
                <a:lnTo>
                  <a:pt x="66" y="2"/>
                </a:lnTo>
                <a:lnTo>
                  <a:pt x="66" y="4"/>
                </a:lnTo>
                <a:lnTo>
                  <a:pt x="69" y="10"/>
                </a:lnTo>
                <a:lnTo>
                  <a:pt x="71" y="10"/>
                </a:lnTo>
                <a:lnTo>
                  <a:pt x="71" y="8"/>
                </a:lnTo>
                <a:lnTo>
                  <a:pt x="72" y="8"/>
                </a:lnTo>
                <a:lnTo>
                  <a:pt x="73" y="8"/>
                </a:lnTo>
                <a:lnTo>
                  <a:pt x="76" y="8"/>
                </a:lnTo>
                <a:lnTo>
                  <a:pt x="80" y="8"/>
                </a:lnTo>
                <a:lnTo>
                  <a:pt x="83" y="7"/>
                </a:lnTo>
                <a:lnTo>
                  <a:pt x="87" y="8"/>
                </a:lnTo>
                <a:lnTo>
                  <a:pt x="104" y="10"/>
                </a:lnTo>
                <a:lnTo>
                  <a:pt x="117" y="10"/>
                </a:lnTo>
                <a:lnTo>
                  <a:pt x="125" y="8"/>
                </a:lnTo>
                <a:lnTo>
                  <a:pt x="131" y="8"/>
                </a:lnTo>
                <a:lnTo>
                  <a:pt x="136" y="10"/>
                </a:lnTo>
                <a:lnTo>
                  <a:pt x="140" y="11"/>
                </a:lnTo>
                <a:lnTo>
                  <a:pt x="141" y="15"/>
                </a:lnTo>
                <a:lnTo>
                  <a:pt x="141" y="18"/>
                </a:lnTo>
                <a:lnTo>
                  <a:pt x="147" y="30"/>
                </a:lnTo>
                <a:lnTo>
                  <a:pt x="147" y="33"/>
                </a:lnTo>
                <a:lnTo>
                  <a:pt x="147" y="38"/>
                </a:lnTo>
                <a:lnTo>
                  <a:pt x="144" y="41"/>
                </a:lnTo>
                <a:lnTo>
                  <a:pt x="140" y="43"/>
                </a:lnTo>
                <a:lnTo>
                  <a:pt x="137" y="44"/>
                </a:lnTo>
                <a:lnTo>
                  <a:pt x="139" y="48"/>
                </a:lnTo>
                <a:lnTo>
                  <a:pt x="143" y="49"/>
                </a:lnTo>
                <a:lnTo>
                  <a:pt x="141" y="59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45" name="Freeform 1373"/>
          <p:cNvSpPr>
            <a:spLocks/>
          </p:cNvSpPr>
          <p:nvPr/>
        </p:nvSpPr>
        <p:spPr bwMode="auto">
          <a:xfrm>
            <a:off x="6077831" y="2409265"/>
            <a:ext cx="284527" cy="201875"/>
          </a:xfrm>
          <a:custGeom>
            <a:avLst/>
            <a:gdLst/>
            <a:ahLst/>
            <a:cxnLst>
              <a:cxn ang="0">
                <a:pos x="143" y="60"/>
              </a:cxn>
              <a:cxn ang="0">
                <a:pos x="145" y="66"/>
              </a:cxn>
              <a:cxn ang="0">
                <a:pos x="148" y="70"/>
              </a:cxn>
              <a:cxn ang="0">
                <a:pos x="149" y="76"/>
              </a:cxn>
              <a:cxn ang="0">
                <a:pos x="144" y="80"/>
              </a:cxn>
              <a:cxn ang="0">
                <a:pos x="135" y="88"/>
              </a:cxn>
              <a:cxn ang="0">
                <a:pos x="129" y="99"/>
              </a:cxn>
              <a:cxn ang="0">
                <a:pos x="127" y="102"/>
              </a:cxn>
              <a:cxn ang="0">
                <a:pos x="123" y="101"/>
              </a:cxn>
              <a:cxn ang="0">
                <a:pos x="117" y="98"/>
              </a:cxn>
              <a:cxn ang="0">
                <a:pos x="111" y="96"/>
              </a:cxn>
              <a:cxn ang="0">
                <a:pos x="104" y="98"/>
              </a:cxn>
              <a:cxn ang="0">
                <a:pos x="100" y="96"/>
              </a:cxn>
              <a:cxn ang="0">
                <a:pos x="92" y="99"/>
              </a:cxn>
              <a:cxn ang="0">
                <a:pos x="87" y="99"/>
              </a:cxn>
              <a:cxn ang="0">
                <a:pos x="83" y="95"/>
              </a:cxn>
              <a:cxn ang="0">
                <a:pos x="77" y="95"/>
              </a:cxn>
              <a:cxn ang="0">
                <a:pos x="72" y="95"/>
              </a:cxn>
              <a:cxn ang="0">
                <a:pos x="62" y="87"/>
              </a:cxn>
              <a:cxn ang="0">
                <a:pos x="58" y="85"/>
              </a:cxn>
              <a:cxn ang="0">
                <a:pos x="55" y="80"/>
              </a:cxn>
              <a:cxn ang="0">
                <a:pos x="43" y="79"/>
              </a:cxn>
              <a:cxn ang="0">
                <a:pos x="43" y="82"/>
              </a:cxn>
              <a:cxn ang="0">
                <a:pos x="38" y="82"/>
              </a:cxn>
              <a:cxn ang="0">
                <a:pos x="34" y="76"/>
              </a:cxn>
              <a:cxn ang="0">
                <a:pos x="28" y="73"/>
              </a:cxn>
              <a:cxn ang="0">
                <a:pos x="20" y="71"/>
              </a:cxn>
              <a:cxn ang="0">
                <a:pos x="15" y="68"/>
              </a:cxn>
              <a:cxn ang="0">
                <a:pos x="10" y="71"/>
              </a:cxn>
              <a:cxn ang="0">
                <a:pos x="11" y="66"/>
              </a:cxn>
              <a:cxn ang="0">
                <a:pos x="11" y="60"/>
              </a:cxn>
              <a:cxn ang="0">
                <a:pos x="7" y="52"/>
              </a:cxn>
              <a:cxn ang="0">
                <a:pos x="7" y="46"/>
              </a:cxn>
              <a:cxn ang="0">
                <a:pos x="6" y="40"/>
              </a:cxn>
              <a:cxn ang="0">
                <a:pos x="0" y="37"/>
              </a:cxn>
              <a:cxn ang="0">
                <a:pos x="2" y="32"/>
              </a:cxn>
              <a:cxn ang="0">
                <a:pos x="3" y="27"/>
              </a:cxn>
              <a:cxn ang="0">
                <a:pos x="2" y="21"/>
              </a:cxn>
              <a:cxn ang="0">
                <a:pos x="6" y="21"/>
              </a:cxn>
              <a:cxn ang="0">
                <a:pos x="6" y="18"/>
              </a:cxn>
              <a:cxn ang="0">
                <a:pos x="4" y="16"/>
              </a:cxn>
              <a:cxn ang="0">
                <a:pos x="8" y="16"/>
              </a:cxn>
              <a:cxn ang="0">
                <a:pos x="15" y="13"/>
              </a:cxn>
              <a:cxn ang="0">
                <a:pos x="28" y="10"/>
              </a:cxn>
              <a:cxn ang="0">
                <a:pos x="42" y="4"/>
              </a:cxn>
              <a:cxn ang="0">
                <a:pos x="59" y="0"/>
              </a:cxn>
              <a:cxn ang="0">
                <a:pos x="66" y="0"/>
              </a:cxn>
              <a:cxn ang="0">
                <a:pos x="71" y="2"/>
              </a:cxn>
              <a:cxn ang="0">
                <a:pos x="66" y="2"/>
              </a:cxn>
              <a:cxn ang="0">
                <a:pos x="69" y="10"/>
              </a:cxn>
              <a:cxn ang="0">
                <a:pos x="71" y="8"/>
              </a:cxn>
              <a:cxn ang="0">
                <a:pos x="73" y="8"/>
              </a:cxn>
              <a:cxn ang="0">
                <a:pos x="80" y="8"/>
              </a:cxn>
              <a:cxn ang="0">
                <a:pos x="87" y="8"/>
              </a:cxn>
              <a:cxn ang="0">
                <a:pos x="117" y="10"/>
              </a:cxn>
              <a:cxn ang="0">
                <a:pos x="131" y="8"/>
              </a:cxn>
              <a:cxn ang="0">
                <a:pos x="140" y="11"/>
              </a:cxn>
              <a:cxn ang="0">
                <a:pos x="141" y="18"/>
              </a:cxn>
              <a:cxn ang="0">
                <a:pos x="147" y="33"/>
              </a:cxn>
              <a:cxn ang="0">
                <a:pos x="144" y="41"/>
              </a:cxn>
              <a:cxn ang="0">
                <a:pos x="137" y="44"/>
              </a:cxn>
              <a:cxn ang="0">
                <a:pos x="143" y="49"/>
              </a:cxn>
            </a:cxnLst>
            <a:rect l="0" t="0" r="r" b="b"/>
            <a:pathLst>
              <a:path w="149" h="102">
                <a:moveTo>
                  <a:pt x="141" y="59"/>
                </a:moveTo>
                <a:lnTo>
                  <a:pt x="143" y="60"/>
                </a:lnTo>
                <a:lnTo>
                  <a:pt x="143" y="63"/>
                </a:lnTo>
                <a:lnTo>
                  <a:pt x="145" y="66"/>
                </a:lnTo>
                <a:lnTo>
                  <a:pt x="145" y="68"/>
                </a:lnTo>
                <a:lnTo>
                  <a:pt x="148" y="70"/>
                </a:lnTo>
                <a:lnTo>
                  <a:pt x="148" y="73"/>
                </a:lnTo>
                <a:lnTo>
                  <a:pt x="149" y="76"/>
                </a:lnTo>
                <a:lnTo>
                  <a:pt x="148" y="77"/>
                </a:lnTo>
                <a:lnTo>
                  <a:pt x="144" y="80"/>
                </a:lnTo>
                <a:lnTo>
                  <a:pt x="139" y="84"/>
                </a:lnTo>
                <a:lnTo>
                  <a:pt x="135" y="88"/>
                </a:lnTo>
                <a:lnTo>
                  <a:pt x="129" y="96"/>
                </a:lnTo>
                <a:lnTo>
                  <a:pt x="129" y="99"/>
                </a:lnTo>
                <a:lnTo>
                  <a:pt x="129" y="101"/>
                </a:lnTo>
                <a:lnTo>
                  <a:pt x="127" y="102"/>
                </a:lnTo>
                <a:lnTo>
                  <a:pt x="125" y="102"/>
                </a:lnTo>
                <a:lnTo>
                  <a:pt x="123" y="101"/>
                </a:lnTo>
                <a:lnTo>
                  <a:pt x="120" y="99"/>
                </a:lnTo>
                <a:lnTo>
                  <a:pt x="117" y="98"/>
                </a:lnTo>
                <a:lnTo>
                  <a:pt x="115" y="96"/>
                </a:lnTo>
                <a:lnTo>
                  <a:pt x="111" y="96"/>
                </a:lnTo>
                <a:lnTo>
                  <a:pt x="108" y="96"/>
                </a:lnTo>
                <a:lnTo>
                  <a:pt x="104" y="98"/>
                </a:lnTo>
                <a:lnTo>
                  <a:pt x="103" y="98"/>
                </a:lnTo>
                <a:lnTo>
                  <a:pt x="100" y="96"/>
                </a:lnTo>
                <a:lnTo>
                  <a:pt x="95" y="96"/>
                </a:lnTo>
                <a:lnTo>
                  <a:pt x="92" y="99"/>
                </a:lnTo>
                <a:lnTo>
                  <a:pt x="89" y="99"/>
                </a:lnTo>
                <a:lnTo>
                  <a:pt x="87" y="99"/>
                </a:lnTo>
                <a:lnTo>
                  <a:pt x="85" y="98"/>
                </a:lnTo>
                <a:lnTo>
                  <a:pt x="83" y="95"/>
                </a:lnTo>
                <a:lnTo>
                  <a:pt x="80" y="95"/>
                </a:lnTo>
                <a:lnTo>
                  <a:pt x="77" y="95"/>
                </a:lnTo>
                <a:lnTo>
                  <a:pt x="75" y="96"/>
                </a:lnTo>
                <a:lnTo>
                  <a:pt x="72" y="95"/>
                </a:lnTo>
                <a:lnTo>
                  <a:pt x="67" y="93"/>
                </a:lnTo>
                <a:lnTo>
                  <a:pt x="62" y="87"/>
                </a:lnTo>
                <a:lnTo>
                  <a:pt x="59" y="85"/>
                </a:lnTo>
                <a:lnTo>
                  <a:pt x="58" y="85"/>
                </a:lnTo>
                <a:lnTo>
                  <a:pt x="55" y="85"/>
                </a:lnTo>
                <a:lnTo>
                  <a:pt x="55" y="80"/>
                </a:lnTo>
                <a:lnTo>
                  <a:pt x="50" y="80"/>
                </a:lnTo>
                <a:lnTo>
                  <a:pt x="43" y="79"/>
                </a:lnTo>
                <a:lnTo>
                  <a:pt x="42" y="80"/>
                </a:lnTo>
                <a:lnTo>
                  <a:pt x="43" y="82"/>
                </a:lnTo>
                <a:lnTo>
                  <a:pt x="40" y="84"/>
                </a:lnTo>
                <a:lnTo>
                  <a:pt x="38" y="82"/>
                </a:lnTo>
                <a:lnTo>
                  <a:pt x="32" y="79"/>
                </a:lnTo>
                <a:lnTo>
                  <a:pt x="34" y="76"/>
                </a:lnTo>
                <a:lnTo>
                  <a:pt x="30" y="74"/>
                </a:lnTo>
                <a:lnTo>
                  <a:pt x="28" y="73"/>
                </a:lnTo>
                <a:lnTo>
                  <a:pt x="22" y="71"/>
                </a:lnTo>
                <a:lnTo>
                  <a:pt x="20" y="71"/>
                </a:lnTo>
                <a:lnTo>
                  <a:pt x="18" y="70"/>
                </a:lnTo>
                <a:lnTo>
                  <a:pt x="15" y="68"/>
                </a:lnTo>
                <a:lnTo>
                  <a:pt x="11" y="71"/>
                </a:lnTo>
                <a:lnTo>
                  <a:pt x="10" y="71"/>
                </a:lnTo>
                <a:lnTo>
                  <a:pt x="11" y="70"/>
                </a:lnTo>
                <a:lnTo>
                  <a:pt x="11" y="66"/>
                </a:lnTo>
                <a:lnTo>
                  <a:pt x="12" y="62"/>
                </a:lnTo>
                <a:lnTo>
                  <a:pt x="11" y="60"/>
                </a:lnTo>
                <a:lnTo>
                  <a:pt x="7" y="57"/>
                </a:lnTo>
                <a:lnTo>
                  <a:pt x="7" y="52"/>
                </a:lnTo>
                <a:lnTo>
                  <a:pt x="7" y="51"/>
                </a:lnTo>
                <a:lnTo>
                  <a:pt x="7" y="46"/>
                </a:lnTo>
                <a:lnTo>
                  <a:pt x="6" y="44"/>
                </a:lnTo>
                <a:lnTo>
                  <a:pt x="6" y="40"/>
                </a:lnTo>
                <a:lnTo>
                  <a:pt x="4" y="38"/>
                </a:lnTo>
                <a:lnTo>
                  <a:pt x="0" y="37"/>
                </a:lnTo>
                <a:lnTo>
                  <a:pt x="0" y="35"/>
                </a:lnTo>
                <a:lnTo>
                  <a:pt x="2" y="32"/>
                </a:lnTo>
                <a:lnTo>
                  <a:pt x="3" y="30"/>
                </a:lnTo>
                <a:lnTo>
                  <a:pt x="3" y="27"/>
                </a:lnTo>
                <a:lnTo>
                  <a:pt x="3" y="24"/>
                </a:lnTo>
                <a:lnTo>
                  <a:pt x="2" y="21"/>
                </a:lnTo>
                <a:lnTo>
                  <a:pt x="0" y="19"/>
                </a:lnTo>
                <a:lnTo>
                  <a:pt x="6" y="21"/>
                </a:lnTo>
                <a:lnTo>
                  <a:pt x="6" y="19"/>
                </a:lnTo>
                <a:lnTo>
                  <a:pt x="6" y="18"/>
                </a:lnTo>
                <a:lnTo>
                  <a:pt x="2" y="18"/>
                </a:lnTo>
                <a:lnTo>
                  <a:pt x="4" y="16"/>
                </a:lnTo>
                <a:lnTo>
                  <a:pt x="7" y="16"/>
                </a:lnTo>
                <a:lnTo>
                  <a:pt x="8" y="16"/>
                </a:lnTo>
                <a:lnTo>
                  <a:pt x="11" y="15"/>
                </a:lnTo>
                <a:lnTo>
                  <a:pt x="15" y="13"/>
                </a:lnTo>
                <a:lnTo>
                  <a:pt x="19" y="11"/>
                </a:lnTo>
                <a:lnTo>
                  <a:pt x="28" y="10"/>
                </a:lnTo>
                <a:lnTo>
                  <a:pt x="38" y="5"/>
                </a:lnTo>
                <a:lnTo>
                  <a:pt x="42" y="4"/>
                </a:lnTo>
                <a:lnTo>
                  <a:pt x="47" y="2"/>
                </a:lnTo>
                <a:lnTo>
                  <a:pt x="59" y="0"/>
                </a:lnTo>
                <a:lnTo>
                  <a:pt x="63" y="0"/>
                </a:lnTo>
                <a:lnTo>
                  <a:pt x="66" y="0"/>
                </a:lnTo>
                <a:lnTo>
                  <a:pt x="68" y="0"/>
                </a:lnTo>
                <a:lnTo>
                  <a:pt x="71" y="2"/>
                </a:lnTo>
                <a:lnTo>
                  <a:pt x="69" y="4"/>
                </a:lnTo>
                <a:lnTo>
                  <a:pt x="66" y="2"/>
                </a:lnTo>
                <a:lnTo>
                  <a:pt x="66" y="4"/>
                </a:lnTo>
                <a:lnTo>
                  <a:pt x="69" y="10"/>
                </a:lnTo>
                <a:lnTo>
                  <a:pt x="71" y="10"/>
                </a:lnTo>
                <a:lnTo>
                  <a:pt x="71" y="8"/>
                </a:lnTo>
                <a:lnTo>
                  <a:pt x="72" y="8"/>
                </a:lnTo>
                <a:lnTo>
                  <a:pt x="73" y="8"/>
                </a:lnTo>
                <a:lnTo>
                  <a:pt x="76" y="8"/>
                </a:lnTo>
                <a:lnTo>
                  <a:pt x="80" y="8"/>
                </a:lnTo>
                <a:lnTo>
                  <a:pt x="83" y="7"/>
                </a:lnTo>
                <a:lnTo>
                  <a:pt x="87" y="8"/>
                </a:lnTo>
                <a:lnTo>
                  <a:pt x="104" y="10"/>
                </a:lnTo>
                <a:lnTo>
                  <a:pt x="117" y="10"/>
                </a:lnTo>
                <a:lnTo>
                  <a:pt x="125" y="8"/>
                </a:lnTo>
                <a:lnTo>
                  <a:pt x="131" y="8"/>
                </a:lnTo>
                <a:lnTo>
                  <a:pt x="136" y="10"/>
                </a:lnTo>
                <a:lnTo>
                  <a:pt x="140" y="11"/>
                </a:lnTo>
                <a:lnTo>
                  <a:pt x="141" y="15"/>
                </a:lnTo>
                <a:lnTo>
                  <a:pt x="141" y="18"/>
                </a:lnTo>
                <a:lnTo>
                  <a:pt x="147" y="30"/>
                </a:lnTo>
                <a:lnTo>
                  <a:pt x="147" y="33"/>
                </a:lnTo>
                <a:lnTo>
                  <a:pt x="147" y="38"/>
                </a:lnTo>
                <a:lnTo>
                  <a:pt x="144" y="41"/>
                </a:lnTo>
                <a:lnTo>
                  <a:pt x="140" y="43"/>
                </a:lnTo>
                <a:lnTo>
                  <a:pt x="137" y="44"/>
                </a:lnTo>
                <a:lnTo>
                  <a:pt x="139" y="48"/>
                </a:lnTo>
                <a:lnTo>
                  <a:pt x="143" y="49"/>
                </a:lnTo>
                <a:lnTo>
                  <a:pt x="141" y="59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46" name="Freeform 1374"/>
          <p:cNvSpPr>
            <a:spLocks/>
          </p:cNvSpPr>
          <p:nvPr/>
        </p:nvSpPr>
        <p:spPr bwMode="auto">
          <a:xfrm>
            <a:off x="6274660" y="2293294"/>
            <a:ext cx="210471" cy="85905"/>
          </a:xfrm>
          <a:custGeom>
            <a:avLst/>
            <a:gdLst/>
            <a:ahLst/>
            <a:cxnLst>
              <a:cxn ang="0">
                <a:pos x="0" y="33"/>
              </a:cxn>
              <a:cxn ang="0">
                <a:pos x="4" y="21"/>
              </a:cxn>
              <a:cxn ang="0">
                <a:pos x="6" y="18"/>
              </a:cxn>
              <a:cxn ang="0">
                <a:pos x="9" y="11"/>
              </a:cxn>
              <a:cxn ang="0">
                <a:pos x="14" y="8"/>
              </a:cxn>
              <a:cxn ang="0">
                <a:pos x="24" y="7"/>
              </a:cxn>
              <a:cxn ang="0">
                <a:pos x="32" y="13"/>
              </a:cxn>
              <a:cxn ang="0">
                <a:pos x="33" y="16"/>
              </a:cxn>
              <a:cxn ang="0">
                <a:pos x="34" y="16"/>
              </a:cxn>
              <a:cxn ang="0">
                <a:pos x="41" y="19"/>
              </a:cxn>
              <a:cxn ang="0">
                <a:pos x="46" y="18"/>
              </a:cxn>
              <a:cxn ang="0">
                <a:pos x="48" y="21"/>
              </a:cxn>
              <a:cxn ang="0">
                <a:pos x="50" y="16"/>
              </a:cxn>
              <a:cxn ang="0">
                <a:pos x="52" y="5"/>
              </a:cxn>
              <a:cxn ang="0">
                <a:pos x="56" y="3"/>
              </a:cxn>
              <a:cxn ang="0">
                <a:pos x="66" y="0"/>
              </a:cxn>
              <a:cxn ang="0">
                <a:pos x="74" y="3"/>
              </a:cxn>
              <a:cxn ang="0">
                <a:pos x="79" y="5"/>
              </a:cxn>
              <a:cxn ang="0">
                <a:pos x="87" y="10"/>
              </a:cxn>
              <a:cxn ang="0">
                <a:pos x="94" y="8"/>
              </a:cxn>
              <a:cxn ang="0">
                <a:pos x="99" y="10"/>
              </a:cxn>
              <a:cxn ang="0">
                <a:pos x="101" y="11"/>
              </a:cxn>
              <a:cxn ang="0">
                <a:pos x="105" y="13"/>
              </a:cxn>
              <a:cxn ang="0">
                <a:pos x="103" y="19"/>
              </a:cxn>
              <a:cxn ang="0">
                <a:pos x="105" y="21"/>
              </a:cxn>
              <a:cxn ang="0">
                <a:pos x="106" y="24"/>
              </a:cxn>
              <a:cxn ang="0">
                <a:pos x="110" y="29"/>
              </a:cxn>
              <a:cxn ang="0">
                <a:pos x="111" y="33"/>
              </a:cxn>
              <a:cxn ang="0">
                <a:pos x="109" y="35"/>
              </a:cxn>
              <a:cxn ang="0">
                <a:pos x="103" y="36"/>
              </a:cxn>
              <a:cxn ang="0">
                <a:pos x="99" y="41"/>
              </a:cxn>
              <a:cxn ang="0">
                <a:pos x="94" y="40"/>
              </a:cxn>
              <a:cxn ang="0">
                <a:pos x="91" y="43"/>
              </a:cxn>
              <a:cxn ang="0">
                <a:pos x="87" y="43"/>
              </a:cxn>
              <a:cxn ang="0">
                <a:pos x="83" y="41"/>
              </a:cxn>
              <a:cxn ang="0">
                <a:pos x="72" y="35"/>
              </a:cxn>
              <a:cxn ang="0">
                <a:pos x="65" y="33"/>
              </a:cxn>
              <a:cxn ang="0">
                <a:pos x="61" y="29"/>
              </a:cxn>
              <a:cxn ang="0">
                <a:pos x="56" y="32"/>
              </a:cxn>
              <a:cxn ang="0">
                <a:pos x="42" y="30"/>
              </a:cxn>
              <a:cxn ang="0">
                <a:pos x="36" y="30"/>
              </a:cxn>
              <a:cxn ang="0">
                <a:pos x="32" y="30"/>
              </a:cxn>
              <a:cxn ang="0">
                <a:pos x="28" y="30"/>
              </a:cxn>
              <a:cxn ang="0">
                <a:pos x="24" y="29"/>
              </a:cxn>
              <a:cxn ang="0">
                <a:pos x="12" y="30"/>
              </a:cxn>
              <a:cxn ang="0">
                <a:pos x="6" y="35"/>
              </a:cxn>
              <a:cxn ang="0">
                <a:pos x="1" y="35"/>
              </a:cxn>
            </a:cxnLst>
            <a:rect l="0" t="0" r="r" b="b"/>
            <a:pathLst>
              <a:path w="111" h="43">
                <a:moveTo>
                  <a:pt x="1" y="35"/>
                </a:moveTo>
                <a:lnTo>
                  <a:pt x="0" y="33"/>
                </a:lnTo>
                <a:lnTo>
                  <a:pt x="1" y="24"/>
                </a:lnTo>
                <a:lnTo>
                  <a:pt x="4" y="21"/>
                </a:lnTo>
                <a:lnTo>
                  <a:pt x="6" y="19"/>
                </a:lnTo>
                <a:lnTo>
                  <a:pt x="6" y="18"/>
                </a:lnTo>
                <a:lnTo>
                  <a:pt x="8" y="14"/>
                </a:lnTo>
                <a:lnTo>
                  <a:pt x="9" y="11"/>
                </a:lnTo>
                <a:lnTo>
                  <a:pt x="12" y="10"/>
                </a:lnTo>
                <a:lnTo>
                  <a:pt x="14" y="8"/>
                </a:lnTo>
                <a:lnTo>
                  <a:pt x="18" y="8"/>
                </a:lnTo>
                <a:lnTo>
                  <a:pt x="24" y="7"/>
                </a:lnTo>
                <a:lnTo>
                  <a:pt x="26" y="8"/>
                </a:lnTo>
                <a:lnTo>
                  <a:pt x="32" y="13"/>
                </a:lnTo>
                <a:lnTo>
                  <a:pt x="32" y="14"/>
                </a:lnTo>
                <a:lnTo>
                  <a:pt x="33" y="16"/>
                </a:lnTo>
                <a:lnTo>
                  <a:pt x="33" y="14"/>
                </a:lnTo>
                <a:lnTo>
                  <a:pt x="34" y="16"/>
                </a:lnTo>
                <a:lnTo>
                  <a:pt x="36" y="18"/>
                </a:lnTo>
                <a:lnTo>
                  <a:pt x="41" y="19"/>
                </a:lnTo>
                <a:lnTo>
                  <a:pt x="42" y="19"/>
                </a:lnTo>
                <a:lnTo>
                  <a:pt x="46" y="18"/>
                </a:lnTo>
                <a:lnTo>
                  <a:pt x="46" y="19"/>
                </a:lnTo>
                <a:lnTo>
                  <a:pt x="48" y="21"/>
                </a:lnTo>
                <a:lnTo>
                  <a:pt x="49" y="18"/>
                </a:lnTo>
                <a:lnTo>
                  <a:pt x="50" y="16"/>
                </a:lnTo>
                <a:lnTo>
                  <a:pt x="52" y="16"/>
                </a:lnTo>
                <a:lnTo>
                  <a:pt x="52" y="5"/>
                </a:lnTo>
                <a:lnTo>
                  <a:pt x="53" y="3"/>
                </a:lnTo>
                <a:lnTo>
                  <a:pt x="56" y="3"/>
                </a:lnTo>
                <a:lnTo>
                  <a:pt x="58" y="2"/>
                </a:lnTo>
                <a:lnTo>
                  <a:pt x="66" y="0"/>
                </a:lnTo>
                <a:lnTo>
                  <a:pt x="70" y="2"/>
                </a:lnTo>
                <a:lnTo>
                  <a:pt x="74" y="3"/>
                </a:lnTo>
                <a:lnTo>
                  <a:pt x="78" y="3"/>
                </a:lnTo>
                <a:lnTo>
                  <a:pt x="79" y="5"/>
                </a:lnTo>
                <a:lnTo>
                  <a:pt x="85" y="10"/>
                </a:lnTo>
                <a:lnTo>
                  <a:pt x="87" y="10"/>
                </a:lnTo>
                <a:lnTo>
                  <a:pt x="90" y="8"/>
                </a:lnTo>
                <a:lnTo>
                  <a:pt x="94" y="8"/>
                </a:lnTo>
                <a:lnTo>
                  <a:pt x="98" y="10"/>
                </a:lnTo>
                <a:lnTo>
                  <a:pt x="99" y="10"/>
                </a:lnTo>
                <a:lnTo>
                  <a:pt x="101" y="10"/>
                </a:lnTo>
                <a:lnTo>
                  <a:pt x="101" y="11"/>
                </a:lnTo>
                <a:lnTo>
                  <a:pt x="103" y="13"/>
                </a:lnTo>
                <a:lnTo>
                  <a:pt x="105" y="13"/>
                </a:lnTo>
                <a:lnTo>
                  <a:pt x="105" y="14"/>
                </a:lnTo>
                <a:lnTo>
                  <a:pt x="103" y="19"/>
                </a:lnTo>
                <a:lnTo>
                  <a:pt x="102" y="21"/>
                </a:lnTo>
                <a:lnTo>
                  <a:pt x="105" y="21"/>
                </a:lnTo>
                <a:lnTo>
                  <a:pt x="106" y="22"/>
                </a:lnTo>
                <a:lnTo>
                  <a:pt x="106" y="24"/>
                </a:lnTo>
                <a:lnTo>
                  <a:pt x="110" y="27"/>
                </a:lnTo>
                <a:lnTo>
                  <a:pt x="110" y="29"/>
                </a:lnTo>
                <a:lnTo>
                  <a:pt x="111" y="30"/>
                </a:lnTo>
                <a:lnTo>
                  <a:pt x="111" y="33"/>
                </a:lnTo>
                <a:lnTo>
                  <a:pt x="111" y="35"/>
                </a:lnTo>
                <a:lnTo>
                  <a:pt x="109" y="35"/>
                </a:lnTo>
                <a:lnTo>
                  <a:pt x="106" y="35"/>
                </a:lnTo>
                <a:lnTo>
                  <a:pt x="103" y="36"/>
                </a:lnTo>
                <a:lnTo>
                  <a:pt x="103" y="38"/>
                </a:lnTo>
                <a:lnTo>
                  <a:pt x="99" y="41"/>
                </a:lnTo>
                <a:lnTo>
                  <a:pt x="98" y="41"/>
                </a:lnTo>
                <a:lnTo>
                  <a:pt x="94" y="40"/>
                </a:lnTo>
                <a:lnTo>
                  <a:pt x="91" y="41"/>
                </a:lnTo>
                <a:lnTo>
                  <a:pt x="91" y="43"/>
                </a:lnTo>
                <a:lnTo>
                  <a:pt x="89" y="43"/>
                </a:lnTo>
                <a:lnTo>
                  <a:pt x="87" y="43"/>
                </a:lnTo>
                <a:lnTo>
                  <a:pt x="85" y="43"/>
                </a:lnTo>
                <a:lnTo>
                  <a:pt x="83" y="41"/>
                </a:lnTo>
                <a:lnTo>
                  <a:pt x="78" y="38"/>
                </a:lnTo>
                <a:lnTo>
                  <a:pt x="72" y="35"/>
                </a:lnTo>
                <a:lnTo>
                  <a:pt x="66" y="35"/>
                </a:lnTo>
                <a:lnTo>
                  <a:pt x="65" y="33"/>
                </a:lnTo>
                <a:lnTo>
                  <a:pt x="62" y="30"/>
                </a:lnTo>
                <a:lnTo>
                  <a:pt x="61" y="29"/>
                </a:lnTo>
                <a:lnTo>
                  <a:pt x="58" y="29"/>
                </a:lnTo>
                <a:lnTo>
                  <a:pt x="56" y="32"/>
                </a:lnTo>
                <a:lnTo>
                  <a:pt x="50" y="32"/>
                </a:lnTo>
                <a:lnTo>
                  <a:pt x="42" y="30"/>
                </a:lnTo>
                <a:lnTo>
                  <a:pt x="40" y="30"/>
                </a:lnTo>
                <a:lnTo>
                  <a:pt x="36" y="30"/>
                </a:lnTo>
                <a:lnTo>
                  <a:pt x="34" y="30"/>
                </a:lnTo>
                <a:lnTo>
                  <a:pt x="32" y="30"/>
                </a:lnTo>
                <a:lnTo>
                  <a:pt x="29" y="30"/>
                </a:lnTo>
                <a:lnTo>
                  <a:pt x="28" y="30"/>
                </a:lnTo>
                <a:lnTo>
                  <a:pt x="25" y="29"/>
                </a:lnTo>
                <a:lnTo>
                  <a:pt x="24" y="29"/>
                </a:lnTo>
                <a:lnTo>
                  <a:pt x="18" y="29"/>
                </a:lnTo>
                <a:lnTo>
                  <a:pt x="12" y="30"/>
                </a:lnTo>
                <a:lnTo>
                  <a:pt x="8" y="32"/>
                </a:lnTo>
                <a:lnTo>
                  <a:pt x="6" y="35"/>
                </a:lnTo>
                <a:lnTo>
                  <a:pt x="4" y="35"/>
                </a:lnTo>
                <a:lnTo>
                  <a:pt x="1" y="35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47" name="Freeform 1375"/>
          <p:cNvSpPr>
            <a:spLocks/>
          </p:cNvSpPr>
          <p:nvPr/>
        </p:nvSpPr>
        <p:spPr bwMode="auto">
          <a:xfrm>
            <a:off x="6274660" y="2293294"/>
            <a:ext cx="210471" cy="85905"/>
          </a:xfrm>
          <a:custGeom>
            <a:avLst/>
            <a:gdLst/>
            <a:ahLst/>
            <a:cxnLst>
              <a:cxn ang="0">
                <a:pos x="0" y="33"/>
              </a:cxn>
              <a:cxn ang="0">
                <a:pos x="4" y="21"/>
              </a:cxn>
              <a:cxn ang="0">
                <a:pos x="6" y="18"/>
              </a:cxn>
              <a:cxn ang="0">
                <a:pos x="9" y="11"/>
              </a:cxn>
              <a:cxn ang="0">
                <a:pos x="14" y="8"/>
              </a:cxn>
              <a:cxn ang="0">
                <a:pos x="24" y="7"/>
              </a:cxn>
              <a:cxn ang="0">
                <a:pos x="32" y="13"/>
              </a:cxn>
              <a:cxn ang="0">
                <a:pos x="33" y="16"/>
              </a:cxn>
              <a:cxn ang="0">
                <a:pos x="34" y="16"/>
              </a:cxn>
              <a:cxn ang="0">
                <a:pos x="41" y="19"/>
              </a:cxn>
              <a:cxn ang="0">
                <a:pos x="46" y="18"/>
              </a:cxn>
              <a:cxn ang="0">
                <a:pos x="48" y="21"/>
              </a:cxn>
              <a:cxn ang="0">
                <a:pos x="50" y="16"/>
              </a:cxn>
              <a:cxn ang="0">
                <a:pos x="52" y="5"/>
              </a:cxn>
              <a:cxn ang="0">
                <a:pos x="56" y="3"/>
              </a:cxn>
              <a:cxn ang="0">
                <a:pos x="66" y="0"/>
              </a:cxn>
              <a:cxn ang="0">
                <a:pos x="74" y="3"/>
              </a:cxn>
              <a:cxn ang="0">
                <a:pos x="79" y="5"/>
              </a:cxn>
              <a:cxn ang="0">
                <a:pos x="87" y="10"/>
              </a:cxn>
              <a:cxn ang="0">
                <a:pos x="94" y="8"/>
              </a:cxn>
              <a:cxn ang="0">
                <a:pos x="99" y="10"/>
              </a:cxn>
              <a:cxn ang="0">
                <a:pos x="101" y="11"/>
              </a:cxn>
              <a:cxn ang="0">
                <a:pos x="105" y="13"/>
              </a:cxn>
              <a:cxn ang="0">
                <a:pos x="103" y="19"/>
              </a:cxn>
              <a:cxn ang="0">
                <a:pos x="105" y="21"/>
              </a:cxn>
              <a:cxn ang="0">
                <a:pos x="106" y="24"/>
              </a:cxn>
              <a:cxn ang="0">
                <a:pos x="110" y="29"/>
              </a:cxn>
              <a:cxn ang="0">
                <a:pos x="111" y="33"/>
              </a:cxn>
              <a:cxn ang="0">
                <a:pos x="109" y="35"/>
              </a:cxn>
              <a:cxn ang="0">
                <a:pos x="103" y="36"/>
              </a:cxn>
              <a:cxn ang="0">
                <a:pos x="99" y="41"/>
              </a:cxn>
              <a:cxn ang="0">
                <a:pos x="94" y="40"/>
              </a:cxn>
              <a:cxn ang="0">
                <a:pos x="91" y="43"/>
              </a:cxn>
              <a:cxn ang="0">
                <a:pos x="87" y="43"/>
              </a:cxn>
              <a:cxn ang="0">
                <a:pos x="83" y="41"/>
              </a:cxn>
              <a:cxn ang="0">
                <a:pos x="72" y="35"/>
              </a:cxn>
              <a:cxn ang="0">
                <a:pos x="65" y="33"/>
              </a:cxn>
              <a:cxn ang="0">
                <a:pos x="61" y="29"/>
              </a:cxn>
              <a:cxn ang="0">
                <a:pos x="56" y="32"/>
              </a:cxn>
              <a:cxn ang="0">
                <a:pos x="42" y="30"/>
              </a:cxn>
              <a:cxn ang="0">
                <a:pos x="36" y="30"/>
              </a:cxn>
              <a:cxn ang="0">
                <a:pos x="32" y="30"/>
              </a:cxn>
              <a:cxn ang="0">
                <a:pos x="28" y="30"/>
              </a:cxn>
              <a:cxn ang="0">
                <a:pos x="24" y="29"/>
              </a:cxn>
              <a:cxn ang="0">
                <a:pos x="12" y="30"/>
              </a:cxn>
              <a:cxn ang="0">
                <a:pos x="6" y="35"/>
              </a:cxn>
              <a:cxn ang="0">
                <a:pos x="1" y="35"/>
              </a:cxn>
            </a:cxnLst>
            <a:rect l="0" t="0" r="r" b="b"/>
            <a:pathLst>
              <a:path w="111" h="43">
                <a:moveTo>
                  <a:pt x="1" y="35"/>
                </a:moveTo>
                <a:lnTo>
                  <a:pt x="0" y="33"/>
                </a:lnTo>
                <a:lnTo>
                  <a:pt x="1" y="24"/>
                </a:lnTo>
                <a:lnTo>
                  <a:pt x="4" y="21"/>
                </a:lnTo>
                <a:lnTo>
                  <a:pt x="6" y="19"/>
                </a:lnTo>
                <a:lnTo>
                  <a:pt x="6" y="18"/>
                </a:lnTo>
                <a:lnTo>
                  <a:pt x="8" y="14"/>
                </a:lnTo>
                <a:lnTo>
                  <a:pt x="9" y="11"/>
                </a:lnTo>
                <a:lnTo>
                  <a:pt x="12" y="10"/>
                </a:lnTo>
                <a:lnTo>
                  <a:pt x="14" y="8"/>
                </a:lnTo>
                <a:lnTo>
                  <a:pt x="18" y="8"/>
                </a:lnTo>
                <a:lnTo>
                  <a:pt x="24" y="7"/>
                </a:lnTo>
                <a:lnTo>
                  <a:pt x="26" y="8"/>
                </a:lnTo>
                <a:lnTo>
                  <a:pt x="32" y="13"/>
                </a:lnTo>
                <a:lnTo>
                  <a:pt x="32" y="14"/>
                </a:lnTo>
                <a:lnTo>
                  <a:pt x="33" y="16"/>
                </a:lnTo>
                <a:lnTo>
                  <a:pt x="33" y="14"/>
                </a:lnTo>
                <a:lnTo>
                  <a:pt x="34" y="16"/>
                </a:lnTo>
                <a:lnTo>
                  <a:pt x="36" y="18"/>
                </a:lnTo>
                <a:lnTo>
                  <a:pt x="41" y="19"/>
                </a:lnTo>
                <a:lnTo>
                  <a:pt x="42" y="19"/>
                </a:lnTo>
                <a:lnTo>
                  <a:pt x="46" y="18"/>
                </a:lnTo>
                <a:lnTo>
                  <a:pt x="46" y="19"/>
                </a:lnTo>
                <a:lnTo>
                  <a:pt x="48" y="21"/>
                </a:lnTo>
                <a:lnTo>
                  <a:pt x="49" y="18"/>
                </a:lnTo>
                <a:lnTo>
                  <a:pt x="50" y="16"/>
                </a:lnTo>
                <a:lnTo>
                  <a:pt x="52" y="16"/>
                </a:lnTo>
                <a:lnTo>
                  <a:pt x="52" y="5"/>
                </a:lnTo>
                <a:lnTo>
                  <a:pt x="53" y="3"/>
                </a:lnTo>
                <a:lnTo>
                  <a:pt x="56" y="3"/>
                </a:lnTo>
                <a:lnTo>
                  <a:pt x="58" y="2"/>
                </a:lnTo>
                <a:lnTo>
                  <a:pt x="66" y="0"/>
                </a:lnTo>
                <a:lnTo>
                  <a:pt x="70" y="2"/>
                </a:lnTo>
                <a:lnTo>
                  <a:pt x="74" y="3"/>
                </a:lnTo>
                <a:lnTo>
                  <a:pt x="78" y="3"/>
                </a:lnTo>
                <a:lnTo>
                  <a:pt x="79" y="5"/>
                </a:lnTo>
                <a:lnTo>
                  <a:pt x="85" y="10"/>
                </a:lnTo>
                <a:lnTo>
                  <a:pt x="87" y="10"/>
                </a:lnTo>
                <a:lnTo>
                  <a:pt x="90" y="8"/>
                </a:lnTo>
                <a:lnTo>
                  <a:pt x="94" y="8"/>
                </a:lnTo>
                <a:lnTo>
                  <a:pt x="98" y="10"/>
                </a:lnTo>
                <a:lnTo>
                  <a:pt x="99" y="10"/>
                </a:lnTo>
                <a:lnTo>
                  <a:pt x="101" y="10"/>
                </a:lnTo>
                <a:lnTo>
                  <a:pt x="101" y="11"/>
                </a:lnTo>
                <a:lnTo>
                  <a:pt x="103" y="13"/>
                </a:lnTo>
                <a:lnTo>
                  <a:pt x="105" y="13"/>
                </a:lnTo>
                <a:lnTo>
                  <a:pt x="105" y="14"/>
                </a:lnTo>
                <a:lnTo>
                  <a:pt x="103" y="19"/>
                </a:lnTo>
                <a:lnTo>
                  <a:pt x="102" y="21"/>
                </a:lnTo>
                <a:lnTo>
                  <a:pt x="105" y="21"/>
                </a:lnTo>
                <a:lnTo>
                  <a:pt x="106" y="22"/>
                </a:lnTo>
                <a:lnTo>
                  <a:pt x="106" y="24"/>
                </a:lnTo>
                <a:lnTo>
                  <a:pt x="110" y="27"/>
                </a:lnTo>
                <a:lnTo>
                  <a:pt x="110" y="29"/>
                </a:lnTo>
                <a:lnTo>
                  <a:pt x="111" y="30"/>
                </a:lnTo>
                <a:lnTo>
                  <a:pt x="111" y="33"/>
                </a:lnTo>
                <a:lnTo>
                  <a:pt x="111" y="35"/>
                </a:lnTo>
                <a:lnTo>
                  <a:pt x="109" y="35"/>
                </a:lnTo>
                <a:lnTo>
                  <a:pt x="106" y="35"/>
                </a:lnTo>
                <a:lnTo>
                  <a:pt x="103" y="36"/>
                </a:lnTo>
                <a:lnTo>
                  <a:pt x="103" y="38"/>
                </a:lnTo>
                <a:lnTo>
                  <a:pt x="99" y="41"/>
                </a:lnTo>
                <a:lnTo>
                  <a:pt x="98" y="41"/>
                </a:lnTo>
                <a:lnTo>
                  <a:pt x="94" y="40"/>
                </a:lnTo>
                <a:lnTo>
                  <a:pt x="91" y="41"/>
                </a:lnTo>
                <a:lnTo>
                  <a:pt x="91" y="43"/>
                </a:lnTo>
                <a:lnTo>
                  <a:pt x="89" y="43"/>
                </a:lnTo>
                <a:lnTo>
                  <a:pt x="87" y="43"/>
                </a:lnTo>
                <a:lnTo>
                  <a:pt x="85" y="43"/>
                </a:lnTo>
                <a:lnTo>
                  <a:pt x="83" y="41"/>
                </a:lnTo>
                <a:lnTo>
                  <a:pt x="78" y="38"/>
                </a:lnTo>
                <a:lnTo>
                  <a:pt x="72" y="35"/>
                </a:lnTo>
                <a:lnTo>
                  <a:pt x="66" y="35"/>
                </a:lnTo>
                <a:lnTo>
                  <a:pt x="65" y="33"/>
                </a:lnTo>
                <a:lnTo>
                  <a:pt x="62" y="30"/>
                </a:lnTo>
                <a:lnTo>
                  <a:pt x="61" y="29"/>
                </a:lnTo>
                <a:lnTo>
                  <a:pt x="58" y="29"/>
                </a:lnTo>
                <a:lnTo>
                  <a:pt x="56" y="32"/>
                </a:lnTo>
                <a:lnTo>
                  <a:pt x="50" y="32"/>
                </a:lnTo>
                <a:lnTo>
                  <a:pt x="42" y="30"/>
                </a:lnTo>
                <a:lnTo>
                  <a:pt x="40" y="30"/>
                </a:lnTo>
                <a:lnTo>
                  <a:pt x="36" y="30"/>
                </a:lnTo>
                <a:lnTo>
                  <a:pt x="34" y="30"/>
                </a:lnTo>
                <a:lnTo>
                  <a:pt x="32" y="30"/>
                </a:lnTo>
                <a:lnTo>
                  <a:pt x="29" y="30"/>
                </a:lnTo>
                <a:lnTo>
                  <a:pt x="28" y="30"/>
                </a:lnTo>
                <a:lnTo>
                  <a:pt x="25" y="29"/>
                </a:lnTo>
                <a:lnTo>
                  <a:pt x="24" y="29"/>
                </a:lnTo>
                <a:lnTo>
                  <a:pt x="18" y="29"/>
                </a:lnTo>
                <a:lnTo>
                  <a:pt x="12" y="30"/>
                </a:lnTo>
                <a:lnTo>
                  <a:pt x="8" y="32"/>
                </a:lnTo>
                <a:lnTo>
                  <a:pt x="6" y="35"/>
                </a:lnTo>
                <a:lnTo>
                  <a:pt x="4" y="35"/>
                </a:lnTo>
                <a:lnTo>
                  <a:pt x="1" y="35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48" name="Freeform 1376"/>
          <p:cNvSpPr>
            <a:spLocks/>
          </p:cNvSpPr>
          <p:nvPr/>
        </p:nvSpPr>
        <p:spPr bwMode="auto">
          <a:xfrm>
            <a:off x="6093420" y="2394232"/>
            <a:ext cx="11693" cy="8591"/>
          </a:xfrm>
          <a:custGeom>
            <a:avLst/>
            <a:gdLst/>
            <a:ahLst/>
            <a:cxnLst>
              <a:cxn ang="0">
                <a:pos x="6" y="4"/>
              </a:cxn>
              <a:cxn ang="0">
                <a:pos x="4" y="1"/>
              </a:cxn>
              <a:cxn ang="0">
                <a:pos x="3" y="0"/>
              </a:cxn>
              <a:cxn ang="0">
                <a:pos x="0" y="0"/>
              </a:cxn>
              <a:cxn ang="0">
                <a:pos x="0" y="3"/>
              </a:cxn>
              <a:cxn ang="0">
                <a:pos x="2" y="4"/>
              </a:cxn>
              <a:cxn ang="0">
                <a:pos x="3" y="4"/>
              </a:cxn>
              <a:cxn ang="0">
                <a:pos x="6" y="4"/>
              </a:cxn>
            </a:cxnLst>
            <a:rect l="0" t="0" r="r" b="b"/>
            <a:pathLst>
              <a:path w="6" h="4">
                <a:moveTo>
                  <a:pt x="6" y="4"/>
                </a:moveTo>
                <a:lnTo>
                  <a:pt x="4" y="1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2" y="4"/>
                </a:lnTo>
                <a:lnTo>
                  <a:pt x="3" y="4"/>
                </a:lnTo>
                <a:lnTo>
                  <a:pt x="6" y="4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49" name="Freeform 1377"/>
          <p:cNvSpPr>
            <a:spLocks/>
          </p:cNvSpPr>
          <p:nvPr/>
        </p:nvSpPr>
        <p:spPr bwMode="auto">
          <a:xfrm>
            <a:off x="6093420" y="2394232"/>
            <a:ext cx="11693" cy="8591"/>
          </a:xfrm>
          <a:custGeom>
            <a:avLst/>
            <a:gdLst/>
            <a:ahLst/>
            <a:cxnLst>
              <a:cxn ang="0">
                <a:pos x="6" y="4"/>
              </a:cxn>
              <a:cxn ang="0">
                <a:pos x="4" y="1"/>
              </a:cxn>
              <a:cxn ang="0">
                <a:pos x="3" y="0"/>
              </a:cxn>
              <a:cxn ang="0">
                <a:pos x="0" y="0"/>
              </a:cxn>
              <a:cxn ang="0">
                <a:pos x="0" y="3"/>
              </a:cxn>
              <a:cxn ang="0">
                <a:pos x="2" y="4"/>
              </a:cxn>
              <a:cxn ang="0">
                <a:pos x="3" y="4"/>
              </a:cxn>
              <a:cxn ang="0">
                <a:pos x="6" y="4"/>
              </a:cxn>
            </a:cxnLst>
            <a:rect l="0" t="0" r="r" b="b"/>
            <a:pathLst>
              <a:path w="6" h="4">
                <a:moveTo>
                  <a:pt x="6" y="4"/>
                </a:moveTo>
                <a:lnTo>
                  <a:pt x="4" y="1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2" y="4"/>
                </a:lnTo>
                <a:lnTo>
                  <a:pt x="3" y="4"/>
                </a:lnTo>
                <a:lnTo>
                  <a:pt x="6" y="4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50" name="Freeform 1378"/>
          <p:cNvSpPr>
            <a:spLocks/>
          </p:cNvSpPr>
          <p:nvPr/>
        </p:nvSpPr>
        <p:spPr bwMode="auto">
          <a:xfrm>
            <a:off x="6011570" y="2402823"/>
            <a:ext cx="11693" cy="17181"/>
          </a:xfrm>
          <a:custGeom>
            <a:avLst/>
            <a:gdLst/>
            <a:ahLst/>
            <a:cxnLst>
              <a:cxn ang="0">
                <a:pos x="1" y="2"/>
              </a:cxn>
              <a:cxn ang="0">
                <a:pos x="1" y="0"/>
              </a:cxn>
              <a:cxn ang="0">
                <a:pos x="2" y="2"/>
              </a:cxn>
              <a:cxn ang="0">
                <a:pos x="5" y="3"/>
              </a:cxn>
              <a:cxn ang="0">
                <a:pos x="4" y="5"/>
              </a:cxn>
              <a:cxn ang="0">
                <a:pos x="4" y="8"/>
              </a:cxn>
              <a:cxn ang="0">
                <a:pos x="2" y="7"/>
              </a:cxn>
              <a:cxn ang="0">
                <a:pos x="2" y="5"/>
              </a:cxn>
              <a:cxn ang="0">
                <a:pos x="1" y="3"/>
              </a:cxn>
              <a:cxn ang="0">
                <a:pos x="0" y="3"/>
              </a:cxn>
              <a:cxn ang="0">
                <a:pos x="0" y="2"/>
              </a:cxn>
              <a:cxn ang="0">
                <a:pos x="1" y="2"/>
              </a:cxn>
            </a:cxnLst>
            <a:rect l="0" t="0" r="r" b="b"/>
            <a:pathLst>
              <a:path w="5" h="8">
                <a:moveTo>
                  <a:pt x="1" y="2"/>
                </a:moveTo>
                <a:lnTo>
                  <a:pt x="1" y="0"/>
                </a:lnTo>
                <a:lnTo>
                  <a:pt x="2" y="2"/>
                </a:lnTo>
                <a:lnTo>
                  <a:pt x="5" y="3"/>
                </a:lnTo>
                <a:lnTo>
                  <a:pt x="4" y="5"/>
                </a:lnTo>
                <a:lnTo>
                  <a:pt x="4" y="8"/>
                </a:lnTo>
                <a:lnTo>
                  <a:pt x="2" y="7"/>
                </a:lnTo>
                <a:lnTo>
                  <a:pt x="2" y="5"/>
                </a:lnTo>
                <a:lnTo>
                  <a:pt x="1" y="3"/>
                </a:lnTo>
                <a:lnTo>
                  <a:pt x="0" y="3"/>
                </a:lnTo>
                <a:lnTo>
                  <a:pt x="0" y="2"/>
                </a:lnTo>
                <a:lnTo>
                  <a:pt x="1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51" name="Freeform 1379"/>
          <p:cNvSpPr>
            <a:spLocks/>
          </p:cNvSpPr>
          <p:nvPr/>
        </p:nvSpPr>
        <p:spPr bwMode="auto">
          <a:xfrm>
            <a:off x="6011570" y="2402823"/>
            <a:ext cx="11693" cy="17181"/>
          </a:xfrm>
          <a:custGeom>
            <a:avLst/>
            <a:gdLst/>
            <a:ahLst/>
            <a:cxnLst>
              <a:cxn ang="0">
                <a:pos x="1" y="2"/>
              </a:cxn>
              <a:cxn ang="0">
                <a:pos x="1" y="0"/>
              </a:cxn>
              <a:cxn ang="0">
                <a:pos x="2" y="2"/>
              </a:cxn>
              <a:cxn ang="0">
                <a:pos x="5" y="3"/>
              </a:cxn>
              <a:cxn ang="0">
                <a:pos x="4" y="5"/>
              </a:cxn>
              <a:cxn ang="0">
                <a:pos x="4" y="8"/>
              </a:cxn>
              <a:cxn ang="0">
                <a:pos x="2" y="7"/>
              </a:cxn>
              <a:cxn ang="0">
                <a:pos x="2" y="5"/>
              </a:cxn>
              <a:cxn ang="0">
                <a:pos x="1" y="3"/>
              </a:cxn>
              <a:cxn ang="0">
                <a:pos x="0" y="3"/>
              </a:cxn>
              <a:cxn ang="0">
                <a:pos x="0" y="2"/>
              </a:cxn>
              <a:cxn ang="0">
                <a:pos x="1" y="2"/>
              </a:cxn>
            </a:cxnLst>
            <a:rect l="0" t="0" r="r" b="b"/>
            <a:pathLst>
              <a:path w="5" h="8">
                <a:moveTo>
                  <a:pt x="1" y="2"/>
                </a:moveTo>
                <a:lnTo>
                  <a:pt x="1" y="0"/>
                </a:lnTo>
                <a:lnTo>
                  <a:pt x="2" y="2"/>
                </a:lnTo>
                <a:lnTo>
                  <a:pt x="5" y="3"/>
                </a:lnTo>
                <a:lnTo>
                  <a:pt x="4" y="5"/>
                </a:lnTo>
                <a:lnTo>
                  <a:pt x="4" y="8"/>
                </a:lnTo>
                <a:lnTo>
                  <a:pt x="2" y="7"/>
                </a:lnTo>
                <a:lnTo>
                  <a:pt x="2" y="5"/>
                </a:lnTo>
                <a:lnTo>
                  <a:pt x="1" y="3"/>
                </a:lnTo>
                <a:lnTo>
                  <a:pt x="0" y="3"/>
                </a:lnTo>
                <a:lnTo>
                  <a:pt x="0" y="2"/>
                </a:lnTo>
                <a:lnTo>
                  <a:pt x="1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52" name="Freeform 1380"/>
          <p:cNvSpPr>
            <a:spLocks/>
          </p:cNvSpPr>
          <p:nvPr/>
        </p:nvSpPr>
        <p:spPr bwMode="auto">
          <a:xfrm>
            <a:off x="5990133" y="2402824"/>
            <a:ext cx="21437" cy="12885"/>
          </a:xfrm>
          <a:custGeom>
            <a:avLst/>
            <a:gdLst/>
            <a:ahLst/>
            <a:cxnLst>
              <a:cxn ang="0">
                <a:pos x="3" y="0"/>
              </a:cxn>
              <a:cxn ang="0">
                <a:pos x="4" y="2"/>
              </a:cxn>
              <a:cxn ang="0">
                <a:pos x="5" y="2"/>
              </a:cxn>
              <a:cxn ang="0">
                <a:pos x="7" y="3"/>
              </a:cxn>
              <a:cxn ang="0">
                <a:pos x="8" y="3"/>
              </a:cxn>
              <a:cxn ang="0">
                <a:pos x="8" y="2"/>
              </a:cxn>
              <a:cxn ang="0">
                <a:pos x="9" y="2"/>
              </a:cxn>
              <a:cxn ang="0">
                <a:pos x="9" y="3"/>
              </a:cxn>
              <a:cxn ang="0">
                <a:pos x="11" y="3"/>
              </a:cxn>
              <a:cxn ang="0">
                <a:pos x="11" y="7"/>
              </a:cxn>
              <a:cxn ang="0">
                <a:pos x="8" y="7"/>
              </a:cxn>
              <a:cxn ang="0">
                <a:pos x="7" y="7"/>
              </a:cxn>
              <a:cxn ang="0">
                <a:pos x="5" y="7"/>
              </a:cxn>
              <a:cxn ang="0">
                <a:pos x="3" y="5"/>
              </a:cxn>
              <a:cxn ang="0">
                <a:pos x="0" y="5"/>
              </a:cxn>
              <a:cxn ang="0">
                <a:pos x="0" y="3"/>
              </a:cxn>
              <a:cxn ang="0">
                <a:pos x="1" y="3"/>
              </a:cxn>
              <a:cxn ang="0">
                <a:pos x="0" y="3"/>
              </a:cxn>
              <a:cxn ang="0">
                <a:pos x="0" y="2"/>
              </a:cxn>
              <a:cxn ang="0">
                <a:pos x="1" y="2"/>
              </a:cxn>
              <a:cxn ang="0">
                <a:pos x="3" y="2"/>
              </a:cxn>
              <a:cxn ang="0">
                <a:pos x="3" y="0"/>
              </a:cxn>
            </a:cxnLst>
            <a:rect l="0" t="0" r="r" b="b"/>
            <a:pathLst>
              <a:path w="11" h="7">
                <a:moveTo>
                  <a:pt x="3" y="0"/>
                </a:moveTo>
                <a:lnTo>
                  <a:pt x="4" y="2"/>
                </a:lnTo>
                <a:lnTo>
                  <a:pt x="5" y="2"/>
                </a:lnTo>
                <a:lnTo>
                  <a:pt x="7" y="3"/>
                </a:lnTo>
                <a:lnTo>
                  <a:pt x="8" y="3"/>
                </a:lnTo>
                <a:lnTo>
                  <a:pt x="8" y="2"/>
                </a:lnTo>
                <a:lnTo>
                  <a:pt x="9" y="2"/>
                </a:lnTo>
                <a:lnTo>
                  <a:pt x="9" y="3"/>
                </a:lnTo>
                <a:lnTo>
                  <a:pt x="11" y="3"/>
                </a:lnTo>
                <a:lnTo>
                  <a:pt x="11" y="7"/>
                </a:lnTo>
                <a:lnTo>
                  <a:pt x="8" y="7"/>
                </a:lnTo>
                <a:lnTo>
                  <a:pt x="7" y="7"/>
                </a:lnTo>
                <a:lnTo>
                  <a:pt x="5" y="7"/>
                </a:lnTo>
                <a:lnTo>
                  <a:pt x="3" y="5"/>
                </a:lnTo>
                <a:lnTo>
                  <a:pt x="0" y="5"/>
                </a:lnTo>
                <a:lnTo>
                  <a:pt x="0" y="3"/>
                </a:lnTo>
                <a:lnTo>
                  <a:pt x="1" y="3"/>
                </a:lnTo>
                <a:lnTo>
                  <a:pt x="0" y="3"/>
                </a:lnTo>
                <a:lnTo>
                  <a:pt x="0" y="2"/>
                </a:lnTo>
                <a:lnTo>
                  <a:pt x="1" y="2"/>
                </a:lnTo>
                <a:lnTo>
                  <a:pt x="3" y="2"/>
                </a:lnTo>
                <a:lnTo>
                  <a:pt x="3" y="0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53" name="Freeform 1381"/>
          <p:cNvSpPr>
            <a:spLocks/>
          </p:cNvSpPr>
          <p:nvPr/>
        </p:nvSpPr>
        <p:spPr bwMode="auto">
          <a:xfrm>
            <a:off x="5990133" y="2402824"/>
            <a:ext cx="21437" cy="12885"/>
          </a:xfrm>
          <a:custGeom>
            <a:avLst/>
            <a:gdLst/>
            <a:ahLst/>
            <a:cxnLst>
              <a:cxn ang="0">
                <a:pos x="3" y="0"/>
              </a:cxn>
              <a:cxn ang="0">
                <a:pos x="4" y="2"/>
              </a:cxn>
              <a:cxn ang="0">
                <a:pos x="5" y="2"/>
              </a:cxn>
              <a:cxn ang="0">
                <a:pos x="7" y="3"/>
              </a:cxn>
              <a:cxn ang="0">
                <a:pos x="8" y="3"/>
              </a:cxn>
              <a:cxn ang="0">
                <a:pos x="8" y="2"/>
              </a:cxn>
              <a:cxn ang="0">
                <a:pos x="9" y="2"/>
              </a:cxn>
              <a:cxn ang="0">
                <a:pos x="9" y="3"/>
              </a:cxn>
              <a:cxn ang="0">
                <a:pos x="11" y="3"/>
              </a:cxn>
              <a:cxn ang="0">
                <a:pos x="11" y="7"/>
              </a:cxn>
              <a:cxn ang="0">
                <a:pos x="8" y="7"/>
              </a:cxn>
              <a:cxn ang="0">
                <a:pos x="7" y="7"/>
              </a:cxn>
              <a:cxn ang="0">
                <a:pos x="5" y="7"/>
              </a:cxn>
              <a:cxn ang="0">
                <a:pos x="3" y="5"/>
              </a:cxn>
              <a:cxn ang="0">
                <a:pos x="0" y="5"/>
              </a:cxn>
              <a:cxn ang="0">
                <a:pos x="0" y="3"/>
              </a:cxn>
              <a:cxn ang="0">
                <a:pos x="1" y="3"/>
              </a:cxn>
              <a:cxn ang="0">
                <a:pos x="0" y="3"/>
              </a:cxn>
              <a:cxn ang="0">
                <a:pos x="0" y="2"/>
              </a:cxn>
              <a:cxn ang="0">
                <a:pos x="1" y="2"/>
              </a:cxn>
              <a:cxn ang="0">
                <a:pos x="3" y="2"/>
              </a:cxn>
              <a:cxn ang="0">
                <a:pos x="3" y="0"/>
              </a:cxn>
            </a:cxnLst>
            <a:rect l="0" t="0" r="r" b="b"/>
            <a:pathLst>
              <a:path w="11" h="7">
                <a:moveTo>
                  <a:pt x="3" y="0"/>
                </a:moveTo>
                <a:lnTo>
                  <a:pt x="4" y="2"/>
                </a:lnTo>
                <a:lnTo>
                  <a:pt x="5" y="2"/>
                </a:lnTo>
                <a:lnTo>
                  <a:pt x="7" y="3"/>
                </a:lnTo>
                <a:lnTo>
                  <a:pt x="8" y="3"/>
                </a:lnTo>
                <a:lnTo>
                  <a:pt x="8" y="2"/>
                </a:lnTo>
                <a:lnTo>
                  <a:pt x="9" y="2"/>
                </a:lnTo>
                <a:lnTo>
                  <a:pt x="9" y="3"/>
                </a:lnTo>
                <a:lnTo>
                  <a:pt x="11" y="3"/>
                </a:lnTo>
                <a:lnTo>
                  <a:pt x="11" y="7"/>
                </a:lnTo>
                <a:lnTo>
                  <a:pt x="8" y="7"/>
                </a:lnTo>
                <a:lnTo>
                  <a:pt x="7" y="7"/>
                </a:lnTo>
                <a:lnTo>
                  <a:pt x="5" y="7"/>
                </a:lnTo>
                <a:lnTo>
                  <a:pt x="3" y="5"/>
                </a:lnTo>
                <a:lnTo>
                  <a:pt x="0" y="5"/>
                </a:lnTo>
                <a:lnTo>
                  <a:pt x="0" y="3"/>
                </a:lnTo>
                <a:lnTo>
                  <a:pt x="1" y="3"/>
                </a:lnTo>
                <a:lnTo>
                  <a:pt x="0" y="3"/>
                </a:lnTo>
                <a:lnTo>
                  <a:pt x="0" y="2"/>
                </a:lnTo>
                <a:lnTo>
                  <a:pt x="1" y="2"/>
                </a:lnTo>
                <a:lnTo>
                  <a:pt x="3" y="2"/>
                </a:lnTo>
                <a:lnTo>
                  <a:pt x="3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54" name="Freeform 1382"/>
          <p:cNvSpPr>
            <a:spLocks/>
          </p:cNvSpPr>
          <p:nvPr/>
        </p:nvSpPr>
        <p:spPr bwMode="auto">
          <a:xfrm>
            <a:off x="5953105" y="2381348"/>
            <a:ext cx="35079" cy="21476"/>
          </a:xfrm>
          <a:custGeom>
            <a:avLst/>
            <a:gdLst/>
            <a:ahLst/>
            <a:cxnLst>
              <a:cxn ang="0">
                <a:pos x="4" y="2"/>
              </a:cxn>
              <a:cxn ang="0">
                <a:pos x="6" y="2"/>
              </a:cxn>
              <a:cxn ang="0">
                <a:pos x="10" y="0"/>
              </a:cxn>
              <a:cxn ang="0">
                <a:pos x="12" y="2"/>
              </a:cxn>
              <a:cxn ang="0">
                <a:pos x="12" y="0"/>
              </a:cxn>
              <a:cxn ang="0">
                <a:pos x="14" y="0"/>
              </a:cxn>
              <a:cxn ang="0">
                <a:pos x="15" y="3"/>
              </a:cxn>
              <a:cxn ang="0">
                <a:pos x="16" y="5"/>
              </a:cxn>
              <a:cxn ang="0">
                <a:pos x="16" y="7"/>
              </a:cxn>
              <a:cxn ang="0">
                <a:pos x="18" y="7"/>
              </a:cxn>
              <a:cxn ang="0">
                <a:pos x="16" y="7"/>
              </a:cxn>
              <a:cxn ang="0">
                <a:pos x="16" y="8"/>
              </a:cxn>
              <a:cxn ang="0">
                <a:pos x="16" y="10"/>
              </a:cxn>
              <a:cxn ang="0">
                <a:pos x="14" y="10"/>
              </a:cxn>
              <a:cxn ang="0">
                <a:pos x="12" y="11"/>
              </a:cxn>
              <a:cxn ang="0">
                <a:pos x="11" y="11"/>
              </a:cxn>
              <a:cxn ang="0">
                <a:pos x="8" y="10"/>
              </a:cxn>
              <a:cxn ang="0">
                <a:pos x="6" y="10"/>
              </a:cxn>
              <a:cxn ang="0">
                <a:pos x="7" y="8"/>
              </a:cxn>
              <a:cxn ang="0">
                <a:pos x="6" y="8"/>
              </a:cxn>
              <a:cxn ang="0">
                <a:pos x="3" y="8"/>
              </a:cxn>
              <a:cxn ang="0">
                <a:pos x="3" y="7"/>
              </a:cxn>
              <a:cxn ang="0">
                <a:pos x="2" y="5"/>
              </a:cxn>
              <a:cxn ang="0">
                <a:pos x="0" y="3"/>
              </a:cxn>
              <a:cxn ang="0">
                <a:pos x="0" y="2"/>
              </a:cxn>
              <a:cxn ang="0">
                <a:pos x="2" y="2"/>
              </a:cxn>
              <a:cxn ang="0">
                <a:pos x="3" y="2"/>
              </a:cxn>
              <a:cxn ang="0">
                <a:pos x="4" y="2"/>
              </a:cxn>
            </a:cxnLst>
            <a:rect l="0" t="0" r="r" b="b"/>
            <a:pathLst>
              <a:path w="18" h="11">
                <a:moveTo>
                  <a:pt x="4" y="2"/>
                </a:moveTo>
                <a:lnTo>
                  <a:pt x="6" y="2"/>
                </a:lnTo>
                <a:lnTo>
                  <a:pt x="10" y="0"/>
                </a:lnTo>
                <a:lnTo>
                  <a:pt x="12" y="2"/>
                </a:lnTo>
                <a:lnTo>
                  <a:pt x="12" y="0"/>
                </a:lnTo>
                <a:lnTo>
                  <a:pt x="14" y="0"/>
                </a:lnTo>
                <a:lnTo>
                  <a:pt x="15" y="3"/>
                </a:lnTo>
                <a:lnTo>
                  <a:pt x="16" y="5"/>
                </a:lnTo>
                <a:lnTo>
                  <a:pt x="16" y="7"/>
                </a:lnTo>
                <a:lnTo>
                  <a:pt x="18" y="7"/>
                </a:lnTo>
                <a:lnTo>
                  <a:pt x="16" y="7"/>
                </a:lnTo>
                <a:lnTo>
                  <a:pt x="16" y="8"/>
                </a:lnTo>
                <a:lnTo>
                  <a:pt x="16" y="10"/>
                </a:lnTo>
                <a:lnTo>
                  <a:pt x="14" y="10"/>
                </a:lnTo>
                <a:lnTo>
                  <a:pt x="12" y="11"/>
                </a:lnTo>
                <a:lnTo>
                  <a:pt x="11" y="11"/>
                </a:lnTo>
                <a:lnTo>
                  <a:pt x="8" y="10"/>
                </a:lnTo>
                <a:lnTo>
                  <a:pt x="6" y="10"/>
                </a:lnTo>
                <a:lnTo>
                  <a:pt x="7" y="8"/>
                </a:lnTo>
                <a:lnTo>
                  <a:pt x="6" y="8"/>
                </a:lnTo>
                <a:lnTo>
                  <a:pt x="3" y="8"/>
                </a:lnTo>
                <a:lnTo>
                  <a:pt x="3" y="7"/>
                </a:lnTo>
                <a:lnTo>
                  <a:pt x="2" y="5"/>
                </a:lnTo>
                <a:lnTo>
                  <a:pt x="0" y="3"/>
                </a:lnTo>
                <a:lnTo>
                  <a:pt x="0" y="2"/>
                </a:lnTo>
                <a:lnTo>
                  <a:pt x="2" y="2"/>
                </a:lnTo>
                <a:lnTo>
                  <a:pt x="3" y="2"/>
                </a:lnTo>
                <a:lnTo>
                  <a:pt x="4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55" name="Freeform 1383"/>
          <p:cNvSpPr>
            <a:spLocks/>
          </p:cNvSpPr>
          <p:nvPr/>
        </p:nvSpPr>
        <p:spPr bwMode="auto">
          <a:xfrm>
            <a:off x="5953105" y="2381348"/>
            <a:ext cx="35079" cy="21476"/>
          </a:xfrm>
          <a:custGeom>
            <a:avLst/>
            <a:gdLst/>
            <a:ahLst/>
            <a:cxnLst>
              <a:cxn ang="0">
                <a:pos x="4" y="2"/>
              </a:cxn>
              <a:cxn ang="0">
                <a:pos x="6" y="2"/>
              </a:cxn>
              <a:cxn ang="0">
                <a:pos x="10" y="0"/>
              </a:cxn>
              <a:cxn ang="0">
                <a:pos x="12" y="2"/>
              </a:cxn>
              <a:cxn ang="0">
                <a:pos x="12" y="0"/>
              </a:cxn>
              <a:cxn ang="0">
                <a:pos x="14" y="0"/>
              </a:cxn>
              <a:cxn ang="0">
                <a:pos x="15" y="3"/>
              </a:cxn>
              <a:cxn ang="0">
                <a:pos x="16" y="5"/>
              </a:cxn>
              <a:cxn ang="0">
                <a:pos x="16" y="7"/>
              </a:cxn>
              <a:cxn ang="0">
                <a:pos x="18" y="7"/>
              </a:cxn>
              <a:cxn ang="0">
                <a:pos x="16" y="7"/>
              </a:cxn>
              <a:cxn ang="0">
                <a:pos x="16" y="8"/>
              </a:cxn>
              <a:cxn ang="0">
                <a:pos x="16" y="10"/>
              </a:cxn>
              <a:cxn ang="0">
                <a:pos x="14" y="10"/>
              </a:cxn>
              <a:cxn ang="0">
                <a:pos x="12" y="11"/>
              </a:cxn>
              <a:cxn ang="0">
                <a:pos x="11" y="11"/>
              </a:cxn>
              <a:cxn ang="0">
                <a:pos x="8" y="10"/>
              </a:cxn>
              <a:cxn ang="0">
                <a:pos x="6" y="10"/>
              </a:cxn>
              <a:cxn ang="0">
                <a:pos x="7" y="8"/>
              </a:cxn>
              <a:cxn ang="0">
                <a:pos x="6" y="8"/>
              </a:cxn>
              <a:cxn ang="0">
                <a:pos x="3" y="8"/>
              </a:cxn>
              <a:cxn ang="0">
                <a:pos x="3" y="7"/>
              </a:cxn>
              <a:cxn ang="0">
                <a:pos x="2" y="5"/>
              </a:cxn>
              <a:cxn ang="0">
                <a:pos x="0" y="3"/>
              </a:cxn>
              <a:cxn ang="0">
                <a:pos x="0" y="2"/>
              </a:cxn>
              <a:cxn ang="0">
                <a:pos x="2" y="2"/>
              </a:cxn>
              <a:cxn ang="0">
                <a:pos x="3" y="2"/>
              </a:cxn>
              <a:cxn ang="0">
                <a:pos x="4" y="2"/>
              </a:cxn>
            </a:cxnLst>
            <a:rect l="0" t="0" r="r" b="b"/>
            <a:pathLst>
              <a:path w="18" h="11">
                <a:moveTo>
                  <a:pt x="4" y="2"/>
                </a:moveTo>
                <a:lnTo>
                  <a:pt x="6" y="2"/>
                </a:lnTo>
                <a:lnTo>
                  <a:pt x="10" y="0"/>
                </a:lnTo>
                <a:lnTo>
                  <a:pt x="12" y="2"/>
                </a:lnTo>
                <a:lnTo>
                  <a:pt x="12" y="0"/>
                </a:lnTo>
                <a:lnTo>
                  <a:pt x="14" y="0"/>
                </a:lnTo>
                <a:lnTo>
                  <a:pt x="15" y="3"/>
                </a:lnTo>
                <a:lnTo>
                  <a:pt x="16" y="5"/>
                </a:lnTo>
                <a:lnTo>
                  <a:pt x="16" y="7"/>
                </a:lnTo>
                <a:lnTo>
                  <a:pt x="18" y="7"/>
                </a:lnTo>
                <a:lnTo>
                  <a:pt x="16" y="7"/>
                </a:lnTo>
                <a:lnTo>
                  <a:pt x="16" y="8"/>
                </a:lnTo>
                <a:lnTo>
                  <a:pt x="16" y="10"/>
                </a:lnTo>
                <a:lnTo>
                  <a:pt x="14" y="10"/>
                </a:lnTo>
                <a:lnTo>
                  <a:pt x="12" y="11"/>
                </a:lnTo>
                <a:lnTo>
                  <a:pt x="11" y="11"/>
                </a:lnTo>
                <a:lnTo>
                  <a:pt x="8" y="10"/>
                </a:lnTo>
                <a:lnTo>
                  <a:pt x="6" y="10"/>
                </a:lnTo>
                <a:lnTo>
                  <a:pt x="7" y="8"/>
                </a:lnTo>
                <a:lnTo>
                  <a:pt x="6" y="8"/>
                </a:lnTo>
                <a:lnTo>
                  <a:pt x="3" y="8"/>
                </a:lnTo>
                <a:lnTo>
                  <a:pt x="3" y="7"/>
                </a:lnTo>
                <a:lnTo>
                  <a:pt x="2" y="5"/>
                </a:lnTo>
                <a:lnTo>
                  <a:pt x="0" y="3"/>
                </a:lnTo>
                <a:lnTo>
                  <a:pt x="0" y="2"/>
                </a:lnTo>
                <a:lnTo>
                  <a:pt x="2" y="2"/>
                </a:lnTo>
                <a:lnTo>
                  <a:pt x="3" y="2"/>
                </a:lnTo>
                <a:lnTo>
                  <a:pt x="4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56" name="Freeform 1384"/>
          <p:cNvSpPr>
            <a:spLocks/>
          </p:cNvSpPr>
          <p:nvPr/>
        </p:nvSpPr>
        <p:spPr bwMode="auto">
          <a:xfrm>
            <a:off x="5980389" y="2398528"/>
            <a:ext cx="7795" cy="12885"/>
          </a:xfrm>
          <a:custGeom>
            <a:avLst/>
            <a:gdLst/>
            <a:ahLst/>
            <a:cxnLst>
              <a:cxn ang="0">
                <a:pos x="4" y="2"/>
              </a:cxn>
              <a:cxn ang="0">
                <a:pos x="4" y="0"/>
              </a:cxn>
              <a:cxn ang="0">
                <a:pos x="5" y="0"/>
              </a:cxn>
              <a:cxn ang="0">
                <a:pos x="5" y="3"/>
              </a:cxn>
              <a:cxn ang="0">
                <a:pos x="4" y="5"/>
              </a:cxn>
              <a:cxn ang="0">
                <a:pos x="4" y="6"/>
              </a:cxn>
              <a:cxn ang="0">
                <a:pos x="2" y="6"/>
              </a:cxn>
              <a:cxn ang="0">
                <a:pos x="2" y="8"/>
              </a:cxn>
              <a:cxn ang="0">
                <a:pos x="1" y="8"/>
              </a:cxn>
              <a:cxn ang="0">
                <a:pos x="1" y="6"/>
              </a:cxn>
              <a:cxn ang="0">
                <a:pos x="0" y="6"/>
              </a:cxn>
              <a:cxn ang="0">
                <a:pos x="1" y="5"/>
              </a:cxn>
              <a:cxn ang="0">
                <a:pos x="1" y="3"/>
              </a:cxn>
              <a:cxn ang="0">
                <a:pos x="2" y="3"/>
              </a:cxn>
              <a:cxn ang="0">
                <a:pos x="4" y="2"/>
              </a:cxn>
            </a:cxnLst>
            <a:rect l="0" t="0" r="r" b="b"/>
            <a:pathLst>
              <a:path w="5" h="8">
                <a:moveTo>
                  <a:pt x="4" y="2"/>
                </a:moveTo>
                <a:lnTo>
                  <a:pt x="4" y="0"/>
                </a:lnTo>
                <a:lnTo>
                  <a:pt x="5" y="0"/>
                </a:lnTo>
                <a:lnTo>
                  <a:pt x="5" y="3"/>
                </a:lnTo>
                <a:lnTo>
                  <a:pt x="4" y="5"/>
                </a:lnTo>
                <a:lnTo>
                  <a:pt x="4" y="6"/>
                </a:lnTo>
                <a:lnTo>
                  <a:pt x="2" y="6"/>
                </a:lnTo>
                <a:lnTo>
                  <a:pt x="2" y="8"/>
                </a:lnTo>
                <a:lnTo>
                  <a:pt x="1" y="8"/>
                </a:lnTo>
                <a:lnTo>
                  <a:pt x="1" y="6"/>
                </a:lnTo>
                <a:lnTo>
                  <a:pt x="0" y="6"/>
                </a:lnTo>
                <a:lnTo>
                  <a:pt x="1" y="5"/>
                </a:lnTo>
                <a:lnTo>
                  <a:pt x="1" y="3"/>
                </a:lnTo>
                <a:lnTo>
                  <a:pt x="2" y="3"/>
                </a:lnTo>
                <a:lnTo>
                  <a:pt x="4" y="2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57" name="Freeform 1385"/>
          <p:cNvSpPr>
            <a:spLocks/>
          </p:cNvSpPr>
          <p:nvPr/>
        </p:nvSpPr>
        <p:spPr bwMode="auto">
          <a:xfrm>
            <a:off x="5980389" y="2398528"/>
            <a:ext cx="7795" cy="12885"/>
          </a:xfrm>
          <a:custGeom>
            <a:avLst/>
            <a:gdLst/>
            <a:ahLst/>
            <a:cxnLst>
              <a:cxn ang="0">
                <a:pos x="4" y="2"/>
              </a:cxn>
              <a:cxn ang="0">
                <a:pos x="4" y="0"/>
              </a:cxn>
              <a:cxn ang="0">
                <a:pos x="5" y="0"/>
              </a:cxn>
              <a:cxn ang="0">
                <a:pos x="5" y="3"/>
              </a:cxn>
              <a:cxn ang="0">
                <a:pos x="4" y="5"/>
              </a:cxn>
              <a:cxn ang="0">
                <a:pos x="4" y="6"/>
              </a:cxn>
              <a:cxn ang="0">
                <a:pos x="2" y="6"/>
              </a:cxn>
              <a:cxn ang="0">
                <a:pos x="2" y="8"/>
              </a:cxn>
              <a:cxn ang="0">
                <a:pos x="1" y="8"/>
              </a:cxn>
              <a:cxn ang="0">
                <a:pos x="1" y="6"/>
              </a:cxn>
              <a:cxn ang="0">
                <a:pos x="0" y="6"/>
              </a:cxn>
              <a:cxn ang="0">
                <a:pos x="1" y="5"/>
              </a:cxn>
              <a:cxn ang="0">
                <a:pos x="1" y="3"/>
              </a:cxn>
              <a:cxn ang="0">
                <a:pos x="2" y="3"/>
              </a:cxn>
              <a:cxn ang="0">
                <a:pos x="4" y="2"/>
              </a:cxn>
            </a:cxnLst>
            <a:rect l="0" t="0" r="r" b="b"/>
            <a:pathLst>
              <a:path w="5" h="8">
                <a:moveTo>
                  <a:pt x="4" y="2"/>
                </a:moveTo>
                <a:lnTo>
                  <a:pt x="4" y="0"/>
                </a:lnTo>
                <a:lnTo>
                  <a:pt x="5" y="0"/>
                </a:lnTo>
                <a:lnTo>
                  <a:pt x="5" y="3"/>
                </a:lnTo>
                <a:lnTo>
                  <a:pt x="4" y="5"/>
                </a:lnTo>
                <a:lnTo>
                  <a:pt x="4" y="6"/>
                </a:lnTo>
                <a:lnTo>
                  <a:pt x="2" y="6"/>
                </a:lnTo>
                <a:lnTo>
                  <a:pt x="2" y="8"/>
                </a:lnTo>
                <a:lnTo>
                  <a:pt x="1" y="8"/>
                </a:lnTo>
                <a:lnTo>
                  <a:pt x="1" y="6"/>
                </a:lnTo>
                <a:lnTo>
                  <a:pt x="0" y="6"/>
                </a:lnTo>
                <a:lnTo>
                  <a:pt x="1" y="5"/>
                </a:lnTo>
                <a:lnTo>
                  <a:pt x="1" y="3"/>
                </a:lnTo>
                <a:lnTo>
                  <a:pt x="2" y="3"/>
                </a:lnTo>
                <a:lnTo>
                  <a:pt x="4" y="2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58" name="Freeform 1386"/>
          <p:cNvSpPr>
            <a:spLocks/>
          </p:cNvSpPr>
          <p:nvPr/>
        </p:nvSpPr>
        <p:spPr bwMode="auto">
          <a:xfrm>
            <a:off x="5988184" y="2364167"/>
            <a:ext cx="52619" cy="38657"/>
          </a:xfrm>
          <a:custGeom>
            <a:avLst/>
            <a:gdLst/>
            <a:ahLst/>
            <a:cxnLst>
              <a:cxn ang="0">
                <a:pos x="6" y="3"/>
              </a:cxn>
              <a:cxn ang="0">
                <a:pos x="9" y="3"/>
              </a:cxn>
              <a:cxn ang="0">
                <a:pos x="12" y="3"/>
              </a:cxn>
              <a:cxn ang="0">
                <a:pos x="12" y="5"/>
              </a:cxn>
              <a:cxn ang="0">
                <a:pos x="12" y="6"/>
              </a:cxn>
              <a:cxn ang="0">
                <a:pos x="10" y="6"/>
              </a:cxn>
              <a:cxn ang="0">
                <a:pos x="12" y="6"/>
              </a:cxn>
              <a:cxn ang="0">
                <a:pos x="12" y="8"/>
              </a:cxn>
              <a:cxn ang="0">
                <a:pos x="13" y="8"/>
              </a:cxn>
              <a:cxn ang="0">
                <a:pos x="13" y="6"/>
              </a:cxn>
              <a:cxn ang="0">
                <a:pos x="14" y="6"/>
              </a:cxn>
              <a:cxn ang="0">
                <a:pos x="14" y="5"/>
              </a:cxn>
              <a:cxn ang="0">
                <a:pos x="16" y="6"/>
              </a:cxn>
              <a:cxn ang="0">
                <a:pos x="16" y="8"/>
              </a:cxn>
              <a:cxn ang="0">
                <a:pos x="14" y="8"/>
              </a:cxn>
              <a:cxn ang="0">
                <a:pos x="16" y="8"/>
              </a:cxn>
              <a:cxn ang="0">
                <a:pos x="16" y="5"/>
              </a:cxn>
              <a:cxn ang="0">
                <a:pos x="16" y="3"/>
              </a:cxn>
              <a:cxn ang="0">
                <a:pos x="14" y="3"/>
              </a:cxn>
              <a:cxn ang="0">
                <a:pos x="16" y="1"/>
              </a:cxn>
              <a:cxn ang="0">
                <a:pos x="18" y="0"/>
              </a:cxn>
              <a:cxn ang="0">
                <a:pos x="21" y="0"/>
              </a:cxn>
              <a:cxn ang="0">
                <a:pos x="22" y="1"/>
              </a:cxn>
              <a:cxn ang="0">
                <a:pos x="24" y="3"/>
              </a:cxn>
              <a:cxn ang="0">
                <a:pos x="24" y="5"/>
              </a:cxn>
              <a:cxn ang="0">
                <a:pos x="24" y="6"/>
              </a:cxn>
              <a:cxn ang="0">
                <a:pos x="25" y="6"/>
              </a:cxn>
              <a:cxn ang="0">
                <a:pos x="26" y="8"/>
              </a:cxn>
              <a:cxn ang="0">
                <a:pos x="24" y="8"/>
              </a:cxn>
              <a:cxn ang="0">
                <a:pos x="22" y="9"/>
              </a:cxn>
              <a:cxn ang="0">
                <a:pos x="21" y="9"/>
              </a:cxn>
              <a:cxn ang="0">
                <a:pos x="20" y="11"/>
              </a:cxn>
              <a:cxn ang="0">
                <a:pos x="20" y="12"/>
              </a:cxn>
              <a:cxn ang="0">
                <a:pos x="21" y="12"/>
              </a:cxn>
              <a:cxn ang="0">
                <a:pos x="22" y="14"/>
              </a:cxn>
              <a:cxn ang="0">
                <a:pos x="22" y="16"/>
              </a:cxn>
              <a:cxn ang="0">
                <a:pos x="18" y="17"/>
              </a:cxn>
              <a:cxn ang="0">
                <a:pos x="17" y="17"/>
              </a:cxn>
              <a:cxn ang="0">
                <a:pos x="18" y="17"/>
              </a:cxn>
              <a:cxn ang="0">
                <a:pos x="18" y="19"/>
              </a:cxn>
              <a:cxn ang="0">
                <a:pos x="17" y="19"/>
              </a:cxn>
              <a:cxn ang="0">
                <a:pos x="17" y="20"/>
              </a:cxn>
              <a:cxn ang="0">
                <a:pos x="16" y="20"/>
              </a:cxn>
              <a:cxn ang="0">
                <a:pos x="12" y="19"/>
              </a:cxn>
              <a:cxn ang="0">
                <a:pos x="10" y="19"/>
              </a:cxn>
              <a:cxn ang="0">
                <a:pos x="12" y="19"/>
              </a:cxn>
              <a:cxn ang="0">
                <a:pos x="12" y="17"/>
              </a:cxn>
              <a:cxn ang="0">
                <a:pos x="8" y="17"/>
              </a:cxn>
              <a:cxn ang="0">
                <a:pos x="5" y="17"/>
              </a:cxn>
              <a:cxn ang="0">
                <a:pos x="4" y="16"/>
              </a:cxn>
              <a:cxn ang="0">
                <a:pos x="2" y="14"/>
              </a:cxn>
              <a:cxn ang="0">
                <a:pos x="2" y="12"/>
              </a:cxn>
              <a:cxn ang="0">
                <a:pos x="2" y="9"/>
              </a:cxn>
              <a:cxn ang="0">
                <a:pos x="0" y="9"/>
              </a:cxn>
              <a:cxn ang="0">
                <a:pos x="1" y="8"/>
              </a:cxn>
              <a:cxn ang="0">
                <a:pos x="0" y="8"/>
              </a:cxn>
              <a:cxn ang="0">
                <a:pos x="4" y="8"/>
              </a:cxn>
              <a:cxn ang="0">
                <a:pos x="5" y="6"/>
              </a:cxn>
              <a:cxn ang="0">
                <a:pos x="6" y="5"/>
              </a:cxn>
              <a:cxn ang="0">
                <a:pos x="8" y="5"/>
              </a:cxn>
              <a:cxn ang="0">
                <a:pos x="9" y="5"/>
              </a:cxn>
              <a:cxn ang="0">
                <a:pos x="6" y="3"/>
              </a:cxn>
            </a:cxnLst>
            <a:rect l="0" t="0" r="r" b="b"/>
            <a:pathLst>
              <a:path w="26" h="20">
                <a:moveTo>
                  <a:pt x="6" y="3"/>
                </a:moveTo>
                <a:lnTo>
                  <a:pt x="9" y="3"/>
                </a:lnTo>
                <a:lnTo>
                  <a:pt x="12" y="3"/>
                </a:lnTo>
                <a:lnTo>
                  <a:pt x="12" y="5"/>
                </a:lnTo>
                <a:lnTo>
                  <a:pt x="12" y="6"/>
                </a:lnTo>
                <a:lnTo>
                  <a:pt x="10" y="6"/>
                </a:lnTo>
                <a:lnTo>
                  <a:pt x="12" y="6"/>
                </a:lnTo>
                <a:lnTo>
                  <a:pt x="12" y="8"/>
                </a:lnTo>
                <a:lnTo>
                  <a:pt x="13" y="8"/>
                </a:lnTo>
                <a:lnTo>
                  <a:pt x="13" y="6"/>
                </a:lnTo>
                <a:lnTo>
                  <a:pt x="14" y="6"/>
                </a:lnTo>
                <a:lnTo>
                  <a:pt x="14" y="5"/>
                </a:lnTo>
                <a:lnTo>
                  <a:pt x="16" y="6"/>
                </a:lnTo>
                <a:lnTo>
                  <a:pt x="16" y="8"/>
                </a:lnTo>
                <a:lnTo>
                  <a:pt x="14" y="8"/>
                </a:lnTo>
                <a:lnTo>
                  <a:pt x="16" y="8"/>
                </a:lnTo>
                <a:lnTo>
                  <a:pt x="16" y="5"/>
                </a:lnTo>
                <a:lnTo>
                  <a:pt x="16" y="3"/>
                </a:lnTo>
                <a:lnTo>
                  <a:pt x="14" y="3"/>
                </a:lnTo>
                <a:lnTo>
                  <a:pt x="16" y="1"/>
                </a:lnTo>
                <a:lnTo>
                  <a:pt x="18" y="0"/>
                </a:lnTo>
                <a:lnTo>
                  <a:pt x="21" y="0"/>
                </a:lnTo>
                <a:lnTo>
                  <a:pt x="22" y="1"/>
                </a:lnTo>
                <a:lnTo>
                  <a:pt x="24" y="3"/>
                </a:lnTo>
                <a:lnTo>
                  <a:pt x="24" y="5"/>
                </a:lnTo>
                <a:lnTo>
                  <a:pt x="24" y="6"/>
                </a:lnTo>
                <a:lnTo>
                  <a:pt x="25" y="6"/>
                </a:lnTo>
                <a:lnTo>
                  <a:pt x="26" y="8"/>
                </a:lnTo>
                <a:lnTo>
                  <a:pt x="24" y="8"/>
                </a:lnTo>
                <a:lnTo>
                  <a:pt x="22" y="9"/>
                </a:lnTo>
                <a:lnTo>
                  <a:pt x="21" y="9"/>
                </a:lnTo>
                <a:lnTo>
                  <a:pt x="20" y="11"/>
                </a:lnTo>
                <a:lnTo>
                  <a:pt x="20" y="12"/>
                </a:lnTo>
                <a:lnTo>
                  <a:pt x="21" y="12"/>
                </a:lnTo>
                <a:lnTo>
                  <a:pt x="22" y="14"/>
                </a:lnTo>
                <a:lnTo>
                  <a:pt x="22" y="16"/>
                </a:lnTo>
                <a:lnTo>
                  <a:pt x="18" y="17"/>
                </a:lnTo>
                <a:lnTo>
                  <a:pt x="17" y="17"/>
                </a:lnTo>
                <a:lnTo>
                  <a:pt x="18" y="17"/>
                </a:lnTo>
                <a:lnTo>
                  <a:pt x="18" y="19"/>
                </a:lnTo>
                <a:lnTo>
                  <a:pt x="17" y="19"/>
                </a:lnTo>
                <a:lnTo>
                  <a:pt x="17" y="20"/>
                </a:lnTo>
                <a:lnTo>
                  <a:pt x="16" y="20"/>
                </a:lnTo>
                <a:lnTo>
                  <a:pt x="12" y="19"/>
                </a:lnTo>
                <a:lnTo>
                  <a:pt x="10" y="19"/>
                </a:lnTo>
                <a:lnTo>
                  <a:pt x="12" y="19"/>
                </a:lnTo>
                <a:lnTo>
                  <a:pt x="12" y="17"/>
                </a:lnTo>
                <a:lnTo>
                  <a:pt x="8" y="17"/>
                </a:lnTo>
                <a:lnTo>
                  <a:pt x="5" y="17"/>
                </a:lnTo>
                <a:lnTo>
                  <a:pt x="4" y="16"/>
                </a:lnTo>
                <a:lnTo>
                  <a:pt x="2" y="14"/>
                </a:lnTo>
                <a:lnTo>
                  <a:pt x="2" y="12"/>
                </a:lnTo>
                <a:lnTo>
                  <a:pt x="2" y="9"/>
                </a:lnTo>
                <a:lnTo>
                  <a:pt x="0" y="9"/>
                </a:lnTo>
                <a:lnTo>
                  <a:pt x="1" y="8"/>
                </a:lnTo>
                <a:lnTo>
                  <a:pt x="0" y="8"/>
                </a:lnTo>
                <a:lnTo>
                  <a:pt x="4" y="8"/>
                </a:lnTo>
                <a:lnTo>
                  <a:pt x="5" y="6"/>
                </a:lnTo>
                <a:lnTo>
                  <a:pt x="6" y="5"/>
                </a:lnTo>
                <a:lnTo>
                  <a:pt x="8" y="5"/>
                </a:lnTo>
                <a:lnTo>
                  <a:pt x="9" y="5"/>
                </a:lnTo>
                <a:lnTo>
                  <a:pt x="6" y="3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59" name="Freeform 1387"/>
          <p:cNvSpPr>
            <a:spLocks/>
          </p:cNvSpPr>
          <p:nvPr/>
        </p:nvSpPr>
        <p:spPr bwMode="auto">
          <a:xfrm>
            <a:off x="5988184" y="2364167"/>
            <a:ext cx="52619" cy="38657"/>
          </a:xfrm>
          <a:custGeom>
            <a:avLst/>
            <a:gdLst/>
            <a:ahLst/>
            <a:cxnLst>
              <a:cxn ang="0">
                <a:pos x="6" y="3"/>
              </a:cxn>
              <a:cxn ang="0">
                <a:pos x="9" y="3"/>
              </a:cxn>
              <a:cxn ang="0">
                <a:pos x="12" y="3"/>
              </a:cxn>
              <a:cxn ang="0">
                <a:pos x="12" y="5"/>
              </a:cxn>
              <a:cxn ang="0">
                <a:pos x="12" y="6"/>
              </a:cxn>
              <a:cxn ang="0">
                <a:pos x="10" y="6"/>
              </a:cxn>
              <a:cxn ang="0">
                <a:pos x="12" y="6"/>
              </a:cxn>
              <a:cxn ang="0">
                <a:pos x="12" y="8"/>
              </a:cxn>
              <a:cxn ang="0">
                <a:pos x="13" y="8"/>
              </a:cxn>
              <a:cxn ang="0">
                <a:pos x="13" y="6"/>
              </a:cxn>
              <a:cxn ang="0">
                <a:pos x="14" y="6"/>
              </a:cxn>
              <a:cxn ang="0">
                <a:pos x="14" y="5"/>
              </a:cxn>
              <a:cxn ang="0">
                <a:pos x="16" y="6"/>
              </a:cxn>
              <a:cxn ang="0">
                <a:pos x="16" y="8"/>
              </a:cxn>
              <a:cxn ang="0">
                <a:pos x="14" y="8"/>
              </a:cxn>
              <a:cxn ang="0">
                <a:pos x="16" y="8"/>
              </a:cxn>
              <a:cxn ang="0">
                <a:pos x="16" y="5"/>
              </a:cxn>
              <a:cxn ang="0">
                <a:pos x="16" y="3"/>
              </a:cxn>
              <a:cxn ang="0">
                <a:pos x="14" y="3"/>
              </a:cxn>
              <a:cxn ang="0">
                <a:pos x="16" y="1"/>
              </a:cxn>
              <a:cxn ang="0">
                <a:pos x="18" y="0"/>
              </a:cxn>
              <a:cxn ang="0">
                <a:pos x="21" y="0"/>
              </a:cxn>
              <a:cxn ang="0">
                <a:pos x="22" y="1"/>
              </a:cxn>
              <a:cxn ang="0">
                <a:pos x="24" y="3"/>
              </a:cxn>
              <a:cxn ang="0">
                <a:pos x="24" y="5"/>
              </a:cxn>
              <a:cxn ang="0">
                <a:pos x="24" y="6"/>
              </a:cxn>
              <a:cxn ang="0">
                <a:pos x="25" y="6"/>
              </a:cxn>
              <a:cxn ang="0">
                <a:pos x="26" y="8"/>
              </a:cxn>
              <a:cxn ang="0">
                <a:pos x="24" y="8"/>
              </a:cxn>
              <a:cxn ang="0">
                <a:pos x="22" y="9"/>
              </a:cxn>
              <a:cxn ang="0">
                <a:pos x="21" y="9"/>
              </a:cxn>
              <a:cxn ang="0">
                <a:pos x="20" y="11"/>
              </a:cxn>
              <a:cxn ang="0">
                <a:pos x="20" y="12"/>
              </a:cxn>
              <a:cxn ang="0">
                <a:pos x="21" y="12"/>
              </a:cxn>
              <a:cxn ang="0">
                <a:pos x="22" y="14"/>
              </a:cxn>
              <a:cxn ang="0">
                <a:pos x="22" y="16"/>
              </a:cxn>
              <a:cxn ang="0">
                <a:pos x="18" y="17"/>
              </a:cxn>
              <a:cxn ang="0">
                <a:pos x="17" y="17"/>
              </a:cxn>
              <a:cxn ang="0">
                <a:pos x="18" y="17"/>
              </a:cxn>
              <a:cxn ang="0">
                <a:pos x="18" y="19"/>
              </a:cxn>
              <a:cxn ang="0">
                <a:pos x="17" y="19"/>
              </a:cxn>
              <a:cxn ang="0">
                <a:pos x="17" y="20"/>
              </a:cxn>
              <a:cxn ang="0">
                <a:pos x="16" y="20"/>
              </a:cxn>
              <a:cxn ang="0">
                <a:pos x="12" y="19"/>
              </a:cxn>
              <a:cxn ang="0">
                <a:pos x="10" y="19"/>
              </a:cxn>
              <a:cxn ang="0">
                <a:pos x="12" y="19"/>
              </a:cxn>
              <a:cxn ang="0">
                <a:pos x="12" y="17"/>
              </a:cxn>
              <a:cxn ang="0">
                <a:pos x="8" y="17"/>
              </a:cxn>
              <a:cxn ang="0">
                <a:pos x="5" y="17"/>
              </a:cxn>
              <a:cxn ang="0">
                <a:pos x="4" y="16"/>
              </a:cxn>
              <a:cxn ang="0">
                <a:pos x="2" y="14"/>
              </a:cxn>
              <a:cxn ang="0">
                <a:pos x="2" y="12"/>
              </a:cxn>
              <a:cxn ang="0">
                <a:pos x="2" y="9"/>
              </a:cxn>
              <a:cxn ang="0">
                <a:pos x="0" y="9"/>
              </a:cxn>
              <a:cxn ang="0">
                <a:pos x="1" y="8"/>
              </a:cxn>
              <a:cxn ang="0">
                <a:pos x="0" y="8"/>
              </a:cxn>
              <a:cxn ang="0">
                <a:pos x="4" y="8"/>
              </a:cxn>
              <a:cxn ang="0">
                <a:pos x="5" y="6"/>
              </a:cxn>
              <a:cxn ang="0">
                <a:pos x="6" y="5"/>
              </a:cxn>
              <a:cxn ang="0">
                <a:pos x="8" y="5"/>
              </a:cxn>
              <a:cxn ang="0">
                <a:pos x="9" y="5"/>
              </a:cxn>
              <a:cxn ang="0">
                <a:pos x="6" y="3"/>
              </a:cxn>
            </a:cxnLst>
            <a:rect l="0" t="0" r="r" b="b"/>
            <a:pathLst>
              <a:path w="26" h="20">
                <a:moveTo>
                  <a:pt x="6" y="3"/>
                </a:moveTo>
                <a:lnTo>
                  <a:pt x="9" y="3"/>
                </a:lnTo>
                <a:lnTo>
                  <a:pt x="12" y="3"/>
                </a:lnTo>
                <a:lnTo>
                  <a:pt x="12" y="5"/>
                </a:lnTo>
                <a:lnTo>
                  <a:pt x="12" y="6"/>
                </a:lnTo>
                <a:lnTo>
                  <a:pt x="10" y="6"/>
                </a:lnTo>
                <a:lnTo>
                  <a:pt x="12" y="6"/>
                </a:lnTo>
                <a:lnTo>
                  <a:pt x="12" y="8"/>
                </a:lnTo>
                <a:lnTo>
                  <a:pt x="13" y="8"/>
                </a:lnTo>
                <a:lnTo>
                  <a:pt x="13" y="6"/>
                </a:lnTo>
                <a:lnTo>
                  <a:pt x="14" y="6"/>
                </a:lnTo>
                <a:lnTo>
                  <a:pt x="14" y="5"/>
                </a:lnTo>
                <a:lnTo>
                  <a:pt x="16" y="6"/>
                </a:lnTo>
                <a:lnTo>
                  <a:pt x="16" y="8"/>
                </a:lnTo>
                <a:lnTo>
                  <a:pt x="14" y="8"/>
                </a:lnTo>
                <a:lnTo>
                  <a:pt x="16" y="8"/>
                </a:lnTo>
                <a:lnTo>
                  <a:pt x="16" y="5"/>
                </a:lnTo>
                <a:lnTo>
                  <a:pt x="16" y="3"/>
                </a:lnTo>
                <a:lnTo>
                  <a:pt x="14" y="3"/>
                </a:lnTo>
                <a:lnTo>
                  <a:pt x="16" y="1"/>
                </a:lnTo>
                <a:lnTo>
                  <a:pt x="18" y="0"/>
                </a:lnTo>
                <a:lnTo>
                  <a:pt x="21" y="0"/>
                </a:lnTo>
                <a:lnTo>
                  <a:pt x="22" y="1"/>
                </a:lnTo>
                <a:lnTo>
                  <a:pt x="24" y="3"/>
                </a:lnTo>
                <a:lnTo>
                  <a:pt x="24" y="5"/>
                </a:lnTo>
                <a:lnTo>
                  <a:pt x="24" y="6"/>
                </a:lnTo>
                <a:lnTo>
                  <a:pt x="25" y="6"/>
                </a:lnTo>
                <a:lnTo>
                  <a:pt x="26" y="8"/>
                </a:lnTo>
                <a:lnTo>
                  <a:pt x="24" y="8"/>
                </a:lnTo>
                <a:lnTo>
                  <a:pt x="22" y="9"/>
                </a:lnTo>
                <a:lnTo>
                  <a:pt x="21" y="9"/>
                </a:lnTo>
                <a:lnTo>
                  <a:pt x="20" y="11"/>
                </a:lnTo>
                <a:lnTo>
                  <a:pt x="20" y="12"/>
                </a:lnTo>
                <a:lnTo>
                  <a:pt x="21" y="12"/>
                </a:lnTo>
                <a:lnTo>
                  <a:pt x="22" y="14"/>
                </a:lnTo>
                <a:lnTo>
                  <a:pt x="22" y="16"/>
                </a:lnTo>
                <a:lnTo>
                  <a:pt x="18" y="17"/>
                </a:lnTo>
                <a:lnTo>
                  <a:pt x="17" y="17"/>
                </a:lnTo>
                <a:lnTo>
                  <a:pt x="18" y="17"/>
                </a:lnTo>
                <a:lnTo>
                  <a:pt x="18" y="19"/>
                </a:lnTo>
                <a:lnTo>
                  <a:pt x="17" y="19"/>
                </a:lnTo>
                <a:lnTo>
                  <a:pt x="17" y="20"/>
                </a:lnTo>
                <a:lnTo>
                  <a:pt x="16" y="20"/>
                </a:lnTo>
                <a:lnTo>
                  <a:pt x="12" y="19"/>
                </a:lnTo>
                <a:lnTo>
                  <a:pt x="10" y="19"/>
                </a:lnTo>
                <a:lnTo>
                  <a:pt x="12" y="19"/>
                </a:lnTo>
                <a:lnTo>
                  <a:pt x="12" y="17"/>
                </a:lnTo>
                <a:lnTo>
                  <a:pt x="8" y="17"/>
                </a:lnTo>
                <a:lnTo>
                  <a:pt x="5" y="17"/>
                </a:lnTo>
                <a:lnTo>
                  <a:pt x="4" y="16"/>
                </a:lnTo>
                <a:lnTo>
                  <a:pt x="2" y="14"/>
                </a:lnTo>
                <a:lnTo>
                  <a:pt x="2" y="12"/>
                </a:lnTo>
                <a:lnTo>
                  <a:pt x="2" y="9"/>
                </a:lnTo>
                <a:lnTo>
                  <a:pt x="0" y="9"/>
                </a:lnTo>
                <a:lnTo>
                  <a:pt x="1" y="8"/>
                </a:lnTo>
                <a:lnTo>
                  <a:pt x="0" y="8"/>
                </a:lnTo>
                <a:lnTo>
                  <a:pt x="4" y="8"/>
                </a:lnTo>
                <a:lnTo>
                  <a:pt x="5" y="6"/>
                </a:lnTo>
                <a:lnTo>
                  <a:pt x="6" y="5"/>
                </a:lnTo>
                <a:lnTo>
                  <a:pt x="8" y="5"/>
                </a:lnTo>
                <a:lnTo>
                  <a:pt x="9" y="5"/>
                </a:lnTo>
                <a:lnTo>
                  <a:pt x="6" y="3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60" name="Freeform 1388"/>
          <p:cNvSpPr>
            <a:spLocks/>
          </p:cNvSpPr>
          <p:nvPr/>
        </p:nvSpPr>
        <p:spPr bwMode="auto">
          <a:xfrm>
            <a:off x="5902437" y="2306180"/>
            <a:ext cx="81851" cy="103085"/>
          </a:xfrm>
          <a:custGeom>
            <a:avLst/>
            <a:gdLst/>
            <a:ahLst/>
            <a:cxnLst>
              <a:cxn ang="0">
                <a:pos x="12" y="50"/>
              </a:cxn>
              <a:cxn ang="0">
                <a:pos x="21" y="50"/>
              </a:cxn>
              <a:cxn ang="0">
                <a:pos x="24" y="50"/>
              </a:cxn>
              <a:cxn ang="0">
                <a:pos x="24" y="48"/>
              </a:cxn>
              <a:cxn ang="0">
                <a:pos x="21" y="48"/>
              </a:cxn>
              <a:cxn ang="0">
                <a:pos x="21" y="45"/>
              </a:cxn>
              <a:cxn ang="0">
                <a:pos x="22" y="44"/>
              </a:cxn>
              <a:cxn ang="0">
                <a:pos x="24" y="40"/>
              </a:cxn>
              <a:cxn ang="0">
                <a:pos x="25" y="37"/>
              </a:cxn>
              <a:cxn ang="0">
                <a:pos x="25" y="36"/>
              </a:cxn>
              <a:cxn ang="0">
                <a:pos x="29" y="34"/>
              </a:cxn>
              <a:cxn ang="0">
                <a:pos x="29" y="33"/>
              </a:cxn>
              <a:cxn ang="0">
                <a:pos x="33" y="31"/>
              </a:cxn>
              <a:cxn ang="0">
                <a:pos x="34" y="26"/>
              </a:cxn>
              <a:cxn ang="0">
                <a:pos x="36" y="28"/>
              </a:cxn>
              <a:cxn ang="0">
                <a:pos x="42" y="25"/>
              </a:cxn>
              <a:cxn ang="0">
                <a:pos x="42" y="22"/>
              </a:cxn>
              <a:cxn ang="0">
                <a:pos x="38" y="22"/>
              </a:cxn>
              <a:cxn ang="0">
                <a:pos x="34" y="22"/>
              </a:cxn>
              <a:cxn ang="0">
                <a:pos x="32" y="23"/>
              </a:cxn>
              <a:cxn ang="0">
                <a:pos x="32" y="20"/>
              </a:cxn>
              <a:cxn ang="0">
                <a:pos x="33" y="18"/>
              </a:cxn>
              <a:cxn ang="0">
                <a:pos x="30" y="18"/>
              </a:cxn>
              <a:cxn ang="0">
                <a:pos x="33" y="17"/>
              </a:cxn>
              <a:cxn ang="0">
                <a:pos x="33" y="12"/>
              </a:cxn>
              <a:cxn ang="0">
                <a:pos x="37" y="7"/>
              </a:cxn>
              <a:cxn ang="0">
                <a:pos x="36" y="1"/>
              </a:cxn>
              <a:cxn ang="0">
                <a:pos x="34" y="1"/>
              </a:cxn>
              <a:cxn ang="0">
                <a:pos x="24" y="6"/>
              </a:cxn>
              <a:cxn ang="0">
                <a:pos x="20" y="9"/>
              </a:cxn>
              <a:cxn ang="0">
                <a:pos x="5" y="12"/>
              </a:cxn>
              <a:cxn ang="0">
                <a:pos x="2" y="18"/>
              </a:cxn>
              <a:cxn ang="0">
                <a:pos x="1" y="23"/>
              </a:cxn>
              <a:cxn ang="0">
                <a:pos x="1" y="31"/>
              </a:cxn>
              <a:cxn ang="0">
                <a:pos x="2" y="36"/>
              </a:cxn>
              <a:cxn ang="0">
                <a:pos x="2" y="39"/>
              </a:cxn>
              <a:cxn ang="0">
                <a:pos x="6" y="39"/>
              </a:cxn>
              <a:cxn ang="0">
                <a:pos x="9" y="42"/>
              </a:cxn>
              <a:cxn ang="0">
                <a:pos x="10" y="50"/>
              </a:cxn>
            </a:cxnLst>
            <a:rect l="0" t="0" r="r" b="b"/>
            <a:pathLst>
              <a:path w="42" h="51">
                <a:moveTo>
                  <a:pt x="10" y="50"/>
                </a:moveTo>
                <a:lnTo>
                  <a:pt x="12" y="50"/>
                </a:lnTo>
                <a:lnTo>
                  <a:pt x="18" y="51"/>
                </a:lnTo>
                <a:lnTo>
                  <a:pt x="21" y="50"/>
                </a:lnTo>
                <a:lnTo>
                  <a:pt x="22" y="50"/>
                </a:lnTo>
                <a:lnTo>
                  <a:pt x="24" y="50"/>
                </a:lnTo>
                <a:lnTo>
                  <a:pt x="25" y="50"/>
                </a:lnTo>
                <a:lnTo>
                  <a:pt x="24" y="48"/>
                </a:lnTo>
                <a:lnTo>
                  <a:pt x="22" y="48"/>
                </a:lnTo>
                <a:lnTo>
                  <a:pt x="21" y="48"/>
                </a:lnTo>
                <a:lnTo>
                  <a:pt x="21" y="47"/>
                </a:lnTo>
                <a:lnTo>
                  <a:pt x="21" y="45"/>
                </a:lnTo>
                <a:lnTo>
                  <a:pt x="24" y="44"/>
                </a:lnTo>
                <a:lnTo>
                  <a:pt x="22" y="44"/>
                </a:lnTo>
                <a:lnTo>
                  <a:pt x="22" y="42"/>
                </a:lnTo>
                <a:lnTo>
                  <a:pt x="24" y="40"/>
                </a:lnTo>
                <a:lnTo>
                  <a:pt x="22" y="39"/>
                </a:lnTo>
                <a:lnTo>
                  <a:pt x="25" y="37"/>
                </a:lnTo>
                <a:lnTo>
                  <a:pt x="24" y="36"/>
                </a:lnTo>
                <a:lnTo>
                  <a:pt x="25" y="36"/>
                </a:lnTo>
                <a:lnTo>
                  <a:pt x="28" y="36"/>
                </a:lnTo>
                <a:lnTo>
                  <a:pt x="29" y="34"/>
                </a:lnTo>
                <a:lnTo>
                  <a:pt x="28" y="33"/>
                </a:lnTo>
                <a:lnTo>
                  <a:pt x="29" y="33"/>
                </a:lnTo>
                <a:lnTo>
                  <a:pt x="32" y="33"/>
                </a:lnTo>
                <a:lnTo>
                  <a:pt x="33" y="31"/>
                </a:lnTo>
                <a:lnTo>
                  <a:pt x="33" y="29"/>
                </a:lnTo>
                <a:lnTo>
                  <a:pt x="34" y="26"/>
                </a:lnTo>
                <a:lnTo>
                  <a:pt x="36" y="26"/>
                </a:lnTo>
                <a:lnTo>
                  <a:pt x="36" y="28"/>
                </a:lnTo>
                <a:lnTo>
                  <a:pt x="38" y="28"/>
                </a:lnTo>
                <a:lnTo>
                  <a:pt x="42" y="25"/>
                </a:lnTo>
                <a:lnTo>
                  <a:pt x="42" y="23"/>
                </a:lnTo>
                <a:lnTo>
                  <a:pt x="42" y="22"/>
                </a:lnTo>
                <a:lnTo>
                  <a:pt x="41" y="22"/>
                </a:lnTo>
                <a:lnTo>
                  <a:pt x="38" y="22"/>
                </a:lnTo>
                <a:lnTo>
                  <a:pt x="36" y="23"/>
                </a:lnTo>
                <a:lnTo>
                  <a:pt x="34" y="22"/>
                </a:lnTo>
                <a:lnTo>
                  <a:pt x="33" y="22"/>
                </a:lnTo>
                <a:lnTo>
                  <a:pt x="32" y="23"/>
                </a:lnTo>
                <a:lnTo>
                  <a:pt x="32" y="22"/>
                </a:lnTo>
                <a:lnTo>
                  <a:pt x="32" y="20"/>
                </a:lnTo>
                <a:lnTo>
                  <a:pt x="33" y="20"/>
                </a:lnTo>
                <a:lnTo>
                  <a:pt x="33" y="18"/>
                </a:lnTo>
                <a:lnTo>
                  <a:pt x="30" y="20"/>
                </a:lnTo>
                <a:lnTo>
                  <a:pt x="30" y="18"/>
                </a:lnTo>
                <a:lnTo>
                  <a:pt x="32" y="18"/>
                </a:lnTo>
                <a:lnTo>
                  <a:pt x="33" y="17"/>
                </a:lnTo>
                <a:lnTo>
                  <a:pt x="33" y="14"/>
                </a:lnTo>
                <a:lnTo>
                  <a:pt x="33" y="12"/>
                </a:lnTo>
                <a:lnTo>
                  <a:pt x="37" y="9"/>
                </a:lnTo>
                <a:lnTo>
                  <a:pt x="37" y="7"/>
                </a:lnTo>
                <a:lnTo>
                  <a:pt x="34" y="3"/>
                </a:lnTo>
                <a:lnTo>
                  <a:pt x="36" y="1"/>
                </a:lnTo>
                <a:lnTo>
                  <a:pt x="36" y="0"/>
                </a:lnTo>
                <a:lnTo>
                  <a:pt x="34" y="1"/>
                </a:lnTo>
                <a:lnTo>
                  <a:pt x="28" y="3"/>
                </a:lnTo>
                <a:lnTo>
                  <a:pt x="24" y="6"/>
                </a:lnTo>
                <a:lnTo>
                  <a:pt x="22" y="7"/>
                </a:lnTo>
                <a:lnTo>
                  <a:pt x="20" y="9"/>
                </a:lnTo>
                <a:lnTo>
                  <a:pt x="8" y="11"/>
                </a:lnTo>
                <a:lnTo>
                  <a:pt x="5" y="12"/>
                </a:lnTo>
                <a:lnTo>
                  <a:pt x="4" y="14"/>
                </a:lnTo>
                <a:lnTo>
                  <a:pt x="2" y="18"/>
                </a:lnTo>
                <a:lnTo>
                  <a:pt x="2" y="22"/>
                </a:lnTo>
                <a:lnTo>
                  <a:pt x="1" y="23"/>
                </a:lnTo>
                <a:lnTo>
                  <a:pt x="0" y="26"/>
                </a:lnTo>
                <a:lnTo>
                  <a:pt x="1" y="31"/>
                </a:lnTo>
                <a:lnTo>
                  <a:pt x="2" y="33"/>
                </a:lnTo>
                <a:lnTo>
                  <a:pt x="2" y="36"/>
                </a:lnTo>
                <a:lnTo>
                  <a:pt x="1" y="39"/>
                </a:lnTo>
                <a:lnTo>
                  <a:pt x="2" y="39"/>
                </a:lnTo>
                <a:lnTo>
                  <a:pt x="4" y="39"/>
                </a:lnTo>
                <a:lnTo>
                  <a:pt x="6" y="39"/>
                </a:lnTo>
                <a:lnTo>
                  <a:pt x="8" y="40"/>
                </a:lnTo>
                <a:lnTo>
                  <a:pt x="9" y="42"/>
                </a:lnTo>
                <a:lnTo>
                  <a:pt x="9" y="48"/>
                </a:lnTo>
                <a:lnTo>
                  <a:pt x="10" y="5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61" name="Freeform 1389"/>
          <p:cNvSpPr>
            <a:spLocks/>
          </p:cNvSpPr>
          <p:nvPr/>
        </p:nvSpPr>
        <p:spPr bwMode="auto">
          <a:xfrm>
            <a:off x="5902437" y="2306180"/>
            <a:ext cx="81851" cy="103085"/>
          </a:xfrm>
          <a:custGeom>
            <a:avLst/>
            <a:gdLst/>
            <a:ahLst/>
            <a:cxnLst>
              <a:cxn ang="0">
                <a:pos x="12" y="50"/>
              </a:cxn>
              <a:cxn ang="0">
                <a:pos x="21" y="50"/>
              </a:cxn>
              <a:cxn ang="0">
                <a:pos x="24" y="50"/>
              </a:cxn>
              <a:cxn ang="0">
                <a:pos x="24" y="48"/>
              </a:cxn>
              <a:cxn ang="0">
                <a:pos x="21" y="48"/>
              </a:cxn>
              <a:cxn ang="0">
                <a:pos x="21" y="45"/>
              </a:cxn>
              <a:cxn ang="0">
                <a:pos x="22" y="44"/>
              </a:cxn>
              <a:cxn ang="0">
                <a:pos x="24" y="40"/>
              </a:cxn>
              <a:cxn ang="0">
                <a:pos x="25" y="37"/>
              </a:cxn>
              <a:cxn ang="0">
                <a:pos x="25" y="36"/>
              </a:cxn>
              <a:cxn ang="0">
                <a:pos x="29" y="34"/>
              </a:cxn>
              <a:cxn ang="0">
                <a:pos x="29" y="33"/>
              </a:cxn>
              <a:cxn ang="0">
                <a:pos x="33" y="31"/>
              </a:cxn>
              <a:cxn ang="0">
                <a:pos x="34" y="26"/>
              </a:cxn>
              <a:cxn ang="0">
                <a:pos x="36" y="28"/>
              </a:cxn>
              <a:cxn ang="0">
                <a:pos x="42" y="25"/>
              </a:cxn>
              <a:cxn ang="0">
                <a:pos x="42" y="22"/>
              </a:cxn>
              <a:cxn ang="0">
                <a:pos x="38" y="22"/>
              </a:cxn>
              <a:cxn ang="0">
                <a:pos x="34" y="22"/>
              </a:cxn>
              <a:cxn ang="0">
                <a:pos x="32" y="23"/>
              </a:cxn>
              <a:cxn ang="0">
                <a:pos x="32" y="20"/>
              </a:cxn>
              <a:cxn ang="0">
                <a:pos x="33" y="18"/>
              </a:cxn>
              <a:cxn ang="0">
                <a:pos x="30" y="18"/>
              </a:cxn>
              <a:cxn ang="0">
                <a:pos x="33" y="17"/>
              </a:cxn>
              <a:cxn ang="0">
                <a:pos x="33" y="12"/>
              </a:cxn>
              <a:cxn ang="0">
                <a:pos x="37" y="7"/>
              </a:cxn>
              <a:cxn ang="0">
                <a:pos x="36" y="1"/>
              </a:cxn>
              <a:cxn ang="0">
                <a:pos x="34" y="1"/>
              </a:cxn>
              <a:cxn ang="0">
                <a:pos x="24" y="6"/>
              </a:cxn>
              <a:cxn ang="0">
                <a:pos x="20" y="9"/>
              </a:cxn>
              <a:cxn ang="0">
                <a:pos x="5" y="12"/>
              </a:cxn>
              <a:cxn ang="0">
                <a:pos x="2" y="18"/>
              </a:cxn>
              <a:cxn ang="0">
                <a:pos x="1" y="23"/>
              </a:cxn>
              <a:cxn ang="0">
                <a:pos x="1" y="31"/>
              </a:cxn>
              <a:cxn ang="0">
                <a:pos x="2" y="36"/>
              </a:cxn>
              <a:cxn ang="0">
                <a:pos x="2" y="39"/>
              </a:cxn>
              <a:cxn ang="0">
                <a:pos x="6" y="39"/>
              </a:cxn>
              <a:cxn ang="0">
                <a:pos x="9" y="42"/>
              </a:cxn>
              <a:cxn ang="0">
                <a:pos x="10" y="50"/>
              </a:cxn>
            </a:cxnLst>
            <a:rect l="0" t="0" r="r" b="b"/>
            <a:pathLst>
              <a:path w="42" h="51">
                <a:moveTo>
                  <a:pt x="10" y="50"/>
                </a:moveTo>
                <a:lnTo>
                  <a:pt x="12" y="50"/>
                </a:lnTo>
                <a:lnTo>
                  <a:pt x="18" y="51"/>
                </a:lnTo>
                <a:lnTo>
                  <a:pt x="21" y="50"/>
                </a:lnTo>
                <a:lnTo>
                  <a:pt x="22" y="50"/>
                </a:lnTo>
                <a:lnTo>
                  <a:pt x="24" y="50"/>
                </a:lnTo>
                <a:lnTo>
                  <a:pt x="25" y="50"/>
                </a:lnTo>
                <a:lnTo>
                  <a:pt x="24" y="48"/>
                </a:lnTo>
                <a:lnTo>
                  <a:pt x="22" y="48"/>
                </a:lnTo>
                <a:lnTo>
                  <a:pt x="21" y="48"/>
                </a:lnTo>
                <a:lnTo>
                  <a:pt x="21" y="47"/>
                </a:lnTo>
                <a:lnTo>
                  <a:pt x="21" y="45"/>
                </a:lnTo>
                <a:lnTo>
                  <a:pt x="24" y="44"/>
                </a:lnTo>
                <a:lnTo>
                  <a:pt x="22" y="44"/>
                </a:lnTo>
                <a:lnTo>
                  <a:pt x="22" y="42"/>
                </a:lnTo>
                <a:lnTo>
                  <a:pt x="24" y="40"/>
                </a:lnTo>
                <a:lnTo>
                  <a:pt x="22" y="39"/>
                </a:lnTo>
                <a:lnTo>
                  <a:pt x="25" y="37"/>
                </a:lnTo>
                <a:lnTo>
                  <a:pt x="24" y="36"/>
                </a:lnTo>
                <a:lnTo>
                  <a:pt x="25" y="36"/>
                </a:lnTo>
                <a:lnTo>
                  <a:pt x="28" y="36"/>
                </a:lnTo>
                <a:lnTo>
                  <a:pt x="29" y="34"/>
                </a:lnTo>
                <a:lnTo>
                  <a:pt x="28" y="33"/>
                </a:lnTo>
                <a:lnTo>
                  <a:pt x="29" y="33"/>
                </a:lnTo>
                <a:lnTo>
                  <a:pt x="32" y="33"/>
                </a:lnTo>
                <a:lnTo>
                  <a:pt x="33" y="31"/>
                </a:lnTo>
                <a:lnTo>
                  <a:pt x="33" y="29"/>
                </a:lnTo>
                <a:lnTo>
                  <a:pt x="34" y="26"/>
                </a:lnTo>
                <a:lnTo>
                  <a:pt x="36" y="26"/>
                </a:lnTo>
                <a:lnTo>
                  <a:pt x="36" y="28"/>
                </a:lnTo>
                <a:lnTo>
                  <a:pt x="38" y="28"/>
                </a:lnTo>
                <a:lnTo>
                  <a:pt x="42" y="25"/>
                </a:lnTo>
                <a:lnTo>
                  <a:pt x="42" y="23"/>
                </a:lnTo>
                <a:lnTo>
                  <a:pt x="42" y="22"/>
                </a:lnTo>
                <a:lnTo>
                  <a:pt x="41" y="22"/>
                </a:lnTo>
                <a:lnTo>
                  <a:pt x="38" y="22"/>
                </a:lnTo>
                <a:lnTo>
                  <a:pt x="36" y="23"/>
                </a:lnTo>
                <a:lnTo>
                  <a:pt x="34" y="22"/>
                </a:lnTo>
                <a:lnTo>
                  <a:pt x="33" y="22"/>
                </a:lnTo>
                <a:lnTo>
                  <a:pt x="32" y="23"/>
                </a:lnTo>
                <a:lnTo>
                  <a:pt x="32" y="22"/>
                </a:lnTo>
                <a:lnTo>
                  <a:pt x="32" y="20"/>
                </a:lnTo>
                <a:lnTo>
                  <a:pt x="33" y="20"/>
                </a:lnTo>
                <a:lnTo>
                  <a:pt x="33" y="18"/>
                </a:lnTo>
                <a:lnTo>
                  <a:pt x="30" y="20"/>
                </a:lnTo>
                <a:lnTo>
                  <a:pt x="30" y="18"/>
                </a:lnTo>
                <a:lnTo>
                  <a:pt x="32" y="18"/>
                </a:lnTo>
                <a:lnTo>
                  <a:pt x="33" y="17"/>
                </a:lnTo>
                <a:lnTo>
                  <a:pt x="33" y="14"/>
                </a:lnTo>
                <a:lnTo>
                  <a:pt x="33" y="12"/>
                </a:lnTo>
                <a:lnTo>
                  <a:pt x="37" y="9"/>
                </a:lnTo>
                <a:lnTo>
                  <a:pt x="37" y="7"/>
                </a:lnTo>
                <a:lnTo>
                  <a:pt x="34" y="3"/>
                </a:lnTo>
                <a:lnTo>
                  <a:pt x="36" y="1"/>
                </a:lnTo>
                <a:lnTo>
                  <a:pt x="36" y="0"/>
                </a:lnTo>
                <a:lnTo>
                  <a:pt x="34" y="1"/>
                </a:lnTo>
                <a:lnTo>
                  <a:pt x="28" y="3"/>
                </a:lnTo>
                <a:lnTo>
                  <a:pt x="24" y="6"/>
                </a:lnTo>
                <a:lnTo>
                  <a:pt x="22" y="7"/>
                </a:lnTo>
                <a:lnTo>
                  <a:pt x="20" y="9"/>
                </a:lnTo>
                <a:lnTo>
                  <a:pt x="8" y="11"/>
                </a:lnTo>
                <a:lnTo>
                  <a:pt x="5" y="12"/>
                </a:lnTo>
                <a:lnTo>
                  <a:pt x="4" y="14"/>
                </a:lnTo>
                <a:lnTo>
                  <a:pt x="2" y="18"/>
                </a:lnTo>
                <a:lnTo>
                  <a:pt x="2" y="22"/>
                </a:lnTo>
                <a:lnTo>
                  <a:pt x="1" y="23"/>
                </a:lnTo>
                <a:lnTo>
                  <a:pt x="0" y="26"/>
                </a:lnTo>
                <a:lnTo>
                  <a:pt x="1" y="31"/>
                </a:lnTo>
                <a:lnTo>
                  <a:pt x="2" y="33"/>
                </a:lnTo>
                <a:lnTo>
                  <a:pt x="2" y="36"/>
                </a:lnTo>
                <a:lnTo>
                  <a:pt x="1" y="39"/>
                </a:lnTo>
                <a:lnTo>
                  <a:pt x="2" y="39"/>
                </a:lnTo>
                <a:lnTo>
                  <a:pt x="4" y="39"/>
                </a:lnTo>
                <a:lnTo>
                  <a:pt x="6" y="39"/>
                </a:lnTo>
                <a:lnTo>
                  <a:pt x="8" y="40"/>
                </a:lnTo>
                <a:lnTo>
                  <a:pt x="9" y="42"/>
                </a:lnTo>
                <a:lnTo>
                  <a:pt x="9" y="48"/>
                </a:lnTo>
                <a:lnTo>
                  <a:pt x="10" y="5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62" name="Freeform 1390"/>
          <p:cNvSpPr>
            <a:spLocks/>
          </p:cNvSpPr>
          <p:nvPr/>
        </p:nvSpPr>
        <p:spPr bwMode="auto">
          <a:xfrm>
            <a:off x="5834230" y="2576779"/>
            <a:ext cx="19488" cy="21476"/>
          </a:xfrm>
          <a:custGeom>
            <a:avLst/>
            <a:gdLst/>
            <a:ahLst/>
            <a:cxnLst>
              <a:cxn ang="0">
                <a:pos x="6" y="11"/>
              </a:cxn>
              <a:cxn ang="0">
                <a:pos x="9" y="11"/>
              </a:cxn>
              <a:cxn ang="0">
                <a:pos x="10" y="9"/>
              </a:cxn>
              <a:cxn ang="0">
                <a:pos x="10" y="6"/>
              </a:cxn>
              <a:cxn ang="0">
                <a:pos x="9" y="4"/>
              </a:cxn>
              <a:cxn ang="0">
                <a:pos x="8" y="3"/>
              </a:cxn>
              <a:cxn ang="0">
                <a:pos x="8" y="1"/>
              </a:cxn>
              <a:cxn ang="0">
                <a:pos x="9" y="0"/>
              </a:cxn>
              <a:cxn ang="0">
                <a:pos x="6" y="0"/>
              </a:cxn>
              <a:cxn ang="0">
                <a:pos x="5" y="0"/>
              </a:cxn>
              <a:cxn ang="0">
                <a:pos x="2" y="1"/>
              </a:cxn>
              <a:cxn ang="0">
                <a:pos x="0" y="4"/>
              </a:cxn>
              <a:cxn ang="0">
                <a:pos x="1" y="6"/>
              </a:cxn>
              <a:cxn ang="0">
                <a:pos x="1" y="9"/>
              </a:cxn>
              <a:cxn ang="0">
                <a:pos x="6" y="11"/>
              </a:cxn>
            </a:cxnLst>
            <a:rect l="0" t="0" r="r" b="b"/>
            <a:pathLst>
              <a:path w="10" h="11">
                <a:moveTo>
                  <a:pt x="6" y="11"/>
                </a:moveTo>
                <a:lnTo>
                  <a:pt x="9" y="11"/>
                </a:lnTo>
                <a:lnTo>
                  <a:pt x="10" y="9"/>
                </a:lnTo>
                <a:lnTo>
                  <a:pt x="10" y="6"/>
                </a:lnTo>
                <a:lnTo>
                  <a:pt x="9" y="4"/>
                </a:lnTo>
                <a:lnTo>
                  <a:pt x="8" y="3"/>
                </a:lnTo>
                <a:lnTo>
                  <a:pt x="8" y="1"/>
                </a:lnTo>
                <a:lnTo>
                  <a:pt x="9" y="0"/>
                </a:lnTo>
                <a:lnTo>
                  <a:pt x="6" y="0"/>
                </a:lnTo>
                <a:lnTo>
                  <a:pt x="5" y="0"/>
                </a:lnTo>
                <a:lnTo>
                  <a:pt x="2" y="1"/>
                </a:lnTo>
                <a:lnTo>
                  <a:pt x="0" y="4"/>
                </a:lnTo>
                <a:lnTo>
                  <a:pt x="1" y="6"/>
                </a:lnTo>
                <a:lnTo>
                  <a:pt x="1" y="9"/>
                </a:lnTo>
                <a:lnTo>
                  <a:pt x="6" y="11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63" name="Freeform 1391"/>
          <p:cNvSpPr>
            <a:spLocks/>
          </p:cNvSpPr>
          <p:nvPr/>
        </p:nvSpPr>
        <p:spPr bwMode="auto">
          <a:xfrm>
            <a:off x="3893209" y="3740782"/>
            <a:ext cx="7795" cy="4295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0" y="0"/>
              </a:cxn>
              <a:cxn ang="0">
                <a:pos x="0" y="2"/>
              </a:cxn>
              <a:cxn ang="0">
                <a:pos x="1" y="3"/>
              </a:cxn>
              <a:cxn ang="0">
                <a:pos x="3" y="2"/>
              </a:cxn>
              <a:cxn ang="0">
                <a:pos x="1" y="0"/>
              </a:cxn>
            </a:cxnLst>
            <a:rect l="0" t="0" r="r" b="b"/>
            <a:pathLst>
              <a:path w="3" h="3">
                <a:moveTo>
                  <a:pt x="1" y="0"/>
                </a:moveTo>
                <a:lnTo>
                  <a:pt x="0" y="0"/>
                </a:lnTo>
                <a:lnTo>
                  <a:pt x="0" y="2"/>
                </a:lnTo>
                <a:lnTo>
                  <a:pt x="1" y="3"/>
                </a:lnTo>
                <a:lnTo>
                  <a:pt x="3" y="2"/>
                </a:lnTo>
                <a:lnTo>
                  <a:pt x="1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64" name="Freeform 1392"/>
          <p:cNvSpPr>
            <a:spLocks/>
          </p:cNvSpPr>
          <p:nvPr/>
        </p:nvSpPr>
        <p:spPr bwMode="auto">
          <a:xfrm>
            <a:off x="3893209" y="3740782"/>
            <a:ext cx="7795" cy="4295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0" y="0"/>
              </a:cxn>
              <a:cxn ang="0">
                <a:pos x="0" y="2"/>
              </a:cxn>
              <a:cxn ang="0">
                <a:pos x="1" y="3"/>
              </a:cxn>
              <a:cxn ang="0">
                <a:pos x="3" y="2"/>
              </a:cxn>
              <a:cxn ang="0">
                <a:pos x="1" y="0"/>
              </a:cxn>
            </a:cxnLst>
            <a:rect l="0" t="0" r="r" b="b"/>
            <a:pathLst>
              <a:path w="3" h="3">
                <a:moveTo>
                  <a:pt x="1" y="0"/>
                </a:moveTo>
                <a:lnTo>
                  <a:pt x="0" y="0"/>
                </a:lnTo>
                <a:lnTo>
                  <a:pt x="0" y="2"/>
                </a:lnTo>
                <a:lnTo>
                  <a:pt x="1" y="3"/>
                </a:lnTo>
                <a:lnTo>
                  <a:pt x="3" y="2"/>
                </a:lnTo>
                <a:lnTo>
                  <a:pt x="1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65" name="Freeform 1393"/>
          <p:cNvSpPr>
            <a:spLocks/>
          </p:cNvSpPr>
          <p:nvPr/>
        </p:nvSpPr>
        <p:spPr bwMode="auto">
          <a:xfrm>
            <a:off x="3914645" y="3818095"/>
            <a:ext cx="9745" cy="1932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2"/>
              </a:cxn>
              <a:cxn ang="0">
                <a:pos x="2" y="3"/>
              </a:cxn>
              <a:cxn ang="0">
                <a:pos x="5" y="8"/>
              </a:cxn>
              <a:cxn ang="0">
                <a:pos x="4" y="8"/>
              </a:cxn>
              <a:cxn ang="0">
                <a:pos x="2" y="10"/>
              </a:cxn>
              <a:cxn ang="0">
                <a:pos x="1" y="8"/>
              </a:cxn>
              <a:cxn ang="0">
                <a:pos x="0" y="3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5" h="10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5" y="8"/>
                </a:lnTo>
                <a:lnTo>
                  <a:pt x="4" y="8"/>
                </a:lnTo>
                <a:lnTo>
                  <a:pt x="2" y="10"/>
                </a:lnTo>
                <a:lnTo>
                  <a:pt x="1" y="8"/>
                </a:lnTo>
                <a:lnTo>
                  <a:pt x="0" y="3"/>
                </a:ln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66" name="Freeform 1394"/>
          <p:cNvSpPr>
            <a:spLocks/>
          </p:cNvSpPr>
          <p:nvPr/>
        </p:nvSpPr>
        <p:spPr bwMode="auto">
          <a:xfrm>
            <a:off x="3914645" y="3818095"/>
            <a:ext cx="9745" cy="1932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2"/>
              </a:cxn>
              <a:cxn ang="0">
                <a:pos x="2" y="3"/>
              </a:cxn>
              <a:cxn ang="0">
                <a:pos x="5" y="8"/>
              </a:cxn>
              <a:cxn ang="0">
                <a:pos x="4" y="8"/>
              </a:cxn>
              <a:cxn ang="0">
                <a:pos x="2" y="10"/>
              </a:cxn>
              <a:cxn ang="0">
                <a:pos x="1" y="8"/>
              </a:cxn>
              <a:cxn ang="0">
                <a:pos x="0" y="3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5" h="10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5" y="8"/>
                </a:lnTo>
                <a:lnTo>
                  <a:pt x="4" y="8"/>
                </a:lnTo>
                <a:lnTo>
                  <a:pt x="2" y="10"/>
                </a:lnTo>
                <a:lnTo>
                  <a:pt x="1" y="8"/>
                </a:lnTo>
                <a:lnTo>
                  <a:pt x="0" y="3"/>
                </a:lnTo>
                <a:lnTo>
                  <a:pt x="0" y="2"/>
                </a:lnTo>
                <a:lnTo>
                  <a:pt x="0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67" name="Freeform 1395"/>
          <p:cNvSpPr>
            <a:spLocks/>
          </p:cNvSpPr>
          <p:nvPr/>
        </p:nvSpPr>
        <p:spPr bwMode="auto">
          <a:xfrm>
            <a:off x="3823053" y="3951248"/>
            <a:ext cx="17539" cy="8591"/>
          </a:xfrm>
          <a:custGeom>
            <a:avLst/>
            <a:gdLst/>
            <a:ahLst/>
            <a:cxnLst>
              <a:cxn ang="0">
                <a:pos x="6" y="0"/>
              </a:cxn>
              <a:cxn ang="0">
                <a:pos x="8" y="0"/>
              </a:cxn>
              <a:cxn ang="0">
                <a:pos x="8" y="3"/>
              </a:cxn>
              <a:cxn ang="0">
                <a:pos x="5" y="4"/>
              </a:cxn>
              <a:cxn ang="0">
                <a:pos x="4" y="4"/>
              </a:cxn>
              <a:cxn ang="0">
                <a:pos x="3" y="3"/>
              </a:cxn>
              <a:cxn ang="0">
                <a:pos x="0" y="3"/>
              </a:cxn>
              <a:cxn ang="0">
                <a:pos x="0" y="1"/>
              </a:cxn>
              <a:cxn ang="0">
                <a:pos x="1" y="0"/>
              </a:cxn>
              <a:cxn ang="0">
                <a:pos x="3" y="0"/>
              </a:cxn>
              <a:cxn ang="0">
                <a:pos x="4" y="1"/>
              </a:cxn>
              <a:cxn ang="0">
                <a:pos x="6" y="0"/>
              </a:cxn>
            </a:cxnLst>
            <a:rect l="0" t="0" r="r" b="b"/>
            <a:pathLst>
              <a:path w="8" h="4">
                <a:moveTo>
                  <a:pt x="6" y="0"/>
                </a:moveTo>
                <a:lnTo>
                  <a:pt x="8" y="0"/>
                </a:lnTo>
                <a:lnTo>
                  <a:pt x="8" y="3"/>
                </a:lnTo>
                <a:lnTo>
                  <a:pt x="5" y="4"/>
                </a:lnTo>
                <a:lnTo>
                  <a:pt x="4" y="4"/>
                </a:lnTo>
                <a:lnTo>
                  <a:pt x="3" y="3"/>
                </a:lnTo>
                <a:lnTo>
                  <a:pt x="0" y="3"/>
                </a:lnTo>
                <a:lnTo>
                  <a:pt x="0" y="1"/>
                </a:lnTo>
                <a:lnTo>
                  <a:pt x="1" y="0"/>
                </a:lnTo>
                <a:lnTo>
                  <a:pt x="3" y="0"/>
                </a:lnTo>
                <a:lnTo>
                  <a:pt x="4" y="1"/>
                </a:lnTo>
                <a:lnTo>
                  <a:pt x="6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68" name="Freeform 1396"/>
          <p:cNvSpPr>
            <a:spLocks/>
          </p:cNvSpPr>
          <p:nvPr/>
        </p:nvSpPr>
        <p:spPr bwMode="auto">
          <a:xfrm>
            <a:off x="3823053" y="3951248"/>
            <a:ext cx="17539" cy="8591"/>
          </a:xfrm>
          <a:custGeom>
            <a:avLst/>
            <a:gdLst/>
            <a:ahLst/>
            <a:cxnLst>
              <a:cxn ang="0">
                <a:pos x="6" y="0"/>
              </a:cxn>
              <a:cxn ang="0">
                <a:pos x="8" y="0"/>
              </a:cxn>
              <a:cxn ang="0">
                <a:pos x="8" y="3"/>
              </a:cxn>
              <a:cxn ang="0">
                <a:pos x="5" y="4"/>
              </a:cxn>
              <a:cxn ang="0">
                <a:pos x="4" y="4"/>
              </a:cxn>
              <a:cxn ang="0">
                <a:pos x="3" y="3"/>
              </a:cxn>
              <a:cxn ang="0">
                <a:pos x="0" y="3"/>
              </a:cxn>
              <a:cxn ang="0">
                <a:pos x="0" y="1"/>
              </a:cxn>
              <a:cxn ang="0">
                <a:pos x="1" y="0"/>
              </a:cxn>
              <a:cxn ang="0">
                <a:pos x="3" y="0"/>
              </a:cxn>
              <a:cxn ang="0">
                <a:pos x="4" y="1"/>
              </a:cxn>
              <a:cxn ang="0">
                <a:pos x="6" y="0"/>
              </a:cxn>
            </a:cxnLst>
            <a:rect l="0" t="0" r="r" b="b"/>
            <a:pathLst>
              <a:path w="8" h="4">
                <a:moveTo>
                  <a:pt x="6" y="0"/>
                </a:moveTo>
                <a:lnTo>
                  <a:pt x="8" y="0"/>
                </a:lnTo>
                <a:lnTo>
                  <a:pt x="8" y="3"/>
                </a:lnTo>
                <a:lnTo>
                  <a:pt x="5" y="4"/>
                </a:lnTo>
                <a:lnTo>
                  <a:pt x="4" y="4"/>
                </a:lnTo>
                <a:lnTo>
                  <a:pt x="3" y="3"/>
                </a:lnTo>
                <a:lnTo>
                  <a:pt x="0" y="3"/>
                </a:lnTo>
                <a:lnTo>
                  <a:pt x="0" y="1"/>
                </a:lnTo>
                <a:lnTo>
                  <a:pt x="1" y="0"/>
                </a:lnTo>
                <a:lnTo>
                  <a:pt x="3" y="0"/>
                </a:lnTo>
                <a:lnTo>
                  <a:pt x="4" y="1"/>
                </a:lnTo>
                <a:lnTo>
                  <a:pt x="6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69" name="Freeform 1397"/>
          <p:cNvSpPr>
            <a:spLocks/>
          </p:cNvSpPr>
          <p:nvPr/>
        </p:nvSpPr>
        <p:spPr bwMode="auto">
          <a:xfrm>
            <a:off x="6528006" y="4198222"/>
            <a:ext cx="152008" cy="197580"/>
          </a:xfrm>
          <a:custGeom>
            <a:avLst/>
            <a:gdLst/>
            <a:ahLst/>
            <a:cxnLst>
              <a:cxn ang="0">
                <a:pos x="63" y="0"/>
              </a:cxn>
              <a:cxn ang="0">
                <a:pos x="57" y="6"/>
              </a:cxn>
              <a:cxn ang="0">
                <a:pos x="48" y="6"/>
              </a:cxn>
              <a:cxn ang="0">
                <a:pos x="40" y="8"/>
              </a:cxn>
              <a:cxn ang="0">
                <a:pos x="33" y="6"/>
              </a:cxn>
              <a:cxn ang="0">
                <a:pos x="28" y="8"/>
              </a:cxn>
              <a:cxn ang="0">
                <a:pos x="20" y="8"/>
              </a:cxn>
              <a:cxn ang="0">
                <a:pos x="18" y="11"/>
              </a:cxn>
              <a:cxn ang="0">
                <a:pos x="17" y="19"/>
              </a:cxn>
              <a:cxn ang="0">
                <a:pos x="18" y="30"/>
              </a:cxn>
              <a:cxn ang="0">
                <a:pos x="22" y="33"/>
              </a:cxn>
              <a:cxn ang="0">
                <a:pos x="24" y="36"/>
              </a:cxn>
              <a:cxn ang="0">
                <a:pos x="20" y="42"/>
              </a:cxn>
              <a:cxn ang="0">
                <a:pos x="16" y="45"/>
              </a:cxn>
              <a:cxn ang="0">
                <a:pos x="14" y="50"/>
              </a:cxn>
              <a:cxn ang="0">
                <a:pos x="9" y="56"/>
              </a:cxn>
              <a:cxn ang="0">
                <a:pos x="5" y="63"/>
              </a:cxn>
              <a:cxn ang="0">
                <a:pos x="1" y="75"/>
              </a:cxn>
              <a:cxn ang="0">
                <a:pos x="0" y="89"/>
              </a:cxn>
              <a:cxn ang="0">
                <a:pos x="1" y="97"/>
              </a:cxn>
              <a:cxn ang="0">
                <a:pos x="5" y="97"/>
              </a:cxn>
              <a:cxn ang="0">
                <a:pos x="8" y="92"/>
              </a:cxn>
              <a:cxn ang="0">
                <a:pos x="12" y="91"/>
              </a:cxn>
              <a:cxn ang="0">
                <a:pos x="20" y="91"/>
              </a:cxn>
              <a:cxn ang="0">
                <a:pos x="30" y="89"/>
              </a:cxn>
              <a:cxn ang="0">
                <a:pos x="33" y="78"/>
              </a:cxn>
              <a:cxn ang="0">
                <a:pos x="37" y="75"/>
              </a:cxn>
              <a:cxn ang="0">
                <a:pos x="41" y="72"/>
              </a:cxn>
              <a:cxn ang="0">
                <a:pos x="44" y="72"/>
              </a:cxn>
              <a:cxn ang="0">
                <a:pos x="45" y="70"/>
              </a:cxn>
              <a:cxn ang="0">
                <a:pos x="50" y="72"/>
              </a:cxn>
              <a:cxn ang="0">
                <a:pos x="56" y="69"/>
              </a:cxn>
              <a:cxn ang="0">
                <a:pos x="61" y="69"/>
              </a:cxn>
              <a:cxn ang="0">
                <a:pos x="65" y="69"/>
              </a:cxn>
              <a:cxn ang="0">
                <a:pos x="71" y="59"/>
              </a:cxn>
              <a:cxn ang="0">
                <a:pos x="77" y="50"/>
              </a:cxn>
              <a:cxn ang="0">
                <a:pos x="79" y="42"/>
              </a:cxn>
              <a:cxn ang="0">
                <a:pos x="79" y="33"/>
              </a:cxn>
              <a:cxn ang="0">
                <a:pos x="78" y="25"/>
              </a:cxn>
              <a:cxn ang="0">
                <a:pos x="75" y="20"/>
              </a:cxn>
              <a:cxn ang="0">
                <a:pos x="73" y="19"/>
              </a:cxn>
              <a:cxn ang="0">
                <a:pos x="70" y="8"/>
              </a:cxn>
              <a:cxn ang="0">
                <a:pos x="69" y="3"/>
              </a:cxn>
              <a:cxn ang="0">
                <a:pos x="63" y="1"/>
              </a:cxn>
            </a:cxnLst>
            <a:rect l="0" t="0" r="r" b="b"/>
            <a:pathLst>
              <a:path w="79" h="99">
                <a:moveTo>
                  <a:pt x="63" y="1"/>
                </a:moveTo>
                <a:lnTo>
                  <a:pt x="63" y="0"/>
                </a:lnTo>
                <a:lnTo>
                  <a:pt x="63" y="1"/>
                </a:lnTo>
                <a:lnTo>
                  <a:pt x="57" y="6"/>
                </a:lnTo>
                <a:lnTo>
                  <a:pt x="52" y="6"/>
                </a:lnTo>
                <a:lnTo>
                  <a:pt x="48" y="6"/>
                </a:lnTo>
                <a:lnTo>
                  <a:pt x="44" y="8"/>
                </a:lnTo>
                <a:lnTo>
                  <a:pt x="40" y="8"/>
                </a:lnTo>
                <a:lnTo>
                  <a:pt x="34" y="9"/>
                </a:lnTo>
                <a:lnTo>
                  <a:pt x="33" y="6"/>
                </a:lnTo>
                <a:lnTo>
                  <a:pt x="30" y="8"/>
                </a:lnTo>
                <a:lnTo>
                  <a:pt x="28" y="8"/>
                </a:lnTo>
                <a:lnTo>
                  <a:pt x="24" y="6"/>
                </a:lnTo>
                <a:lnTo>
                  <a:pt x="20" y="8"/>
                </a:lnTo>
                <a:lnTo>
                  <a:pt x="18" y="9"/>
                </a:lnTo>
                <a:lnTo>
                  <a:pt x="18" y="11"/>
                </a:lnTo>
                <a:lnTo>
                  <a:pt x="17" y="12"/>
                </a:lnTo>
                <a:lnTo>
                  <a:pt x="17" y="19"/>
                </a:lnTo>
                <a:lnTo>
                  <a:pt x="17" y="26"/>
                </a:lnTo>
                <a:lnTo>
                  <a:pt x="18" y="30"/>
                </a:lnTo>
                <a:lnTo>
                  <a:pt x="21" y="31"/>
                </a:lnTo>
                <a:lnTo>
                  <a:pt x="22" y="33"/>
                </a:lnTo>
                <a:lnTo>
                  <a:pt x="24" y="34"/>
                </a:lnTo>
                <a:lnTo>
                  <a:pt x="24" y="36"/>
                </a:lnTo>
                <a:lnTo>
                  <a:pt x="22" y="39"/>
                </a:lnTo>
                <a:lnTo>
                  <a:pt x="20" y="42"/>
                </a:lnTo>
                <a:lnTo>
                  <a:pt x="18" y="44"/>
                </a:lnTo>
                <a:lnTo>
                  <a:pt x="16" y="45"/>
                </a:lnTo>
                <a:lnTo>
                  <a:pt x="14" y="48"/>
                </a:lnTo>
                <a:lnTo>
                  <a:pt x="14" y="50"/>
                </a:lnTo>
                <a:lnTo>
                  <a:pt x="12" y="52"/>
                </a:lnTo>
                <a:lnTo>
                  <a:pt x="9" y="56"/>
                </a:lnTo>
                <a:lnTo>
                  <a:pt x="6" y="61"/>
                </a:lnTo>
                <a:lnTo>
                  <a:pt x="5" y="63"/>
                </a:lnTo>
                <a:lnTo>
                  <a:pt x="4" y="66"/>
                </a:lnTo>
                <a:lnTo>
                  <a:pt x="1" y="75"/>
                </a:lnTo>
                <a:lnTo>
                  <a:pt x="1" y="80"/>
                </a:lnTo>
                <a:lnTo>
                  <a:pt x="0" y="89"/>
                </a:lnTo>
                <a:lnTo>
                  <a:pt x="0" y="97"/>
                </a:lnTo>
                <a:lnTo>
                  <a:pt x="1" y="97"/>
                </a:lnTo>
                <a:lnTo>
                  <a:pt x="4" y="99"/>
                </a:lnTo>
                <a:lnTo>
                  <a:pt x="5" y="97"/>
                </a:lnTo>
                <a:lnTo>
                  <a:pt x="8" y="94"/>
                </a:lnTo>
                <a:lnTo>
                  <a:pt x="8" y="92"/>
                </a:lnTo>
                <a:lnTo>
                  <a:pt x="10" y="92"/>
                </a:lnTo>
                <a:lnTo>
                  <a:pt x="12" y="91"/>
                </a:lnTo>
                <a:lnTo>
                  <a:pt x="17" y="92"/>
                </a:lnTo>
                <a:lnTo>
                  <a:pt x="20" y="91"/>
                </a:lnTo>
                <a:lnTo>
                  <a:pt x="32" y="91"/>
                </a:lnTo>
                <a:lnTo>
                  <a:pt x="30" y="89"/>
                </a:lnTo>
                <a:lnTo>
                  <a:pt x="34" y="80"/>
                </a:lnTo>
                <a:lnTo>
                  <a:pt x="33" y="78"/>
                </a:lnTo>
                <a:lnTo>
                  <a:pt x="33" y="77"/>
                </a:lnTo>
                <a:lnTo>
                  <a:pt x="37" y="75"/>
                </a:lnTo>
                <a:lnTo>
                  <a:pt x="40" y="74"/>
                </a:lnTo>
                <a:lnTo>
                  <a:pt x="41" y="72"/>
                </a:lnTo>
                <a:lnTo>
                  <a:pt x="42" y="72"/>
                </a:lnTo>
                <a:lnTo>
                  <a:pt x="44" y="72"/>
                </a:lnTo>
                <a:lnTo>
                  <a:pt x="44" y="70"/>
                </a:lnTo>
                <a:lnTo>
                  <a:pt x="45" y="70"/>
                </a:lnTo>
                <a:lnTo>
                  <a:pt x="48" y="72"/>
                </a:lnTo>
                <a:lnTo>
                  <a:pt x="50" y="72"/>
                </a:lnTo>
                <a:lnTo>
                  <a:pt x="54" y="67"/>
                </a:lnTo>
                <a:lnTo>
                  <a:pt x="56" y="69"/>
                </a:lnTo>
                <a:lnTo>
                  <a:pt x="59" y="70"/>
                </a:lnTo>
                <a:lnTo>
                  <a:pt x="61" y="69"/>
                </a:lnTo>
                <a:lnTo>
                  <a:pt x="63" y="70"/>
                </a:lnTo>
                <a:lnTo>
                  <a:pt x="65" y="69"/>
                </a:lnTo>
                <a:lnTo>
                  <a:pt x="66" y="67"/>
                </a:lnTo>
                <a:lnTo>
                  <a:pt x="71" y="59"/>
                </a:lnTo>
                <a:lnTo>
                  <a:pt x="74" y="55"/>
                </a:lnTo>
                <a:lnTo>
                  <a:pt x="77" y="50"/>
                </a:lnTo>
                <a:lnTo>
                  <a:pt x="78" y="47"/>
                </a:lnTo>
                <a:lnTo>
                  <a:pt x="79" y="42"/>
                </a:lnTo>
                <a:lnTo>
                  <a:pt x="79" y="36"/>
                </a:lnTo>
                <a:lnTo>
                  <a:pt x="79" y="33"/>
                </a:lnTo>
                <a:lnTo>
                  <a:pt x="79" y="26"/>
                </a:lnTo>
                <a:lnTo>
                  <a:pt x="78" y="25"/>
                </a:lnTo>
                <a:lnTo>
                  <a:pt x="77" y="22"/>
                </a:lnTo>
                <a:lnTo>
                  <a:pt x="75" y="20"/>
                </a:lnTo>
                <a:lnTo>
                  <a:pt x="73" y="20"/>
                </a:lnTo>
                <a:lnTo>
                  <a:pt x="73" y="19"/>
                </a:lnTo>
                <a:lnTo>
                  <a:pt x="71" y="15"/>
                </a:lnTo>
                <a:lnTo>
                  <a:pt x="70" y="8"/>
                </a:lnTo>
                <a:lnTo>
                  <a:pt x="69" y="6"/>
                </a:lnTo>
                <a:lnTo>
                  <a:pt x="69" y="3"/>
                </a:lnTo>
                <a:lnTo>
                  <a:pt x="65" y="1"/>
                </a:lnTo>
                <a:lnTo>
                  <a:pt x="63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70" name="Freeform 1398"/>
          <p:cNvSpPr>
            <a:spLocks/>
          </p:cNvSpPr>
          <p:nvPr/>
        </p:nvSpPr>
        <p:spPr bwMode="auto">
          <a:xfrm>
            <a:off x="6528006" y="4198222"/>
            <a:ext cx="152008" cy="197580"/>
          </a:xfrm>
          <a:custGeom>
            <a:avLst/>
            <a:gdLst/>
            <a:ahLst/>
            <a:cxnLst>
              <a:cxn ang="0">
                <a:pos x="63" y="0"/>
              </a:cxn>
              <a:cxn ang="0">
                <a:pos x="57" y="6"/>
              </a:cxn>
              <a:cxn ang="0">
                <a:pos x="48" y="6"/>
              </a:cxn>
              <a:cxn ang="0">
                <a:pos x="40" y="8"/>
              </a:cxn>
              <a:cxn ang="0">
                <a:pos x="33" y="6"/>
              </a:cxn>
              <a:cxn ang="0">
                <a:pos x="28" y="8"/>
              </a:cxn>
              <a:cxn ang="0">
                <a:pos x="20" y="8"/>
              </a:cxn>
              <a:cxn ang="0">
                <a:pos x="18" y="11"/>
              </a:cxn>
              <a:cxn ang="0">
                <a:pos x="17" y="19"/>
              </a:cxn>
              <a:cxn ang="0">
                <a:pos x="18" y="30"/>
              </a:cxn>
              <a:cxn ang="0">
                <a:pos x="22" y="33"/>
              </a:cxn>
              <a:cxn ang="0">
                <a:pos x="24" y="36"/>
              </a:cxn>
              <a:cxn ang="0">
                <a:pos x="20" y="42"/>
              </a:cxn>
              <a:cxn ang="0">
                <a:pos x="16" y="45"/>
              </a:cxn>
              <a:cxn ang="0">
                <a:pos x="14" y="50"/>
              </a:cxn>
              <a:cxn ang="0">
                <a:pos x="9" y="56"/>
              </a:cxn>
              <a:cxn ang="0">
                <a:pos x="5" y="63"/>
              </a:cxn>
              <a:cxn ang="0">
                <a:pos x="1" y="75"/>
              </a:cxn>
              <a:cxn ang="0">
                <a:pos x="0" y="89"/>
              </a:cxn>
              <a:cxn ang="0">
                <a:pos x="1" y="97"/>
              </a:cxn>
              <a:cxn ang="0">
                <a:pos x="5" y="97"/>
              </a:cxn>
              <a:cxn ang="0">
                <a:pos x="8" y="92"/>
              </a:cxn>
              <a:cxn ang="0">
                <a:pos x="12" y="91"/>
              </a:cxn>
              <a:cxn ang="0">
                <a:pos x="20" y="91"/>
              </a:cxn>
              <a:cxn ang="0">
                <a:pos x="30" y="89"/>
              </a:cxn>
              <a:cxn ang="0">
                <a:pos x="33" y="78"/>
              </a:cxn>
              <a:cxn ang="0">
                <a:pos x="37" y="75"/>
              </a:cxn>
              <a:cxn ang="0">
                <a:pos x="41" y="72"/>
              </a:cxn>
              <a:cxn ang="0">
                <a:pos x="44" y="72"/>
              </a:cxn>
              <a:cxn ang="0">
                <a:pos x="45" y="70"/>
              </a:cxn>
              <a:cxn ang="0">
                <a:pos x="50" y="72"/>
              </a:cxn>
              <a:cxn ang="0">
                <a:pos x="56" y="69"/>
              </a:cxn>
              <a:cxn ang="0">
                <a:pos x="61" y="69"/>
              </a:cxn>
              <a:cxn ang="0">
                <a:pos x="65" y="69"/>
              </a:cxn>
              <a:cxn ang="0">
                <a:pos x="71" y="59"/>
              </a:cxn>
              <a:cxn ang="0">
                <a:pos x="77" y="50"/>
              </a:cxn>
              <a:cxn ang="0">
                <a:pos x="79" y="42"/>
              </a:cxn>
              <a:cxn ang="0">
                <a:pos x="79" y="33"/>
              </a:cxn>
              <a:cxn ang="0">
                <a:pos x="78" y="25"/>
              </a:cxn>
              <a:cxn ang="0">
                <a:pos x="75" y="20"/>
              </a:cxn>
              <a:cxn ang="0">
                <a:pos x="73" y="19"/>
              </a:cxn>
              <a:cxn ang="0">
                <a:pos x="70" y="8"/>
              </a:cxn>
              <a:cxn ang="0">
                <a:pos x="69" y="3"/>
              </a:cxn>
              <a:cxn ang="0">
                <a:pos x="63" y="1"/>
              </a:cxn>
            </a:cxnLst>
            <a:rect l="0" t="0" r="r" b="b"/>
            <a:pathLst>
              <a:path w="79" h="99">
                <a:moveTo>
                  <a:pt x="63" y="1"/>
                </a:moveTo>
                <a:lnTo>
                  <a:pt x="63" y="0"/>
                </a:lnTo>
                <a:lnTo>
                  <a:pt x="63" y="1"/>
                </a:lnTo>
                <a:lnTo>
                  <a:pt x="57" y="6"/>
                </a:lnTo>
                <a:lnTo>
                  <a:pt x="52" y="6"/>
                </a:lnTo>
                <a:lnTo>
                  <a:pt x="48" y="6"/>
                </a:lnTo>
                <a:lnTo>
                  <a:pt x="44" y="8"/>
                </a:lnTo>
                <a:lnTo>
                  <a:pt x="40" y="8"/>
                </a:lnTo>
                <a:lnTo>
                  <a:pt x="34" y="9"/>
                </a:lnTo>
                <a:lnTo>
                  <a:pt x="33" y="6"/>
                </a:lnTo>
                <a:lnTo>
                  <a:pt x="30" y="8"/>
                </a:lnTo>
                <a:lnTo>
                  <a:pt x="28" y="8"/>
                </a:lnTo>
                <a:lnTo>
                  <a:pt x="24" y="6"/>
                </a:lnTo>
                <a:lnTo>
                  <a:pt x="20" y="8"/>
                </a:lnTo>
                <a:lnTo>
                  <a:pt x="18" y="9"/>
                </a:lnTo>
                <a:lnTo>
                  <a:pt x="18" y="11"/>
                </a:lnTo>
                <a:lnTo>
                  <a:pt x="17" y="12"/>
                </a:lnTo>
                <a:lnTo>
                  <a:pt x="17" y="19"/>
                </a:lnTo>
                <a:lnTo>
                  <a:pt x="17" y="26"/>
                </a:lnTo>
                <a:lnTo>
                  <a:pt x="18" y="30"/>
                </a:lnTo>
                <a:lnTo>
                  <a:pt x="21" y="31"/>
                </a:lnTo>
                <a:lnTo>
                  <a:pt x="22" y="33"/>
                </a:lnTo>
                <a:lnTo>
                  <a:pt x="24" y="34"/>
                </a:lnTo>
                <a:lnTo>
                  <a:pt x="24" y="36"/>
                </a:lnTo>
                <a:lnTo>
                  <a:pt x="22" y="39"/>
                </a:lnTo>
                <a:lnTo>
                  <a:pt x="20" y="42"/>
                </a:lnTo>
                <a:lnTo>
                  <a:pt x="18" y="44"/>
                </a:lnTo>
                <a:lnTo>
                  <a:pt x="16" y="45"/>
                </a:lnTo>
                <a:lnTo>
                  <a:pt x="14" y="48"/>
                </a:lnTo>
                <a:lnTo>
                  <a:pt x="14" y="50"/>
                </a:lnTo>
                <a:lnTo>
                  <a:pt x="12" y="52"/>
                </a:lnTo>
                <a:lnTo>
                  <a:pt x="9" y="56"/>
                </a:lnTo>
                <a:lnTo>
                  <a:pt x="6" y="61"/>
                </a:lnTo>
                <a:lnTo>
                  <a:pt x="5" y="63"/>
                </a:lnTo>
                <a:lnTo>
                  <a:pt x="4" y="66"/>
                </a:lnTo>
                <a:lnTo>
                  <a:pt x="1" y="75"/>
                </a:lnTo>
                <a:lnTo>
                  <a:pt x="1" y="80"/>
                </a:lnTo>
                <a:lnTo>
                  <a:pt x="0" y="89"/>
                </a:lnTo>
                <a:lnTo>
                  <a:pt x="0" y="97"/>
                </a:lnTo>
                <a:lnTo>
                  <a:pt x="1" y="97"/>
                </a:lnTo>
                <a:lnTo>
                  <a:pt x="4" y="99"/>
                </a:lnTo>
                <a:lnTo>
                  <a:pt x="5" y="97"/>
                </a:lnTo>
                <a:lnTo>
                  <a:pt x="8" y="94"/>
                </a:lnTo>
                <a:lnTo>
                  <a:pt x="8" y="92"/>
                </a:lnTo>
                <a:lnTo>
                  <a:pt x="10" y="92"/>
                </a:lnTo>
                <a:lnTo>
                  <a:pt x="12" y="91"/>
                </a:lnTo>
                <a:lnTo>
                  <a:pt x="17" y="92"/>
                </a:lnTo>
                <a:lnTo>
                  <a:pt x="20" y="91"/>
                </a:lnTo>
                <a:lnTo>
                  <a:pt x="32" y="91"/>
                </a:lnTo>
                <a:lnTo>
                  <a:pt x="30" y="89"/>
                </a:lnTo>
                <a:lnTo>
                  <a:pt x="34" y="80"/>
                </a:lnTo>
                <a:lnTo>
                  <a:pt x="33" y="78"/>
                </a:lnTo>
                <a:lnTo>
                  <a:pt x="33" y="77"/>
                </a:lnTo>
                <a:lnTo>
                  <a:pt x="37" y="75"/>
                </a:lnTo>
                <a:lnTo>
                  <a:pt x="40" y="74"/>
                </a:lnTo>
                <a:lnTo>
                  <a:pt x="41" y="72"/>
                </a:lnTo>
                <a:lnTo>
                  <a:pt x="42" y="72"/>
                </a:lnTo>
                <a:lnTo>
                  <a:pt x="44" y="72"/>
                </a:lnTo>
                <a:lnTo>
                  <a:pt x="44" y="70"/>
                </a:lnTo>
                <a:lnTo>
                  <a:pt x="45" y="70"/>
                </a:lnTo>
                <a:lnTo>
                  <a:pt x="48" y="72"/>
                </a:lnTo>
                <a:lnTo>
                  <a:pt x="50" y="72"/>
                </a:lnTo>
                <a:lnTo>
                  <a:pt x="54" y="67"/>
                </a:lnTo>
                <a:lnTo>
                  <a:pt x="56" y="69"/>
                </a:lnTo>
                <a:lnTo>
                  <a:pt x="59" y="70"/>
                </a:lnTo>
                <a:lnTo>
                  <a:pt x="61" y="69"/>
                </a:lnTo>
                <a:lnTo>
                  <a:pt x="63" y="70"/>
                </a:lnTo>
                <a:lnTo>
                  <a:pt x="65" y="69"/>
                </a:lnTo>
                <a:lnTo>
                  <a:pt x="66" y="67"/>
                </a:lnTo>
                <a:lnTo>
                  <a:pt x="71" y="59"/>
                </a:lnTo>
                <a:lnTo>
                  <a:pt x="74" y="55"/>
                </a:lnTo>
                <a:lnTo>
                  <a:pt x="77" y="50"/>
                </a:lnTo>
                <a:lnTo>
                  <a:pt x="78" y="47"/>
                </a:lnTo>
                <a:lnTo>
                  <a:pt x="79" y="42"/>
                </a:lnTo>
                <a:lnTo>
                  <a:pt x="79" y="36"/>
                </a:lnTo>
                <a:lnTo>
                  <a:pt x="79" y="33"/>
                </a:lnTo>
                <a:lnTo>
                  <a:pt x="79" y="26"/>
                </a:lnTo>
                <a:lnTo>
                  <a:pt x="78" y="25"/>
                </a:lnTo>
                <a:lnTo>
                  <a:pt x="77" y="22"/>
                </a:lnTo>
                <a:lnTo>
                  <a:pt x="75" y="20"/>
                </a:lnTo>
                <a:lnTo>
                  <a:pt x="73" y="20"/>
                </a:lnTo>
                <a:lnTo>
                  <a:pt x="73" y="19"/>
                </a:lnTo>
                <a:lnTo>
                  <a:pt x="71" y="15"/>
                </a:lnTo>
                <a:lnTo>
                  <a:pt x="70" y="8"/>
                </a:lnTo>
                <a:lnTo>
                  <a:pt x="69" y="6"/>
                </a:lnTo>
                <a:lnTo>
                  <a:pt x="69" y="3"/>
                </a:lnTo>
                <a:lnTo>
                  <a:pt x="65" y="1"/>
                </a:lnTo>
                <a:lnTo>
                  <a:pt x="63" y="1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71" name="Freeform 1399"/>
          <p:cNvSpPr>
            <a:spLocks/>
          </p:cNvSpPr>
          <p:nvPr/>
        </p:nvSpPr>
        <p:spPr bwMode="auto">
          <a:xfrm>
            <a:off x="6559187" y="5250550"/>
            <a:ext cx="35079" cy="51542"/>
          </a:xfrm>
          <a:custGeom>
            <a:avLst/>
            <a:gdLst/>
            <a:ahLst/>
            <a:cxnLst>
              <a:cxn ang="0">
                <a:pos x="18" y="18"/>
              </a:cxn>
              <a:cxn ang="0">
                <a:pos x="18" y="9"/>
              </a:cxn>
              <a:cxn ang="0">
                <a:pos x="18" y="4"/>
              </a:cxn>
              <a:cxn ang="0">
                <a:pos x="18" y="1"/>
              </a:cxn>
              <a:cxn ang="0">
                <a:pos x="16" y="4"/>
              </a:cxn>
              <a:cxn ang="0">
                <a:pos x="9" y="0"/>
              </a:cxn>
              <a:cxn ang="0">
                <a:pos x="5" y="3"/>
              </a:cxn>
              <a:cxn ang="0">
                <a:pos x="4" y="6"/>
              </a:cxn>
              <a:cxn ang="0">
                <a:pos x="1" y="11"/>
              </a:cxn>
              <a:cxn ang="0">
                <a:pos x="0" y="15"/>
              </a:cxn>
              <a:cxn ang="0">
                <a:pos x="1" y="18"/>
              </a:cxn>
              <a:cxn ang="0">
                <a:pos x="4" y="25"/>
              </a:cxn>
              <a:cxn ang="0">
                <a:pos x="10" y="26"/>
              </a:cxn>
              <a:cxn ang="0">
                <a:pos x="13" y="26"/>
              </a:cxn>
              <a:cxn ang="0">
                <a:pos x="16" y="23"/>
              </a:cxn>
              <a:cxn ang="0">
                <a:pos x="17" y="18"/>
              </a:cxn>
              <a:cxn ang="0">
                <a:pos x="18" y="18"/>
              </a:cxn>
            </a:cxnLst>
            <a:rect l="0" t="0" r="r" b="b"/>
            <a:pathLst>
              <a:path w="18" h="26">
                <a:moveTo>
                  <a:pt x="18" y="18"/>
                </a:moveTo>
                <a:lnTo>
                  <a:pt x="18" y="9"/>
                </a:lnTo>
                <a:lnTo>
                  <a:pt x="18" y="4"/>
                </a:lnTo>
                <a:lnTo>
                  <a:pt x="18" y="1"/>
                </a:lnTo>
                <a:lnTo>
                  <a:pt x="16" y="4"/>
                </a:lnTo>
                <a:lnTo>
                  <a:pt x="9" y="0"/>
                </a:lnTo>
                <a:lnTo>
                  <a:pt x="5" y="3"/>
                </a:lnTo>
                <a:lnTo>
                  <a:pt x="4" y="6"/>
                </a:lnTo>
                <a:lnTo>
                  <a:pt x="1" y="11"/>
                </a:lnTo>
                <a:lnTo>
                  <a:pt x="0" y="15"/>
                </a:lnTo>
                <a:lnTo>
                  <a:pt x="1" y="18"/>
                </a:lnTo>
                <a:lnTo>
                  <a:pt x="4" y="25"/>
                </a:lnTo>
                <a:lnTo>
                  <a:pt x="10" y="26"/>
                </a:lnTo>
                <a:lnTo>
                  <a:pt x="13" y="26"/>
                </a:lnTo>
                <a:lnTo>
                  <a:pt x="16" y="23"/>
                </a:lnTo>
                <a:lnTo>
                  <a:pt x="17" y="18"/>
                </a:lnTo>
                <a:lnTo>
                  <a:pt x="18" y="18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72" name="Freeform 1400"/>
          <p:cNvSpPr>
            <a:spLocks/>
          </p:cNvSpPr>
          <p:nvPr/>
        </p:nvSpPr>
        <p:spPr bwMode="auto">
          <a:xfrm>
            <a:off x="6559187" y="5250550"/>
            <a:ext cx="35079" cy="51542"/>
          </a:xfrm>
          <a:custGeom>
            <a:avLst/>
            <a:gdLst/>
            <a:ahLst/>
            <a:cxnLst>
              <a:cxn ang="0">
                <a:pos x="18" y="18"/>
              </a:cxn>
              <a:cxn ang="0">
                <a:pos x="18" y="9"/>
              </a:cxn>
              <a:cxn ang="0">
                <a:pos x="18" y="4"/>
              </a:cxn>
              <a:cxn ang="0">
                <a:pos x="18" y="1"/>
              </a:cxn>
              <a:cxn ang="0">
                <a:pos x="16" y="4"/>
              </a:cxn>
              <a:cxn ang="0">
                <a:pos x="9" y="0"/>
              </a:cxn>
              <a:cxn ang="0">
                <a:pos x="5" y="3"/>
              </a:cxn>
              <a:cxn ang="0">
                <a:pos x="4" y="6"/>
              </a:cxn>
              <a:cxn ang="0">
                <a:pos x="1" y="11"/>
              </a:cxn>
              <a:cxn ang="0">
                <a:pos x="0" y="15"/>
              </a:cxn>
              <a:cxn ang="0">
                <a:pos x="1" y="18"/>
              </a:cxn>
              <a:cxn ang="0">
                <a:pos x="4" y="25"/>
              </a:cxn>
              <a:cxn ang="0">
                <a:pos x="10" y="26"/>
              </a:cxn>
              <a:cxn ang="0">
                <a:pos x="13" y="26"/>
              </a:cxn>
              <a:cxn ang="0">
                <a:pos x="16" y="23"/>
              </a:cxn>
              <a:cxn ang="0">
                <a:pos x="17" y="18"/>
              </a:cxn>
              <a:cxn ang="0">
                <a:pos x="18" y="18"/>
              </a:cxn>
            </a:cxnLst>
            <a:rect l="0" t="0" r="r" b="b"/>
            <a:pathLst>
              <a:path w="18" h="26">
                <a:moveTo>
                  <a:pt x="18" y="18"/>
                </a:moveTo>
                <a:lnTo>
                  <a:pt x="18" y="9"/>
                </a:lnTo>
                <a:lnTo>
                  <a:pt x="18" y="4"/>
                </a:lnTo>
                <a:lnTo>
                  <a:pt x="18" y="1"/>
                </a:lnTo>
                <a:lnTo>
                  <a:pt x="16" y="4"/>
                </a:lnTo>
                <a:lnTo>
                  <a:pt x="9" y="0"/>
                </a:lnTo>
                <a:lnTo>
                  <a:pt x="5" y="3"/>
                </a:lnTo>
                <a:lnTo>
                  <a:pt x="4" y="6"/>
                </a:lnTo>
                <a:lnTo>
                  <a:pt x="1" y="11"/>
                </a:lnTo>
                <a:lnTo>
                  <a:pt x="0" y="15"/>
                </a:lnTo>
                <a:lnTo>
                  <a:pt x="1" y="18"/>
                </a:lnTo>
                <a:lnTo>
                  <a:pt x="4" y="25"/>
                </a:lnTo>
                <a:lnTo>
                  <a:pt x="10" y="26"/>
                </a:lnTo>
                <a:lnTo>
                  <a:pt x="13" y="26"/>
                </a:lnTo>
                <a:lnTo>
                  <a:pt x="16" y="23"/>
                </a:lnTo>
                <a:lnTo>
                  <a:pt x="17" y="18"/>
                </a:lnTo>
                <a:lnTo>
                  <a:pt x="18" y="18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73" name="Freeform 1401"/>
          <p:cNvSpPr>
            <a:spLocks/>
          </p:cNvSpPr>
          <p:nvPr/>
        </p:nvSpPr>
        <p:spPr bwMode="auto">
          <a:xfrm>
            <a:off x="6452002" y="5351486"/>
            <a:ext cx="70158" cy="70872"/>
          </a:xfrm>
          <a:custGeom>
            <a:avLst/>
            <a:gdLst/>
            <a:ahLst/>
            <a:cxnLst>
              <a:cxn ang="0">
                <a:pos x="34" y="14"/>
              </a:cxn>
              <a:cxn ang="0">
                <a:pos x="36" y="12"/>
              </a:cxn>
              <a:cxn ang="0">
                <a:pos x="36" y="15"/>
              </a:cxn>
              <a:cxn ang="0">
                <a:pos x="29" y="26"/>
              </a:cxn>
              <a:cxn ang="0">
                <a:pos x="21" y="30"/>
              </a:cxn>
              <a:cxn ang="0">
                <a:pos x="18" y="34"/>
              </a:cxn>
              <a:cxn ang="0">
                <a:pos x="16" y="36"/>
              </a:cxn>
              <a:cxn ang="0">
                <a:pos x="12" y="36"/>
              </a:cxn>
              <a:cxn ang="0">
                <a:pos x="6" y="31"/>
              </a:cxn>
              <a:cxn ang="0">
                <a:pos x="4" y="28"/>
              </a:cxn>
              <a:cxn ang="0">
                <a:pos x="1" y="23"/>
              </a:cxn>
              <a:cxn ang="0">
                <a:pos x="0" y="20"/>
              </a:cxn>
              <a:cxn ang="0">
                <a:pos x="1" y="17"/>
              </a:cxn>
              <a:cxn ang="0">
                <a:pos x="8" y="8"/>
              </a:cxn>
              <a:cxn ang="0">
                <a:pos x="12" y="3"/>
              </a:cxn>
              <a:cxn ang="0">
                <a:pos x="20" y="0"/>
              </a:cxn>
              <a:cxn ang="0">
                <a:pos x="24" y="0"/>
              </a:cxn>
              <a:cxn ang="0">
                <a:pos x="26" y="1"/>
              </a:cxn>
              <a:cxn ang="0">
                <a:pos x="29" y="4"/>
              </a:cxn>
              <a:cxn ang="0">
                <a:pos x="32" y="8"/>
              </a:cxn>
              <a:cxn ang="0">
                <a:pos x="34" y="11"/>
              </a:cxn>
              <a:cxn ang="0">
                <a:pos x="34" y="14"/>
              </a:cxn>
            </a:cxnLst>
            <a:rect l="0" t="0" r="r" b="b"/>
            <a:pathLst>
              <a:path w="36" h="36">
                <a:moveTo>
                  <a:pt x="34" y="14"/>
                </a:moveTo>
                <a:lnTo>
                  <a:pt x="36" y="12"/>
                </a:lnTo>
                <a:lnTo>
                  <a:pt x="36" y="15"/>
                </a:lnTo>
                <a:lnTo>
                  <a:pt x="29" y="26"/>
                </a:lnTo>
                <a:lnTo>
                  <a:pt x="21" y="30"/>
                </a:lnTo>
                <a:lnTo>
                  <a:pt x="18" y="34"/>
                </a:lnTo>
                <a:lnTo>
                  <a:pt x="16" y="36"/>
                </a:lnTo>
                <a:lnTo>
                  <a:pt x="12" y="36"/>
                </a:lnTo>
                <a:lnTo>
                  <a:pt x="6" y="31"/>
                </a:lnTo>
                <a:lnTo>
                  <a:pt x="4" y="28"/>
                </a:lnTo>
                <a:lnTo>
                  <a:pt x="1" y="23"/>
                </a:lnTo>
                <a:lnTo>
                  <a:pt x="0" y="20"/>
                </a:lnTo>
                <a:lnTo>
                  <a:pt x="1" y="17"/>
                </a:lnTo>
                <a:lnTo>
                  <a:pt x="8" y="8"/>
                </a:lnTo>
                <a:lnTo>
                  <a:pt x="12" y="3"/>
                </a:lnTo>
                <a:lnTo>
                  <a:pt x="20" y="0"/>
                </a:lnTo>
                <a:lnTo>
                  <a:pt x="24" y="0"/>
                </a:lnTo>
                <a:lnTo>
                  <a:pt x="26" y="1"/>
                </a:lnTo>
                <a:lnTo>
                  <a:pt x="29" y="4"/>
                </a:lnTo>
                <a:lnTo>
                  <a:pt x="32" y="8"/>
                </a:lnTo>
                <a:lnTo>
                  <a:pt x="34" y="11"/>
                </a:lnTo>
                <a:lnTo>
                  <a:pt x="34" y="1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74" name="Freeform 1402"/>
          <p:cNvSpPr>
            <a:spLocks/>
          </p:cNvSpPr>
          <p:nvPr/>
        </p:nvSpPr>
        <p:spPr bwMode="auto">
          <a:xfrm>
            <a:off x="6452002" y="5351486"/>
            <a:ext cx="70158" cy="70872"/>
          </a:xfrm>
          <a:custGeom>
            <a:avLst/>
            <a:gdLst/>
            <a:ahLst/>
            <a:cxnLst>
              <a:cxn ang="0">
                <a:pos x="34" y="14"/>
              </a:cxn>
              <a:cxn ang="0">
                <a:pos x="36" y="12"/>
              </a:cxn>
              <a:cxn ang="0">
                <a:pos x="36" y="15"/>
              </a:cxn>
              <a:cxn ang="0">
                <a:pos x="29" y="26"/>
              </a:cxn>
              <a:cxn ang="0">
                <a:pos x="21" y="30"/>
              </a:cxn>
              <a:cxn ang="0">
                <a:pos x="18" y="34"/>
              </a:cxn>
              <a:cxn ang="0">
                <a:pos x="16" y="36"/>
              </a:cxn>
              <a:cxn ang="0">
                <a:pos x="12" y="36"/>
              </a:cxn>
              <a:cxn ang="0">
                <a:pos x="6" y="31"/>
              </a:cxn>
              <a:cxn ang="0">
                <a:pos x="4" y="28"/>
              </a:cxn>
              <a:cxn ang="0">
                <a:pos x="1" y="23"/>
              </a:cxn>
              <a:cxn ang="0">
                <a:pos x="0" y="20"/>
              </a:cxn>
              <a:cxn ang="0">
                <a:pos x="1" y="17"/>
              </a:cxn>
              <a:cxn ang="0">
                <a:pos x="8" y="8"/>
              </a:cxn>
              <a:cxn ang="0">
                <a:pos x="12" y="3"/>
              </a:cxn>
              <a:cxn ang="0">
                <a:pos x="20" y="0"/>
              </a:cxn>
              <a:cxn ang="0">
                <a:pos x="24" y="0"/>
              </a:cxn>
              <a:cxn ang="0">
                <a:pos x="26" y="1"/>
              </a:cxn>
              <a:cxn ang="0">
                <a:pos x="29" y="4"/>
              </a:cxn>
              <a:cxn ang="0">
                <a:pos x="32" y="8"/>
              </a:cxn>
              <a:cxn ang="0">
                <a:pos x="34" y="11"/>
              </a:cxn>
              <a:cxn ang="0">
                <a:pos x="34" y="14"/>
              </a:cxn>
            </a:cxnLst>
            <a:rect l="0" t="0" r="r" b="b"/>
            <a:pathLst>
              <a:path w="36" h="36">
                <a:moveTo>
                  <a:pt x="34" y="14"/>
                </a:moveTo>
                <a:lnTo>
                  <a:pt x="36" y="12"/>
                </a:lnTo>
                <a:lnTo>
                  <a:pt x="36" y="15"/>
                </a:lnTo>
                <a:lnTo>
                  <a:pt x="29" y="26"/>
                </a:lnTo>
                <a:lnTo>
                  <a:pt x="21" y="30"/>
                </a:lnTo>
                <a:lnTo>
                  <a:pt x="18" y="34"/>
                </a:lnTo>
                <a:lnTo>
                  <a:pt x="16" y="36"/>
                </a:lnTo>
                <a:lnTo>
                  <a:pt x="12" y="36"/>
                </a:lnTo>
                <a:lnTo>
                  <a:pt x="6" y="31"/>
                </a:lnTo>
                <a:lnTo>
                  <a:pt x="4" y="28"/>
                </a:lnTo>
                <a:lnTo>
                  <a:pt x="1" y="23"/>
                </a:lnTo>
                <a:lnTo>
                  <a:pt x="0" y="20"/>
                </a:lnTo>
                <a:lnTo>
                  <a:pt x="1" y="17"/>
                </a:lnTo>
                <a:lnTo>
                  <a:pt x="8" y="8"/>
                </a:lnTo>
                <a:lnTo>
                  <a:pt x="12" y="3"/>
                </a:lnTo>
                <a:lnTo>
                  <a:pt x="20" y="0"/>
                </a:lnTo>
                <a:lnTo>
                  <a:pt x="24" y="0"/>
                </a:lnTo>
                <a:lnTo>
                  <a:pt x="26" y="1"/>
                </a:lnTo>
                <a:lnTo>
                  <a:pt x="29" y="4"/>
                </a:lnTo>
                <a:lnTo>
                  <a:pt x="32" y="8"/>
                </a:lnTo>
                <a:lnTo>
                  <a:pt x="34" y="11"/>
                </a:lnTo>
                <a:lnTo>
                  <a:pt x="34" y="14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75" name="Freeform 1403"/>
          <p:cNvSpPr>
            <a:spLocks/>
          </p:cNvSpPr>
          <p:nvPr/>
        </p:nvSpPr>
        <p:spPr bwMode="auto">
          <a:xfrm>
            <a:off x="7169167" y="3465887"/>
            <a:ext cx="222164" cy="292074"/>
          </a:xfrm>
          <a:custGeom>
            <a:avLst/>
            <a:gdLst/>
            <a:ahLst/>
            <a:cxnLst>
              <a:cxn ang="0">
                <a:pos x="56" y="0"/>
              </a:cxn>
              <a:cxn ang="0">
                <a:pos x="57" y="11"/>
              </a:cxn>
              <a:cxn ang="0">
                <a:pos x="58" y="15"/>
              </a:cxn>
              <a:cxn ang="0">
                <a:pos x="53" y="23"/>
              </a:cxn>
              <a:cxn ang="0">
                <a:pos x="56" y="52"/>
              </a:cxn>
              <a:cxn ang="0">
                <a:pos x="0" y="105"/>
              </a:cxn>
              <a:cxn ang="0">
                <a:pos x="22" y="144"/>
              </a:cxn>
              <a:cxn ang="0">
                <a:pos x="29" y="143"/>
              </a:cxn>
              <a:cxn ang="0">
                <a:pos x="37" y="140"/>
              </a:cxn>
              <a:cxn ang="0">
                <a:pos x="42" y="141"/>
              </a:cxn>
              <a:cxn ang="0">
                <a:pos x="45" y="141"/>
              </a:cxn>
              <a:cxn ang="0">
                <a:pos x="49" y="136"/>
              </a:cxn>
              <a:cxn ang="0">
                <a:pos x="49" y="133"/>
              </a:cxn>
              <a:cxn ang="0">
                <a:pos x="50" y="130"/>
              </a:cxn>
              <a:cxn ang="0">
                <a:pos x="61" y="124"/>
              </a:cxn>
              <a:cxn ang="0">
                <a:pos x="66" y="122"/>
              </a:cxn>
              <a:cxn ang="0">
                <a:pos x="69" y="116"/>
              </a:cxn>
              <a:cxn ang="0">
                <a:pos x="71" y="110"/>
              </a:cxn>
              <a:cxn ang="0">
                <a:pos x="77" y="107"/>
              </a:cxn>
              <a:cxn ang="0">
                <a:pos x="79" y="105"/>
              </a:cxn>
              <a:cxn ang="0">
                <a:pos x="85" y="105"/>
              </a:cxn>
              <a:cxn ang="0">
                <a:pos x="87" y="102"/>
              </a:cxn>
              <a:cxn ang="0">
                <a:pos x="86" y="94"/>
              </a:cxn>
              <a:cxn ang="0">
                <a:pos x="86" y="89"/>
              </a:cxn>
              <a:cxn ang="0">
                <a:pos x="90" y="80"/>
              </a:cxn>
              <a:cxn ang="0">
                <a:pos x="93" y="77"/>
              </a:cxn>
              <a:cxn ang="0">
                <a:pos x="94" y="78"/>
              </a:cxn>
              <a:cxn ang="0">
                <a:pos x="97" y="80"/>
              </a:cxn>
              <a:cxn ang="0">
                <a:pos x="99" y="74"/>
              </a:cxn>
              <a:cxn ang="0">
                <a:pos x="103" y="67"/>
              </a:cxn>
              <a:cxn ang="0">
                <a:pos x="109" y="63"/>
              </a:cxn>
              <a:cxn ang="0">
                <a:pos x="115" y="50"/>
              </a:cxn>
              <a:cxn ang="0">
                <a:pos x="117" y="44"/>
              </a:cxn>
              <a:cxn ang="0">
                <a:pos x="115" y="41"/>
              </a:cxn>
              <a:cxn ang="0">
                <a:pos x="111" y="39"/>
              </a:cxn>
              <a:cxn ang="0">
                <a:pos x="107" y="33"/>
              </a:cxn>
              <a:cxn ang="0">
                <a:pos x="105" y="31"/>
              </a:cxn>
              <a:cxn ang="0">
                <a:pos x="103" y="28"/>
              </a:cxn>
              <a:cxn ang="0">
                <a:pos x="101" y="23"/>
              </a:cxn>
              <a:cxn ang="0">
                <a:pos x="95" y="22"/>
              </a:cxn>
              <a:cxn ang="0">
                <a:pos x="86" y="19"/>
              </a:cxn>
              <a:cxn ang="0">
                <a:pos x="78" y="15"/>
              </a:cxn>
              <a:cxn ang="0">
                <a:pos x="73" y="12"/>
              </a:cxn>
              <a:cxn ang="0">
                <a:pos x="69" y="8"/>
              </a:cxn>
              <a:cxn ang="0">
                <a:pos x="66" y="4"/>
              </a:cxn>
            </a:cxnLst>
            <a:rect l="0" t="0" r="r" b="b"/>
            <a:pathLst>
              <a:path w="117" h="147">
                <a:moveTo>
                  <a:pt x="65" y="0"/>
                </a:moveTo>
                <a:lnTo>
                  <a:pt x="56" y="0"/>
                </a:lnTo>
                <a:lnTo>
                  <a:pt x="58" y="11"/>
                </a:lnTo>
                <a:lnTo>
                  <a:pt x="57" y="11"/>
                </a:lnTo>
                <a:lnTo>
                  <a:pt x="58" y="12"/>
                </a:lnTo>
                <a:lnTo>
                  <a:pt x="58" y="15"/>
                </a:lnTo>
                <a:lnTo>
                  <a:pt x="54" y="15"/>
                </a:lnTo>
                <a:lnTo>
                  <a:pt x="53" y="23"/>
                </a:lnTo>
                <a:lnTo>
                  <a:pt x="48" y="39"/>
                </a:lnTo>
                <a:lnTo>
                  <a:pt x="56" y="52"/>
                </a:lnTo>
                <a:lnTo>
                  <a:pt x="45" y="88"/>
                </a:lnTo>
                <a:lnTo>
                  <a:pt x="0" y="105"/>
                </a:lnTo>
                <a:lnTo>
                  <a:pt x="16" y="147"/>
                </a:lnTo>
                <a:lnTo>
                  <a:pt x="22" y="144"/>
                </a:lnTo>
                <a:lnTo>
                  <a:pt x="26" y="144"/>
                </a:lnTo>
                <a:lnTo>
                  <a:pt x="29" y="143"/>
                </a:lnTo>
                <a:lnTo>
                  <a:pt x="32" y="141"/>
                </a:lnTo>
                <a:lnTo>
                  <a:pt x="37" y="140"/>
                </a:lnTo>
                <a:lnTo>
                  <a:pt x="41" y="141"/>
                </a:lnTo>
                <a:lnTo>
                  <a:pt x="42" y="141"/>
                </a:lnTo>
                <a:lnTo>
                  <a:pt x="44" y="141"/>
                </a:lnTo>
                <a:lnTo>
                  <a:pt x="45" y="141"/>
                </a:lnTo>
                <a:lnTo>
                  <a:pt x="48" y="140"/>
                </a:lnTo>
                <a:lnTo>
                  <a:pt x="49" y="136"/>
                </a:lnTo>
                <a:lnTo>
                  <a:pt x="49" y="135"/>
                </a:lnTo>
                <a:lnTo>
                  <a:pt x="49" y="133"/>
                </a:lnTo>
                <a:lnTo>
                  <a:pt x="49" y="132"/>
                </a:lnTo>
                <a:lnTo>
                  <a:pt x="50" y="130"/>
                </a:lnTo>
                <a:lnTo>
                  <a:pt x="53" y="125"/>
                </a:lnTo>
                <a:lnTo>
                  <a:pt x="61" y="124"/>
                </a:lnTo>
                <a:lnTo>
                  <a:pt x="63" y="124"/>
                </a:lnTo>
                <a:lnTo>
                  <a:pt x="66" y="122"/>
                </a:lnTo>
                <a:lnTo>
                  <a:pt x="69" y="121"/>
                </a:lnTo>
                <a:lnTo>
                  <a:pt x="69" y="116"/>
                </a:lnTo>
                <a:lnTo>
                  <a:pt x="70" y="113"/>
                </a:lnTo>
                <a:lnTo>
                  <a:pt x="71" y="110"/>
                </a:lnTo>
                <a:lnTo>
                  <a:pt x="74" y="108"/>
                </a:lnTo>
                <a:lnTo>
                  <a:pt x="77" y="107"/>
                </a:lnTo>
                <a:lnTo>
                  <a:pt x="77" y="105"/>
                </a:lnTo>
                <a:lnTo>
                  <a:pt x="79" y="105"/>
                </a:lnTo>
                <a:lnTo>
                  <a:pt x="82" y="105"/>
                </a:lnTo>
                <a:lnTo>
                  <a:pt x="85" y="105"/>
                </a:lnTo>
                <a:lnTo>
                  <a:pt x="86" y="103"/>
                </a:lnTo>
                <a:lnTo>
                  <a:pt x="87" y="102"/>
                </a:lnTo>
                <a:lnTo>
                  <a:pt x="86" y="99"/>
                </a:lnTo>
                <a:lnTo>
                  <a:pt x="86" y="94"/>
                </a:lnTo>
                <a:lnTo>
                  <a:pt x="86" y="92"/>
                </a:lnTo>
                <a:lnTo>
                  <a:pt x="86" y="89"/>
                </a:lnTo>
                <a:lnTo>
                  <a:pt x="86" y="86"/>
                </a:lnTo>
                <a:lnTo>
                  <a:pt x="90" y="80"/>
                </a:lnTo>
                <a:lnTo>
                  <a:pt x="91" y="77"/>
                </a:lnTo>
                <a:lnTo>
                  <a:pt x="93" y="77"/>
                </a:lnTo>
                <a:lnTo>
                  <a:pt x="94" y="77"/>
                </a:lnTo>
                <a:lnTo>
                  <a:pt x="94" y="78"/>
                </a:lnTo>
                <a:lnTo>
                  <a:pt x="95" y="80"/>
                </a:lnTo>
                <a:lnTo>
                  <a:pt x="97" y="80"/>
                </a:lnTo>
                <a:lnTo>
                  <a:pt x="97" y="78"/>
                </a:lnTo>
                <a:lnTo>
                  <a:pt x="99" y="74"/>
                </a:lnTo>
                <a:lnTo>
                  <a:pt x="101" y="72"/>
                </a:lnTo>
                <a:lnTo>
                  <a:pt x="103" y="67"/>
                </a:lnTo>
                <a:lnTo>
                  <a:pt x="105" y="66"/>
                </a:lnTo>
                <a:lnTo>
                  <a:pt x="109" y="63"/>
                </a:lnTo>
                <a:lnTo>
                  <a:pt x="114" y="53"/>
                </a:lnTo>
                <a:lnTo>
                  <a:pt x="115" y="50"/>
                </a:lnTo>
                <a:lnTo>
                  <a:pt x="115" y="48"/>
                </a:lnTo>
                <a:lnTo>
                  <a:pt x="117" y="44"/>
                </a:lnTo>
                <a:lnTo>
                  <a:pt x="115" y="42"/>
                </a:lnTo>
                <a:lnTo>
                  <a:pt x="115" y="41"/>
                </a:lnTo>
                <a:lnTo>
                  <a:pt x="114" y="41"/>
                </a:lnTo>
                <a:lnTo>
                  <a:pt x="111" y="39"/>
                </a:lnTo>
                <a:lnTo>
                  <a:pt x="109" y="37"/>
                </a:lnTo>
                <a:lnTo>
                  <a:pt x="107" y="33"/>
                </a:lnTo>
                <a:lnTo>
                  <a:pt x="106" y="33"/>
                </a:lnTo>
                <a:lnTo>
                  <a:pt x="105" y="31"/>
                </a:lnTo>
                <a:lnTo>
                  <a:pt x="105" y="30"/>
                </a:lnTo>
                <a:lnTo>
                  <a:pt x="103" y="28"/>
                </a:lnTo>
                <a:lnTo>
                  <a:pt x="102" y="26"/>
                </a:lnTo>
                <a:lnTo>
                  <a:pt x="101" y="23"/>
                </a:lnTo>
                <a:lnTo>
                  <a:pt x="97" y="22"/>
                </a:lnTo>
                <a:lnTo>
                  <a:pt x="95" y="22"/>
                </a:lnTo>
                <a:lnTo>
                  <a:pt x="91" y="20"/>
                </a:lnTo>
                <a:lnTo>
                  <a:pt x="86" y="19"/>
                </a:lnTo>
                <a:lnTo>
                  <a:pt x="85" y="19"/>
                </a:lnTo>
                <a:lnTo>
                  <a:pt x="78" y="15"/>
                </a:lnTo>
                <a:lnTo>
                  <a:pt x="75" y="12"/>
                </a:lnTo>
                <a:lnTo>
                  <a:pt x="73" y="12"/>
                </a:lnTo>
                <a:lnTo>
                  <a:pt x="71" y="9"/>
                </a:lnTo>
                <a:lnTo>
                  <a:pt x="69" y="8"/>
                </a:lnTo>
                <a:lnTo>
                  <a:pt x="69" y="6"/>
                </a:lnTo>
                <a:lnTo>
                  <a:pt x="66" y="4"/>
                </a:lnTo>
                <a:lnTo>
                  <a:pt x="65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76" name="Freeform 1404"/>
          <p:cNvSpPr>
            <a:spLocks/>
          </p:cNvSpPr>
          <p:nvPr/>
        </p:nvSpPr>
        <p:spPr bwMode="auto">
          <a:xfrm>
            <a:off x="7169167" y="3465887"/>
            <a:ext cx="222164" cy="292074"/>
          </a:xfrm>
          <a:custGeom>
            <a:avLst/>
            <a:gdLst/>
            <a:ahLst/>
            <a:cxnLst>
              <a:cxn ang="0">
                <a:pos x="56" y="0"/>
              </a:cxn>
              <a:cxn ang="0">
                <a:pos x="57" y="11"/>
              </a:cxn>
              <a:cxn ang="0">
                <a:pos x="58" y="15"/>
              </a:cxn>
              <a:cxn ang="0">
                <a:pos x="53" y="23"/>
              </a:cxn>
              <a:cxn ang="0">
                <a:pos x="56" y="52"/>
              </a:cxn>
              <a:cxn ang="0">
                <a:pos x="0" y="105"/>
              </a:cxn>
              <a:cxn ang="0">
                <a:pos x="22" y="144"/>
              </a:cxn>
              <a:cxn ang="0">
                <a:pos x="29" y="143"/>
              </a:cxn>
              <a:cxn ang="0">
                <a:pos x="37" y="140"/>
              </a:cxn>
              <a:cxn ang="0">
                <a:pos x="42" y="141"/>
              </a:cxn>
              <a:cxn ang="0">
                <a:pos x="45" y="141"/>
              </a:cxn>
              <a:cxn ang="0">
                <a:pos x="49" y="136"/>
              </a:cxn>
              <a:cxn ang="0">
                <a:pos x="49" y="133"/>
              </a:cxn>
              <a:cxn ang="0">
                <a:pos x="50" y="130"/>
              </a:cxn>
              <a:cxn ang="0">
                <a:pos x="61" y="124"/>
              </a:cxn>
              <a:cxn ang="0">
                <a:pos x="66" y="122"/>
              </a:cxn>
              <a:cxn ang="0">
                <a:pos x="69" y="116"/>
              </a:cxn>
              <a:cxn ang="0">
                <a:pos x="71" y="110"/>
              </a:cxn>
              <a:cxn ang="0">
                <a:pos x="77" y="107"/>
              </a:cxn>
              <a:cxn ang="0">
                <a:pos x="79" y="105"/>
              </a:cxn>
              <a:cxn ang="0">
                <a:pos x="85" y="105"/>
              </a:cxn>
              <a:cxn ang="0">
                <a:pos x="87" y="102"/>
              </a:cxn>
              <a:cxn ang="0">
                <a:pos x="86" y="94"/>
              </a:cxn>
              <a:cxn ang="0">
                <a:pos x="86" y="89"/>
              </a:cxn>
              <a:cxn ang="0">
                <a:pos x="90" y="80"/>
              </a:cxn>
              <a:cxn ang="0">
                <a:pos x="93" y="77"/>
              </a:cxn>
              <a:cxn ang="0">
                <a:pos x="94" y="78"/>
              </a:cxn>
              <a:cxn ang="0">
                <a:pos x="97" y="80"/>
              </a:cxn>
              <a:cxn ang="0">
                <a:pos x="99" y="74"/>
              </a:cxn>
              <a:cxn ang="0">
                <a:pos x="103" y="67"/>
              </a:cxn>
              <a:cxn ang="0">
                <a:pos x="109" y="63"/>
              </a:cxn>
              <a:cxn ang="0">
                <a:pos x="115" y="50"/>
              </a:cxn>
              <a:cxn ang="0">
                <a:pos x="117" y="44"/>
              </a:cxn>
              <a:cxn ang="0">
                <a:pos x="115" y="41"/>
              </a:cxn>
              <a:cxn ang="0">
                <a:pos x="111" y="39"/>
              </a:cxn>
              <a:cxn ang="0">
                <a:pos x="107" y="33"/>
              </a:cxn>
              <a:cxn ang="0">
                <a:pos x="105" y="31"/>
              </a:cxn>
              <a:cxn ang="0">
                <a:pos x="103" y="28"/>
              </a:cxn>
              <a:cxn ang="0">
                <a:pos x="101" y="23"/>
              </a:cxn>
              <a:cxn ang="0">
                <a:pos x="95" y="22"/>
              </a:cxn>
              <a:cxn ang="0">
                <a:pos x="86" y="19"/>
              </a:cxn>
              <a:cxn ang="0">
                <a:pos x="78" y="15"/>
              </a:cxn>
              <a:cxn ang="0">
                <a:pos x="73" y="12"/>
              </a:cxn>
              <a:cxn ang="0">
                <a:pos x="69" y="8"/>
              </a:cxn>
              <a:cxn ang="0">
                <a:pos x="66" y="4"/>
              </a:cxn>
            </a:cxnLst>
            <a:rect l="0" t="0" r="r" b="b"/>
            <a:pathLst>
              <a:path w="117" h="147">
                <a:moveTo>
                  <a:pt x="65" y="0"/>
                </a:moveTo>
                <a:lnTo>
                  <a:pt x="56" y="0"/>
                </a:lnTo>
                <a:lnTo>
                  <a:pt x="58" y="11"/>
                </a:lnTo>
                <a:lnTo>
                  <a:pt x="57" y="11"/>
                </a:lnTo>
                <a:lnTo>
                  <a:pt x="58" y="12"/>
                </a:lnTo>
                <a:lnTo>
                  <a:pt x="58" y="15"/>
                </a:lnTo>
                <a:lnTo>
                  <a:pt x="54" y="15"/>
                </a:lnTo>
                <a:lnTo>
                  <a:pt x="53" y="23"/>
                </a:lnTo>
                <a:lnTo>
                  <a:pt x="48" y="39"/>
                </a:lnTo>
                <a:lnTo>
                  <a:pt x="56" y="52"/>
                </a:lnTo>
                <a:lnTo>
                  <a:pt x="45" y="88"/>
                </a:lnTo>
                <a:lnTo>
                  <a:pt x="0" y="105"/>
                </a:lnTo>
                <a:lnTo>
                  <a:pt x="16" y="147"/>
                </a:lnTo>
                <a:lnTo>
                  <a:pt x="22" y="144"/>
                </a:lnTo>
                <a:lnTo>
                  <a:pt x="26" y="144"/>
                </a:lnTo>
                <a:lnTo>
                  <a:pt x="29" y="143"/>
                </a:lnTo>
                <a:lnTo>
                  <a:pt x="32" y="141"/>
                </a:lnTo>
                <a:lnTo>
                  <a:pt x="37" y="140"/>
                </a:lnTo>
                <a:lnTo>
                  <a:pt x="41" y="141"/>
                </a:lnTo>
                <a:lnTo>
                  <a:pt x="42" y="141"/>
                </a:lnTo>
                <a:lnTo>
                  <a:pt x="44" y="141"/>
                </a:lnTo>
                <a:lnTo>
                  <a:pt x="45" y="141"/>
                </a:lnTo>
                <a:lnTo>
                  <a:pt x="48" y="140"/>
                </a:lnTo>
                <a:lnTo>
                  <a:pt x="49" y="136"/>
                </a:lnTo>
                <a:lnTo>
                  <a:pt x="49" y="135"/>
                </a:lnTo>
                <a:lnTo>
                  <a:pt x="49" y="133"/>
                </a:lnTo>
                <a:lnTo>
                  <a:pt x="49" y="132"/>
                </a:lnTo>
                <a:lnTo>
                  <a:pt x="50" y="130"/>
                </a:lnTo>
                <a:lnTo>
                  <a:pt x="53" y="125"/>
                </a:lnTo>
                <a:lnTo>
                  <a:pt x="61" y="124"/>
                </a:lnTo>
                <a:lnTo>
                  <a:pt x="63" y="124"/>
                </a:lnTo>
                <a:lnTo>
                  <a:pt x="66" y="122"/>
                </a:lnTo>
                <a:lnTo>
                  <a:pt x="69" y="121"/>
                </a:lnTo>
                <a:lnTo>
                  <a:pt x="69" y="116"/>
                </a:lnTo>
                <a:lnTo>
                  <a:pt x="70" y="113"/>
                </a:lnTo>
                <a:lnTo>
                  <a:pt x="71" y="110"/>
                </a:lnTo>
                <a:lnTo>
                  <a:pt x="74" y="108"/>
                </a:lnTo>
                <a:lnTo>
                  <a:pt x="77" y="107"/>
                </a:lnTo>
                <a:lnTo>
                  <a:pt x="77" y="105"/>
                </a:lnTo>
                <a:lnTo>
                  <a:pt x="79" y="105"/>
                </a:lnTo>
                <a:lnTo>
                  <a:pt x="82" y="105"/>
                </a:lnTo>
                <a:lnTo>
                  <a:pt x="85" y="105"/>
                </a:lnTo>
                <a:lnTo>
                  <a:pt x="86" y="103"/>
                </a:lnTo>
                <a:lnTo>
                  <a:pt x="87" y="102"/>
                </a:lnTo>
                <a:lnTo>
                  <a:pt x="86" y="99"/>
                </a:lnTo>
                <a:lnTo>
                  <a:pt x="86" y="94"/>
                </a:lnTo>
                <a:lnTo>
                  <a:pt x="86" y="92"/>
                </a:lnTo>
                <a:lnTo>
                  <a:pt x="86" y="89"/>
                </a:lnTo>
                <a:lnTo>
                  <a:pt x="86" y="86"/>
                </a:lnTo>
                <a:lnTo>
                  <a:pt x="90" y="80"/>
                </a:lnTo>
                <a:lnTo>
                  <a:pt x="91" y="77"/>
                </a:lnTo>
                <a:lnTo>
                  <a:pt x="93" y="77"/>
                </a:lnTo>
                <a:lnTo>
                  <a:pt x="94" y="77"/>
                </a:lnTo>
                <a:lnTo>
                  <a:pt x="94" y="78"/>
                </a:lnTo>
                <a:lnTo>
                  <a:pt x="95" y="80"/>
                </a:lnTo>
                <a:lnTo>
                  <a:pt x="97" y="80"/>
                </a:lnTo>
                <a:lnTo>
                  <a:pt x="97" y="78"/>
                </a:lnTo>
                <a:lnTo>
                  <a:pt x="99" y="74"/>
                </a:lnTo>
                <a:lnTo>
                  <a:pt x="101" y="72"/>
                </a:lnTo>
                <a:lnTo>
                  <a:pt x="103" y="67"/>
                </a:lnTo>
                <a:lnTo>
                  <a:pt x="105" y="66"/>
                </a:lnTo>
                <a:lnTo>
                  <a:pt x="109" y="63"/>
                </a:lnTo>
                <a:lnTo>
                  <a:pt x="114" y="53"/>
                </a:lnTo>
                <a:lnTo>
                  <a:pt x="115" y="50"/>
                </a:lnTo>
                <a:lnTo>
                  <a:pt x="115" y="48"/>
                </a:lnTo>
                <a:lnTo>
                  <a:pt x="117" y="44"/>
                </a:lnTo>
                <a:lnTo>
                  <a:pt x="115" y="42"/>
                </a:lnTo>
                <a:lnTo>
                  <a:pt x="115" y="41"/>
                </a:lnTo>
                <a:lnTo>
                  <a:pt x="114" y="41"/>
                </a:lnTo>
                <a:lnTo>
                  <a:pt x="111" y="39"/>
                </a:lnTo>
                <a:lnTo>
                  <a:pt x="109" y="37"/>
                </a:lnTo>
                <a:lnTo>
                  <a:pt x="107" y="33"/>
                </a:lnTo>
                <a:lnTo>
                  <a:pt x="106" y="33"/>
                </a:lnTo>
                <a:lnTo>
                  <a:pt x="105" y="31"/>
                </a:lnTo>
                <a:lnTo>
                  <a:pt x="105" y="30"/>
                </a:lnTo>
                <a:lnTo>
                  <a:pt x="103" y="28"/>
                </a:lnTo>
                <a:lnTo>
                  <a:pt x="102" y="26"/>
                </a:lnTo>
                <a:lnTo>
                  <a:pt x="101" y="23"/>
                </a:lnTo>
                <a:lnTo>
                  <a:pt x="97" y="22"/>
                </a:lnTo>
                <a:lnTo>
                  <a:pt x="95" y="22"/>
                </a:lnTo>
                <a:lnTo>
                  <a:pt x="91" y="20"/>
                </a:lnTo>
                <a:lnTo>
                  <a:pt x="86" y="19"/>
                </a:lnTo>
                <a:lnTo>
                  <a:pt x="85" y="19"/>
                </a:lnTo>
                <a:lnTo>
                  <a:pt x="78" y="15"/>
                </a:lnTo>
                <a:lnTo>
                  <a:pt x="75" y="12"/>
                </a:lnTo>
                <a:lnTo>
                  <a:pt x="73" y="12"/>
                </a:lnTo>
                <a:lnTo>
                  <a:pt x="71" y="9"/>
                </a:lnTo>
                <a:lnTo>
                  <a:pt x="69" y="8"/>
                </a:lnTo>
                <a:lnTo>
                  <a:pt x="69" y="6"/>
                </a:lnTo>
                <a:lnTo>
                  <a:pt x="66" y="4"/>
                </a:lnTo>
                <a:lnTo>
                  <a:pt x="65" y="0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77" name="Freeform 1405"/>
          <p:cNvSpPr>
            <a:spLocks/>
          </p:cNvSpPr>
          <p:nvPr/>
        </p:nvSpPr>
        <p:spPr bwMode="auto">
          <a:xfrm>
            <a:off x="6005724" y="4941294"/>
            <a:ext cx="387813" cy="427374"/>
          </a:xfrm>
          <a:custGeom>
            <a:avLst/>
            <a:gdLst/>
            <a:ahLst/>
            <a:cxnLst>
              <a:cxn ang="0">
                <a:pos x="69" y="7"/>
              </a:cxn>
              <a:cxn ang="0">
                <a:pos x="36" y="7"/>
              </a:cxn>
              <a:cxn ang="0">
                <a:pos x="27" y="3"/>
              </a:cxn>
              <a:cxn ang="0">
                <a:pos x="16" y="0"/>
              </a:cxn>
              <a:cxn ang="0">
                <a:pos x="9" y="4"/>
              </a:cxn>
              <a:cxn ang="0">
                <a:pos x="0" y="7"/>
              </a:cxn>
              <a:cxn ang="0">
                <a:pos x="1" y="20"/>
              </a:cxn>
              <a:cxn ang="0">
                <a:pos x="5" y="31"/>
              </a:cxn>
              <a:cxn ang="0">
                <a:pos x="11" y="39"/>
              </a:cxn>
              <a:cxn ang="0">
                <a:pos x="15" y="47"/>
              </a:cxn>
              <a:cxn ang="0">
                <a:pos x="19" y="54"/>
              </a:cxn>
              <a:cxn ang="0">
                <a:pos x="24" y="65"/>
              </a:cxn>
              <a:cxn ang="0">
                <a:pos x="31" y="81"/>
              </a:cxn>
              <a:cxn ang="0">
                <a:pos x="33" y="87"/>
              </a:cxn>
              <a:cxn ang="0">
                <a:pos x="43" y="108"/>
              </a:cxn>
              <a:cxn ang="0">
                <a:pos x="41" y="128"/>
              </a:cxn>
              <a:cxn ang="0">
                <a:pos x="45" y="139"/>
              </a:cxn>
              <a:cxn ang="0">
                <a:pos x="47" y="150"/>
              </a:cxn>
              <a:cxn ang="0">
                <a:pos x="49" y="164"/>
              </a:cxn>
              <a:cxn ang="0">
                <a:pos x="51" y="172"/>
              </a:cxn>
              <a:cxn ang="0">
                <a:pos x="53" y="186"/>
              </a:cxn>
              <a:cxn ang="0">
                <a:pos x="64" y="202"/>
              </a:cxn>
              <a:cxn ang="0">
                <a:pos x="72" y="208"/>
              </a:cxn>
              <a:cxn ang="0">
                <a:pos x="75" y="208"/>
              </a:cxn>
              <a:cxn ang="0">
                <a:pos x="81" y="204"/>
              </a:cxn>
              <a:cxn ang="0">
                <a:pos x="92" y="215"/>
              </a:cxn>
              <a:cxn ang="0">
                <a:pos x="105" y="215"/>
              </a:cxn>
              <a:cxn ang="0">
                <a:pos x="116" y="211"/>
              </a:cxn>
              <a:cxn ang="0">
                <a:pos x="124" y="207"/>
              </a:cxn>
              <a:cxn ang="0">
                <a:pos x="124" y="157"/>
              </a:cxn>
              <a:cxn ang="0">
                <a:pos x="124" y="106"/>
              </a:cxn>
              <a:cxn ang="0">
                <a:pos x="140" y="78"/>
              </a:cxn>
              <a:cxn ang="0">
                <a:pos x="140" y="28"/>
              </a:cxn>
              <a:cxn ang="0">
                <a:pos x="168" y="21"/>
              </a:cxn>
              <a:cxn ang="0">
                <a:pos x="177" y="23"/>
              </a:cxn>
              <a:cxn ang="0">
                <a:pos x="181" y="28"/>
              </a:cxn>
              <a:cxn ang="0">
                <a:pos x="196" y="18"/>
              </a:cxn>
              <a:cxn ang="0">
                <a:pos x="202" y="15"/>
              </a:cxn>
              <a:cxn ang="0">
                <a:pos x="194" y="9"/>
              </a:cxn>
              <a:cxn ang="0">
                <a:pos x="174" y="12"/>
              </a:cxn>
              <a:cxn ang="0">
                <a:pos x="150" y="20"/>
              </a:cxn>
              <a:cxn ang="0">
                <a:pos x="144" y="18"/>
              </a:cxn>
              <a:cxn ang="0">
                <a:pos x="126" y="15"/>
              </a:cxn>
              <a:cxn ang="0">
                <a:pos x="112" y="15"/>
              </a:cxn>
              <a:cxn ang="0">
                <a:pos x="101" y="7"/>
              </a:cxn>
            </a:cxnLst>
            <a:rect l="0" t="0" r="r" b="b"/>
            <a:pathLst>
              <a:path w="202" h="216">
                <a:moveTo>
                  <a:pt x="95" y="7"/>
                </a:moveTo>
                <a:lnTo>
                  <a:pt x="83" y="7"/>
                </a:lnTo>
                <a:lnTo>
                  <a:pt x="69" y="7"/>
                </a:lnTo>
                <a:lnTo>
                  <a:pt x="55" y="7"/>
                </a:lnTo>
                <a:lnTo>
                  <a:pt x="41" y="7"/>
                </a:lnTo>
                <a:lnTo>
                  <a:pt x="36" y="7"/>
                </a:lnTo>
                <a:lnTo>
                  <a:pt x="33" y="9"/>
                </a:lnTo>
                <a:lnTo>
                  <a:pt x="31" y="4"/>
                </a:lnTo>
                <a:lnTo>
                  <a:pt x="27" y="3"/>
                </a:lnTo>
                <a:lnTo>
                  <a:pt x="25" y="0"/>
                </a:lnTo>
                <a:lnTo>
                  <a:pt x="23" y="0"/>
                </a:lnTo>
                <a:lnTo>
                  <a:pt x="16" y="0"/>
                </a:lnTo>
                <a:lnTo>
                  <a:pt x="13" y="1"/>
                </a:lnTo>
                <a:lnTo>
                  <a:pt x="11" y="4"/>
                </a:lnTo>
                <a:lnTo>
                  <a:pt x="9" y="4"/>
                </a:lnTo>
                <a:lnTo>
                  <a:pt x="7" y="3"/>
                </a:lnTo>
                <a:lnTo>
                  <a:pt x="4" y="6"/>
                </a:lnTo>
                <a:lnTo>
                  <a:pt x="0" y="7"/>
                </a:lnTo>
                <a:lnTo>
                  <a:pt x="0" y="15"/>
                </a:lnTo>
                <a:lnTo>
                  <a:pt x="0" y="17"/>
                </a:lnTo>
                <a:lnTo>
                  <a:pt x="1" y="20"/>
                </a:lnTo>
                <a:lnTo>
                  <a:pt x="1" y="23"/>
                </a:lnTo>
                <a:lnTo>
                  <a:pt x="4" y="28"/>
                </a:lnTo>
                <a:lnTo>
                  <a:pt x="5" y="31"/>
                </a:lnTo>
                <a:lnTo>
                  <a:pt x="8" y="32"/>
                </a:lnTo>
                <a:lnTo>
                  <a:pt x="9" y="36"/>
                </a:lnTo>
                <a:lnTo>
                  <a:pt x="11" y="39"/>
                </a:lnTo>
                <a:lnTo>
                  <a:pt x="12" y="40"/>
                </a:lnTo>
                <a:lnTo>
                  <a:pt x="13" y="43"/>
                </a:lnTo>
                <a:lnTo>
                  <a:pt x="15" y="47"/>
                </a:lnTo>
                <a:lnTo>
                  <a:pt x="16" y="48"/>
                </a:lnTo>
                <a:lnTo>
                  <a:pt x="17" y="51"/>
                </a:lnTo>
                <a:lnTo>
                  <a:pt x="19" y="54"/>
                </a:lnTo>
                <a:lnTo>
                  <a:pt x="23" y="62"/>
                </a:lnTo>
                <a:lnTo>
                  <a:pt x="23" y="64"/>
                </a:lnTo>
                <a:lnTo>
                  <a:pt x="24" y="65"/>
                </a:lnTo>
                <a:lnTo>
                  <a:pt x="24" y="69"/>
                </a:lnTo>
                <a:lnTo>
                  <a:pt x="27" y="73"/>
                </a:lnTo>
                <a:lnTo>
                  <a:pt x="31" y="81"/>
                </a:lnTo>
                <a:lnTo>
                  <a:pt x="32" y="83"/>
                </a:lnTo>
                <a:lnTo>
                  <a:pt x="32" y="86"/>
                </a:lnTo>
                <a:lnTo>
                  <a:pt x="33" y="87"/>
                </a:lnTo>
                <a:lnTo>
                  <a:pt x="39" y="95"/>
                </a:lnTo>
                <a:lnTo>
                  <a:pt x="41" y="102"/>
                </a:lnTo>
                <a:lnTo>
                  <a:pt x="43" y="108"/>
                </a:lnTo>
                <a:lnTo>
                  <a:pt x="41" y="113"/>
                </a:lnTo>
                <a:lnTo>
                  <a:pt x="41" y="124"/>
                </a:lnTo>
                <a:lnTo>
                  <a:pt x="41" y="128"/>
                </a:lnTo>
                <a:lnTo>
                  <a:pt x="43" y="131"/>
                </a:lnTo>
                <a:lnTo>
                  <a:pt x="44" y="135"/>
                </a:lnTo>
                <a:lnTo>
                  <a:pt x="45" y="139"/>
                </a:lnTo>
                <a:lnTo>
                  <a:pt x="47" y="144"/>
                </a:lnTo>
                <a:lnTo>
                  <a:pt x="48" y="147"/>
                </a:lnTo>
                <a:lnTo>
                  <a:pt x="47" y="150"/>
                </a:lnTo>
                <a:lnTo>
                  <a:pt x="48" y="158"/>
                </a:lnTo>
                <a:lnTo>
                  <a:pt x="48" y="161"/>
                </a:lnTo>
                <a:lnTo>
                  <a:pt x="49" y="164"/>
                </a:lnTo>
                <a:lnTo>
                  <a:pt x="49" y="168"/>
                </a:lnTo>
                <a:lnTo>
                  <a:pt x="51" y="169"/>
                </a:lnTo>
                <a:lnTo>
                  <a:pt x="51" y="172"/>
                </a:lnTo>
                <a:lnTo>
                  <a:pt x="52" y="177"/>
                </a:lnTo>
                <a:lnTo>
                  <a:pt x="53" y="180"/>
                </a:lnTo>
                <a:lnTo>
                  <a:pt x="53" y="186"/>
                </a:lnTo>
                <a:lnTo>
                  <a:pt x="59" y="194"/>
                </a:lnTo>
                <a:lnTo>
                  <a:pt x="61" y="199"/>
                </a:lnTo>
                <a:lnTo>
                  <a:pt x="64" y="202"/>
                </a:lnTo>
                <a:lnTo>
                  <a:pt x="67" y="205"/>
                </a:lnTo>
                <a:lnTo>
                  <a:pt x="71" y="208"/>
                </a:lnTo>
                <a:lnTo>
                  <a:pt x="72" y="208"/>
                </a:lnTo>
                <a:lnTo>
                  <a:pt x="73" y="210"/>
                </a:lnTo>
                <a:lnTo>
                  <a:pt x="75" y="210"/>
                </a:lnTo>
                <a:lnTo>
                  <a:pt x="75" y="208"/>
                </a:lnTo>
                <a:lnTo>
                  <a:pt x="77" y="207"/>
                </a:lnTo>
                <a:lnTo>
                  <a:pt x="79" y="204"/>
                </a:lnTo>
                <a:lnTo>
                  <a:pt x="81" y="204"/>
                </a:lnTo>
                <a:lnTo>
                  <a:pt x="89" y="208"/>
                </a:lnTo>
                <a:lnTo>
                  <a:pt x="89" y="211"/>
                </a:lnTo>
                <a:lnTo>
                  <a:pt x="92" y="215"/>
                </a:lnTo>
                <a:lnTo>
                  <a:pt x="96" y="216"/>
                </a:lnTo>
                <a:lnTo>
                  <a:pt x="100" y="215"/>
                </a:lnTo>
                <a:lnTo>
                  <a:pt x="105" y="215"/>
                </a:lnTo>
                <a:lnTo>
                  <a:pt x="108" y="215"/>
                </a:lnTo>
                <a:lnTo>
                  <a:pt x="112" y="215"/>
                </a:lnTo>
                <a:lnTo>
                  <a:pt x="116" y="211"/>
                </a:lnTo>
                <a:lnTo>
                  <a:pt x="120" y="208"/>
                </a:lnTo>
                <a:lnTo>
                  <a:pt x="122" y="207"/>
                </a:lnTo>
                <a:lnTo>
                  <a:pt x="124" y="207"/>
                </a:lnTo>
                <a:lnTo>
                  <a:pt x="124" y="190"/>
                </a:lnTo>
                <a:lnTo>
                  <a:pt x="124" y="174"/>
                </a:lnTo>
                <a:lnTo>
                  <a:pt x="124" y="157"/>
                </a:lnTo>
                <a:lnTo>
                  <a:pt x="124" y="139"/>
                </a:lnTo>
                <a:lnTo>
                  <a:pt x="124" y="124"/>
                </a:lnTo>
                <a:lnTo>
                  <a:pt x="124" y="106"/>
                </a:lnTo>
                <a:lnTo>
                  <a:pt x="124" y="91"/>
                </a:lnTo>
                <a:lnTo>
                  <a:pt x="140" y="91"/>
                </a:lnTo>
                <a:lnTo>
                  <a:pt x="140" y="78"/>
                </a:lnTo>
                <a:lnTo>
                  <a:pt x="140" y="61"/>
                </a:lnTo>
                <a:lnTo>
                  <a:pt x="140" y="43"/>
                </a:lnTo>
                <a:lnTo>
                  <a:pt x="140" y="28"/>
                </a:lnTo>
                <a:lnTo>
                  <a:pt x="141" y="26"/>
                </a:lnTo>
                <a:lnTo>
                  <a:pt x="162" y="21"/>
                </a:lnTo>
                <a:lnTo>
                  <a:pt x="168" y="21"/>
                </a:lnTo>
                <a:lnTo>
                  <a:pt x="169" y="21"/>
                </a:lnTo>
                <a:lnTo>
                  <a:pt x="174" y="21"/>
                </a:lnTo>
                <a:lnTo>
                  <a:pt x="177" y="23"/>
                </a:lnTo>
                <a:lnTo>
                  <a:pt x="178" y="26"/>
                </a:lnTo>
                <a:lnTo>
                  <a:pt x="180" y="31"/>
                </a:lnTo>
                <a:lnTo>
                  <a:pt x="181" y="28"/>
                </a:lnTo>
                <a:lnTo>
                  <a:pt x="184" y="25"/>
                </a:lnTo>
                <a:lnTo>
                  <a:pt x="188" y="21"/>
                </a:lnTo>
                <a:lnTo>
                  <a:pt x="196" y="18"/>
                </a:lnTo>
                <a:lnTo>
                  <a:pt x="197" y="17"/>
                </a:lnTo>
                <a:lnTo>
                  <a:pt x="198" y="15"/>
                </a:lnTo>
                <a:lnTo>
                  <a:pt x="202" y="15"/>
                </a:lnTo>
                <a:lnTo>
                  <a:pt x="200" y="12"/>
                </a:lnTo>
                <a:lnTo>
                  <a:pt x="198" y="10"/>
                </a:lnTo>
                <a:lnTo>
                  <a:pt x="194" y="9"/>
                </a:lnTo>
                <a:lnTo>
                  <a:pt x="189" y="9"/>
                </a:lnTo>
                <a:lnTo>
                  <a:pt x="177" y="12"/>
                </a:lnTo>
                <a:lnTo>
                  <a:pt x="174" y="12"/>
                </a:lnTo>
                <a:lnTo>
                  <a:pt x="174" y="14"/>
                </a:lnTo>
                <a:lnTo>
                  <a:pt x="170" y="14"/>
                </a:lnTo>
                <a:lnTo>
                  <a:pt x="150" y="20"/>
                </a:lnTo>
                <a:lnTo>
                  <a:pt x="148" y="20"/>
                </a:lnTo>
                <a:lnTo>
                  <a:pt x="146" y="20"/>
                </a:lnTo>
                <a:lnTo>
                  <a:pt x="144" y="18"/>
                </a:lnTo>
                <a:lnTo>
                  <a:pt x="140" y="18"/>
                </a:lnTo>
                <a:lnTo>
                  <a:pt x="136" y="18"/>
                </a:lnTo>
                <a:lnTo>
                  <a:pt x="126" y="15"/>
                </a:lnTo>
                <a:lnTo>
                  <a:pt x="120" y="15"/>
                </a:lnTo>
                <a:lnTo>
                  <a:pt x="113" y="17"/>
                </a:lnTo>
                <a:lnTo>
                  <a:pt x="112" y="15"/>
                </a:lnTo>
                <a:lnTo>
                  <a:pt x="106" y="14"/>
                </a:lnTo>
                <a:lnTo>
                  <a:pt x="105" y="10"/>
                </a:lnTo>
                <a:lnTo>
                  <a:pt x="101" y="7"/>
                </a:lnTo>
                <a:lnTo>
                  <a:pt x="95" y="7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78" name="Freeform 1406"/>
          <p:cNvSpPr>
            <a:spLocks/>
          </p:cNvSpPr>
          <p:nvPr/>
        </p:nvSpPr>
        <p:spPr bwMode="auto">
          <a:xfrm>
            <a:off x="6005724" y="4941294"/>
            <a:ext cx="387813" cy="427374"/>
          </a:xfrm>
          <a:custGeom>
            <a:avLst/>
            <a:gdLst/>
            <a:ahLst/>
            <a:cxnLst>
              <a:cxn ang="0">
                <a:pos x="69" y="7"/>
              </a:cxn>
              <a:cxn ang="0">
                <a:pos x="36" y="7"/>
              </a:cxn>
              <a:cxn ang="0">
                <a:pos x="27" y="3"/>
              </a:cxn>
              <a:cxn ang="0">
                <a:pos x="16" y="0"/>
              </a:cxn>
              <a:cxn ang="0">
                <a:pos x="9" y="4"/>
              </a:cxn>
              <a:cxn ang="0">
                <a:pos x="0" y="7"/>
              </a:cxn>
              <a:cxn ang="0">
                <a:pos x="1" y="20"/>
              </a:cxn>
              <a:cxn ang="0">
                <a:pos x="5" y="31"/>
              </a:cxn>
              <a:cxn ang="0">
                <a:pos x="11" y="39"/>
              </a:cxn>
              <a:cxn ang="0">
                <a:pos x="15" y="47"/>
              </a:cxn>
              <a:cxn ang="0">
                <a:pos x="19" y="54"/>
              </a:cxn>
              <a:cxn ang="0">
                <a:pos x="24" y="65"/>
              </a:cxn>
              <a:cxn ang="0">
                <a:pos x="31" y="81"/>
              </a:cxn>
              <a:cxn ang="0">
                <a:pos x="33" y="87"/>
              </a:cxn>
              <a:cxn ang="0">
                <a:pos x="43" y="108"/>
              </a:cxn>
              <a:cxn ang="0">
                <a:pos x="41" y="128"/>
              </a:cxn>
              <a:cxn ang="0">
                <a:pos x="45" y="139"/>
              </a:cxn>
              <a:cxn ang="0">
                <a:pos x="47" y="150"/>
              </a:cxn>
              <a:cxn ang="0">
                <a:pos x="49" y="164"/>
              </a:cxn>
              <a:cxn ang="0">
                <a:pos x="51" y="172"/>
              </a:cxn>
              <a:cxn ang="0">
                <a:pos x="53" y="186"/>
              </a:cxn>
              <a:cxn ang="0">
                <a:pos x="64" y="202"/>
              </a:cxn>
              <a:cxn ang="0">
                <a:pos x="72" y="208"/>
              </a:cxn>
              <a:cxn ang="0">
                <a:pos x="75" y="208"/>
              </a:cxn>
              <a:cxn ang="0">
                <a:pos x="81" y="204"/>
              </a:cxn>
              <a:cxn ang="0">
                <a:pos x="92" y="215"/>
              </a:cxn>
              <a:cxn ang="0">
                <a:pos x="105" y="215"/>
              </a:cxn>
              <a:cxn ang="0">
                <a:pos x="116" y="211"/>
              </a:cxn>
              <a:cxn ang="0">
                <a:pos x="124" y="207"/>
              </a:cxn>
              <a:cxn ang="0">
                <a:pos x="124" y="157"/>
              </a:cxn>
              <a:cxn ang="0">
                <a:pos x="124" y="106"/>
              </a:cxn>
              <a:cxn ang="0">
                <a:pos x="140" y="78"/>
              </a:cxn>
              <a:cxn ang="0">
                <a:pos x="140" y="28"/>
              </a:cxn>
              <a:cxn ang="0">
                <a:pos x="168" y="21"/>
              </a:cxn>
              <a:cxn ang="0">
                <a:pos x="177" y="23"/>
              </a:cxn>
              <a:cxn ang="0">
                <a:pos x="181" y="28"/>
              </a:cxn>
              <a:cxn ang="0">
                <a:pos x="196" y="18"/>
              </a:cxn>
              <a:cxn ang="0">
                <a:pos x="202" y="15"/>
              </a:cxn>
              <a:cxn ang="0">
                <a:pos x="194" y="9"/>
              </a:cxn>
              <a:cxn ang="0">
                <a:pos x="174" y="12"/>
              </a:cxn>
              <a:cxn ang="0">
                <a:pos x="150" y="20"/>
              </a:cxn>
              <a:cxn ang="0">
                <a:pos x="144" y="18"/>
              </a:cxn>
              <a:cxn ang="0">
                <a:pos x="126" y="15"/>
              </a:cxn>
              <a:cxn ang="0">
                <a:pos x="112" y="15"/>
              </a:cxn>
              <a:cxn ang="0">
                <a:pos x="101" y="7"/>
              </a:cxn>
            </a:cxnLst>
            <a:rect l="0" t="0" r="r" b="b"/>
            <a:pathLst>
              <a:path w="202" h="216">
                <a:moveTo>
                  <a:pt x="95" y="7"/>
                </a:moveTo>
                <a:lnTo>
                  <a:pt x="83" y="7"/>
                </a:lnTo>
                <a:lnTo>
                  <a:pt x="69" y="7"/>
                </a:lnTo>
                <a:lnTo>
                  <a:pt x="55" y="7"/>
                </a:lnTo>
                <a:lnTo>
                  <a:pt x="41" y="7"/>
                </a:lnTo>
                <a:lnTo>
                  <a:pt x="36" y="7"/>
                </a:lnTo>
                <a:lnTo>
                  <a:pt x="33" y="9"/>
                </a:lnTo>
                <a:lnTo>
                  <a:pt x="31" y="4"/>
                </a:lnTo>
                <a:lnTo>
                  <a:pt x="27" y="3"/>
                </a:lnTo>
                <a:lnTo>
                  <a:pt x="25" y="0"/>
                </a:lnTo>
                <a:lnTo>
                  <a:pt x="23" y="0"/>
                </a:lnTo>
                <a:lnTo>
                  <a:pt x="16" y="0"/>
                </a:lnTo>
                <a:lnTo>
                  <a:pt x="13" y="1"/>
                </a:lnTo>
                <a:lnTo>
                  <a:pt x="11" y="4"/>
                </a:lnTo>
                <a:lnTo>
                  <a:pt x="9" y="4"/>
                </a:lnTo>
                <a:lnTo>
                  <a:pt x="7" y="3"/>
                </a:lnTo>
                <a:lnTo>
                  <a:pt x="4" y="6"/>
                </a:lnTo>
                <a:lnTo>
                  <a:pt x="0" y="7"/>
                </a:lnTo>
                <a:lnTo>
                  <a:pt x="0" y="15"/>
                </a:lnTo>
                <a:lnTo>
                  <a:pt x="0" y="17"/>
                </a:lnTo>
                <a:lnTo>
                  <a:pt x="1" y="20"/>
                </a:lnTo>
                <a:lnTo>
                  <a:pt x="1" y="23"/>
                </a:lnTo>
                <a:lnTo>
                  <a:pt x="4" y="28"/>
                </a:lnTo>
                <a:lnTo>
                  <a:pt x="5" y="31"/>
                </a:lnTo>
                <a:lnTo>
                  <a:pt x="8" y="32"/>
                </a:lnTo>
                <a:lnTo>
                  <a:pt x="9" y="36"/>
                </a:lnTo>
                <a:lnTo>
                  <a:pt x="11" y="39"/>
                </a:lnTo>
                <a:lnTo>
                  <a:pt x="12" y="40"/>
                </a:lnTo>
                <a:lnTo>
                  <a:pt x="13" y="43"/>
                </a:lnTo>
                <a:lnTo>
                  <a:pt x="15" y="47"/>
                </a:lnTo>
                <a:lnTo>
                  <a:pt x="16" y="48"/>
                </a:lnTo>
                <a:lnTo>
                  <a:pt x="17" y="51"/>
                </a:lnTo>
                <a:lnTo>
                  <a:pt x="19" y="54"/>
                </a:lnTo>
                <a:lnTo>
                  <a:pt x="23" y="62"/>
                </a:lnTo>
                <a:lnTo>
                  <a:pt x="23" y="64"/>
                </a:lnTo>
                <a:lnTo>
                  <a:pt x="24" y="65"/>
                </a:lnTo>
                <a:lnTo>
                  <a:pt x="24" y="69"/>
                </a:lnTo>
                <a:lnTo>
                  <a:pt x="27" y="73"/>
                </a:lnTo>
                <a:lnTo>
                  <a:pt x="31" y="81"/>
                </a:lnTo>
                <a:lnTo>
                  <a:pt x="32" y="83"/>
                </a:lnTo>
                <a:lnTo>
                  <a:pt x="32" y="86"/>
                </a:lnTo>
                <a:lnTo>
                  <a:pt x="33" y="87"/>
                </a:lnTo>
                <a:lnTo>
                  <a:pt x="39" y="95"/>
                </a:lnTo>
                <a:lnTo>
                  <a:pt x="41" y="102"/>
                </a:lnTo>
                <a:lnTo>
                  <a:pt x="43" y="108"/>
                </a:lnTo>
                <a:lnTo>
                  <a:pt x="41" y="113"/>
                </a:lnTo>
                <a:lnTo>
                  <a:pt x="41" y="124"/>
                </a:lnTo>
                <a:lnTo>
                  <a:pt x="41" y="128"/>
                </a:lnTo>
                <a:lnTo>
                  <a:pt x="43" y="131"/>
                </a:lnTo>
                <a:lnTo>
                  <a:pt x="44" y="135"/>
                </a:lnTo>
                <a:lnTo>
                  <a:pt x="45" y="139"/>
                </a:lnTo>
                <a:lnTo>
                  <a:pt x="47" y="144"/>
                </a:lnTo>
                <a:lnTo>
                  <a:pt x="48" y="147"/>
                </a:lnTo>
                <a:lnTo>
                  <a:pt x="47" y="150"/>
                </a:lnTo>
                <a:lnTo>
                  <a:pt x="48" y="158"/>
                </a:lnTo>
                <a:lnTo>
                  <a:pt x="48" y="161"/>
                </a:lnTo>
                <a:lnTo>
                  <a:pt x="49" y="164"/>
                </a:lnTo>
                <a:lnTo>
                  <a:pt x="49" y="168"/>
                </a:lnTo>
                <a:lnTo>
                  <a:pt x="51" y="169"/>
                </a:lnTo>
                <a:lnTo>
                  <a:pt x="51" y="172"/>
                </a:lnTo>
                <a:lnTo>
                  <a:pt x="52" y="177"/>
                </a:lnTo>
                <a:lnTo>
                  <a:pt x="53" y="180"/>
                </a:lnTo>
                <a:lnTo>
                  <a:pt x="53" y="186"/>
                </a:lnTo>
                <a:lnTo>
                  <a:pt x="59" y="194"/>
                </a:lnTo>
                <a:lnTo>
                  <a:pt x="61" y="199"/>
                </a:lnTo>
                <a:lnTo>
                  <a:pt x="64" y="202"/>
                </a:lnTo>
                <a:lnTo>
                  <a:pt x="67" y="205"/>
                </a:lnTo>
                <a:lnTo>
                  <a:pt x="71" y="208"/>
                </a:lnTo>
                <a:lnTo>
                  <a:pt x="72" y="208"/>
                </a:lnTo>
                <a:lnTo>
                  <a:pt x="73" y="210"/>
                </a:lnTo>
                <a:lnTo>
                  <a:pt x="75" y="210"/>
                </a:lnTo>
                <a:lnTo>
                  <a:pt x="75" y="208"/>
                </a:lnTo>
                <a:lnTo>
                  <a:pt x="77" y="207"/>
                </a:lnTo>
                <a:lnTo>
                  <a:pt x="79" y="204"/>
                </a:lnTo>
                <a:lnTo>
                  <a:pt x="81" y="204"/>
                </a:lnTo>
                <a:lnTo>
                  <a:pt x="89" y="208"/>
                </a:lnTo>
                <a:lnTo>
                  <a:pt x="89" y="211"/>
                </a:lnTo>
                <a:lnTo>
                  <a:pt x="92" y="215"/>
                </a:lnTo>
                <a:lnTo>
                  <a:pt x="96" y="216"/>
                </a:lnTo>
                <a:lnTo>
                  <a:pt x="100" y="215"/>
                </a:lnTo>
                <a:lnTo>
                  <a:pt x="105" y="215"/>
                </a:lnTo>
                <a:lnTo>
                  <a:pt x="108" y="215"/>
                </a:lnTo>
                <a:lnTo>
                  <a:pt x="112" y="215"/>
                </a:lnTo>
                <a:lnTo>
                  <a:pt x="116" y="211"/>
                </a:lnTo>
                <a:lnTo>
                  <a:pt x="120" y="208"/>
                </a:lnTo>
                <a:lnTo>
                  <a:pt x="122" y="207"/>
                </a:lnTo>
                <a:lnTo>
                  <a:pt x="124" y="207"/>
                </a:lnTo>
                <a:lnTo>
                  <a:pt x="124" y="190"/>
                </a:lnTo>
                <a:lnTo>
                  <a:pt x="124" y="174"/>
                </a:lnTo>
                <a:lnTo>
                  <a:pt x="124" y="157"/>
                </a:lnTo>
                <a:lnTo>
                  <a:pt x="124" y="139"/>
                </a:lnTo>
                <a:lnTo>
                  <a:pt x="124" y="124"/>
                </a:lnTo>
                <a:lnTo>
                  <a:pt x="124" y="106"/>
                </a:lnTo>
                <a:lnTo>
                  <a:pt x="124" y="91"/>
                </a:lnTo>
                <a:lnTo>
                  <a:pt x="140" y="91"/>
                </a:lnTo>
                <a:lnTo>
                  <a:pt x="140" y="78"/>
                </a:lnTo>
                <a:lnTo>
                  <a:pt x="140" y="61"/>
                </a:lnTo>
                <a:lnTo>
                  <a:pt x="140" y="43"/>
                </a:lnTo>
                <a:lnTo>
                  <a:pt x="140" y="28"/>
                </a:lnTo>
                <a:lnTo>
                  <a:pt x="141" y="26"/>
                </a:lnTo>
                <a:lnTo>
                  <a:pt x="162" y="21"/>
                </a:lnTo>
                <a:lnTo>
                  <a:pt x="168" y="21"/>
                </a:lnTo>
                <a:lnTo>
                  <a:pt x="169" y="21"/>
                </a:lnTo>
                <a:lnTo>
                  <a:pt x="174" y="21"/>
                </a:lnTo>
                <a:lnTo>
                  <a:pt x="177" y="23"/>
                </a:lnTo>
                <a:lnTo>
                  <a:pt x="178" y="26"/>
                </a:lnTo>
                <a:lnTo>
                  <a:pt x="180" y="31"/>
                </a:lnTo>
                <a:lnTo>
                  <a:pt x="181" y="28"/>
                </a:lnTo>
                <a:lnTo>
                  <a:pt x="184" y="25"/>
                </a:lnTo>
                <a:lnTo>
                  <a:pt x="188" y="21"/>
                </a:lnTo>
                <a:lnTo>
                  <a:pt x="196" y="18"/>
                </a:lnTo>
                <a:lnTo>
                  <a:pt x="197" y="17"/>
                </a:lnTo>
                <a:lnTo>
                  <a:pt x="198" y="15"/>
                </a:lnTo>
                <a:lnTo>
                  <a:pt x="202" y="15"/>
                </a:lnTo>
                <a:lnTo>
                  <a:pt x="200" y="12"/>
                </a:lnTo>
                <a:lnTo>
                  <a:pt x="198" y="10"/>
                </a:lnTo>
                <a:lnTo>
                  <a:pt x="194" y="9"/>
                </a:lnTo>
                <a:lnTo>
                  <a:pt x="189" y="9"/>
                </a:lnTo>
                <a:lnTo>
                  <a:pt x="177" y="12"/>
                </a:lnTo>
                <a:lnTo>
                  <a:pt x="174" y="12"/>
                </a:lnTo>
                <a:lnTo>
                  <a:pt x="174" y="14"/>
                </a:lnTo>
                <a:lnTo>
                  <a:pt x="170" y="14"/>
                </a:lnTo>
                <a:lnTo>
                  <a:pt x="150" y="20"/>
                </a:lnTo>
                <a:lnTo>
                  <a:pt x="148" y="20"/>
                </a:lnTo>
                <a:lnTo>
                  <a:pt x="146" y="20"/>
                </a:lnTo>
                <a:lnTo>
                  <a:pt x="144" y="18"/>
                </a:lnTo>
                <a:lnTo>
                  <a:pt x="140" y="18"/>
                </a:lnTo>
                <a:lnTo>
                  <a:pt x="136" y="18"/>
                </a:lnTo>
                <a:lnTo>
                  <a:pt x="126" y="15"/>
                </a:lnTo>
                <a:lnTo>
                  <a:pt x="120" y="15"/>
                </a:lnTo>
                <a:lnTo>
                  <a:pt x="113" y="17"/>
                </a:lnTo>
                <a:lnTo>
                  <a:pt x="112" y="15"/>
                </a:lnTo>
                <a:lnTo>
                  <a:pt x="106" y="14"/>
                </a:lnTo>
                <a:lnTo>
                  <a:pt x="105" y="10"/>
                </a:lnTo>
                <a:lnTo>
                  <a:pt x="101" y="7"/>
                </a:lnTo>
                <a:lnTo>
                  <a:pt x="95" y="7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79" name="Freeform 1409"/>
          <p:cNvSpPr>
            <a:spLocks/>
          </p:cNvSpPr>
          <p:nvPr/>
        </p:nvSpPr>
        <p:spPr bwMode="auto">
          <a:xfrm>
            <a:off x="2074964" y="1981893"/>
            <a:ext cx="222164" cy="79461"/>
          </a:xfrm>
          <a:custGeom>
            <a:avLst/>
            <a:gdLst/>
            <a:ahLst/>
            <a:cxnLst>
              <a:cxn ang="0">
                <a:pos x="73" y="1"/>
              </a:cxn>
              <a:cxn ang="0">
                <a:pos x="68" y="3"/>
              </a:cxn>
              <a:cxn ang="0">
                <a:pos x="59" y="6"/>
              </a:cxn>
              <a:cxn ang="0">
                <a:pos x="55" y="8"/>
              </a:cxn>
              <a:cxn ang="0">
                <a:pos x="48" y="9"/>
              </a:cxn>
              <a:cxn ang="0">
                <a:pos x="40" y="9"/>
              </a:cxn>
              <a:cxn ang="0">
                <a:pos x="32" y="11"/>
              </a:cxn>
              <a:cxn ang="0">
                <a:pos x="27" y="11"/>
              </a:cxn>
              <a:cxn ang="0">
                <a:pos x="16" y="14"/>
              </a:cxn>
              <a:cxn ang="0">
                <a:pos x="10" y="14"/>
              </a:cxn>
              <a:cxn ang="0">
                <a:pos x="0" y="14"/>
              </a:cxn>
              <a:cxn ang="0">
                <a:pos x="0" y="19"/>
              </a:cxn>
              <a:cxn ang="0">
                <a:pos x="6" y="19"/>
              </a:cxn>
              <a:cxn ang="0">
                <a:pos x="8" y="15"/>
              </a:cxn>
              <a:cxn ang="0">
                <a:pos x="20" y="17"/>
              </a:cxn>
              <a:cxn ang="0">
                <a:pos x="29" y="17"/>
              </a:cxn>
              <a:cxn ang="0">
                <a:pos x="31" y="14"/>
              </a:cxn>
              <a:cxn ang="0">
                <a:pos x="48" y="15"/>
              </a:cxn>
              <a:cxn ang="0">
                <a:pos x="57" y="19"/>
              </a:cxn>
              <a:cxn ang="0">
                <a:pos x="56" y="20"/>
              </a:cxn>
              <a:cxn ang="0">
                <a:pos x="43" y="19"/>
              </a:cxn>
              <a:cxn ang="0">
                <a:pos x="43" y="22"/>
              </a:cxn>
              <a:cxn ang="0">
                <a:pos x="43" y="25"/>
              </a:cxn>
              <a:cxn ang="0">
                <a:pos x="35" y="28"/>
              </a:cxn>
              <a:cxn ang="0">
                <a:pos x="33" y="33"/>
              </a:cxn>
              <a:cxn ang="0">
                <a:pos x="25" y="34"/>
              </a:cxn>
              <a:cxn ang="0">
                <a:pos x="28" y="36"/>
              </a:cxn>
              <a:cxn ang="0">
                <a:pos x="43" y="37"/>
              </a:cxn>
              <a:cxn ang="0">
                <a:pos x="53" y="34"/>
              </a:cxn>
              <a:cxn ang="0">
                <a:pos x="55" y="30"/>
              </a:cxn>
              <a:cxn ang="0">
                <a:pos x="69" y="26"/>
              </a:cxn>
              <a:cxn ang="0">
                <a:pos x="71" y="30"/>
              </a:cxn>
              <a:cxn ang="0">
                <a:pos x="64" y="34"/>
              </a:cxn>
              <a:cxn ang="0">
                <a:pos x="60" y="36"/>
              </a:cxn>
              <a:cxn ang="0">
                <a:pos x="55" y="39"/>
              </a:cxn>
              <a:cxn ang="0">
                <a:pos x="61" y="39"/>
              </a:cxn>
              <a:cxn ang="0">
                <a:pos x="71" y="36"/>
              </a:cxn>
              <a:cxn ang="0">
                <a:pos x="77" y="31"/>
              </a:cxn>
              <a:cxn ang="0">
                <a:pos x="84" y="30"/>
              </a:cxn>
              <a:cxn ang="0">
                <a:pos x="81" y="25"/>
              </a:cxn>
              <a:cxn ang="0">
                <a:pos x="87" y="23"/>
              </a:cxn>
              <a:cxn ang="0">
                <a:pos x="97" y="25"/>
              </a:cxn>
              <a:cxn ang="0">
                <a:pos x="109" y="25"/>
              </a:cxn>
              <a:cxn ang="0">
                <a:pos x="101" y="25"/>
              </a:cxn>
              <a:cxn ang="0">
                <a:pos x="107" y="20"/>
              </a:cxn>
              <a:cxn ang="0">
                <a:pos x="109" y="17"/>
              </a:cxn>
              <a:cxn ang="0">
                <a:pos x="111" y="14"/>
              </a:cxn>
              <a:cxn ang="0">
                <a:pos x="116" y="9"/>
              </a:cxn>
              <a:cxn ang="0">
                <a:pos x="112" y="9"/>
              </a:cxn>
              <a:cxn ang="0">
                <a:pos x="109" y="8"/>
              </a:cxn>
              <a:cxn ang="0">
                <a:pos x="105" y="11"/>
              </a:cxn>
              <a:cxn ang="0">
                <a:pos x="96" y="12"/>
              </a:cxn>
              <a:cxn ang="0">
                <a:pos x="83" y="14"/>
              </a:cxn>
              <a:cxn ang="0">
                <a:pos x="77" y="12"/>
              </a:cxn>
              <a:cxn ang="0">
                <a:pos x="71" y="11"/>
              </a:cxn>
              <a:cxn ang="0">
                <a:pos x="72" y="9"/>
              </a:cxn>
              <a:cxn ang="0">
                <a:pos x="88" y="4"/>
              </a:cxn>
              <a:cxn ang="0">
                <a:pos x="92" y="3"/>
              </a:cxn>
              <a:cxn ang="0">
                <a:pos x="87" y="1"/>
              </a:cxn>
              <a:cxn ang="0">
                <a:pos x="83" y="1"/>
              </a:cxn>
              <a:cxn ang="0">
                <a:pos x="77" y="0"/>
              </a:cxn>
            </a:cxnLst>
            <a:rect l="0" t="0" r="r" b="b"/>
            <a:pathLst>
              <a:path w="116" h="41">
                <a:moveTo>
                  <a:pt x="77" y="0"/>
                </a:moveTo>
                <a:lnTo>
                  <a:pt x="75" y="1"/>
                </a:lnTo>
                <a:lnTo>
                  <a:pt x="73" y="1"/>
                </a:lnTo>
                <a:lnTo>
                  <a:pt x="73" y="3"/>
                </a:lnTo>
                <a:lnTo>
                  <a:pt x="71" y="4"/>
                </a:lnTo>
                <a:lnTo>
                  <a:pt x="68" y="3"/>
                </a:lnTo>
                <a:lnTo>
                  <a:pt x="61" y="4"/>
                </a:lnTo>
                <a:lnTo>
                  <a:pt x="60" y="6"/>
                </a:lnTo>
                <a:lnTo>
                  <a:pt x="59" y="6"/>
                </a:lnTo>
                <a:lnTo>
                  <a:pt x="57" y="6"/>
                </a:lnTo>
                <a:lnTo>
                  <a:pt x="57" y="8"/>
                </a:lnTo>
                <a:lnTo>
                  <a:pt x="55" y="8"/>
                </a:lnTo>
                <a:lnTo>
                  <a:pt x="52" y="8"/>
                </a:lnTo>
                <a:lnTo>
                  <a:pt x="49" y="9"/>
                </a:lnTo>
                <a:lnTo>
                  <a:pt x="48" y="9"/>
                </a:lnTo>
                <a:lnTo>
                  <a:pt x="44" y="9"/>
                </a:lnTo>
                <a:lnTo>
                  <a:pt x="43" y="9"/>
                </a:lnTo>
                <a:lnTo>
                  <a:pt x="40" y="9"/>
                </a:lnTo>
                <a:lnTo>
                  <a:pt x="35" y="9"/>
                </a:lnTo>
                <a:lnTo>
                  <a:pt x="33" y="11"/>
                </a:lnTo>
                <a:lnTo>
                  <a:pt x="32" y="11"/>
                </a:lnTo>
                <a:lnTo>
                  <a:pt x="31" y="11"/>
                </a:lnTo>
                <a:lnTo>
                  <a:pt x="31" y="9"/>
                </a:lnTo>
                <a:lnTo>
                  <a:pt x="27" y="11"/>
                </a:lnTo>
                <a:lnTo>
                  <a:pt x="24" y="11"/>
                </a:lnTo>
                <a:lnTo>
                  <a:pt x="17" y="14"/>
                </a:lnTo>
                <a:lnTo>
                  <a:pt x="16" y="14"/>
                </a:lnTo>
                <a:lnTo>
                  <a:pt x="14" y="12"/>
                </a:lnTo>
                <a:lnTo>
                  <a:pt x="12" y="12"/>
                </a:lnTo>
                <a:lnTo>
                  <a:pt x="10" y="14"/>
                </a:lnTo>
                <a:lnTo>
                  <a:pt x="4" y="14"/>
                </a:lnTo>
                <a:lnTo>
                  <a:pt x="2" y="14"/>
                </a:lnTo>
                <a:lnTo>
                  <a:pt x="0" y="14"/>
                </a:lnTo>
                <a:lnTo>
                  <a:pt x="0" y="15"/>
                </a:lnTo>
                <a:lnTo>
                  <a:pt x="0" y="17"/>
                </a:lnTo>
                <a:lnTo>
                  <a:pt x="0" y="19"/>
                </a:lnTo>
                <a:lnTo>
                  <a:pt x="4" y="20"/>
                </a:lnTo>
                <a:lnTo>
                  <a:pt x="4" y="19"/>
                </a:lnTo>
                <a:lnTo>
                  <a:pt x="6" y="19"/>
                </a:lnTo>
                <a:lnTo>
                  <a:pt x="7" y="19"/>
                </a:lnTo>
                <a:lnTo>
                  <a:pt x="7" y="17"/>
                </a:lnTo>
                <a:lnTo>
                  <a:pt x="8" y="15"/>
                </a:lnTo>
                <a:lnTo>
                  <a:pt x="14" y="15"/>
                </a:lnTo>
                <a:lnTo>
                  <a:pt x="15" y="17"/>
                </a:lnTo>
                <a:lnTo>
                  <a:pt x="20" y="17"/>
                </a:lnTo>
                <a:lnTo>
                  <a:pt x="27" y="15"/>
                </a:lnTo>
                <a:lnTo>
                  <a:pt x="28" y="17"/>
                </a:lnTo>
                <a:lnTo>
                  <a:pt x="29" y="17"/>
                </a:lnTo>
                <a:lnTo>
                  <a:pt x="31" y="17"/>
                </a:lnTo>
                <a:lnTo>
                  <a:pt x="31" y="15"/>
                </a:lnTo>
                <a:lnTo>
                  <a:pt x="31" y="14"/>
                </a:lnTo>
                <a:lnTo>
                  <a:pt x="36" y="15"/>
                </a:lnTo>
                <a:lnTo>
                  <a:pt x="44" y="15"/>
                </a:lnTo>
                <a:lnTo>
                  <a:pt x="48" y="15"/>
                </a:lnTo>
                <a:lnTo>
                  <a:pt x="52" y="17"/>
                </a:lnTo>
                <a:lnTo>
                  <a:pt x="53" y="19"/>
                </a:lnTo>
                <a:lnTo>
                  <a:pt x="57" y="19"/>
                </a:lnTo>
                <a:lnTo>
                  <a:pt x="59" y="19"/>
                </a:lnTo>
                <a:lnTo>
                  <a:pt x="57" y="20"/>
                </a:lnTo>
                <a:lnTo>
                  <a:pt x="56" y="20"/>
                </a:lnTo>
                <a:lnTo>
                  <a:pt x="51" y="20"/>
                </a:lnTo>
                <a:lnTo>
                  <a:pt x="45" y="20"/>
                </a:lnTo>
                <a:lnTo>
                  <a:pt x="43" y="19"/>
                </a:lnTo>
                <a:lnTo>
                  <a:pt x="39" y="19"/>
                </a:lnTo>
                <a:lnTo>
                  <a:pt x="39" y="20"/>
                </a:lnTo>
                <a:lnTo>
                  <a:pt x="43" y="22"/>
                </a:lnTo>
                <a:lnTo>
                  <a:pt x="44" y="22"/>
                </a:lnTo>
                <a:lnTo>
                  <a:pt x="44" y="25"/>
                </a:lnTo>
                <a:lnTo>
                  <a:pt x="43" y="25"/>
                </a:lnTo>
                <a:lnTo>
                  <a:pt x="41" y="26"/>
                </a:lnTo>
                <a:lnTo>
                  <a:pt x="37" y="26"/>
                </a:lnTo>
                <a:lnTo>
                  <a:pt x="35" y="28"/>
                </a:lnTo>
                <a:lnTo>
                  <a:pt x="35" y="30"/>
                </a:lnTo>
                <a:lnTo>
                  <a:pt x="35" y="31"/>
                </a:lnTo>
                <a:lnTo>
                  <a:pt x="33" y="33"/>
                </a:lnTo>
                <a:lnTo>
                  <a:pt x="31" y="33"/>
                </a:lnTo>
                <a:lnTo>
                  <a:pt x="25" y="33"/>
                </a:lnTo>
                <a:lnTo>
                  <a:pt x="25" y="34"/>
                </a:lnTo>
                <a:lnTo>
                  <a:pt x="27" y="34"/>
                </a:lnTo>
                <a:lnTo>
                  <a:pt x="27" y="36"/>
                </a:lnTo>
                <a:lnTo>
                  <a:pt x="28" y="36"/>
                </a:lnTo>
                <a:lnTo>
                  <a:pt x="32" y="37"/>
                </a:lnTo>
                <a:lnTo>
                  <a:pt x="39" y="37"/>
                </a:lnTo>
                <a:lnTo>
                  <a:pt x="43" y="37"/>
                </a:lnTo>
                <a:lnTo>
                  <a:pt x="44" y="37"/>
                </a:lnTo>
                <a:lnTo>
                  <a:pt x="47" y="37"/>
                </a:lnTo>
                <a:lnTo>
                  <a:pt x="53" y="34"/>
                </a:lnTo>
                <a:lnTo>
                  <a:pt x="53" y="33"/>
                </a:lnTo>
                <a:lnTo>
                  <a:pt x="55" y="31"/>
                </a:lnTo>
                <a:lnTo>
                  <a:pt x="55" y="30"/>
                </a:lnTo>
                <a:lnTo>
                  <a:pt x="63" y="26"/>
                </a:lnTo>
                <a:lnTo>
                  <a:pt x="65" y="26"/>
                </a:lnTo>
                <a:lnTo>
                  <a:pt x="69" y="26"/>
                </a:lnTo>
                <a:lnTo>
                  <a:pt x="71" y="26"/>
                </a:lnTo>
                <a:lnTo>
                  <a:pt x="71" y="28"/>
                </a:lnTo>
                <a:lnTo>
                  <a:pt x="71" y="30"/>
                </a:lnTo>
                <a:lnTo>
                  <a:pt x="69" y="33"/>
                </a:lnTo>
                <a:lnTo>
                  <a:pt x="65" y="34"/>
                </a:lnTo>
                <a:lnTo>
                  <a:pt x="64" y="34"/>
                </a:lnTo>
                <a:lnTo>
                  <a:pt x="63" y="34"/>
                </a:lnTo>
                <a:lnTo>
                  <a:pt x="63" y="36"/>
                </a:lnTo>
                <a:lnTo>
                  <a:pt x="60" y="36"/>
                </a:lnTo>
                <a:lnTo>
                  <a:pt x="59" y="37"/>
                </a:lnTo>
                <a:lnTo>
                  <a:pt x="57" y="37"/>
                </a:lnTo>
                <a:lnTo>
                  <a:pt x="55" y="39"/>
                </a:lnTo>
                <a:lnTo>
                  <a:pt x="56" y="41"/>
                </a:lnTo>
                <a:lnTo>
                  <a:pt x="57" y="41"/>
                </a:lnTo>
                <a:lnTo>
                  <a:pt x="61" y="39"/>
                </a:lnTo>
                <a:lnTo>
                  <a:pt x="65" y="37"/>
                </a:lnTo>
                <a:lnTo>
                  <a:pt x="69" y="37"/>
                </a:lnTo>
                <a:lnTo>
                  <a:pt x="71" y="36"/>
                </a:lnTo>
                <a:lnTo>
                  <a:pt x="73" y="34"/>
                </a:lnTo>
                <a:lnTo>
                  <a:pt x="79" y="33"/>
                </a:lnTo>
                <a:lnTo>
                  <a:pt x="77" y="31"/>
                </a:lnTo>
                <a:lnTo>
                  <a:pt x="80" y="31"/>
                </a:lnTo>
                <a:lnTo>
                  <a:pt x="85" y="31"/>
                </a:lnTo>
                <a:lnTo>
                  <a:pt x="84" y="30"/>
                </a:lnTo>
                <a:lnTo>
                  <a:pt x="79" y="28"/>
                </a:lnTo>
                <a:lnTo>
                  <a:pt x="79" y="26"/>
                </a:lnTo>
                <a:lnTo>
                  <a:pt x="81" y="25"/>
                </a:lnTo>
                <a:lnTo>
                  <a:pt x="81" y="23"/>
                </a:lnTo>
                <a:lnTo>
                  <a:pt x="84" y="23"/>
                </a:lnTo>
                <a:lnTo>
                  <a:pt x="87" y="23"/>
                </a:lnTo>
                <a:lnTo>
                  <a:pt x="91" y="22"/>
                </a:lnTo>
                <a:lnTo>
                  <a:pt x="95" y="23"/>
                </a:lnTo>
                <a:lnTo>
                  <a:pt x="97" y="25"/>
                </a:lnTo>
                <a:lnTo>
                  <a:pt x="99" y="25"/>
                </a:lnTo>
                <a:lnTo>
                  <a:pt x="101" y="25"/>
                </a:lnTo>
                <a:lnTo>
                  <a:pt x="109" y="25"/>
                </a:lnTo>
                <a:lnTo>
                  <a:pt x="109" y="23"/>
                </a:lnTo>
                <a:lnTo>
                  <a:pt x="105" y="23"/>
                </a:lnTo>
                <a:lnTo>
                  <a:pt x="101" y="25"/>
                </a:lnTo>
                <a:lnTo>
                  <a:pt x="100" y="25"/>
                </a:lnTo>
                <a:lnTo>
                  <a:pt x="101" y="23"/>
                </a:lnTo>
                <a:lnTo>
                  <a:pt x="107" y="20"/>
                </a:lnTo>
                <a:lnTo>
                  <a:pt x="105" y="20"/>
                </a:lnTo>
                <a:lnTo>
                  <a:pt x="109" y="19"/>
                </a:lnTo>
                <a:lnTo>
                  <a:pt x="109" y="17"/>
                </a:lnTo>
                <a:lnTo>
                  <a:pt x="113" y="15"/>
                </a:lnTo>
                <a:lnTo>
                  <a:pt x="113" y="14"/>
                </a:lnTo>
                <a:lnTo>
                  <a:pt x="111" y="14"/>
                </a:lnTo>
                <a:lnTo>
                  <a:pt x="113" y="12"/>
                </a:lnTo>
                <a:lnTo>
                  <a:pt x="115" y="11"/>
                </a:lnTo>
                <a:lnTo>
                  <a:pt x="116" y="9"/>
                </a:lnTo>
                <a:lnTo>
                  <a:pt x="115" y="11"/>
                </a:lnTo>
                <a:lnTo>
                  <a:pt x="112" y="11"/>
                </a:lnTo>
                <a:lnTo>
                  <a:pt x="112" y="9"/>
                </a:lnTo>
                <a:lnTo>
                  <a:pt x="115" y="8"/>
                </a:lnTo>
                <a:lnTo>
                  <a:pt x="113" y="8"/>
                </a:lnTo>
                <a:lnTo>
                  <a:pt x="109" y="8"/>
                </a:lnTo>
                <a:lnTo>
                  <a:pt x="104" y="9"/>
                </a:lnTo>
                <a:lnTo>
                  <a:pt x="104" y="11"/>
                </a:lnTo>
                <a:lnTo>
                  <a:pt x="105" y="11"/>
                </a:lnTo>
                <a:lnTo>
                  <a:pt x="103" y="12"/>
                </a:lnTo>
                <a:lnTo>
                  <a:pt x="99" y="12"/>
                </a:lnTo>
                <a:lnTo>
                  <a:pt x="96" y="12"/>
                </a:lnTo>
                <a:lnTo>
                  <a:pt x="92" y="14"/>
                </a:lnTo>
                <a:lnTo>
                  <a:pt x="88" y="12"/>
                </a:lnTo>
                <a:lnTo>
                  <a:pt x="83" y="14"/>
                </a:lnTo>
                <a:lnTo>
                  <a:pt x="83" y="12"/>
                </a:lnTo>
                <a:lnTo>
                  <a:pt x="81" y="12"/>
                </a:lnTo>
                <a:lnTo>
                  <a:pt x="77" y="12"/>
                </a:lnTo>
                <a:lnTo>
                  <a:pt x="73" y="12"/>
                </a:lnTo>
                <a:lnTo>
                  <a:pt x="72" y="12"/>
                </a:lnTo>
                <a:lnTo>
                  <a:pt x="71" y="11"/>
                </a:lnTo>
                <a:lnTo>
                  <a:pt x="73" y="11"/>
                </a:lnTo>
                <a:lnTo>
                  <a:pt x="73" y="9"/>
                </a:lnTo>
                <a:lnTo>
                  <a:pt x="72" y="9"/>
                </a:lnTo>
                <a:lnTo>
                  <a:pt x="76" y="8"/>
                </a:lnTo>
                <a:lnTo>
                  <a:pt x="81" y="6"/>
                </a:lnTo>
                <a:lnTo>
                  <a:pt x="88" y="4"/>
                </a:lnTo>
                <a:lnTo>
                  <a:pt x="88" y="3"/>
                </a:lnTo>
                <a:lnTo>
                  <a:pt x="89" y="3"/>
                </a:lnTo>
                <a:lnTo>
                  <a:pt x="92" y="3"/>
                </a:lnTo>
                <a:lnTo>
                  <a:pt x="91" y="3"/>
                </a:lnTo>
                <a:lnTo>
                  <a:pt x="88" y="3"/>
                </a:lnTo>
                <a:lnTo>
                  <a:pt x="87" y="1"/>
                </a:lnTo>
                <a:lnTo>
                  <a:pt x="85" y="1"/>
                </a:lnTo>
                <a:lnTo>
                  <a:pt x="84" y="1"/>
                </a:lnTo>
                <a:lnTo>
                  <a:pt x="83" y="1"/>
                </a:lnTo>
                <a:lnTo>
                  <a:pt x="81" y="1"/>
                </a:lnTo>
                <a:lnTo>
                  <a:pt x="79" y="1"/>
                </a:lnTo>
                <a:lnTo>
                  <a:pt x="77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80" name="Freeform 1410"/>
          <p:cNvSpPr>
            <a:spLocks/>
          </p:cNvSpPr>
          <p:nvPr/>
        </p:nvSpPr>
        <p:spPr bwMode="auto">
          <a:xfrm>
            <a:off x="2474472" y="2228866"/>
            <a:ext cx="140315" cy="47248"/>
          </a:xfrm>
          <a:custGeom>
            <a:avLst/>
            <a:gdLst/>
            <a:ahLst/>
            <a:cxnLst>
              <a:cxn ang="0">
                <a:pos x="0" y="22"/>
              </a:cxn>
              <a:cxn ang="0">
                <a:pos x="1" y="21"/>
              </a:cxn>
              <a:cxn ang="0">
                <a:pos x="7" y="19"/>
              </a:cxn>
              <a:cxn ang="0">
                <a:pos x="9" y="16"/>
              </a:cxn>
              <a:cxn ang="0">
                <a:pos x="15" y="14"/>
              </a:cxn>
              <a:cxn ang="0">
                <a:pos x="20" y="10"/>
              </a:cxn>
              <a:cxn ang="0">
                <a:pos x="23" y="8"/>
              </a:cxn>
              <a:cxn ang="0">
                <a:pos x="28" y="5"/>
              </a:cxn>
              <a:cxn ang="0">
                <a:pos x="31" y="3"/>
              </a:cxn>
              <a:cxn ang="0">
                <a:pos x="28" y="2"/>
              </a:cxn>
              <a:cxn ang="0">
                <a:pos x="34" y="0"/>
              </a:cxn>
              <a:cxn ang="0">
                <a:pos x="40" y="2"/>
              </a:cxn>
              <a:cxn ang="0">
                <a:pos x="38" y="3"/>
              </a:cxn>
              <a:cxn ang="0">
                <a:pos x="36" y="3"/>
              </a:cxn>
              <a:cxn ang="0">
                <a:pos x="31" y="7"/>
              </a:cxn>
              <a:cxn ang="0">
                <a:pos x="33" y="8"/>
              </a:cxn>
              <a:cxn ang="0">
                <a:pos x="38" y="7"/>
              </a:cxn>
              <a:cxn ang="0">
                <a:pos x="37" y="8"/>
              </a:cxn>
              <a:cxn ang="0">
                <a:pos x="36" y="11"/>
              </a:cxn>
              <a:cxn ang="0">
                <a:pos x="42" y="10"/>
              </a:cxn>
              <a:cxn ang="0">
                <a:pos x="53" y="8"/>
              </a:cxn>
              <a:cxn ang="0">
                <a:pos x="53" y="10"/>
              </a:cxn>
              <a:cxn ang="0">
                <a:pos x="56" y="11"/>
              </a:cxn>
              <a:cxn ang="0">
                <a:pos x="68" y="11"/>
              </a:cxn>
              <a:cxn ang="0">
                <a:pos x="72" y="13"/>
              </a:cxn>
              <a:cxn ang="0">
                <a:pos x="65" y="13"/>
              </a:cxn>
              <a:cxn ang="0">
                <a:pos x="56" y="13"/>
              </a:cxn>
              <a:cxn ang="0">
                <a:pos x="52" y="13"/>
              </a:cxn>
              <a:cxn ang="0">
                <a:pos x="45" y="14"/>
              </a:cxn>
              <a:cxn ang="0">
                <a:pos x="33" y="16"/>
              </a:cxn>
              <a:cxn ang="0">
                <a:pos x="24" y="16"/>
              </a:cxn>
              <a:cxn ang="0">
                <a:pos x="16" y="19"/>
              </a:cxn>
              <a:cxn ang="0">
                <a:pos x="16" y="21"/>
              </a:cxn>
              <a:cxn ang="0">
                <a:pos x="15" y="22"/>
              </a:cxn>
              <a:cxn ang="0">
                <a:pos x="12" y="24"/>
              </a:cxn>
              <a:cxn ang="0">
                <a:pos x="4" y="24"/>
              </a:cxn>
              <a:cxn ang="0">
                <a:pos x="1" y="22"/>
              </a:cxn>
            </a:cxnLst>
            <a:rect l="0" t="0" r="r" b="b"/>
            <a:pathLst>
              <a:path w="73" h="24">
                <a:moveTo>
                  <a:pt x="1" y="22"/>
                </a:moveTo>
                <a:lnTo>
                  <a:pt x="0" y="22"/>
                </a:lnTo>
                <a:lnTo>
                  <a:pt x="1" y="22"/>
                </a:lnTo>
                <a:lnTo>
                  <a:pt x="1" y="21"/>
                </a:lnTo>
                <a:lnTo>
                  <a:pt x="3" y="21"/>
                </a:lnTo>
                <a:lnTo>
                  <a:pt x="7" y="19"/>
                </a:lnTo>
                <a:lnTo>
                  <a:pt x="8" y="18"/>
                </a:lnTo>
                <a:lnTo>
                  <a:pt x="9" y="16"/>
                </a:lnTo>
                <a:lnTo>
                  <a:pt x="12" y="14"/>
                </a:lnTo>
                <a:lnTo>
                  <a:pt x="15" y="14"/>
                </a:lnTo>
                <a:lnTo>
                  <a:pt x="17" y="13"/>
                </a:lnTo>
                <a:lnTo>
                  <a:pt x="20" y="10"/>
                </a:lnTo>
                <a:lnTo>
                  <a:pt x="21" y="8"/>
                </a:lnTo>
                <a:lnTo>
                  <a:pt x="23" y="8"/>
                </a:lnTo>
                <a:lnTo>
                  <a:pt x="23" y="7"/>
                </a:lnTo>
                <a:lnTo>
                  <a:pt x="28" y="5"/>
                </a:lnTo>
                <a:lnTo>
                  <a:pt x="31" y="5"/>
                </a:lnTo>
                <a:lnTo>
                  <a:pt x="31" y="3"/>
                </a:lnTo>
                <a:lnTo>
                  <a:pt x="27" y="2"/>
                </a:lnTo>
                <a:lnTo>
                  <a:pt x="28" y="2"/>
                </a:lnTo>
                <a:lnTo>
                  <a:pt x="29" y="0"/>
                </a:lnTo>
                <a:lnTo>
                  <a:pt x="34" y="0"/>
                </a:lnTo>
                <a:lnTo>
                  <a:pt x="36" y="2"/>
                </a:lnTo>
                <a:lnTo>
                  <a:pt x="40" y="2"/>
                </a:lnTo>
                <a:lnTo>
                  <a:pt x="41" y="2"/>
                </a:lnTo>
                <a:lnTo>
                  <a:pt x="38" y="3"/>
                </a:lnTo>
                <a:lnTo>
                  <a:pt x="37" y="3"/>
                </a:lnTo>
                <a:lnTo>
                  <a:pt x="36" y="3"/>
                </a:lnTo>
                <a:lnTo>
                  <a:pt x="32" y="5"/>
                </a:lnTo>
                <a:lnTo>
                  <a:pt x="31" y="7"/>
                </a:lnTo>
                <a:lnTo>
                  <a:pt x="32" y="8"/>
                </a:lnTo>
                <a:lnTo>
                  <a:pt x="33" y="8"/>
                </a:lnTo>
                <a:lnTo>
                  <a:pt x="34" y="8"/>
                </a:lnTo>
                <a:lnTo>
                  <a:pt x="38" y="7"/>
                </a:lnTo>
                <a:lnTo>
                  <a:pt x="40" y="8"/>
                </a:lnTo>
                <a:lnTo>
                  <a:pt x="37" y="8"/>
                </a:lnTo>
                <a:lnTo>
                  <a:pt x="36" y="10"/>
                </a:lnTo>
                <a:lnTo>
                  <a:pt x="36" y="11"/>
                </a:lnTo>
                <a:lnTo>
                  <a:pt x="38" y="11"/>
                </a:lnTo>
                <a:lnTo>
                  <a:pt x="42" y="10"/>
                </a:lnTo>
                <a:lnTo>
                  <a:pt x="52" y="10"/>
                </a:lnTo>
                <a:lnTo>
                  <a:pt x="53" y="8"/>
                </a:lnTo>
                <a:lnTo>
                  <a:pt x="54" y="10"/>
                </a:lnTo>
                <a:lnTo>
                  <a:pt x="53" y="10"/>
                </a:lnTo>
                <a:lnTo>
                  <a:pt x="56" y="10"/>
                </a:lnTo>
                <a:lnTo>
                  <a:pt x="56" y="11"/>
                </a:lnTo>
                <a:lnTo>
                  <a:pt x="57" y="11"/>
                </a:lnTo>
                <a:lnTo>
                  <a:pt x="68" y="11"/>
                </a:lnTo>
                <a:lnTo>
                  <a:pt x="73" y="11"/>
                </a:lnTo>
                <a:lnTo>
                  <a:pt x="72" y="13"/>
                </a:lnTo>
                <a:lnTo>
                  <a:pt x="69" y="13"/>
                </a:lnTo>
                <a:lnTo>
                  <a:pt x="65" y="13"/>
                </a:lnTo>
                <a:lnTo>
                  <a:pt x="62" y="13"/>
                </a:lnTo>
                <a:lnTo>
                  <a:pt x="56" y="13"/>
                </a:lnTo>
                <a:lnTo>
                  <a:pt x="53" y="13"/>
                </a:lnTo>
                <a:lnTo>
                  <a:pt x="52" y="13"/>
                </a:lnTo>
                <a:lnTo>
                  <a:pt x="50" y="14"/>
                </a:lnTo>
                <a:lnTo>
                  <a:pt x="45" y="14"/>
                </a:lnTo>
                <a:lnTo>
                  <a:pt x="42" y="14"/>
                </a:lnTo>
                <a:lnTo>
                  <a:pt x="33" y="16"/>
                </a:lnTo>
                <a:lnTo>
                  <a:pt x="31" y="14"/>
                </a:lnTo>
                <a:lnTo>
                  <a:pt x="24" y="16"/>
                </a:lnTo>
                <a:lnTo>
                  <a:pt x="19" y="18"/>
                </a:lnTo>
                <a:lnTo>
                  <a:pt x="16" y="19"/>
                </a:lnTo>
                <a:lnTo>
                  <a:pt x="15" y="21"/>
                </a:lnTo>
                <a:lnTo>
                  <a:pt x="16" y="21"/>
                </a:lnTo>
                <a:lnTo>
                  <a:pt x="16" y="22"/>
                </a:lnTo>
                <a:lnTo>
                  <a:pt x="15" y="22"/>
                </a:lnTo>
                <a:lnTo>
                  <a:pt x="13" y="24"/>
                </a:lnTo>
                <a:lnTo>
                  <a:pt x="12" y="24"/>
                </a:lnTo>
                <a:lnTo>
                  <a:pt x="9" y="24"/>
                </a:lnTo>
                <a:lnTo>
                  <a:pt x="4" y="24"/>
                </a:lnTo>
                <a:lnTo>
                  <a:pt x="3" y="22"/>
                </a:lnTo>
                <a:lnTo>
                  <a:pt x="1" y="22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81" name="Freeform 1411"/>
          <p:cNvSpPr>
            <a:spLocks/>
          </p:cNvSpPr>
          <p:nvPr/>
        </p:nvSpPr>
        <p:spPr bwMode="auto">
          <a:xfrm>
            <a:off x="2474472" y="2228866"/>
            <a:ext cx="140315" cy="47248"/>
          </a:xfrm>
          <a:custGeom>
            <a:avLst/>
            <a:gdLst/>
            <a:ahLst/>
            <a:cxnLst>
              <a:cxn ang="0">
                <a:pos x="0" y="22"/>
              </a:cxn>
              <a:cxn ang="0">
                <a:pos x="1" y="21"/>
              </a:cxn>
              <a:cxn ang="0">
                <a:pos x="7" y="19"/>
              </a:cxn>
              <a:cxn ang="0">
                <a:pos x="9" y="16"/>
              </a:cxn>
              <a:cxn ang="0">
                <a:pos x="15" y="14"/>
              </a:cxn>
              <a:cxn ang="0">
                <a:pos x="20" y="10"/>
              </a:cxn>
              <a:cxn ang="0">
                <a:pos x="23" y="8"/>
              </a:cxn>
              <a:cxn ang="0">
                <a:pos x="28" y="5"/>
              </a:cxn>
              <a:cxn ang="0">
                <a:pos x="31" y="3"/>
              </a:cxn>
              <a:cxn ang="0">
                <a:pos x="28" y="2"/>
              </a:cxn>
              <a:cxn ang="0">
                <a:pos x="34" y="0"/>
              </a:cxn>
              <a:cxn ang="0">
                <a:pos x="40" y="2"/>
              </a:cxn>
              <a:cxn ang="0">
                <a:pos x="38" y="3"/>
              </a:cxn>
              <a:cxn ang="0">
                <a:pos x="36" y="3"/>
              </a:cxn>
              <a:cxn ang="0">
                <a:pos x="31" y="7"/>
              </a:cxn>
              <a:cxn ang="0">
                <a:pos x="33" y="8"/>
              </a:cxn>
              <a:cxn ang="0">
                <a:pos x="38" y="7"/>
              </a:cxn>
              <a:cxn ang="0">
                <a:pos x="37" y="8"/>
              </a:cxn>
              <a:cxn ang="0">
                <a:pos x="36" y="11"/>
              </a:cxn>
              <a:cxn ang="0">
                <a:pos x="42" y="10"/>
              </a:cxn>
              <a:cxn ang="0">
                <a:pos x="53" y="8"/>
              </a:cxn>
              <a:cxn ang="0">
                <a:pos x="53" y="10"/>
              </a:cxn>
              <a:cxn ang="0">
                <a:pos x="56" y="11"/>
              </a:cxn>
              <a:cxn ang="0">
                <a:pos x="68" y="11"/>
              </a:cxn>
              <a:cxn ang="0">
                <a:pos x="72" y="13"/>
              </a:cxn>
              <a:cxn ang="0">
                <a:pos x="65" y="13"/>
              </a:cxn>
              <a:cxn ang="0">
                <a:pos x="56" y="13"/>
              </a:cxn>
              <a:cxn ang="0">
                <a:pos x="52" y="13"/>
              </a:cxn>
              <a:cxn ang="0">
                <a:pos x="45" y="14"/>
              </a:cxn>
              <a:cxn ang="0">
                <a:pos x="33" y="16"/>
              </a:cxn>
              <a:cxn ang="0">
                <a:pos x="24" y="16"/>
              </a:cxn>
              <a:cxn ang="0">
                <a:pos x="16" y="19"/>
              </a:cxn>
              <a:cxn ang="0">
                <a:pos x="16" y="21"/>
              </a:cxn>
              <a:cxn ang="0">
                <a:pos x="15" y="22"/>
              </a:cxn>
              <a:cxn ang="0">
                <a:pos x="12" y="24"/>
              </a:cxn>
              <a:cxn ang="0">
                <a:pos x="4" y="24"/>
              </a:cxn>
              <a:cxn ang="0">
                <a:pos x="1" y="22"/>
              </a:cxn>
            </a:cxnLst>
            <a:rect l="0" t="0" r="r" b="b"/>
            <a:pathLst>
              <a:path w="73" h="24">
                <a:moveTo>
                  <a:pt x="1" y="22"/>
                </a:moveTo>
                <a:lnTo>
                  <a:pt x="0" y="22"/>
                </a:lnTo>
                <a:lnTo>
                  <a:pt x="1" y="22"/>
                </a:lnTo>
                <a:lnTo>
                  <a:pt x="1" y="21"/>
                </a:lnTo>
                <a:lnTo>
                  <a:pt x="3" y="21"/>
                </a:lnTo>
                <a:lnTo>
                  <a:pt x="7" y="19"/>
                </a:lnTo>
                <a:lnTo>
                  <a:pt x="8" y="18"/>
                </a:lnTo>
                <a:lnTo>
                  <a:pt x="9" y="16"/>
                </a:lnTo>
                <a:lnTo>
                  <a:pt x="12" y="14"/>
                </a:lnTo>
                <a:lnTo>
                  <a:pt x="15" y="14"/>
                </a:lnTo>
                <a:lnTo>
                  <a:pt x="17" y="13"/>
                </a:lnTo>
                <a:lnTo>
                  <a:pt x="20" y="10"/>
                </a:lnTo>
                <a:lnTo>
                  <a:pt x="21" y="8"/>
                </a:lnTo>
                <a:lnTo>
                  <a:pt x="23" y="8"/>
                </a:lnTo>
                <a:lnTo>
                  <a:pt x="23" y="7"/>
                </a:lnTo>
                <a:lnTo>
                  <a:pt x="28" y="5"/>
                </a:lnTo>
                <a:lnTo>
                  <a:pt x="31" y="5"/>
                </a:lnTo>
                <a:lnTo>
                  <a:pt x="31" y="3"/>
                </a:lnTo>
                <a:lnTo>
                  <a:pt x="27" y="2"/>
                </a:lnTo>
                <a:lnTo>
                  <a:pt x="28" y="2"/>
                </a:lnTo>
                <a:lnTo>
                  <a:pt x="29" y="0"/>
                </a:lnTo>
                <a:lnTo>
                  <a:pt x="34" y="0"/>
                </a:lnTo>
                <a:lnTo>
                  <a:pt x="36" y="2"/>
                </a:lnTo>
                <a:lnTo>
                  <a:pt x="40" y="2"/>
                </a:lnTo>
                <a:lnTo>
                  <a:pt x="41" y="2"/>
                </a:lnTo>
                <a:lnTo>
                  <a:pt x="38" y="3"/>
                </a:lnTo>
                <a:lnTo>
                  <a:pt x="37" y="3"/>
                </a:lnTo>
                <a:lnTo>
                  <a:pt x="36" y="3"/>
                </a:lnTo>
                <a:lnTo>
                  <a:pt x="32" y="5"/>
                </a:lnTo>
                <a:lnTo>
                  <a:pt x="31" y="7"/>
                </a:lnTo>
                <a:lnTo>
                  <a:pt x="32" y="8"/>
                </a:lnTo>
                <a:lnTo>
                  <a:pt x="33" y="8"/>
                </a:lnTo>
                <a:lnTo>
                  <a:pt x="34" y="8"/>
                </a:lnTo>
                <a:lnTo>
                  <a:pt x="38" y="7"/>
                </a:lnTo>
                <a:lnTo>
                  <a:pt x="40" y="8"/>
                </a:lnTo>
                <a:lnTo>
                  <a:pt x="37" y="8"/>
                </a:lnTo>
                <a:lnTo>
                  <a:pt x="36" y="10"/>
                </a:lnTo>
                <a:lnTo>
                  <a:pt x="36" y="11"/>
                </a:lnTo>
                <a:lnTo>
                  <a:pt x="38" y="11"/>
                </a:lnTo>
                <a:lnTo>
                  <a:pt x="42" y="10"/>
                </a:lnTo>
                <a:lnTo>
                  <a:pt x="52" y="10"/>
                </a:lnTo>
                <a:lnTo>
                  <a:pt x="53" y="8"/>
                </a:lnTo>
                <a:lnTo>
                  <a:pt x="54" y="10"/>
                </a:lnTo>
                <a:lnTo>
                  <a:pt x="53" y="10"/>
                </a:lnTo>
                <a:lnTo>
                  <a:pt x="56" y="10"/>
                </a:lnTo>
                <a:lnTo>
                  <a:pt x="56" y="11"/>
                </a:lnTo>
                <a:lnTo>
                  <a:pt x="57" y="11"/>
                </a:lnTo>
                <a:lnTo>
                  <a:pt x="68" y="11"/>
                </a:lnTo>
                <a:lnTo>
                  <a:pt x="73" y="11"/>
                </a:lnTo>
                <a:lnTo>
                  <a:pt x="72" y="13"/>
                </a:lnTo>
                <a:lnTo>
                  <a:pt x="69" y="13"/>
                </a:lnTo>
                <a:lnTo>
                  <a:pt x="65" y="13"/>
                </a:lnTo>
                <a:lnTo>
                  <a:pt x="62" y="13"/>
                </a:lnTo>
                <a:lnTo>
                  <a:pt x="56" y="13"/>
                </a:lnTo>
                <a:lnTo>
                  <a:pt x="53" y="13"/>
                </a:lnTo>
                <a:lnTo>
                  <a:pt x="52" y="13"/>
                </a:lnTo>
                <a:lnTo>
                  <a:pt x="50" y="14"/>
                </a:lnTo>
                <a:lnTo>
                  <a:pt x="45" y="14"/>
                </a:lnTo>
                <a:lnTo>
                  <a:pt x="42" y="14"/>
                </a:lnTo>
                <a:lnTo>
                  <a:pt x="33" y="16"/>
                </a:lnTo>
                <a:lnTo>
                  <a:pt x="31" y="14"/>
                </a:lnTo>
                <a:lnTo>
                  <a:pt x="24" y="16"/>
                </a:lnTo>
                <a:lnTo>
                  <a:pt x="19" y="18"/>
                </a:lnTo>
                <a:lnTo>
                  <a:pt x="16" y="19"/>
                </a:lnTo>
                <a:lnTo>
                  <a:pt x="15" y="21"/>
                </a:lnTo>
                <a:lnTo>
                  <a:pt x="16" y="21"/>
                </a:lnTo>
                <a:lnTo>
                  <a:pt x="16" y="22"/>
                </a:lnTo>
                <a:lnTo>
                  <a:pt x="15" y="22"/>
                </a:lnTo>
                <a:lnTo>
                  <a:pt x="13" y="24"/>
                </a:lnTo>
                <a:lnTo>
                  <a:pt x="12" y="24"/>
                </a:lnTo>
                <a:lnTo>
                  <a:pt x="9" y="24"/>
                </a:lnTo>
                <a:lnTo>
                  <a:pt x="4" y="24"/>
                </a:lnTo>
                <a:lnTo>
                  <a:pt x="3" y="22"/>
                </a:lnTo>
                <a:lnTo>
                  <a:pt x="1" y="2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82" name="Freeform 1412"/>
          <p:cNvSpPr>
            <a:spLocks/>
          </p:cNvSpPr>
          <p:nvPr/>
        </p:nvSpPr>
        <p:spPr bwMode="auto">
          <a:xfrm>
            <a:off x="2821361" y="2424300"/>
            <a:ext cx="85747" cy="141742"/>
          </a:xfrm>
          <a:custGeom>
            <a:avLst/>
            <a:gdLst/>
            <a:ahLst/>
            <a:cxnLst>
              <a:cxn ang="0">
                <a:pos x="20" y="2"/>
              </a:cxn>
              <a:cxn ang="0">
                <a:pos x="18" y="5"/>
              </a:cxn>
              <a:cxn ang="0">
                <a:pos x="20" y="8"/>
              </a:cxn>
              <a:cxn ang="0">
                <a:pos x="24" y="5"/>
              </a:cxn>
              <a:cxn ang="0">
                <a:pos x="22" y="8"/>
              </a:cxn>
              <a:cxn ang="0">
                <a:pos x="22" y="14"/>
              </a:cxn>
              <a:cxn ang="0">
                <a:pos x="25" y="18"/>
              </a:cxn>
              <a:cxn ang="0">
                <a:pos x="28" y="24"/>
              </a:cxn>
              <a:cxn ang="0">
                <a:pos x="29" y="27"/>
              </a:cxn>
              <a:cxn ang="0">
                <a:pos x="30" y="32"/>
              </a:cxn>
              <a:cxn ang="0">
                <a:pos x="33" y="38"/>
              </a:cxn>
              <a:cxn ang="0">
                <a:pos x="37" y="43"/>
              </a:cxn>
              <a:cxn ang="0">
                <a:pos x="44" y="52"/>
              </a:cxn>
              <a:cxn ang="0">
                <a:pos x="46" y="58"/>
              </a:cxn>
              <a:cxn ang="0">
                <a:pos x="45" y="63"/>
              </a:cxn>
              <a:cxn ang="0">
                <a:pos x="41" y="68"/>
              </a:cxn>
              <a:cxn ang="0">
                <a:pos x="38" y="72"/>
              </a:cxn>
              <a:cxn ang="0">
                <a:pos x="34" y="66"/>
              </a:cxn>
              <a:cxn ang="0">
                <a:pos x="36" y="60"/>
              </a:cxn>
              <a:cxn ang="0">
                <a:pos x="40" y="57"/>
              </a:cxn>
              <a:cxn ang="0">
                <a:pos x="38" y="57"/>
              </a:cxn>
              <a:cxn ang="0">
                <a:pos x="37" y="54"/>
              </a:cxn>
              <a:cxn ang="0">
                <a:pos x="38" y="49"/>
              </a:cxn>
              <a:cxn ang="0">
                <a:pos x="36" y="47"/>
              </a:cxn>
              <a:cxn ang="0">
                <a:pos x="33" y="49"/>
              </a:cxn>
              <a:cxn ang="0">
                <a:pos x="30" y="52"/>
              </a:cxn>
              <a:cxn ang="0">
                <a:pos x="29" y="47"/>
              </a:cxn>
              <a:cxn ang="0">
                <a:pos x="25" y="43"/>
              </a:cxn>
              <a:cxn ang="0">
                <a:pos x="22" y="41"/>
              </a:cxn>
              <a:cxn ang="0">
                <a:pos x="21" y="46"/>
              </a:cxn>
              <a:cxn ang="0">
                <a:pos x="17" y="43"/>
              </a:cxn>
              <a:cxn ang="0">
                <a:pos x="17" y="38"/>
              </a:cxn>
              <a:cxn ang="0">
                <a:pos x="13" y="36"/>
              </a:cxn>
              <a:cxn ang="0">
                <a:pos x="12" y="35"/>
              </a:cxn>
              <a:cxn ang="0">
                <a:pos x="8" y="32"/>
              </a:cxn>
              <a:cxn ang="0">
                <a:pos x="6" y="27"/>
              </a:cxn>
              <a:cxn ang="0">
                <a:pos x="10" y="25"/>
              </a:cxn>
              <a:cxn ang="0">
                <a:pos x="4" y="24"/>
              </a:cxn>
              <a:cxn ang="0">
                <a:pos x="1" y="22"/>
              </a:cxn>
              <a:cxn ang="0">
                <a:pos x="1" y="16"/>
              </a:cxn>
              <a:cxn ang="0">
                <a:pos x="2" y="14"/>
              </a:cxn>
              <a:cxn ang="0">
                <a:pos x="4" y="11"/>
              </a:cxn>
              <a:cxn ang="0">
                <a:pos x="8" y="10"/>
              </a:cxn>
              <a:cxn ang="0">
                <a:pos x="12" y="11"/>
              </a:cxn>
              <a:cxn ang="0">
                <a:pos x="18" y="13"/>
              </a:cxn>
              <a:cxn ang="0">
                <a:pos x="20" y="11"/>
              </a:cxn>
              <a:cxn ang="0">
                <a:pos x="16" y="10"/>
              </a:cxn>
              <a:cxn ang="0">
                <a:pos x="17" y="3"/>
              </a:cxn>
              <a:cxn ang="0">
                <a:pos x="16" y="2"/>
              </a:cxn>
              <a:cxn ang="0">
                <a:pos x="10" y="2"/>
              </a:cxn>
              <a:cxn ang="0">
                <a:pos x="14" y="0"/>
              </a:cxn>
              <a:cxn ang="0">
                <a:pos x="18" y="0"/>
              </a:cxn>
            </a:cxnLst>
            <a:rect l="0" t="0" r="r" b="b"/>
            <a:pathLst>
              <a:path w="46" h="72">
                <a:moveTo>
                  <a:pt x="18" y="2"/>
                </a:moveTo>
                <a:lnTo>
                  <a:pt x="20" y="2"/>
                </a:lnTo>
                <a:lnTo>
                  <a:pt x="21" y="3"/>
                </a:lnTo>
                <a:lnTo>
                  <a:pt x="18" y="5"/>
                </a:lnTo>
                <a:lnTo>
                  <a:pt x="17" y="8"/>
                </a:lnTo>
                <a:lnTo>
                  <a:pt x="20" y="8"/>
                </a:lnTo>
                <a:lnTo>
                  <a:pt x="21" y="7"/>
                </a:lnTo>
                <a:lnTo>
                  <a:pt x="24" y="5"/>
                </a:lnTo>
                <a:lnTo>
                  <a:pt x="25" y="8"/>
                </a:lnTo>
                <a:lnTo>
                  <a:pt x="22" y="8"/>
                </a:lnTo>
                <a:lnTo>
                  <a:pt x="22" y="11"/>
                </a:lnTo>
                <a:lnTo>
                  <a:pt x="22" y="14"/>
                </a:lnTo>
                <a:lnTo>
                  <a:pt x="24" y="14"/>
                </a:lnTo>
                <a:lnTo>
                  <a:pt x="25" y="18"/>
                </a:lnTo>
                <a:lnTo>
                  <a:pt x="25" y="21"/>
                </a:lnTo>
                <a:lnTo>
                  <a:pt x="28" y="24"/>
                </a:lnTo>
                <a:lnTo>
                  <a:pt x="29" y="25"/>
                </a:lnTo>
                <a:lnTo>
                  <a:pt x="29" y="27"/>
                </a:lnTo>
                <a:lnTo>
                  <a:pt x="29" y="29"/>
                </a:lnTo>
                <a:lnTo>
                  <a:pt x="30" y="32"/>
                </a:lnTo>
                <a:lnTo>
                  <a:pt x="33" y="35"/>
                </a:lnTo>
                <a:lnTo>
                  <a:pt x="33" y="38"/>
                </a:lnTo>
                <a:lnTo>
                  <a:pt x="33" y="40"/>
                </a:lnTo>
                <a:lnTo>
                  <a:pt x="37" y="43"/>
                </a:lnTo>
                <a:lnTo>
                  <a:pt x="37" y="46"/>
                </a:lnTo>
                <a:lnTo>
                  <a:pt x="44" y="52"/>
                </a:lnTo>
                <a:lnTo>
                  <a:pt x="46" y="57"/>
                </a:lnTo>
                <a:lnTo>
                  <a:pt x="46" y="58"/>
                </a:lnTo>
                <a:lnTo>
                  <a:pt x="45" y="60"/>
                </a:lnTo>
                <a:lnTo>
                  <a:pt x="45" y="63"/>
                </a:lnTo>
                <a:lnTo>
                  <a:pt x="44" y="68"/>
                </a:lnTo>
                <a:lnTo>
                  <a:pt x="41" y="68"/>
                </a:lnTo>
                <a:lnTo>
                  <a:pt x="40" y="71"/>
                </a:lnTo>
                <a:lnTo>
                  <a:pt x="38" y="72"/>
                </a:lnTo>
                <a:lnTo>
                  <a:pt x="36" y="71"/>
                </a:lnTo>
                <a:lnTo>
                  <a:pt x="34" y="66"/>
                </a:lnTo>
                <a:lnTo>
                  <a:pt x="36" y="62"/>
                </a:lnTo>
                <a:lnTo>
                  <a:pt x="36" y="60"/>
                </a:lnTo>
                <a:lnTo>
                  <a:pt x="38" y="58"/>
                </a:lnTo>
                <a:lnTo>
                  <a:pt x="40" y="57"/>
                </a:lnTo>
                <a:lnTo>
                  <a:pt x="40" y="55"/>
                </a:lnTo>
                <a:lnTo>
                  <a:pt x="38" y="57"/>
                </a:lnTo>
                <a:lnTo>
                  <a:pt x="37" y="57"/>
                </a:lnTo>
                <a:lnTo>
                  <a:pt x="37" y="54"/>
                </a:lnTo>
                <a:lnTo>
                  <a:pt x="38" y="51"/>
                </a:lnTo>
                <a:lnTo>
                  <a:pt x="38" y="49"/>
                </a:lnTo>
                <a:lnTo>
                  <a:pt x="37" y="49"/>
                </a:lnTo>
                <a:lnTo>
                  <a:pt x="36" y="47"/>
                </a:lnTo>
                <a:lnTo>
                  <a:pt x="34" y="47"/>
                </a:lnTo>
                <a:lnTo>
                  <a:pt x="33" y="49"/>
                </a:lnTo>
                <a:lnTo>
                  <a:pt x="33" y="52"/>
                </a:lnTo>
                <a:lnTo>
                  <a:pt x="30" y="52"/>
                </a:lnTo>
                <a:lnTo>
                  <a:pt x="29" y="49"/>
                </a:lnTo>
                <a:lnTo>
                  <a:pt x="29" y="47"/>
                </a:lnTo>
                <a:lnTo>
                  <a:pt x="29" y="46"/>
                </a:lnTo>
                <a:lnTo>
                  <a:pt x="25" y="43"/>
                </a:lnTo>
                <a:lnTo>
                  <a:pt x="25" y="41"/>
                </a:lnTo>
                <a:lnTo>
                  <a:pt x="22" y="41"/>
                </a:lnTo>
                <a:lnTo>
                  <a:pt x="22" y="44"/>
                </a:lnTo>
                <a:lnTo>
                  <a:pt x="21" y="46"/>
                </a:lnTo>
                <a:lnTo>
                  <a:pt x="17" y="44"/>
                </a:lnTo>
                <a:lnTo>
                  <a:pt x="17" y="43"/>
                </a:lnTo>
                <a:lnTo>
                  <a:pt x="17" y="40"/>
                </a:lnTo>
                <a:lnTo>
                  <a:pt x="17" y="38"/>
                </a:lnTo>
                <a:lnTo>
                  <a:pt x="14" y="36"/>
                </a:lnTo>
                <a:lnTo>
                  <a:pt x="13" y="36"/>
                </a:lnTo>
                <a:lnTo>
                  <a:pt x="12" y="36"/>
                </a:lnTo>
                <a:lnTo>
                  <a:pt x="12" y="35"/>
                </a:lnTo>
                <a:lnTo>
                  <a:pt x="10" y="33"/>
                </a:lnTo>
                <a:lnTo>
                  <a:pt x="8" y="32"/>
                </a:lnTo>
                <a:lnTo>
                  <a:pt x="8" y="30"/>
                </a:lnTo>
                <a:lnTo>
                  <a:pt x="6" y="27"/>
                </a:lnTo>
                <a:lnTo>
                  <a:pt x="8" y="25"/>
                </a:lnTo>
                <a:lnTo>
                  <a:pt x="10" y="25"/>
                </a:lnTo>
                <a:lnTo>
                  <a:pt x="12" y="24"/>
                </a:lnTo>
                <a:lnTo>
                  <a:pt x="4" y="24"/>
                </a:lnTo>
                <a:lnTo>
                  <a:pt x="4" y="22"/>
                </a:lnTo>
                <a:lnTo>
                  <a:pt x="1" y="22"/>
                </a:lnTo>
                <a:lnTo>
                  <a:pt x="0" y="18"/>
                </a:lnTo>
                <a:lnTo>
                  <a:pt x="1" y="16"/>
                </a:lnTo>
                <a:lnTo>
                  <a:pt x="2" y="16"/>
                </a:lnTo>
                <a:lnTo>
                  <a:pt x="2" y="14"/>
                </a:lnTo>
                <a:lnTo>
                  <a:pt x="4" y="13"/>
                </a:lnTo>
                <a:lnTo>
                  <a:pt x="4" y="11"/>
                </a:lnTo>
                <a:lnTo>
                  <a:pt x="5" y="11"/>
                </a:lnTo>
                <a:lnTo>
                  <a:pt x="8" y="10"/>
                </a:lnTo>
                <a:lnTo>
                  <a:pt x="8" y="11"/>
                </a:lnTo>
                <a:lnTo>
                  <a:pt x="12" y="11"/>
                </a:lnTo>
                <a:lnTo>
                  <a:pt x="14" y="11"/>
                </a:lnTo>
                <a:lnTo>
                  <a:pt x="18" y="13"/>
                </a:lnTo>
                <a:lnTo>
                  <a:pt x="20" y="13"/>
                </a:lnTo>
                <a:lnTo>
                  <a:pt x="20" y="11"/>
                </a:lnTo>
                <a:lnTo>
                  <a:pt x="17" y="10"/>
                </a:lnTo>
                <a:lnTo>
                  <a:pt x="16" y="10"/>
                </a:lnTo>
                <a:lnTo>
                  <a:pt x="16" y="7"/>
                </a:lnTo>
                <a:lnTo>
                  <a:pt x="17" y="3"/>
                </a:lnTo>
                <a:lnTo>
                  <a:pt x="16" y="3"/>
                </a:lnTo>
                <a:lnTo>
                  <a:pt x="16" y="2"/>
                </a:lnTo>
                <a:lnTo>
                  <a:pt x="13" y="2"/>
                </a:lnTo>
                <a:lnTo>
                  <a:pt x="10" y="2"/>
                </a:lnTo>
                <a:lnTo>
                  <a:pt x="9" y="2"/>
                </a:lnTo>
                <a:lnTo>
                  <a:pt x="14" y="0"/>
                </a:lnTo>
                <a:lnTo>
                  <a:pt x="17" y="0"/>
                </a:lnTo>
                <a:lnTo>
                  <a:pt x="18" y="0"/>
                </a:lnTo>
                <a:lnTo>
                  <a:pt x="18" y="2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83" name="Freeform 1413"/>
          <p:cNvSpPr>
            <a:spLocks/>
          </p:cNvSpPr>
          <p:nvPr/>
        </p:nvSpPr>
        <p:spPr bwMode="auto">
          <a:xfrm>
            <a:off x="2821361" y="2424300"/>
            <a:ext cx="85747" cy="141742"/>
          </a:xfrm>
          <a:custGeom>
            <a:avLst/>
            <a:gdLst/>
            <a:ahLst/>
            <a:cxnLst>
              <a:cxn ang="0">
                <a:pos x="20" y="2"/>
              </a:cxn>
              <a:cxn ang="0">
                <a:pos x="18" y="5"/>
              </a:cxn>
              <a:cxn ang="0">
                <a:pos x="20" y="8"/>
              </a:cxn>
              <a:cxn ang="0">
                <a:pos x="24" y="5"/>
              </a:cxn>
              <a:cxn ang="0">
                <a:pos x="22" y="8"/>
              </a:cxn>
              <a:cxn ang="0">
                <a:pos x="22" y="14"/>
              </a:cxn>
              <a:cxn ang="0">
                <a:pos x="25" y="18"/>
              </a:cxn>
              <a:cxn ang="0">
                <a:pos x="28" y="24"/>
              </a:cxn>
              <a:cxn ang="0">
                <a:pos x="29" y="27"/>
              </a:cxn>
              <a:cxn ang="0">
                <a:pos x="30" y="32"/>
              </a:cxn>
              <a:cxn ang="0">
                <a:pos x="33" y="38"/>
              </a:cxn>
              <a:cxn ang="0">
                <a:pos x="37" y="43"/>
              </a:cxn>
              <a:cxn ang="0">
                <a:pos x="44" y="52"/>
              </a:cxn>
              <a:cxn ang="0">
                <a:pos x="46" y="58"/>
              </a:cxn>
              <a:cxn ang="0">
                <a:pos x="45" y="63"/>
              </a:cxn>
              <a:cxn ang="0">
                <a:pos x="41" y="68"/>
              </a:cxn>
              <a:cxn ang="0">
                <a:pos x="38" y="72"/>
              </a:cxn>
              <a:cxn ang="0">
                <a:pos x="34" y="66"/>
              </a:cxn>
              <a:cxn ang="0">
                <a:pos x="36" y="60"/>
              </a:cxn>
              <a:cxn ang="0">
                <a:pos x="40" y="57"/>
              </a:cxn>
              <a:cxn ang="0">
                <a:pos x="38" y="57"/>
              </a:cxn>
              <a:cxn ang="0">
                <a:pos x="37" y="54"/>
              </a:cxn>
              <a:cxn ang="0">
                <a:pos x="38" y="49"/>
              </a:cxn>
              <a:cxn ang="0">
                <a:pos x="36" y="47"/>
              </a:cxn>
              <a:cxn ang="0">
                <a:pos x="33" y="49"/>
              </a:cxn>
              <a:cxn ang="0">
                <a:pos x="30" y="52"/>
              </a:cxn>
              <a:cxn ang="0">
                <a:pos x="29" y="47"/>
              </a:cxn>
              <a:cxn ang="0">
                <a:pos x="25" y="43"/>
              </a:cxn>
              <a:cxn ang="0">
                <a:pos x="22" y="41"/>
              </a:cxn>
              <a:cxn ang="0">
                <a:pos x="21" y="46"/>
              </a:cxn>
              <a:cxn ang="0">
                <a:pos x="17" y="43"/>
              </a:cxn>
              <a:cxn ang="0">
                <a:pos x="17" y="38"/>
              </a:cxn>
              <a:cxn ang="0">
                <a:pos x="13" y="36"/>
              </a:cxn>
              <a:cxn ang="0">
                <a:pos x="12" y="35"/>
              </a:cxn>
              <a:cxn ang="0">
                <a:pos x="8" y="32"/>
              </a:cxn>
              <a:cxn ang="0">
                <a:pos x="6" y="27"/>
              </a:cxn>
              <a:cxn ang="0">
                <a:pos x="10" y="25"/>
              </a:cxn>
              <a:cxn ang="0">
                <a:pos x="4" y="24"/>
              </a:cxn>
              <a:cxn ang="0">
                <a:pos x="1" y="22"/>
              </a:cxn>
              <a:cxn ang="0">
                <a:pos x="1" y="16"/>
              </a:cxn>
              <a:cxn ang="0">
                <a:pos x="2" y="14"/>
              </a:cxn>
              <a:cxn ang="0">
                <a:pos x="4" y="11"/>
              </a:cxn>
              <a:cxn ang="0">
                <a:pos x="8" y="10"/>
              </a:cxn>
              <a:cxn ang="0">
                <a:pos x="12" y="11"/>
              </a:cxn>
              <a:cxn ang="0">
                <a:pos x="18" y="13"/>
              </a:cxn>
              <a:cxn ang="0">
                <a:pos x="20" y="11"/>
              </a:cxn>
              <a:cxn ang="0">
                <a:pos x="16" y="10"/>
              </a:cxn>
              <a:cxn ang="0">
                <a:pos x="17" y="3"/>
              </a:cxn>
              <a:cxn ang="0">
                <a:pos x="16" y="2"/>
              </a:cxn>
              <a:cxn ang="0">
                <a:pos x="10" y="2"/>
              </a:cxn>
              <a:cxn ang="0">
                <a:pos x="14" y="0"/>
              </a:cxn>
              <a:cxn ang="0">
                <a:pos x="18" y="0"/>
              </a:cxn>
            </a:cxnLst>
            <a:rect l="0" t="0" r="r" b="b"/>
            <a:pathLst>
              <a:path w="46" h="72">
                <a:moveTo>
                  <a:pt x="18" y="2"/>
                </a:moveTo>
                <a:lnTo>
                  <a:pt x="20" y="2"/>
                </a:lnTo>
                <a:lnTo>
                  <a:pt x="21" y="3"/>
                </a:lnTo>
                <a:lnTo>
                  <a:pt x="18" y="5"/>
                </a:lnTo>
                <a:lnTo>
                  <a:pt x="17" y="8"/>
                </a:lnTo>
                <a:lnTo>
                  <a:pt x="20" y="8"/>
                </a:lnTo>
                <a:lnTo>
                  <a:pt x="21" y="7"/>
                </a:lnTo>
                <a:lnTo>
                  <a:pt x="24" y="5"/>
                </a:lnTo>
                <a:lnTo>
                  <a:pt x="25" y="8"/>
                </a:lnTo>
                <a:lnTo>
                  <a:pt x="22" y="8"/>
                </a:lnTo>
                <a:lnTo>
                  <a:pt x="22" y="11"/>
                </a:lnTo>
                <a:lnTo>
                  <a:pt x="22" y="14"/>
                </a:lnTo>
                <a:lnTo>
                  <a:pt x="24" y="14"/>
                </a:lnTo>
                <a:lnTo>
                  <a:pt x="25" y="18"/>
                </a:lnTo>
                <a:lnTo>
                  <a:pt x="25" y="21"/>
                </a:lnTo>
                <a:lnTo>
                  <a:pt x="28" y="24"/>
                </a:lnTo>
                <a:lnTo>
                  <a:pt x="29" y="25"/>
                </a:lnTo>
                <a:lnTo>
                  <a:pt x="29" y="27"/>
                </a:lnTo>
                <a:lnTo>
                  <a:pt x="29" y="29"/>
                </a:lnTo>
                <a:lnTo>
                  <a:pt x="30" y="32"/>
                </a:lnTo>
                <a:lnTo>
                  <a:pt x="33" y="35"/>
                </a:lnTo>
                <a:lnTo>
                  <a:pt x="33" y="38"/>
                </a:lnTo>
                <a:lnTo>
                  <a:pt x="33" y="40"/>
                </a:lnTo>
                <a:lnTo>
                  <a:pt x="37" y="43"/>
                </a:lnTo>
                <a:lnTo>
                  <a:pt x="37" y="46"/>
                </a:lnTo>
                <a:lnTo>
                  <a:pt x="44" y="52"/>
                </a:lnTo>
                <a:lnTo>
                  <a:pt x="46" y="57"/>
                </a:lnTo>
                <a:lnTo>
                  <a:pt x="46" y="58"/>
                </a:lnTo>
                <a:lnTo>
                  <a:pt x="45" y="60"/>
                </a:lnTo>
                <a:lnTo>
                  <a:pt x="45" y="63"/>
                </a:lnTo>
                <a:lnTo>
                  <a:pt x="44" y="68"/>
                </a:lnTo>
                <a:lnTo>
                  <a:pt x="41" y="68"/>
                </a:lnTo>
                <a:lnTo>
                  <a:pt x="40" y="71"/>
                </a:lnTo>
                <a:lnTo>
                  <a:pt x="38" y="72"/>
                </a:lnTo>
                <a:lnTo>
                  <a:pt x="36" y="71"/>
                </a:lnTo>
                <a:lnTo>
                  <a:pt x="34" y="66"/>
                </a:lnTo>
                <a:lnTo>
                  <a:pt x="36" y="62"/>
                </a:lnTo>
                <a:lnTo>
                  <a:pt x="36" y="60"/>
                </a:lnTo>
                <a:lnTo>
                  <a:pt x="38" y="58"/>
                </a:lnTo>
                <a:lnTo>
                  <a:pt x="40" y="57"/>
                </a:lnTo>
                <a:lnTo>
                  <a:pt x="40" y="55"/>
                </a:lnTo>
                <a:lnTo>
                  <a:pt x="38" y="57"/>
                </a:lnTo>
                <a:lnTo>
                  <a:pt x="37" y="57"/>
                </a:lnTo>
                <a:lnTo>
                  <a:pt x="37" y="54"/>
                </a:lnTo>
                <a:lnTo>
                  <a:pt x="38" y="51"/>
                </a:lnTo>
                <a:lnTo>
                  <a:pt x="38" y="49"/>
                </a:lnTo>
                <a:lnTo>
                  <a:pt x="37" y="49"/>
                </a:lnTo>
                <a:lnTo>
                  <a:pt x="36" y="47"/>
                </a:lnTo>
                <a:lnTo>
                  <a:pt x="34" y="47"/>
                </a:lnTo>
                <a:lnTo>
                  <a:pt x="33" y="49"/>
                </a:lnTo>
                <a:lnTo>
                  <a:pt x="33" y="52"/>
                </a:lnTo>
                <a:lnTo>
                  <a:pt x="30" y="52"/>
                </a:lnTo>
                <a:lnTo>
                  <a:pt x="29" y="49"/>
                </a:lnTo>
                <a:lnTo>
                  <a:pt x="29" y="47"/>
                </a:lnTo>
                <a:lnTo>
                  <a:pt x="29" y="46"/>
                </a:lnTo>
                <a:lnTo>
                  <a:pt x="25" y="43"/>
                </a:lnTo>
                <a:lnTo>
                  <a:pt x="25" y="41"/>
                </a:lnTo>
                <a:lnTo>
                  <a:pt x="22" y="41"/>
                </a:lnTo>
                <a:lnTo>
                  <a:pt x="22" y="44"/>
                </a:lnTo>
                <a:lnTo>
                  <a:pt x="21" y="46"/>
                </a:lnTo>
                <a:lnTo>
                  <a:pt x="17" y="44"/>
                </a:lnTo>
                <a:lnTo>
                  <a:pt x="17" y="43"/>
                </a:lnTo>
                <a:lnTo>
                  <a:pt x="17" y="40"/>
                </a:lnTo>
                <a:lnTo>
                  <a:pt x="17" y="38"/>
                </a:lnTo>
                <a:lnTo>
                  <a:pt x="14" y="36"/>
                </a:lnTo>
                <a:lnTo>
                  <a:pt x="13" y="36"/>
                </a:lnTo>
                <a:lnTo>
                  <a:pt x="12" y="36"/>
                </a:lnTo>
                <a:lnTo>
                  <a:pt x="12" y="35"/>
                </a:lnTo>
                <a:lnTo>
                  <a:pt x="10" y="33"/>
                </a:lnTo>
                <a:lnTo>
                  <a:pt x="8" y="32"/>
                </a:lnTo>
                <a:lnTo>
                  <a:pt x="8" y="30"/>
                </a:lnTo>
                <a:lnTo>
                  <a:pt x="6" y="27"/>
                </a:lnTo>
                <a:lnTo>
                  <a:pt x="8" y="25"/>
                </a:lnTo>
                <a:lnTo>
                  <a:pt x="10" y="25"/>
                </a:lnTo>
                <a:lnTo>
                  <a:pt x="12" y="24"/>
                </a:lnTo>
                <a:lnTo>
                  <a:pt x="4" y="24"/>
                </a:lnTo>
                <a:lnTo>
                  <a:pt x="4" y="22"/>
                </a:lnTo>
                <a:lnTo>
                  <a:pt x="1" y="22"/>
                </a:lnTo>
                <a:lnTo>
                  <a:pt x="0" y="18"/>
                </a:lnTo>
                <a:lnTo>
                  <a:pt x="1" y="16"/>
                </a:lnTo>
                <a:lnTo>
                  <a:pt x="2" y="16"/>
                </a:lnTo>
                <a:lnTo>
                  <a:pt x="2" y="14"/>
                </a:lnTo>
                <a:lnTo>
                  <a:pt x="4" y="13"/>
                </a:lnTo>
                <a:lnTo>
                  <a:pt x="4" y="11"/>
                </a:lnTo>
                <a:lnTo>
                  <a:pt x="5" y="11"/>
                </a:lnTo>
                <a:lnTo>
                  <a:pt x="8" y="10"/>
                </a:lnTo>
                <a:lnTo>
                  <a:pt x="8" y="11"/>
                </a:lnTo>
                <a:lnTo>
                  <a:pt x="12" y="11"/>
                </a:lnTo>
                <a:lnTo>
                  <a:pt x="14" y="11"/>
                </a:lnTo>
                <a:lnTo>
                  <a:pt x="18" y="13"/>
                </a:lnTo>
                <a:lnTo>
                  <a:pt x="20" y="13"/>
                </a:lnTo>
                <a:lnTo>
                  <a:pt x="20" y="11"/>
                </a:lnTo>
                <a:lnTo>
                  <a:pt x="17" y="10"/>
                </a:lnTo>
                <a:lnTo>
                  <a:pt x="16" y="10"/>
                </a:lnTo>
                <a:lnTo>
                  <a:pt x="16" y="7"/>
                </a:lnTo>
                <a:lnTo>
                  <a:pt x="17" y="3"/>
                </a:lnTo>
                <a:lnTo>
                  <a:pt x="16" y="3"/>
                </a:lnTo>
                <a:lnTo>
                  <a:pt x="16" y="2"/>
                </a:lnTo>
                <a:lnTo>
                  <a:pt x="13" y="2"/>
                </a:lnTo>
                <a:lnTo>
                  <a:pt x="10" y="2"/>
                </a:lnTo>
                <a:lnTo>
                  <a:pt x="9" y="2"/>
                </a:lnTo>
                <a:lnTo>
                  <a:pt x="14" y="0"/>
                </a:lnTo>
                <a:lnTo>
                  <a:pt x="17" y="0"/>
                </a:lnTo>
                <a:lnTo>
                  <a:pt x="18" y="0"/>
                </a:lnTo>
                <a:lnTo>
                  <a:pt x="18" y="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84" name="Freeform 1414"/>
          <p:cNvSpPr>
            <a:spLocks/>
          </p:cNvSpPr>
          <p:nvPr/>
        </p:nvSpPr>
        <p:spPr bwMode="auto">
          <a:xfrm>
            <a:off x="7346509" y="2692749"/>
            <a:ext cx="101338" cy="111675"/>
          </a:xfrm>
          <a:custGeom>
            <a:avLst/>
            <a:gdLst/>
            <a:ahLst/>
            <a:cxnLst>
              <a:cxn ang="0">
                <a:pos x="30" y="57"/>
              </a:cxn>
              <a:cxn ang="0">
                <a:pos x="34" y="54"/>
              </a:cxn>
              <a:cxn ang="0">
                <a:pos x="38" y="47"/>
              </a:cxn>
              <a:cxn ang="0">
                <a:pos x="42" y="44"/>
              </a:cxn>
              <a:cxn ang="0">
                <a:pos x="45" y="38"/>
              </a:cxn>
              <a:cxn ang="0">
                <a:pos x="52" y="36"/>
              </a:cxn>
              <a:cxn ang="0">
                <a:pos x="52" y="30"/>
              </a:cxn>
              <a:cxn ang="0">
                <a:pos x="49" y="24"/>
              </a:cxn>
              <a:cxn ang="0">
                <a:pos x="45" y="21"/>
              </a:cxn>
              <a:cxn ang="0">
                <a:pos x="44" y="13"/>
              </a:cxn>
              <a:cxn ang="0">
                <a:pos x="44" y="11"/>
              </a:cxn>
              <a:cxn ang="0">
                <a:pos x="49" y="5"/>
              </a:cxn>
              <a:cxn ang="0">
                <a:pos x="52" y="0"/>
              </a:cxn>
              <a:cxn ang="0">
                <a:pos x="46" y="2"/>
              </a:cxn>
              <a:cxn ang="0">
                <a:pos x="41" y="5"/>
              </a:cxn>
              <a:cxn ang="0">
                <a:pos x="37" y="2"/>
              </a:cxn>
              <a:cxn ang="0">
                <a:pos x="36" y="5"/>
              </a:cxn>
              <a:cxn ang="0">
                <a:pos x="33" y="3"/>
              </a:cxn>
              <a:cxn ang="0">
                <a:pos x="29" y="7"/>
              </a:cxn>
              <a:cxn ang="0">
                <a:pos x="32" y="10"/>
              </a:cxn>
              <a:cxn ang="0">
                <a:pos x="40" y="10"/>
              </a:cxn>
              <a:cxn ang="0">
                <a:pos x="36" y="13"/>
              </a:cxn>
              <a:cxn ang="0">
                <a:pos x="32" y="10"/>
              </a:cxn>
              <a:cxn ang="0">
                <a:pos x="28" y="11"/>
              </a:cxn>
              <a:cxn ang="0">
                <a:pos x="25" y="8"/>
              </a:cxn>
              <a:cxn ang="0">
                <a:pos x="22" y="14"/>
              </a:cxn>
              <a:cxn ang="0">
                <a:pos x="17" y="18"/>
              </a:cxn>
              <a:cxn ang="0">
                <a:pos x="18" y="14"/>
              </a:cxn>
              <a:cxn ang="0">
                <a:pos x="10" y="16"/>
              </a:cxn>
              <a:cxn ang="0">
                <a:pos x="1" y="32"/>
              </a:cxn>
              <a:cxn ang="0">
                <a:pos x="1" y="38"/>
              </a:cxn>
              <a:cxn ang="0">
                <a:pos x="1" y="44"/>
              </a:cxn>
              <a:cxn ang="0">
                <a:pos x="4" y="55"/>
              </a:cxn>
              <a:cxn ang="0">
                <a:pos x="6" y="54"/>
              </a:cxn>
              <a:cxn ang="0">
                <a:pos x="14" y="55"/>
              </a:cxn>
              <a:cxn ang="0">
                <a:pos x="18" y="54"/>
              </a:cxn>
              <a:cxn ang="0">
                <a:pos x="24" y="57"/>
              </a:cxn>
            </a:cxnLst>
            <a:rect l="0" t="0" r="r" b="b"/>
            <a:pathLst>
              <a:path w="53" h="57">
                <a:moveTo>
                  <a:pt x="26" y="57"/>
                </a:moveTo>
                <a:lnTo>
                  <a:pt x="30" y="57"/>
                </a:lnTo>
                <a:lnTo>
                  <a:pt x="34" y="55"/>
                </a:lnTo>
                <a:lnTo>
                  <a:pt x="34" y="54"/>
                </a:lnTo>
                <a:lnTo>
                  <a:pt x="37" y="52"/>
                </a:lnTo>
                <a:lnTo>
                  <a:pt x="38" y="47"/>
                </a:lnTo>
                <a:lnTo>
                  <a:pt x="40" y="47"/>
                </a:lnTo>
                <a:lnTo>
                  <a:pt x="42" y="44"/>
                </a:lnTo>
                <a:lnTo>
                  <a:pt x="44" y="41"/>
                </a:lnTo>
                <a:lnTo>
                  <a:pt x="45" y="38"/>
                </a:lnTo>
                <a:lnTo>
                  <a:pt x="50" y="36"/>
                </a:lnTo>
                <a:lnTo>
                  <a:pt x="52" y="36"/>
                </a:lnTo>
                <a:lnTo>
                  <a:pt x="53" y="32"/>
                </a:lnTo>
                <a:lnTo>
                  <a:pt x="52" y="30"/>
                </a:lnTo>
                <a:lnTo>
                  <a:pt x="50" y="27"/>
                </a:lnTo>
                <a:lnTo>
                  <a:pt x="49" y="24"/>
                </a:lnTo>
                <a:lnTo>
                  <a:pt x="48" y="22"/>
                </a:lnTo>
                <a:lnTo>
                  <a:pt x="45" y="21"/>
                </a:lnTo>
                <a:lnTo>
                  <a:pt x="44" y="18"/>
                </a:lnTo>
                <a:lnTo>
                  <a:pt x="44" y="13"/>
                </a:lnTo>
                <a:lnTo>
                  <a:pt x="42" y="13"/>
                </a:lnTo>
                <a:lnTo>
                  <a:pt x="44" y="11"/>
                </a:lnTo>
                <a:lnTo>
                  <a:pt x="46" y="7"/>
                </a:lnTo>
                <a:lnTo>
                  <a:pt x="49" y="5"/>
                </a:lnTo>
                <a:lnTo>
                  <a:pt x="52" y="2"/>
                </a:lnTo>
                <a:lnTo>
                  <a:pt x="52" y="0"/>
                </a:lnTo>
                <a:lnTo>
                  <a:pt x="49" y="0"/>
                </a:lnTo>
                <a:lnTo>
                  <a:pt x="46" y="2"/>
                </a:lnTo>
                <a:lnTo>
                  <a:pt x="44" y="5"/>
                </a:lnTo>
                <a:lnTo>
                  <a:pt x="41" y="5"/>
                </a:lnTo>
                <a:lnTo>
                  <a:pt x="40" y="2"/>
                </a:lnTo>
                <a:lnTo>
                  <a:pt x="37" y="2"/>
                </a:lnTo>
                <a:lnTo>
                  <a:pt x="36" y="3"/>
                </a:lnTo>
                <a:lnTo>
                  <a:pt x="36" y="5"/>
                </a:lnTo>
                <a:lnTo>
                  <a:pt x="34" y="5"/>
                </a:lnTo>
                <a:lnTo>
                  <a:pt x="33" y="3"/>
                </a:lnTo>
                <a:lnTo>
                  <a:pt x="32" y="2"/>
                </a:lnTo>
                <a:lnTo>
                  <a:pt x="29" y="7"/>
                </a:lnTo>
                <a:lnTo>
                  <a:pt x="30" y="8"/>
                </a:lnTo>
                <a:lnTo>
                  <a:pt x="32" y="10"/>
                </a:lnTo>
                <a:lnTo>
                  <a:pt x="34" y="10"/>
                </a:lnTo>
                <a:lnTo>
                  <a:pt x="40" y="10"/>
                </a:lnTo>
                <a:lnTo>
                  <a:pt x="40" y="11"/>
                </a:lnTo>
                <a:lnTo>
                  <a:pt x="36" y="13"/>
                </a:lnTo>
                <a:lnTo>
                  <a:pt x="34" y="11"/>
                </a:lnTo>
                <a:lnTo>
                  <a:pt x="32" y="10"/>
                </a:lnTo>
                <a:lnTo>
                  <a:pt x="30" y="11"/>
                </a:lnTo>
                <a:lnTo>
                  <a:pt x="28" y="11"/>
                </a:lnTo>
                <a:lnTo>
                  <a:pt x="26" y="10"/>
                </a:lnTo>
                <a:lnTo>
                  <a:pt x="25" y="8"/>
                </a:lnTo>
                <a:lnTo>
                  <a:pt x="22" y="8"/>
                </a:lnTo>
                <a:lnTo>
                  <a:pt x="22" y="14"/>
                </a:lnTo>
                <a:lnTo>
                  <a:pt x="21" y="16"/>
                </a:lnTo>
                <a:lnTo>
                  <a:pt x="17" y="18"/>
                </a:lnTo>
                <a:lnTo>
                  <a:pt x="17" y="14"/>
                </a:lnTo>
                <a:lnTo>
                  <a:pt x="18" y="14"/>
                </a:lnTo>
                <a:lnTo>
                  <a:pt x="14" y="14"/>
                </a:lnTo>
                <a:lnTo>
                  <a:pt x="10" y="16"/>
                </a:lnTo>
                <a:lnTo>
                  <a:pt x="5" y="27"/>
                </a:lnTo>
                <a:lnTo>
                  <a:pt x="1" y="32"/>
                </a:lnTo>
                <a:lnTo>
                  <a:pt x="0" y="36"/>
                </a:lnTo>
                <a:lnTo>
                  <a:pt x="1" y="38"/>
                </a:lnTo>
                <a:lnTo>
                  <a:pt x="1" y="41"/>
                </a:lnTo>
                <a:lnTo>
                  <a:pt x="1" y="44"/>
                </a:lnTo>
                <a:lnTo>
                  <a:pt x="2" y="49"/>
                </a:lnTo>
                <a:lnTo>
                  <a:pt x="4" y="55"/>
                </a:lnTo>
                <a:lnTo>
                  <a:pt x="5" y="55"/>
                </a:lnTo>
                <a:lnTo>
                  <a:pt x="6" y="54"/>
                </a:lnTo>
                <a:lnTo>
                  <a:pt x="10" y="54"/>
                </a:lnTo>
                <a:lnTo>
                  <a:pt x="14" y="55"/>
                </a:lnTo>
                <a:lnTo>
                  <a:pt x="16" y="55"/>
                </a:lnTo>
                <a:lnTo>
                  <a:pt x="18" y="54"/>
                </a:lnTo>
                <a:lnTo>
                  <a:pt x="21" y="55"/>
                </a:lnTo>
                <a:lnTo>
                  <a:pt x="24" y="57"/>
                </a:lnTo>
                <a:lnTo>
                  <a:pt x="26" y="57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85" name="Freeform 1415"/>
          <p:cNvSpPr>
            <a:spLocks/>
          </p:cNvSpPr>
          <p:nvPr/>
        </p:nvSpPr>
        <p:spPr bwMode="auto">
          <a:xfrm>
            <a:off x="7346509" y="2692749"/>
            <a:ext cx="101338" cy="111675"/>
          </a:xfrm>
          <a:custGeom>
            <a:avLst/>
            <a:gdLst/>
            <a:ahLst/>
            <a:cxnLst>
              <a:cxn ang="0">
                <a:pos x="30" y="57"/>
              </a:cxn>
              <a:cxn ang="0">
                <a:pos x="34" y="54"/>
              </a:cxn>
              <a:cxn ang="0">
                <a:pos x="38" y="47"/>
              </a:cxn>
              <a:cxn ang="0">
                <a:pos x="42" y="44"/>
              </a:cxn>
              <a:cxn ang="0">
                <a:pos x="45" y="38"/>
              </a:cxn>
              <a:cxn ang="0">
                <a:pos x="52" y="36"/>
              </a:cxn>
              <a:cxn ang="0">
                <a:pos x="52" y="30"/>
              </a:cxn>
              <a:cxn ang="0">
                <a:pos x="49" y="24"/>
              </a:cxn>
              <a:cxn ang="0">
                <a:pos x="45" y="21"/>
              </a:cxn>
              <a:cxn ang="0">
                <a:pos x="44" y="13"/>
              </a:cxn>
              <a:cxn ang="0">
                <a:pos x="44" y="11"/>
              </a:cxn>
              <a:cxn ang="0">
                <a:pos x="49" y="5"/>
              </a:cxn>
              <a:cxn ang="0">
                <a:pos x="52" y="0"/>
              </a:cxn>
              <a:cxn ang="0">
                <a:pos x="46" y="2"/>
              </a:cxn>
              <a:cxn ang="0">
                <a:pos x="41" y="5"/>
              </a:cxn>
              <a:cxn ang="0">
                <a:pos x="37" y="2"/>
              </a:cxn>
              <a:cxn ang="0">
                <a:pos x="36" y="5"/>
              </a:cxn>
              <a:cxn ang="0">
                <a:pos x="33" y="3"/>
              </a:cxn>
              <a:cxn ang="0">
                <a:pos x="29" y="7"/>
              </a:cxn>
              <a:cxn ang="0">
                <a:pos x="32" y="10"/>
              </a:cxn>
              <a:cxn ang="0">
                <a:pos x="40" y="10"/>
              </a:cxn>
              <a:cxn ang="0">
                <a:pos x="36" y="13"/>
              </a:cxn>
              <a:cxn ang="0">
                <a:pos x="32" y="10"/>
              </a:cxn>
              <a:cxn ang="0">
                <a:pos x="28" y="11"/>
              </a:cxn>
              <a:cxn ang="0">
                <a:pos x="25" y="8"/>
              </a:cxn>
              <a:cxn ang="0">
                <a:pos x="22" y="14"/>
              </a:cxn>
              <a:cxn ang="0">
                <a:pos x="17" y="18"/>
              </a:cxn>
              <a:cxn ang="0">
                <a:pos x="18" y="14"/>
              </a:cxn>
              <a:cxn ang="0">
                <a:pos x="10" y="16"/>
              </a:cxn>
              <a:cxn ang="0">
                <a:pos x="1" y="32"/>
              </a:cxn>
              <a:cxn ang="0">
                <a:pos x="1" y="38"/>
              </a:cxn>
              <a:cxn ang="0">
                <a:pos x="1" y="44"/>
              </a:cxn>
              <a:cxn ang="0">
                <a:pos x="4" y="55"/>
              </a:cxn>
              <a:cxn ang="0">
                <a:pos x="6" y="54"/>
              </a:cxn>
              <a:cxn ang="0">
                <a:pos x="14" y="55"/>
              </a:cxn>
              <a:cxn ang="0">
                <a:pos x="18" y="54"/>
              </a:cxn>
              <a:cxn ang="0">
                <a:pos x="24" y="57"/>
              </a:cxn>
            </a:cxnLst>
            <a:rect l="0" t="0" r="r" b="b"/>
            <a:pathLst>
              <a:path w="53" h="57">
                <a:moveTo>
                  <a:pt x="26" y="57"/>
                </a:moveTo>
                <a:lnTo>
                  <a:pt x="30" y="57"/>
                </a:lnTo>
                <a:lnTo>
                  <a:pt x="34" y="55"/>
                </a:lnTo>
                <a:lnTo>
                  <a:pt x="34" y="54"/>
                </a:lnTo>
                <a:lnTo>
                  <a:pt x="37" y="52"/>
                </a:lnTo>
                <a:lnTo>
                  <a:pt x="38" y="47"/>
                </a:lnTo>
                <a:lnTo>
                  <a:pt x="40" y="47"/>
                </a:lnTo>
                <a:lnTo>
                  <a:pt x="42" y="44"/>
                </a:lnTo>
                <a:lnTo>
                  <a:pt x="44" y="41"/>
                </a:lnTo>
                <a:lnTo>
                  <a:pt x="45" y="38"/>
                </a:lnTo>
                <a:lnTo>
                  <a:pt x="50" y="36"/>
                </a:lnTo>
                <a:lnTo>
                  <a:pt x="52" y="36"/>
                </a:lnTo>
                <a:lnTo>
                  <a:pt x="53" y="32"/>
                </a:lnTo>
                <a:lnTo>
                  <a:pt x="52" y="30"/>
                </a:lnTo>
                <a:lnTo>
                  <a:pt x="50" y="27"/>
                </a:lnTo>
                <a:lnTo>
                  <a:pt x="49" y="24"/>
                </a:lnTo>
                <a:lnTo>
                  <a:pt x="48" y="22"/>
                </a:lnTo>
                <a:lnTo>
                  <a:pt x="45" y="21"/>
                </a:lnTo>
                <a:lnTo>
                  <a:pt x="44" y="18"/>
                </a:lnTo>
                <a:lnTo>
                  <a:pt x="44" y="13"/>
                </a:lnTo>
                <a:lnTo>
                  <a:pt x="42" y="13"/>
                </a:lnTo>
                <a:lnTo>
                  <a:pt x="44" y="11"/>
                </a:lnTo>
                <a:lnTo>
                  <a:pt x="46" y="7"/>
                </a:lnTo>
                <a:lnTo>
                  <a:pt x="49" y="5"/>
                </a:lnTo>
                <a:lnTo>
                  <a:pt x="52" y="2"/>
                </a:lnTo>
                <a:lnTo>
                  <a:pt x="52" y="0"/>
                </a:lnTo>
                <a:lnTo>
                  <a:pt x="49" y="0"/>
                </a:lnTo>
                <a:lnTo>
                  <a:pt x="46" y="2"/>
                </a:lnTo>
                <a:lnTo>
                  <a:pt x="44" y="5"/>
                </a:lnTo>
                <a:lnTo>
                  <a:pt x="41" y="5"/>
                </a:lnTo>
                <a:lnTo>
                  <a:pt x="40" y="2"/>
                </a:lnTo>
                <a:lnTo>
                  <a:pt x="37" y="2"/>
                </a:lnTo>
                <a:lnTo>
                  <a:pt x="36" y="3"/>
                </a:lnTo>
                <a:lnTo>
                  <a:pt x="36" y="5"/>
                </a:lnTo>
                <a:lnTo>
                  <a:pt x="34" y="5"/>
                </a:lnTo>
                <a:lnTo>
                  <a:pt x="33" y="3"/>
                </a:lnTo>
                <a:lnTo>
                  <a:pt x="32" y="2"/>
                </a:lnTo>
                <a:lnTo>
                  <a:pt x="29" y="7"/>
                </a:lnTo>
                <a:lnTo>
                  <a:pt x="30" y="8"/>
                </a:lnTo>
                <a:lnTo>
                  <a:pt x="32" y="10"/>
                </a:lnTo>
                <a:lnTo>
                  <a:pt x="34" y="10"/>
                </a:lnTo>
                <a:lnTo>
                  <a:pt x="40" y="10"/>
                </a:lnTo>
                <a:lnTo>
                  <a:pt x="40" y="11"/>
                </a:lnTo>
                <a:lnTo>
                  <a:pt x="36" y="13"/>
                </a:lnTo>
                <a:lnTo>
                  <a:pt x="34" y="11"/>
                </a:lnTo>
                <a:lnTo>
                  <a:pt x="32" y="10"/>
                </a:lnTo>
                <a:lnTo>
                  <a:pt x="30" y="11"/>
                </a:lnTo>
                <a:lnTo>
                  <a:pt x="28" y="11"/>
                </a:lnTo>
                <a:lnTo>
                  <a:pt x="26" y="10"/>
                </a:lnTo>
                <a:lnTo>
                  <a:pt x="25" y="8"/>
                </a:lnTo>
                <a:lnTo>
                  <a:pt x="22" y="8"/>
                </a:lnTo>
                <a:lnTo>
                  <a:pt x="22" y="14"/>
                </a:lnTo>
                <a:lnTo>
                  <a:pt x="21" y="16"/>
                </a:lnTo>
                <a:lnTo>
                  <a:pt x="17" y="18"/>
                </a:lnTo>
                <a:lnTo>
                  <a:pt x="17" y="14"/>
                </a:lnTo>
                <a:lnTo>
                  <a:pt x="18" y="14"/>
                </a:lnTo>
                <a:lnTo>
                  <a:pt x="14" y="14"/>
                </a:lnTo>
                <a:lnTo>
                  <a:pt x="10" y="16"/>
                </a:lnTo>
                <a:lnTo>
                  <a:pt x="5" y="27"/>
                </a:lnTo>
                <a:lnTo>
                  <a:pt x="1" y="32"/>
                </a:lnTo>
                <a:lnTo>
                  <a:pt x="0" y="36"/>
                </a:lnTo>
                <a:lnTo>
                  <a:pt x="1" y="38"/>
                </a:lnTo>
                <a:lnTo>
                  <a:pt x="1" y="41"/>
                </a:lnTo>
                <a:lnTo>
                  <a:pt x="1" y="44"/>
                </a:lnTo>
                <a:lnTo>
                  <a:pt x="2" y="49"/>
                </a:lnTo>
                <a:lnTo>
                  <a:pt x="4" y="55"/>
                </a:lnTo>
                <a:lnTo>
                  <a:pt x="5" y="55"/>
                </a:lnTo>
                <a:lnTo>
                  <a:pt x="6" y="54"/>
                </a:lnTo>
                <a:lnTo>
                  <a:pt x="10" y="54"/>
                </a:lnTo>
                <a:lnTo>
                  <a:pt x="14" y="55"/>
                </a:lnTo>
                <a:lnTo>
                  <a:pt x="16" y="55"/>
                </a:lnTo>
                <a:lnTo>
                  <a:pt x="18" y="54"/>
                </a:lnTo>
                <a:lnTo>
                  <a:pt x="21" y="55"/>
                </a:lnTo>
                <a:lnTo>
                  <a:pt x="24" y="57"/>
                </a:lnTo>
                <a:lnTo>
                  <a:pt x="26" y="57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86" name="Freeform 1416"/>
          <p:cNvSpPr>
            <a:spLocks/>
          </p:cNvSpPr>
          <p:nvPr/>
        </p:nvSpPr>
        <p:spPr bwMode="auto">
          <a:xfrm>
            <a:off x="7781095" y="2692749"/>
            <a:ext cx="167598" cy="70872"/>
          </a:xfrm>
          <a:custGeom>
            <a:avLst/>
            <a:gdLst/>
            <a:ahLst/>
            <a:cxnLst>
              <a:cxn ang="0">
                <a:pos x="24" y="0"/>
              </a:cxn>
              <a:cxn ang="0">
                <a:pos x="28" y="2"/>
              </a:cxn>
              <a:cxn ang="0">
                <a:pos x="36" y="0"/>
              </a:cxn>
              <a:cxn ang="0">
                <a:pos x="42" y="0"/>
              </a:cxn>
              <a:cxn ang="0">
                <a:pos x="47" y="2"/>
              </a:cxn>
              <a:cxn ang="0">
                <a:pos x="51" y="2"/>
              </a:cxn>
              <a:cxn ang="0">
                <a:pos x="56" y="3"/>
              </a:cxn>
              <a:cxn ang="0">
                <a:pos x="59" y="3"/>
              </a:cxn>
              <a:cxn ang="0">
                <a:pos x="63" y="3"/>
              </a:cxn>
              <a:cxn ang="0">
                <a:pos x="68" y="2"/>
              </a:cxn>
              <a:cxn ang="0">
                <a:pos x="74" y="5"/>
              </a:cxn>
              <a:cxn ang="0">
                <a:pos x="79" y="0"/>
              </a:cxn>
              <a:cxn ang="0">
                <a:pos x="83" y="0"/>
              </a:cxn>
              <a:cxn ang="0">
                <a:pos x="85" y="0"/>
              </a:cxn>
              <a:cxn ang="0">
                <a:pos x="87" y="2"/>
              </a:cxn>
              <a:cxn ang="0">
                <a:pos x="87" y="5"/>
              </a:cxn>
              <a:cxn ang="0">
                <a:pos x="84" y="8"/>
              </a:cxn>
              <a:cxn ang="0">
                <a:pos x="81" y="8"/>
              </a:cxn>
              <a:cxn ang="0">
                <a:pos x="79" y="7"/>
              </a:cxn>
              <a:cxn ang="0">
                <a:pos x="75" y="8"/>
              </a:cxn>
              <a:cxn ang="0">
                <a:pos x="70" y="8"/>
              </a:cxn>
              <a:cxn ang="0">
                <a:pos x="66" y="7"/>
              </a:cxn>
              <a:cxn ang="0">
                <a:pos x="62" y="7"/>
              </a:cxn>
              <a:cxn ang="0">
                <a:pos x="58" y="7"/>
              </a:cxn>
              <a:cxn ang="0">
                <a:pos x="47" y="5"/>
              </a:cxn>
              <a:cxn ang="0">
                <a:pos x="42" y="5"/>
              </a:cxn>
              <a:cxn ang="0">
                <a:pos x="39" y="5"/>
              </a:cxn>
              <a:cxn ang="0">
                <a:pos x="34" y="5"/>
              </a:cxn>
              <a:cxn ang="0">
                <a:pos x="31" y="5"/>
              </a:cxn>
              <a:cxn ang="0">
                <a:pos x="31" y="3"/>
              </a:cxn>
              <a:cxn ang="0">
                <a:pos x="30" y="3"/>
              </a:cxn>
              <a:cxn ang="0">
                <a:pos x="30" y="5"/>
              </a:cxn>
              <a:cxn ang="0">
                <a:pos x="28" y="7"/>
              </a:cxn>
              <a:cxn ang="0">
                <a:pos x="24" y="7"/>
              </a:cxn>
              <a:cxn ang="0">
                <a:pos x="22" y="8"/>
              </a:cxn>
              <a:cxn ang="0">
                <a:pos x="20" y="11"/>
              </a:cxn>
              <a:cxn ang="0">
                <a:pos x="16" y="13"/>
              </a:cxn>
              <a:cxn ang="0">
                <a:pos x="14" y="14"/>
              </a:cxn>
              <a:cxn ang="0">
                <a:pos x="12" y="21"/>
              </a:cxn>
              <a:cxn ang="0">
                <a:pos x="11" y="24"/>
              </a:cxn>
              <a:cxn ang="0">
                <a:pos x="11" y="25"/>
              </a:cxn>
              <a:cxn ang="0">
                <a:pos x="11" y="29"/>
              </a:cxn>
              <a:cxn ang="0">
                <a:pos x="12" y="32"/>
              </a:cxn>
              <a:cxn ang="0">
                <a:pos x="15" y="36"/>
              </a:cxn>
              <a:cxn ang="0">
                <a:pos x="11" y="35"/>
              </a:cxn>
              <a:cxn ang="0">
                <a:pos x="6" y="27"/>
              </a:cxn>
              <a:cxn ang="0">
                <a:pos x="3" y="24"/>
              </a:cxn>
              <a:cxn ang="0">
                <a:pos x="0" y="21"/>
              </a:cxn>
              <a:cxn ang="0">
                <a:pos x="2" y="16"/>
              </a:cxn>
              <a:cxn ang="0">
                <a:pos x="3" y="13"/>
              </a:cxn>
              <a:cxn ang="0">
                <a:pos x="7" y="11"/>
              </a:cxn>
              <a:cxn ang="0">
                <a:pos x="8" y="8"/>
              </a:cxn>
              <a:cxn ang="0">
                <a:pos x="11" y="7"/>
              </a:cxn>
              <a:cxn ang="0">
                <a:pos x="18" y="2"/>
              </a:cxn>
              <a:cxn ang="0">
                <a:pos x="20" y="0"/>
              </a:cxn>
              <a:cxn ang="0">
                <a:pos x="24" y="0"/>
              </a:cxn>
            </a:cxnLst>
            <a:rect l="0" t="0" r="r" b="b"/>
            <a:pathLst>
              <a:path w="87" h="36">
                <a:moveTo>
                  <a:pt x="24" y="0"/>
                </a:moveTo>
                <a:lnTo>
                  <a:pt x="28" y="2"/>
                </a:lnTo>
                <a:lnTo>
                  <a:pt x="36" y="0"/>
                </a:lnTo>
                <a:lnTo>
                  <a:pt x="42" y="0"/>
                </a:lnTo>
                <a:lnTo>
                  <a:pt x="47" y="2"/>
                </a:lnTo>
                <a:lnTo>
                  <a:pt x="51" y="2"/>
                </a:lnTo>
                <a:lnTo>
                  <a:pt x="56" y="3"/>
                </a:lnTo>
                <a:lnTo>
                  <a:pt x="59" y="3"/>
                </a:lnTo>
                <a:lnTo>
                  <a:pt x="63" y="3"/>
                </a:lnTo>
                <a:lnTo>
                  <a:pt x="68" y="2"/>
                </a:lnTo>
                <a:lnTo>
                  <a:pt x="74" y="5"/>
                </a:lnTo>
                <a:lnTo>
                  <a:pt x="79" y="0"/>
                </a:lnTo>
                <a:lnTo>
                  <a:pt x="83" y="0"/>
                </a:lnTo>
                <a:lnTo>
                  <a:pt x="85" y="0"/>
                </a:lnTo>
                <a:lnTo>
                  <a:pt x="87" y="2"/>
                </a:lnTo>
                <a:lnTo>
                  <a:pt x="87" y="5"/>
                </a:lnTo>
                <a:lnTo>
                  <a:pt x="84" y="8"/>
                </a:lnTo>
                <a:lnTo>
                  <a:pt x="81" y="8"/>
                </a:lnTo>
                <a:lnTo>
                  <a:pt x="79" y="7"/>
                </a:lnTo>
                <a:lnTo>
                  <a:pt x="75" y="8"/>
                </a:lnTo>
                <a:lnTo>
                  <a:pt x="70" y="8"/>
                </a:lnTo>
                <a:lnTo>
                  <a:pt x="66" y="7"/>
                </a:lnTo>
                <a:lnTo>
                  <a:pt x="62" y="7"/>
                </a:lnTo>
                <a:lnTo>
                  <a:pt x="58" y="7"/>
                </a:lnTo>
                <a:lnTo>
                  <a:pt x="47" y="5"/>
                </a:lnTo>
                <a:lnTo>
                  <a:pt x="42" y="5"/>
                </a:lnTo>
                <a:lnTo>
                  <a:pt x="39" y="5"/>
                </a:lnTo>
                <a:lnTo>
                  <a:pt x="34" y="5"/>
                </a:lnTo>
                <a:lnTo>
                  <a:pt x="31" y="5"/>
                </a:lnTo>
                <a:lnTo>
                  <a:pt x="31" y="3"/>
                </a:lnTo>
                <a:lnTo>
                  <a:pt x="30" y="3"/>
                </a:lnTo>
                <a:lnTo>
                  <a:pt x="30" y="5"/>
                </a:lnTo>
                <a:lnTo>
                  <a:pt x="28" y="7"/>
                </a:lnTo>
                <a:lnTo>
                  <a:pt x="24" y="7"/>
                </a:lnTo>
                <a:lnTo>
                  <a:pt x="22" y="8"/>
                </a:lnTo>
                <a:lnTo>
                  <a:pt x="20" y="11"/>
                </a:lnTo>
                <a:lnTo>
                  <a:pt x="16" y="13"/>
                </a:lnTo>
                <a:lnTo>
                  <a:pt x="14" y="14"/>
                </a:lnTo>
                <a:lnTo>
                  <a:pt x="12" y="21"/>
                </a:lnTo>
                <a:lnTo>
                  <a:pt x="11" y="24"/>
                </a:lnTo>
                <a:lnTo>
                  <a:pt x="11" y="25"/>
                </a:lnTo>
                <a:lnTo>
                  <a:pt x="11" y="29"/>
                </a:lnTo>
                <a:lnTo>
                  <a:pt x="12" y="32"/>
                </a:lnTo>
                <a:lnTo>
                  <a:pt x="15" y="36"/>
                </a:lnTo>
                <a:lnTo>
                  <a:pt x="11" y="35"/>
                </a:lnTo>
                <a:lnTo>
                  <a:pt x="6" y="27"/>
                </a:lnTo>
                <a:lnTo>
                  <a:pt x="3" y="24"/>
                </a:lnTo>
                <a:lnTo>
                  <a:pt x="0" y="21"/>
                </a:lnTo>
                <a:lnTo>
                  <a:pt x="2" y="16"/>
                </a:lnTo>
                <a:lnTo>
                  <a:pt x="3" y="13"/>
                </a:lnTo>
                <a:lnTo>
                  <a:pt x="7" y="11"/>
                </a:lnTo>
                <a:lnTo>
                  <a:pt x="8" y="8"/>
                </a:lnTo>
                <a:lnTo>
                  <a:pt x="11" y="7"/>
                </a:lnTo>
                <a:lnTo>
                  <a:pt x="18" y="2"/>
                </a:lnTo>
                <a:lnTo>
                  <a:pt x="20" y="0"/>
                </a:lnTo>
                <a:lnTo>
                  <a:pt x="24" y="0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87" name="Freeform 1417"/>
          <p:cNvSpPr>
            <a:spLocks/>
          </p:cNvSpPr>
          <p:nvPr/>
        </p:nvSpPr>
        <p:spPr bwMode="auto">
          <a:xfrm>
            <a:off x="7781095" y="2692749"/>
            <a:ext cx="167598" cy="70872"/>
          </a:xfrm>
          <a:custGeom>
            <a:avLst/>
            <a:gdLst/>
            <a:ahLst/>
            <a:cxnLst>
              <a:cxn ang="0">
                <a:pos x="24" y="0"/>
              </a:cxn>
              <a:cxn ang="0">
                <a:pos x="28" y="2"/>
              </a:cxn>
              <a:cxn ang="0">
                <a:pos x="36" y="0"/>
              </a:cxn>
              <a:cxn ang="0">
                <a:pos x="42" y="0"/>
              </a:cxn>
              <a:cxn ang="0">
                <a:pos x="47" y="2"/>
              </a:cxn>
              <a:cxn ang="0">
                <a:pos x="51" y="2"/>
              </a:cxn>
              <a:cxn ang="0">
                <a:pos x="56" y="3"/>
              </a:cxn>
              <a:cxn ang="0">
                <a:pos x="59" y="3"/>
              </a:cxn>
              <a:cxn ang="0">
                <a:pos x="63" y="3"/>
              </a:cxn>
              <a:cxn ang="0">
                <a:pos x="68" y="2"/>
              </a:cxn>
              <a:cxn ang="0">
                <a:pos x="74" y="5"/>
              </a:cxn>
              <a:cxn ang="0">
                <a:pos x="79" y="0"/>
              </a:cxn>
              <a:cxn ang="0">
                <a:pos x="83" y="0"/>
              </a:cxn>
              <a:cxn ang="0">
                <a:pos x="85" y="0"/>
              </a:cxn>
              <a:cxn ang="0">
                <a:pos x="87" y="2"/>
              </a:cxn>
              <a:cxn ang="0">
                <a:pos x="87" y="5"/>
              </a:cxn>
              <a:cxn ang="0">
                <a:pos x="84" y="8"/>
              </a:cxn>
              <a:cxn ang="0">
                <a:pos x="81" y="8"/>
              </a:cxn>
              <a:cxn ang="0">
                <a:pos x="79" y="7"/>
              </a:cxn>
              <a:cxn ang="0">
                <a:pos x="75" y="8"/>
              </a:cxn>
              <a:cxn ang="0">
                <a:pos x="70" y="8"/>
              </a:cxn>
              <a:cxn ang="0">
                <a:pos x="66" y="7"/>
              </a:cxn>
              <a:cxn ang="0">
                <a:pos x="62" y="7"/>
              </a:cxn>
              <a:cxn ang="0">
                <a:pos x="58" y="7"/>
              </a:cxn>
              <a:cxn ang="0">
                <a:pos x="47" y="5"/>
              </a:cxn>
              <a:cxn ang="0">
                <a:pos x="42" y="5"/>
              </a:cxn>
              <a:cxn ang="0">
                <a:pos x="39" y="5"/>
              </a:cxn>
              <a:cxn ang="0">
                <a:pos x="34" y="5"/>
              </a:cxn>
              <a:cxn ang="0">
                <a:pos x="31" y="5"/>
              </a:cxn>
              <a:cxn ang="0">
                <a:pos x="31" y="3"/>
              </a:cxn>
              <a:cxn ang="0">
                <a:pos x="30" y="3"/>
              </a:cxn>
              <a:cxn ang="0">
                <a:pos x="30" y="5"/>
              </a:cxn>
              <a:cxn ang="0">
                <a:pos x="28" y="7"/>
              </a:cxn>
              <a:cxn ang="0">
                <a:pos x="24" y="7"/>
              </a:cxn>
              <a:cxn ang="0">
                <a:pos x="22" y="8"/>
              </a:cxn>
              <a:cxn ang="0">
                <a:pos x="20" y="11"/>
              </a:cxn>
              <a:cxn ang="0">
                <a:pos x="16" y="13"/>
              </a:cxn>
              <a:cxn ang="0">
                <a:pos x="14" y="14"/>
              </a:cxn>
              <a:cxn ang="0">
                <a:pos x="12" y="21"/>
              </a:cxn>
              <a:cxn ang="0">
                <a:pos x="11" y="24"/>
              </a:cxn>
              <a:cxn ang="0">
                <a:pos x="11" y="25"/>
              </a:cxn>
              <a:cxn ang="0">
                <a:pos x="11" y="29"/>
              </a:cxn>
              <a:cxn ang="0">
                <a:pos x="12" y="32"/>
              </a:cxn>
              <a:cxn ang="0">
                <a:pos x="15" y="36"/>
              </a:cxn>
              <a:cxn ang="0">
                <a:pos x="11" y="35"/>
              </a:cxn>
              <a:cxn ang="0">
                <a:pos x="6" y="27"/>
              </a:cxn>
              <a:cxn ang="0">
                <a:pos x="3" y="24"/>
              </a:cxn>
              <a:cxn ang="0">
                <a:pos x="0" y="21"/>
              </a:cxn>
              <a:cxn ang="0">
                <a:pos x="2" y="16"/>
              </a:cxn>
              <a:cxn ang="0">
                <a:pos x="3" y="13"/>
              </a:cxn>
              <a:cxn ang="0">
                <a:pos x="7" y="11"/>
              </a:cxn>
              <a:cxn ang="0">
                <a:pos x="8" y="8"/>
              </a:cxn>
              <a:cxn ang="0">
                <a:pos x="11" y="7"/>
              </a:cxn>
              <a:cxn ang="0">
                <a:pos x="18" y="2"/>
              </a:cxn>
              <a:cxn ang="0">
                <a:pos x="20" y="0"/>
              </a:cxn>
              <a:cxn ang="0">
                <a:pos x="24" y="0"/>
              </a:cxn>
            </a:cxnLst>
            <a:rect l="0" t="0" r="r" b="b"/>
            <a:pathLst>
              <a:path w="87" h="36">
                <a:moveTo>
                  <a:pt x="24" y="0"/>
                </a:moveTo>
                <a:lnTo>
                  <a:pt x="28" y="2"/>
                </a:lnTo>
                <a:lnTo>
                  <a:pt x="36" y="0"/>
                </a:lnTo>
                <a:lnTo>
                  <a:pt x="42" y="0"/>
                </a:lnTo>
                <a:lnTo>
                  <a:pt x="47" y="2"/>
                </a:lnTo>
                <a:lnTo>
                  <a:pt x="51" y="2"/>
                </a:lnTo>
                <a:lnTo>
                  <a:pt x="56" y="3"/>
                </a:lnTo>
                <a:lnTo>
                  <a:pt x="59" y="3"/>
                </a:lnTo>
                <a:lnTo>
                  <a:pt x="63" y="3"/>
                </a:lnTo>
                <a:lnTo>
                  <a:pt x="68" y="2"/>
                </a:lnTo>
                <a:lnTo>
                  <a:pt x="74" y="5"/>
                </a:lnTo>
                <a:lnTo>
                  <a:pt x="79" y="0"/>
                </a:lnTo>
                <a:lnTo>
                  <a:pt x="83" y="0"/>
                </a:lnTo>
                <a:lnTo>
                  <a:pt x="85" y="0"/>
                </a:lnTo>
                <a:lnTo>
                  <a:pt x="87" y="2"/>
                </a:lnTo>
                <a:lnTo>
                  <a:pt x="87" y="5"/>
                </a:lnTo>
                <a:lnTo>
                  <a:pt x="84" y="8"/>
                </a:lnTo>
                <a:lnTo>
                  <a:pt x="81" y="8"/>
                </a:lnTo>
                <a:lnTo>
                  <a:pt x="79" y="7"/>
                </a:lnTo>
                <a:lnTo>
                  <a:pt x="75" y="8"/>
                </a:lnTo>
                <a:lnTo>
                  <a:pt x="70" y="8"/>
                </a:lnTo>
                <a:lnTo>
                  <a:pt x="66" y="7"/>
                </a:lnTo>
                <a:lnTo>
                  <a:pt x="62" y="7"/>
                </a:lnTo>
                <a:lnTo>
                  <a:pt x="58" y="7"/>
                </a:lnTo>
                <a:lnTo>
                  <a:pt x="47" y="5"/>
                </a:lnTo>
                <a:lnTo>
                  <a:pt x="42" y="5"/>
                </a:lnTo>
                <a:lnTo>
                  <a:pt x="39" y="5"/>
                </a:lnTo>
                <a:lnTo>
                  <a:pt x="34" y="5"/>
                </a:lnTo>
                <a:lnTo>
                  <a:pt x="31" y="5"/>
                </a:lnTo>
                <a:lnTo>
                  <a:pt x="31" y="3"/>
                </a:lnTo>
                <a:lnTo>
                  <a:pt x="30" y="3"/>
                </a:lnTo>
                <a:lnTo>
                  <a:pt x="30" y="5"/>
                </a:lnTo>
                <a:lnTo>
                  <a:pt x="28" y="7"/>
                </a:lnTo>
                <a:lnTo>
                  <a:pt x="24" y="7"/>
                </a:lnTo>
                <a:lnTo>
                  <a:pt x="22" y="8"/>
                </a:lnTo>
                <a:lnTo>
                  <a:pt x="20" y="11"/>
                </a:lnTo>
                <a:lnTo>
                  <a:pt x="16" y="13"/>
                </a:lnTo>
                <a:lnTo>
                  <a:pt x="14" y="14"/>
                </a:lnTo>
                <a:lnTo>
                  <a:pt x="12" y="21"/>
                </a:lnTo>
                <a:lnTo>
                  <a:pt x="11" y="24"/>
                </a:lnTo>
                <a:lnTo>
                  <a:pt x="11" y="25"/>
                </a:lnTo>
                <a:lnTo>
                  <a:pt x="11" y="29"/>
                </a:lnTo>
                <a:lnTo>
                  <a:pt x="12" y="32"/>
                </a:lnTo>
                <a:lnTo>
                  <a:pt x="15" y="36"/>
                </a:lnTo>
                <a:lnTo>
                  <a:pt x="11" y="35"/>
                </a:lnTo>
                <a:lnTo>
                  <a:pt x="6" y="27"/>
                </a:lnTo>
                <a:lnTo>
                  <a:pt x="3" y="24"/>
                </a:lnTo>
                <a:lnTo>
                  <a:pt x="0" y="21"/>
                </a:lnTo>
                <a:lnTo>
                  <a:pt x="2" y="16"/>
                </a:lnTo>
                <a:lnTo>
                  <a:pt x="3" y="13"/>
                </a:lnTo>
                <a:lnTo>
                  <a:pt x="7" y="11"/>
                </a:lnTo>
                <a:lnTo>
                  <a:pt x="8" y="8"/>
                </a:lnTo>
                <a:lnTo>
                  <a:pt x="11" y="7"/>
                </a:lnTo>
                <a:lnTo>
                  <a:pt x="18" y="2"/>
                </a:lnTo>
                <a:lnTo>
                  <a:pt x="20" y="0"/>
                </a:lnTo>
                <a:lnTo>
                  <a:pt x="24" y="0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88" name="Freeform 1418"/>
          <p:cNvSpPr>
            <a:spLocks/>
          </p:cNvSpPr>
          <p:nvPr/>
        </p:nvSpPr>
        <p:spPr bwMode="auto">
          <a:xfrm>
            <a:off x="6535801" y="2166585"/>
            <a:ext cx="79901" cy="66576"/>
          </a:xfrm>
          <a:custGeom>
            <a:avLst/>
            <a:gdLst/>
            <a:ahLst/>
            <a:cxnLst>
              <a:cxn ang="0">
                <a:pos x="14" y="0"/>
              </a:cxn>
              <a:cxn ang="0">
                <a:pos x="17" y="1"/>
              </a:cxn>
              <a:cxn ang="0">
                <a:pos x="20" y="1"/>
              </a:cxn>
              <a:cxn ang="0">
                <a:pos x="24" y="5"/>
              </a:cxn>
              <a:cxn ang="0">
                <a:pos x="25" y="6"/>
              </a:cxn>
              <a:cxn ang="0">
                <a:pos x="28" y="6"/>
              </a:cxn>
              <a:cxn ang="0">
                <a:pos x="33" y="8"/>
              </a:cxn>
              <a:cxn ang="0">
                <a:pos x="36" y="9"/>
              </a:cxn>
              <a:cxn ang="0">
                <a:pos x="37" y="11"/>
              </a:cxn>
              <a:cxn ang="0">
                <a:pos x="38" y="11"/>
              </a:cxn>
              <a:cxn ang="0">
                <a:pos x="40" y="14"/>
              </a:cxn>
              <a:cxn ang="0">
                <a:pos x="41" y="16"/>
              </a:cxn>
              <a:cxn ang="0">
                <a:pos x="41" y="17"/>
              </a:cxn>
              <a:cxn ang="0">
                <a:pos x="42" y="19"/>
              </a:cxn>
              <a:cxn ang="0">
                <a:pos x="41" y="20"/>
              </a:cxn>
              <a:cxn ang="0">
                <a:pos x="40" y="22"/>
              </a:cxn>
              <a:cxn ang="0">
                <a:pos x="40" y="23"/>
              </a:cxn>
              <a:cxn ang="0">
                <a:pos x="36" y="27"/>
              </a:cxn>
              <a:cxn ang="0">
                <a:pos x="33" y="28"/>
              </a:cxn>
              <a:cxn ang="0">
                <a:pos x="32" y="27"/>
              </a:cxn>
              <a:cxn ang="0">
                <a:pos x="30" y="27"/>
              </a:cxn>
              <a:cxn ang="0">
                <a:pos x="26" y="27"/>
              </a:cxn>
              <a:cxn ang="0">
                <a:pos x="24" y="27"/>
              </a:cxn>
              <a:cxn ang="0">
                <a:pos x="22" y="30"/>
              </a:cxn>
              <a:cxn ang="0">
                <a:pos x="21" y="31"/>
              </a:cxn>
              <a:cxn ang="0">
                <a:pos x="17" y="33"/>
              </a:cxn>
              <a:cxn ang="0">
                <a:pos x="14" y="31"/>
              </a:cxn>
              <a:cxn ang="0">
                <a:pos x="14" y="30"/>
              </a:cxn>
              <a:cxn ang="0">
                <a:pos x="14" y="27"/>
              </a:cxn>
              <a:cxn ang="0">
                <a:pos x="13" y="25"/>
              </a:cxn>
              <a:cxn ang="0">
                <a:pos x="13" y="23"/>
              </a:cxn>
              <a:cxn ang="0">
                <a:pos x="12" y="20"/>
              </a:cxn>
              <a:cxn ang="0">
                <a:pos x="6" y="17"/>
              </a:cxn>
              <a:cxn ang="0">
                <a:pos x="8" y="16"/>
              </a:cxn>
              <a:cxn ang="0">
                <a:pos x="5" y="12"/>
              </a:cxn>
              <a:cxn ang="0">
                <a:pos x="4" y="12"/>
              </a:cxn>
              <a:cxn ang="0">
                <a:pos x="2" y="11"/>
              </a:cxn>
              <a:cxn ang="0">
                <a:pos x="1" y="12"/>
              </a:cxn>
              <a:cxn ang="0">
                <a:pos x="0" y="6"/>
              </a:cxn>
              <a:cxn ang="0">
                <a:pos x="2" y="5"/>
              </a:cxn>
              <a:cxn ang="0">
                <a:pos x="4" y="3"/>
              </a:cxn>
              <a:cxn ang="0">
                <a:pos x="6" y="3"/>
              </a:cxn>
              <a:cxn ang="0">
                <a:pos x="6" y="1"/>
              </a:cxn>
              <a:cxn ang="0">
                <a:pos x="10" y="1"/>
              </a:cxn>
              <a:cxn ang="0">
                <a:pos x="14" y="0"/>
              </a:cxn>
            </a:cxnLst>
            <a:rect l="0" t="0" r="r" b="b"/>
            <a:pathLst>
              <a:path w="42" h="33">
                <a:moveTo>
                  <a:pt x="14" y="0"/>
                </a:moveTo>
                <a:lnTo>
                  <a:pt x="17" y="1"/>
                </a:lnTo>
                <a:lnTo>
                  <a:pt x="20" y="1"/>
                </a:lnTo>
                <a:lnTo>
                  <a:pt x="24" y="5"/>
                </a:lnTo>
                <a:lnTo>
                  <a:pt x="25" y="6"/>
                </a:lnTo>
                <a:lnTo>
                  <a:pt x="28" y="6"/>
                </a:lnTo>
                <a:lnTo>
                  <a:pt x="33" y="8"/>
                </a:lnTo>
                <a:lnTo>
                  <a:pt x="36" y="9"/>
                </a:lnTo>
                <a:lnTo>
                  <a:pt x="37" y="11"/>
                </a:lnTo>
                <a:lnTo>
                  <a:pt x="38" y="11"/>
                </a:lnTo>
                <a:lnTo>
                  <a:pt x="40" y="14"/>
                </a:lnTo>
                <a:lnTo>
                  <a:pt x="41" y="16"/>
                </a:lnTo>
                <a:lnTo>
                  <a:pt x="41" y="17"/>
                </a:lnTo>
                <a:lnTo>
                  <a:pt x="42" y="19"/>
                </a:lnTo>
                <a:lnTo>
                  <a:pt x="41" y="20"/>
                </a:lnTo>
                <a:lnTo>
                  <a:pt x="40" y="22"/>
                </a:lnTo>
                <a:lnTo>
                  <a:pt x="40" y="23"/>
                </a:lnTo>
                <a:lnTo>
                  <a:pt x="36" y="27"/>
                </a:lnTo>
                <a:lnTo>
                  <a:pt x="33" y="28"/>
                </a:lnTo>
                <a:lnTo>
                  <a:pt x="32" y="27"/>
                </a:lnTo>
                <a:lnTo>
                  <a:pt x="30" y="27"/>
                </a:lnTo>
                <a:lnTo>
                  <a:pt x="26" y="27"/>
                </a:lnTo>
                <a:lnTo>
                  <a:pt x="24" y="27"/>
                </a:lnTo>
                <a:lnTo>
                  <a:pt x="22" y="30"/>
                </a:lnTo>
                <a:lnTo>
                  <a:pt x="21" y="31"/>
                </a:lnTo>
                <a:lnTo>
                  <a:pt x="17" y="33"/>
                </a:lnTo>
                <a:lnTo>
                  <a:pt x="14" y="31"/>
                </a:lnTo>
                <a:lnTo>
                  <a:pt x="14" y="30"/>
                </a:lnTo>
                <a:lnTo>
                  <a:pt x="14" y="27"/>
                </a:lnTo>
                <a:lnTo>
                  <a:pt x="13" y="25"/>
                </a:lnTo>
                <a:lnTo>
                  <a:pt x="13" y="23"/>
                </a:lnTo>
                <a:lnTo>
                  <a:pt x="12" y="20"/>
                </a:lnTo>
                <a:lnTo>
                  <a:pt x="6" y="17"/>
                </a:lnTo>
                <a:lnTo>
                  <a:pt x="8" y="16"/>
                </a:lnTo>
                <a:lnTo>
                  <a:pt x="5" y="12"/>
                </a:lnTo>
                <a:lnTo>
                  <a:pt x="4" y="12"/>
                </a:lnTo>
                <a:lnTo>
                  <a:pt x="2" y="11"/>
                </a:lnTo>
                <a:lnTo>
                  <a:pt x="1" y="12"/>
                </a:lnTo>
                <a:lnTo>
                  <a:pt x="0" y="6"/>
                </a:lnTo>
                <a:lnTo>
                  <a:pt x="2" y="5"/>
                </a:lnTo>
                <a:lnTo>
                  <a:pt x="4" y="3"/>
                </a:lnTo>
                <a:lnTo>
                  <a:pt x="6" y="3"/>
                </a:lnTo>
                <a:lnTo>
                  <a:pt x="6" y="1"/>
                </a:lnTo>
                <a:lnTo>
                  <a:pt x="10" y="1"/>
                </a:lnTo>
                <a:lnTo>
                  <a:pt x="14" y="0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89" name="Freeform 1419"/>
          <p:cNvSpPr>
            <a:spLocks/>
          </p:cNvSpPr>
          <p:nvPr/>
        </p:nvSpPr>
        <p:spPr bwMode="auto">
          <a:xfrm>
            <a:off x="6535801" y="2166585"/>
            <a:ext cx="79901" cy="66576"/>
          </a:xfrm>
          <a:custGeom>
            <a:avLst/>
            <a:gdLst/>
            <a:ahLst/>
            <a:cxnLst>
              <a:cxn ang="0">
                <a:pos x="14" y="0"/>
              </a:cxn>
              <a:cxn ang="0">
                <a:pos x="17" y="1"/>
              </a:cxn>
              <a:cxn ang="0">
                <a:pos x="20" y="1"/>
              </a:cxn>
              <a:cxn ang="0">
                <a:pos x="24" y="5"/>
              </a:cxn>
              <a:cxn ang="0">
                <a:pos x="25" y="6"/>
              </a:cxn>
              <a:cxn ang="0">
                <a:pos x="28" y="6"/>
              </a:cxn>
              <a:cxn ang="0">
                <a:pos x="33" y="8"/>
              </a:cxn>
              <a:cxn ang="0">
                <a:pos x="36" y="9"/>
              </a:cxn>
              <a:cxn ang="0">
                <a:pos x="37" y="11"/>
              </a:cxn>
              <a:cxn ang="0">
                <a:pos x="38" y="11"/>
              </a:cxn>
              <a:cxn ang="0">
                <a:pos x="40" y="14"/>
              </a:cxn>
              <a:cxn ang="0">
                <a:pos x="41" y="16"/>
              </a:cxn>
              <a:cxn ang="0">
                <a:pos x="41" y="17"/>
              </a:cxn>
              <a:cxn ang="0">
                <a:pos x="42" y="19"/>
              </a:cxn>
              <a:cxn ang="0">
                <a:pos x="41" y="20"/>
              </a:cxn>
              <a:cxn ang="0">
                <a:pos x="40" y="22"/>
              </a:cxn>
              <a:cxn ang="0">
                <a:pos x="40" y="23"/>
              </a:cxn>
              <a:cxn ang="0">
                <a:pos x="36" y="27"/>
              </a:cxn>
              <a:cxn ang="0">
                <a:pos x="33" y="28"/>
              </a:cxn>
              <a:cxn ang="0">
                <a:pos x="32" y="27"/>
              </a:cxn>
              <a:cxn ang="0">
                <a:pos x="30" y="27"/>
              </a:cxn>
              <a:cxn ang="0">
                <a:pos x="26" y="27"/>
              </a:cxn>
              <a:cxn ang="0">
                <a:pos x="24" y="27"/>
              </a:cxn>
              <a:cxn ang="0">
                <a:pos x="22" y="30"/>
              </a:cxn>
              <a:cxn ang="0">
                <a:pos x="21" y="31"/>
              </a:cxn>
              <a:cxn ang="0">
                <a:pos x="17" y="33"/>
              </a:cxn>
              <a:cxn ang="0">
                <a:pos x="14" y="31"/>
              </a:cxn>
              <a:cxn ang="0">
                <a:pos x="14" y="30"/>
              </a:cxn>
              <a:cxn ang="0">
                <a:pos x="14" y="27"/>
              </a:cxn>
              <a:cxn ang="0">
                <a:pos x="13" y="25"/>
              </a:cxn>
              <a:cxn ang="0">
                <a:pos x="13" y="23"/>
              </a:cxn>
              <a:cxn ang="0">
                <a:pos x="12" y="20"/>
              </a:cxn>
              <a:cxn ang="0">
                <a:pos x="6" y="17"/>
              </a:cxn>
              <a:cxn ang="0">
                <a:pos x="8" y="16"/>
              </a:cxn>
              <a:cxn ang="0">
                <a:pos x="5" y="12"/>
              </a:cxn>
              <a:cxn ang="0">
                <a:pos x="4" y="12"/>
              </a:cxn>
              <a:cxn ang="0">
                <a:pos x="2" y="11"/>
              </a:cxn>
              <a:cxn ang="0">
                <a:pos x="1" y="12"/>
              </a:cxn>
              <a:cxn ang="0">
                <a:pos x="0" y="6"/>
              </a:cxn>
              <a:cxn ang="0">
                <a:pos x="2" y="5"/>
              </a:cxn>
              <a:cxn ang="0">
                <a:pos x="4" y="3"/>
              </a:cxn>
              <a:cxn ang="0">
                <a:pos x="6" y="3"/>
              </a:cxn>
              <a:cxn ang="0">
                <a:pos x="6" y="1"/>
              </a:cxn>
              <a:cxn ang="0">
                <a:pos x="10" y="1"/>
              </a:cxn>
              <a:cxn ang="0">
                <a:pos x="14" y="0"/>
              </a:cxn>
            </a:cxnLst>
            <a:rect l="0" t="0" r="r" b="b"/>
            <a:pathLst>
              <a:path w="42" h="33">
                <a:moveTo>
                  <a:pt x="14" y="0"/>
                </a:moveTo>
                <a:lnTo>
                  <a:pt x="17" y="1"/>
                </a:lnTo>
                <a:lnTo>
                  <a:pt x="20" y="1"/>
                </a:lnTo>
                <a:lnTo>
                  <a:pt x="24" y="5"/>
                </a:lnTo>
                <a:lnTo>
                  <a:pt x="25" y="6"/>
                </a:lnTo>
                <a:lnTo>
                  <a:pt x="28" y="6"/>
                </a:lnTo>
                <a:lnTo>
                  <a:pt x="33" y="8"/>
                </a:lnTo>
                <a:lnTo>
                  <a:pt x="36" y="9"/>
                </a:lnTo>
                <a:lnTo>
                  <a:pt x="37" y="11"/>
                </a:lnTo>
                <a:lnTo>
                  <a:pt x="38" y="11"/>
                </a:lnTo>
                <a:lnTo>
                  <a:pt x="40" y="14"/>
                </a:lnTo>
                <a:lnTo>
                  <a:pt x="41" y="16"/>
                </a:lnTo>
                <a:lnTo>
                  <a:pt x="41" y="17"/>
                </a:lnTo>
                <a:lnTo>
                  <a:pt x="42" y="19"/>
                </a:lnTo>
                <a:lnTo>
                  <a:pt x="41" y="20"/>
                </a:lnTo>
                <a:lnTo>
                  <a:pt x="40" y="22"/>
                </a:lnTo>
                <a:lnTo>
                  <a:pt x="40" y="23"/>
                </a:lnTo>
                <a:lnTo>
                  <a:pt x="36" y="27"/>
                </a:lnTo>
                <a:lnTo>
                  <a:pt x="33" y="28"/>
                </a:lnTo>
                <a:lnTo>
                  <a:pt x="32" y="27"/>
                </a:lnTo>
                <a:lnTo>
                  <a:pt x="30" y="27"/>
                </a:lnTo>
                <a:lnTo>
                  <a:pt x="26" y="27"/>
                </a:lnTo>
                <a:lnTo>
                  <a:pt x="24" y="27"/>
                </a:lnTo>
                <a:lnTo>
                  <a:pt x="22" y="30"/>
                </a:lnTo>
                <a:lnTo>
                  <a:pt x="21" y="31"/>
                </a:lnTo>
                <a:lnTo>
                  <a:pt x="17" y="33"/>
                </a:lnTo>
                <a:lnTo>
                  <a:pt x="14" y="31"/>
                </a:lnTo>
                <a:lnTo>
                  <a:pt x="14" y="30"/>
                </a:lnTo>
                <a:lnTo>
                  <a:pt x="14" y="27"/>
                </a:lnTo>
                <a:lnTo>
                  <a:pt x="13" y="25"/>
                </a:lnTo>
                <a:lnTo>
                  <a:pt x="13" y="23"/>
                </a:lnTo>
                <a:lnTo>
                  <a:pt x="12" y="20"/>
                </a:lnTo>
                <a:lnTo>
                  <a:pt x="6" y="17"/>
                </a:lnTo>
                <a:lnTo>
                  <a:pt x="8" y="16"/>
                </a:lnTo>
                <a:lnTo>
                  <a:pt x="5" y="12"/>
                </a:lnTo>
                <a:lnTo>
                  <a:pt x="4" y="12"/>
                </a:lnTo>
                <a:lnTo>
                  <a:pt x="2" y="11"/>
                </a:lnTo>
                <a:lnTo>
                  <a:pt x="1" y="12"/>
                </a:lnTo>
                <a:lnTo>
                  <a:pt x="0" y="6"/>
                </a:lnTo>
                <a:lnTo>
                  <a:pt x="2" y="5"/>
                </a:lnTo>
                <a:lnTo>
                  <a:pt x="4" y="3"/>
                </a:lnTo>
                <a:lnTo>
                  <a:pt x="6" y="3"/>
                </a:lnTo>
                <a:lnTo>
                  <a:pt x="6" y="1"/>
                </a:lnTo>
                <a:lnTo>
                  <a:pt x="10" y="1"/>
                </a:lnTo>
                <a:lnTo>
                  <a:pt x="14" y="0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90" name="Freeform 1420"/>
          <p:cNvSpPr>
            <a:spLocks/>
          </p:cNvSpPr>
          <p:nvPr/>
        </p:nvSpPr>
        <p:spPr bwMode="auto">
          <a:xfrm>
            <a:off x="8660009" y="2379199"/>
            <a:ext cx="171496" cy="152481"/>
          </a:xfrm>
          <a:custGeom>
            <a:avLst/>
            <a:gdLst/>
            <a:ahLst/>
            <a:cxnLst>
              <a:cxn ang="0">
                <a:pos x="88" y="0"/>
              </a:cxn>
              <a:cxn ang="0">
                <a:pos x="90" y="3"/>
              </a:cxn>
              <a:cxn ang="0">
                <a:pos x="89" y="9"/>
              </a:cxn>
              <a:cxn ang="0">
                <a:pos x="88" y="17"/>
              </a:cxn>
              <a:cxn ang="0">
                <a:pos x="85" y="28"/>
              </a:cxn>
              <a:cxn ang="0">
                <a:pos x="78" y="39"/>
              </a:cxn>
              <a:cxn ang="0">
                <a:pos x="74" y="36"/>
              </a:cxn>
              <a:cxn ang="0">
                <a:pos x="73" y="41"/>
              </a:cxn>
              <a:cxn ang="0">
                <a:pos x="76" y="42"/>
              </a:cxn>
              <a:cxn ang="0">
                <a:pos x="69" y="47"/>
              </a:cxn>
              <a:cxn ang="0">
                <a:pos x="63" y="53"/>
              </a:cxn>
              <a:cxn ang="0">
                <a:pos x="51" y="56"/>
              </a:cxn>
              <a:cxn ang="0">
                <a:pos x="44" y="61"/>
              </a:cxn>
              <a:cxn ang="0">
                <a:pos x="36" y="66"/>
              </a:cxn>
              <a:cxn ang="0">
                <a:pos x="28" y="74"/>
              </a:cxn>
              <a:cxn ang="0">
                <a:pos x="13" y="77"/>
              </a:cxn>
              <a:cxn ang="0">
                <a:pos x="0" y="74"/>
              </a:cxn>
              <a:cxn ang="0">
                <a:pos x="5" y="70"/>
              </a:cxn>
              <a:cxn ang="0">
                <a:pos x="13" y="70"/>
              </a:cxn>
              <a:cxn ang="0">
                <a:pos x="21" y="69"/>
              </a:cxn>
              <a:cxn ang="0">
                <a:pos x="31" y="59"/>
              </a:cxn>
              <a:cxn ang="0">
                <a:pos x="44" y="52"/>
              </a:cxn>
              <a:cxn ang="0">
                <a:pos x="49" y="48"/>
              </a:cxn>
              <a:cxn ang="0">
                <a:pos x="57" y="45"/>
              </a:cxn>
              <a:cxn ang="0">
                <a:pos x="51" y="47"/>
              </a:cxn>
              <a:cxn ang="0">
                <a:pos x="49" y="44"/>
              </a:cxn>
              <a:cxn ang="0">
                <a:pos x="61" y="36"/>
              </a:cxn>
              <a:cxn ang="0">
                <a:pos x="67" y="30"/>
              </a:cxn>
              <a:cxn ang="0">
                <a:pos x="72" y="23"/>
              </a:cxn>
              <a:cxn ang="0">
                <a:pos x="81" y="9"/>
              </a:cxn>
              <a:cxn ang="0">
                <a:pos x="82" y="3"/>
              </a:cxn>
              <a:cxn ang="0">
                <a:pos x="85" y="0"/>
              </a:cxn>
            </a:cxnLst>
            <a:rect l="0" t="0" r="r" b="b"/>
            <a:pathLst>
              <a:path w="90" h="77">
                <a:moveTo>
                  <a:pt x="86" y="0"/>
                </a:moveTo>
                <a:lnTo>
                  <a:pt x="88" y="0"/>
                </a:lnTo>
                <a:lnTo>
                  <a:pt x="90" y="1"/>
                </a:lnTo>
                <a:lnTo>
                  <a:pt x="90" y="3"/>
                </a:lnTo>
                <a:lnTo>
                  <a:pt x="90" y="6"/>
                </a:lnTo>
                <a:lnTo>
                  <a:pt x="89" y="9"/>
                </a:lnTo>
                <a:lnTo>
                  <a:pt x="88" y="14"/>
                </a:lnTo>
                <a:lnTo>
                  <a:pt x="88" y="17"/>
                </a:lnTo>
                <a:lnTo>
                  <a:pt x="85" y="23"/>
                </a:lnTo>
                <a:lnTo>
                  <a:pt x="85" y="28"/>
                </a:lnTo>
                <a:lnTo>
                  <a:pt x="84" y="33"/>
                </a:lnTo>
                <a:lnTo>
                  <a:pt x="78" y="39"/>
                </a:lnTo>
                <a:lnTo>
                  <a:pt x="78" y="34"/>
                </a:lnTo>
                <a:lnTo>
                  <a:pt x="74" y="36"/>
                </a:lnTo>
                <a:lnTo>
                  <a:pt x="72" y="41"/>
                </a:lnTo>
                <a:lnTo>
                  <a:pt x="73" y="41"/>
                </a:lnTo>
                <a:lnTo>
                  <a:pt x="76" y="41"/>
                </a:lnTo>
                <a:lnTo>
                  <a:pt x="76" y="42"/>
                </a:lnTo>
                <a:lnTo>
                  <a:pt x="72" y="45"/>
                </a:lnTo>
                <a:lnTo>
                  <a:pt x="69" y="47"/>
                </a:lnTo>
                <a:lnTo>
                  <a:pt x="67" y="50"/>
                </a:lnTo>
                <a:lnTo>
                  <a:pt x="63" y="53"/>
                </a:lnTo>
                <a:lnTo>
                  <a:pt x="55" y="55"/>
                </a:lnTo>
                <a:lnTo>
                  <a:pt x="51" y="56"/>
                </a:lnTo>
                <a:lnTo>
                  <a:pt x="47" y="59"/>
                </a:lnTo>
                <a:lnTo>
                  <a:pt x="44" y="61"/>
                </a:lnTo>
                <a:lnTo>
                  <a:pt x="40" y="61"/>
                </a:lnTo>
                <a:lnTo>
                  <a:pt x="36" y="66"/>
                </a:lnTo>
                <a:lnTo>
                  <a:pt x="33" y="70"/>
                </a:lnTo>
                <a:lnTo>
                  <a:pt x="28" y="74"/>
                </a:lnTo>
                <a:lnTo>
                  <a:pt x="21" y="75"/>
                </a:lnTo>
                <a:lnTo>
                  <a:pt x="13" y="77"/>
                </a:lnTo>
                <a:lnTo>
                  <a:pt x="3" y="75"/>
                </a:lnTo>
                <a:lnTo>
                  <a:pt x="0" y="74"/>
                </a:lnTo>
                <a:lnTo>
                  <a:pt x="0" y="72"/>
                </a:lnTo>
                <a:lnTo>
                  <a:pt x="5" y="70"/>
                </a:lnTo>
                <a:lnTo>
                  <a:pt x="11" y="70"/>
                </a:lnTo>
                <a:lnTo>
                  <a:pt x="13" y="70"/>
                </a:lnTo>
                <a:lnTo>
                  <a:pt x="16" y="69"/>
                </a:lnTo>
                <a:lnTo>
                  <a:pt x="21" y="69"/>
                </a:lnTo>
                <a:lnTo>
                  <a:pt x="25" y="67"/>
                </a:lnTo>
                <a:lnTo>
                  <a:pt x="31" y="59"/>
                </a:lnTo>
                <a:lnTo>
                  <a:pt x="35" y="58"/>
                </a:lnTo>
                <a:lnTo>
                  <a:pt x="44" y="52"/>
                </a:lnTo>
                <a:lnTo>
                  <a:pt x="47" y="50"/>
                </a:lnTo>
                <a:lnTo>
                  <a:pt x="49" y="48"/>
                </a:lnTo>
                <a:lnTo>
                  <a:pt x="53" y="47"/>
                </a:lnTo>
                <a:lnTo>
                  <a:pt x="57" y="45"/>
                </a:lnTo>
                <a:lnTo>
                  <a:pt x="59" y="44"/>
                </a:lnTo>
                <a:lnTo>
                  <a:pt x="51" y="47"/>
                </a:lnTo>
                <a:lnTo>
                  <a:pt x="47" y="48"/>
                </a:lnTo>
                <a:lnTo>
                  <a:pt x="49" y="44"/>
                </a:lnTo>
                <a:lnTo>
                  <a:pt x="53" y="42"/>
                </a:lnTo>
                <a:lnTo>
                  <a:pt x="61" y="36"/>
                </a:lnTo>
                <a:lnTo>
                  <a:pt x="64" y="33"/>
                </a:lnTo>
                <a:lnTo>
                  <a:pt x="67" y="30"/>
                </a:lnTo>
                <a:lnTo>
                  <a:pt x="69" y="26"/>
                </a:lnTo>
                <a:lnTo>
                  <a:pt x="72" y="23"/>
                </a:lnTo>
                <a:lnTo>
                  <a:pt x="74" y="19"/>
                </a:lnTo>
                <a:lnTo>
                  <a:pt x="81" y="9"/>
                </a:lnTo>
                <a:lnTo>
                  <a:pt x="81" y="6"/>
                </a:lnTo>
                <a:lnTo>
                  <a:pt x="82" y="3"/>
                </a:lnTo>
                <a:lnTo>
                  <a:pt x="84" y="1"/>
                </a:lnTo>
                <a:lnTo>
                  <a:pt x="85" y="0"/>
                </a:lnTo>
                <a:lnTo>
                  <a:pt x="86" y="0"/>
                </a:lnTo>
                <a:close/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91" name="Freeform 1421"/>
          <p:cNvSpPr>
            <a:spLocks/>
          </p:cNvSpPr>
          <p:nvPr/>
        </p:nvSpPr>
        <p:spPr bwMode="auto">
          <a:xfrm>
            <a:off x="8660009" y="2379199"/>
            <a:ext cx="171496" cy="152481"/>
          </a:xfrm>
          <a:custGeom>
            <a:avLst/>
            <a:gdLst/>
            <a:ahLst/>
            <a:cxnLst>
              <a:cxn ang="0">
                <a:pos x="88" y="0"/>
              </a:cxn>
              <a:cxn ang="0">
                <a:pos x="90" y="3"/>
              </a:cxn>
              <a:cxn ang="0">
                <a:pos x="89" y="9"/>
              </a:cxn>
              <a:cxn ang="0">
                <a:pos x="88" y="17"/>
              </a:cxn>
              <a:cxn ang="0">
                <a:pos x="85" y="28"/>
              </a:cxn>
              <a:cxn ang="0">
                <a:pos x="78" y="39"/>
              </a:cxn>
              <a:cxn ang="0">
                <a:pos x="74" y="36"/>
              </a:cxn>
              <a:cxn ang="0">
                <a:pos x="73" y="41"/>
              </a:cxn>
              <a:cxn ang="0">
                <a:pos x="76" y="42"/>
              </a:cxn>
              <a:cxn ang="0">
                <a:pos x="69" y="47"/>
              </a:cxn>
              <a:cxn ang="0">
                <a:pos x="63" y="53"/>
              </a:cxn>
              <a:cxn ang="0">
                <a:pos x="51" y="56"/>
              </a:cxn>
              <a:cxn ang="0">
                <a:pos x="44" y="61"/>
              </a:cxn>
              <a:cxn ang="0">
                <a:pos x="36" y="66"/>
              </a:cxn>
              <a:cxn ang="0">
                <a:pos x="28" y="74"/>
              </a:cxn>
              <a:cxn ang="0">
                <a:pos x="13" y="77"/>
              </a:cxn>
              <a:cxn ang="0">
                <a:pos x="0" y="74"/>
              </a:cxn>
              <a:cxn ang="0">
                <a:pos x="5" y="70"/>
              </a:cxn>
              <a:cxn ang="0">
                <a:pos x="13" y="70"/>
              </a:cxn>
              <a:cxn ang="0">
                <a:pos x="21" y="69"/>
              </a:cxn>
              <a:cxn ang="0">
                <a:pos x="31" y="59"/>
              </a:cxn>
              <a:cxn ang="0">
                <a:pos x="44" y="52"/>
              </a:cxn>
              <a:cxn ang="0">
                <a:pos x="49" y="48"/>
              </a:cxn>
              <a:cxn ang="0">
                <a:pos x="57" y="45"/>
              </a:cxn>
              <a:cxn ang="0">
                <a:pos x="51" y="47"/>
              </a:cxn>
              <a:cxn ang="0">
                <a:pos x="49" y="44"/>
              </a:cxn>
              <a:cxn ang="0">
                <a:pos x="61" y="36"/>
              </a:cxn>
              <a:cxn ang="0">
                <a:pos x="67" y="30"/>
              </a:cxn>
              <a:cxn ang="0">
                <a:pos x="72" y="23"/>
              </a:cxn>
              <a:cxn ang="0">
                <a:pos x="81" y="9"/>
              </a:cxn>
              <a:cxn ang="0">
                <a:pos x="82" y="3"/>
              </a:cxn>
              <a:cxn ang="0">
                <a:pos x="85" y="0"/>
              </a:cxn>
            </a:cxnLst>
            <a:rect l="0" t="0" r="r" b="b"/>
            <a:pathLst>
              <a:path w="90" h="77">
                <a:moveTo>
                  <a:pt x="86" y="0"/>
                </a:moveTo>
                <a:lnTo>
                  <a:pt x="88" y="0"/>
                </a:lnTo>
                <a:lnTo>
                  <a:pt x="90" y="1"/>
                </a:lnTo>
                <a:lnTo>
                  <a:pt x="90" y="3"/>
                </a:lnTo>
                <a:lnTo>
                  <a:pt x="90" y="6"/>
                </a:lnTo>
                <a:lnTo>
                  <a:pt x="89" y="9"/>
                </a:lnTo>
                <a:lnTo>
                  <a:pt x="88" y="14"/>
                </a:lnTo>
                <a:lnTo>
                  <a:pt x="88" y="17"/>
                </a:lnTo>
                <a:lnTo>
                  <a:pt x="85" y="23"/>
                </a:lnTo>
                <a:lnTo>
                  <a:pt x="85" y="28"/>
                </a:lnTo>
                <a:lnTo>
                  <a:pt x="84" y="33"/>
                </a:lnTo>
                <a:lnTo>
                  <a:pt x="78" y="39"/>
                </a:lnTo>
                <a:lnTo>
                  <a:pt x="78" y="34"/>
                </a:lnTo>
                <a:lnTo>
                  <a:pt x="74" y="36"/>
                </a:lnTo>
                <a:lnTo>
                  <a:pt x="72" y="41"/>
                </a:lnTo>
                <a:lnTo>
                  <a:pt x="73" y="41"/>
                </a:lnTo>
                <a:lnTo>
                  <a:pt x="76" y="41"/>
                </a:lnTo>
                <a:lnTo>
                  <a:pt x="76" y="42"/>
                </a:lnTo>
                <a:lnTo>
                  <a:pt x="72" y="45"/>
                </a:lnTo>
                <a:lnTo>
                  <a:pt x="69" y="47"/>
                </a:lnTo>
                <a:lnTo>
                  <a:pt x="67" y="50"/>
                </a:lnTo>
                <a:lnTo>
                  <a:pt x="63" y="53"/>
                </a:lnTo>
                <a:lnTo>
                  <a:pt x="55" y="55"/>
                </a:lnTo>
                <a:lnTo>
                  <a:pt x="51" y="56"/>
                </a:lnTo>
                <a:lnTo>
                  <a:pt x="47" y="59"/>
                </a:lnTo>
                <a:lnTo>
                  <a:pt x="44" y="61"/>
                </a:lnTo>
                <a:lnTo>
                  <a:pt x="40" y="61"/>
                </a:lnTo>
                <a:lnTo>
                  <a:pt x="36" y="66"/>
                </a:lnTo>
                <a:lnTo>
                  <a:pt x="33" y="70"/>
                </a:lnTo>
                <a:lnTo>
                  <a:pt x="28" y="74"/>
                </a:lnTo>
                <a:lnTo>
                  <a:pt x="21" y="75"/>
                </a:lnTo>
                <a:lnTo>
                  <a:pt x="13" y="77"/>
                </a:lnTo>
                <a:lnTo>
                  <a:pt x="3" y="75"/>
                </a:lnTo>
                <a:lnTo>
                  <a:pt x="0" y="74"/>
                </a:lnTo>
                <a:lnTo>
                  <a:pt x="0" y="72"/>
                </a:lnTo>
                <a:lnTo>
                  <a:pt x="5" y="70"/>
                </a:lnTo>
                <a:lnTo>
                  <a:pt x="11" y="70"/>
                </a:lnTo>
                <a:lnTo>
                  <a:pt x="13" y="70"/>
                </a:lnTo>
                <a:lnTo>
                  <a:pt x="16" y="69"/>
                </a:lnTo>
                <a:lnTo>
                  <a:pt x="21" y="69"/>
                </a:lnTo>
                <a:lnTo>
                  <a:pt x="25" y="67"/>
                </a:lnTo>
                <a:lnTo>
                  <a:pt x="31" y="59"/>
                </a:lnTo>
                <a:lnTo>
                  <a:pt x="35" y="58"/>
                </a:lnTo>
                <a:lnTo>
                  <a:pt x="44" y="52"/>
                </a:lnTo>
                <a:lnTo>
                  <a:pt x="47" y="50"/>
                </a:lnTo>
                <a:lnTo>
                  <a:pt x="49" y="48"/>
                </a:lnTo>
                <a:lnTo>
                  <a:pt x="53" y="47"/>
                </a:lnTo>
                <a:lnTo>
                  <a:pt x="57" y="45"/>
                </a:lnTo>
                <a:lnTo>
                  <a:pt x="59" y="44"/>
                </a:lnTo>
                <a:lnTo>
                  <a:pt x="51" y="47"/>
                </a:lnTo>
                <a:lnTo>
                  <a:pt x="47" y="48"/>
                </a:lnTo>
                <a:lnTo>
                  <a:pt x="49" y="44"/>
                </a:lnTo>
                <a:lnTo>
                  <a:pt x="53" y="42"/>
                </a:lnTo>
                <a:lnTo>
                  <a:pt x="61" y="36"/>
                </a:lnTo>
                <a:lnTo>
                  <a:pt x="64" y="33"/>
                </a:lnTo>
                <a:lnTo>
                  <a:pt x="67" y="30"/>
                </a:lnTo>
                <a:lnTo>
                  <a:pt x="69" y="26"/>
                </a:lnTo>
                <a:lnTo>
                  <a:pt x="72" y="23"/>
                </a:lnTo>
                <a:lnTo>
                  <a:pt x="74" y="19"/>
                </a:lnTo>
                <a:lnTo>
                  <a:pt x="81" y="9"/>
                </a:lnTo>
                <a:lnTo>
                  <a:pt x="81" y="6"/>
                </a:lnTo>
                <a:lnTo>
                  <a:pt x="82" y="3"/>
                </a:lnTo>
                <a:lnTo>
                  <a:pt x="84" y="1"/>
                </a:lnTo>
                <a:lnTo>
                  <a:pt x="85" y="0"/>
                </a:lnTo>
                <a:lnTo>
                  <a:pt x="86" y="0"/>
                </a:lnTo>
              </a:path>
            </a:pathLst>
          </a:custGeom>
          <a:solidFill>
            <a:srgbClr val="C8EDF8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92" name="Freeform 1422"/>
          <p:cNvSpPr>
            <a:spLocks/>
          </p:cNvSpPr>
          <p:nvPr/>
        </p:nvSpPr>
        <p:spPr bwMode="auto">
          <a:xfrm>
            <a:off x="2770692" y="2452218"/>
            <a:ext cx="44823" cy="21476"/>
          </a:xfrm>
          <a:custGeom>
            <a:avLst/>
            <a:gdLst/>
            <a:ahLst/>
            <a:cxnLst>
              <a:cxn ang="0">
                <a:pos x="7" y="0"/>
              </a:cxn>
              <a:cxn ang="0">
                <a:pos x="3" y="0"/>
              </a:cxn>
              <a:cxn ang="0">
                <a:pos x="0" y="2"/>
              </a:cxn>
              <a:cxn ang="0">
                <a:pos x="0" y="4"/>
              </a:cxn>
              <a:cxn ang="0">
                <a:pos x="6" y="7"/>
              </a:cxn>
              <a:cxn ang="0">
                <a:pos x="7" y="5"/>
              </a:cxn>
              <a:cxn ang="0">
                <a:pos x="8" y="7"/>
              </a:cxn>
              <a:cxn ang="0">
                <a:pos x="8" y="8"/>
              </a:cxn>
              <a:cxn ang="0">
                <a:pos x="15" y="10"/>
              </a:cxn>
              <a:cxn ang="0">
                <a:pos x="19" y="8"/>
              </a:cxn>
              <a:cxn ang="0">
                <a:pos x="20" y="10"/>
              </a:cxn>
              <a:cxn ang="0">
                <a:pos x="23" y="10"/>
              </a:cxn>
              <a:cxn ang="0">
                <a:pos x="24" y="8"/>
              </a:cxn>
              <a:cxn ang="0">
                <a:pos x="23" y="5"/>
              </a:cxn>
              <a:cxn ang="0">
                <a:pos x="22" y="5"/>
              </a:cxn>
              <a:cxn ang="0">
                <a:pos x="18" y="5"/>
              </a:cxn>
              <a:cxn ang="0">
                <a:pos x="16" y="7"/>
              </a:cxn>
              <a:cxn ang="0">
                <a:pos x="15" y="7"/>
              </a:cxn>
              <a:cxn ang="0">
                <a:pos x="15" y="4"/>
              </a:cxn>
              <a:cxn ang="0">
                <a:pos x="14" y="0"/>
              </a:cxn>
              <a:cxn ang="0">
                <a:pos x="8" y="0"/>
              </a:cxn>
              <a:cxn ang="0">
                <a:pos x="7" y="0"/>
              </a:cxn>
            </a:cxnLst>
            <a:rect l="0" t="0" r="r" b="b"/>
            <a:pathLst>
              <a:path w="24" h="10">
                <a:moveTo>
                  <a:pt x="7" y="0"/>
                </a:moveTo>
                <a:lnTo>
                  <a:pt x="3" y="0"/>
                </a:lnTo>
                <a:lnTo>
                  <a:pt x="0" y="2"/>
                </a:lnTo>
                <a:lnTo>
                  <a:pt x="0" y="4"/>
                </a:lnTo>
                <a:lnTo>
                  <a:pt x="6" y="7"/>
                </a:lnTo>
                <a:lnTo>
                  <a:pt x="7" y="5"/>
                </a:lnTo>
                <a:lnTo>
                  <a:pt x="8" y="7"/>
                </a:lnTo>
                <a:lnTo>
                  <a:pt x="8" y="8"/>
                </a:lnTo>
                <a:lnTo>
                  <a:pt x="15" y="10"/>
                </a:lnTo>
                <a:lnTo>
                  <a:pt x="19" y="8"/>
                </a:lnTo>
                <a:lnTo>
                  <a:pt x="20" y="10"/>
                </a:lnTo>
                <a:lnTo>
                  <a:pt x="23" y="10"/>
                </a:lnTo>
                <a:lnTo>
                  <a:pt x="24" y="8"/>
                </a:lnTo>
                <a:lnTo>
                  <a:pt x="23" y="5"/>
                </a:lnTo>
                <a:lnTo>
                  <a:pt x="22" y="5"/>
                </a:lnTo>
                <a:lnTo>
                  <a:pt x="18" y="5"/>
                </a:lnTo>
                <a:lnTo>
                  <a:pt x="16" y="7"/>
                </a:lnTo>
                <a:lnTo>
                  <a:pt x="15" y="7"/>
                </a:lnTo>
                <a:lnTo>
                  <a:pt x="15" y="4"/>
                </a:lnTo>
                <a:lnTo>
                  <a:pt x="14" y="0"/>
                </a:lnTo>
                <a:lnTo>
                  <a:pt x="8" y="0"/>
                </a:lnTo>
                <a:lnTo>
                  <a:pt x="7" y="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93" name="Freeform 1423"/>
          <p:cNvSpPr>
            <a:spLocks/>
          </p:cNvSpPr>
          <p:nvPr/>
        </p:nvSpPr>
        <p:spPr bwMode="auto">
          <a:xfrm>
            <a:off x="2770692" y="2452218"/>
            <a:ext cx="44823" cy="21476"/>
          </a:xfrm>
          <a:custGeom>
            <a:avLst/>
            <a:gdLst/>
            <a:ahLst/>
            <a:cxnLst>
              <a:cxn ang="0">
                <a:pos x="7" y="0"/>
              </a:cxn>
              <a:cxn ang="0">
                <a:pos x="3" y="0"/>
              </a:cxn>
              <a:cxn ang="0">
                <a:pos x="0" y="2"/>
              </a:cxn>
              <a:cxn ang="0">
                <a:pos x="0" y="4"/>
              </a:cxn>
              <a:cxn ang="0">
                <a:pos x="6" y="7"/>
              </a:cxn>
              <a:cxn ang="0">
                <a:pos x="7" y="5"/>
              </a:cxn>
              <a:cxn ang="0">
                <a:pos x="8" y="7"/>
              </a:cxn>
              <a:cxn ang="0">
                <a:pos x="8" y="8"/>
              </a:cxn>
              <a:cxn ang="0">
                <a:pos x="15" y="10"/>
              </a:cxn>
              <a:cxn ang="0">
                <a:pos x="19" y="8"/>
              </a:cxn>
              <a:cxn ang="0">
                <a:pos x="20" y="10"/>
              </a:cxn>
              <a:cxn ang="0">
                <a:pos x="23" y="10"/>
              </a:cxn>
              <a:cxn ang="0">
                <a:pos x="24" y="8"/>
              </a:cxn>
              <a:cxn ang="0">
                <a:pos x="23" y="5"/>
              </a:cxn>
              <a:cxn ang="0">
                <a:pos x="22" y="5"/>
              </a:cxn>
              <a:cxn ang="0">
                <a:pos x="18" y="5"/>
              </a:cxn>
              <a:cxn ang="0">
                <a:pos x="16" y="7"/>
              </a:cxn>
              <a:cxn ang="0">
                <a:pos x="15" y="7"/>
              </a:cxn>
              <a:cxn ang="0">
                <a:pos x="15" y="4"/>
              </a:cxn>
              <a:cxn ang="0">
                <a:pos x="14" y="0"/>
              </a:cxn>
              <a:cxn ang="0">
                <a:pos x="8" y="0"/>
              </a:cxn>
              <a:cxn ang="0">
                <a:pos x="7" y="0"/>
              </a:cxn>
            </a:cxnLst>
            <a:rect l="0" t="0" r="r" b="b"/>
            <a:pathLst>
              <a:path w="24" h="10">
                <a:moveTo>
                  <a:pt x="7" y="0"/>
                </a:moveTo>
                <a:lnTo>
                  <a:pt x="3" y="0"/>
                </a:lnTo>
                <a:lnTo>
                  <a:pt x="0" y="2"/>
                </a:lnTo>
                <a:lnTo>
                  <a:pt x="0" y="4"/>
                </a:lnTo>
                <a:lnTo>
                  <a:pt x="6" y="7"/>
                </a:lnTo>
                <a:lnTo>
                  <a:pt x="7" y="5"/>
                </a:lnTo>
                <a:lnTo>
                  <a:pt x="8" y="7"/>
                </a:lnTo>
                <a:lnTo>
                  <a:pt x="8" y="8"/>
                </a:lnTo>
                <a:lnTo>
                  <a:pt x="15" y="10"/>
                </a:lnTo>
                <a:lnTo>
                  <a:pt x="19" y="8"/>
                </a:lnTo>
                <a:lnTo>
                  <a:pt x="20" y="10"/>
                </a:lnTo>
                <a:lnTo>
                  <a:pt x="23" y="10"/>
                </a:lnTo>
                <a:lnTo>
                  <a:pt x="24" y="8"/>
                </a:lnTo>
                <a:lnTo>
                  <a:pt x="23" y="5"/>
                </a:lnTo>
                <a:lnTo>
                  <a:pt x="22" y="5"/>
                </a:lnTo>
                <a:lnTo>
                  <a:pt x="18" y="5"/>
                </a:lnTo>
                <a:lnTo>
                  <a:pt x="16" y="7"/>
                </a:lnTo>
                <a:lnTo>
                  <a:pt x="15" y="7"/>
                </a:lnTo>
                <a:lnTo>
                  <a:pt x="15" y="4"/>
                </a:lnTo>
                <a:lnTo>
                  <a:pt x="14" y="0"/>
                </a:lnTo>
                <a:lnTo>
                  <a:pt x="8" y="0"/>
                </a:lnTo>
                <a:lnTo>
                  <a:pt x="7" y="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94" name="Freeform 1424"/>
          <p:cNvSpPr>
            <a:spLocks/>
          </p:cNvSpPr>
          <p:nvPr/>
        </p:nvSpPr>
        <p:spPr bwMode="auto">
          <a:xfrm>
            <a:off x="2762895" y="2469398"/>
            <a:ext cx="44823" cy="55838"/>
          </a:xfrm>
          <a:custGeom>
            <a:avLst/>
            <a:gdLst/>
            <a:ahLst/>
            <a:cxnLst>
              <a:cxn ang="0">
                <a:pos x="23" y="27"/>
              </a:cxn>
              <a:cxn ang="0">
                <a:pos x="23" y="24"/>
              </a:cxn>
              <a:cxn ang="0">
                <a:pos x="22" y="22"/>
              </a:cxn>
              <a:cxn ang="0">
                <a:pos x="22" y="21"/>
              </a:cxn>
              <a:cxn ang="0">
                <a:pos x="20" y="19"/>
              </a:cxn>
              <a:cxn ang="0">
                <a:pos x="20" y="16"/>
              </a:cxn>
              <a:cxn ang="0">
                <a:pos x="22" y="13"/>
              </a:cxn>
              <a:cxn ang="0">
                <a:pos x="23" y="11"/>
              </a:cxn>
              <a:cxn ang="0">
                <a:pos x="22" y="7"/>
              </a:cxn>
              <a:cxn ang="0">
                <a:pos x="23" y="5"/>
              </a:cxn>
              <a:cxn ang="0">
                <a:pos x="22" y="3"/>
              </a:cxn>
              <a:cxn ang="0">
                <a:pos x="20" y="3"/>
              </a:cxn>
              <a:cxn ang="0">
                <a:pos x="16" y="2"/>
              </a:cxn>
              <a:cxn ang="0">
                <a:pos x="12" y="2"/>
              </a:cxn>
              <a:cxn ang="0">
                <a:pos x="11" y="0"/>
              </a:cxn>
              <a:cxn ang="0">
                <a:pos x="10" y="0"/>
              </a:cxn>
              <a:cxn ang="0">
                <a:pos x="7" y="2"/>
              </a:cxn>
              <a:cxn ang="0">
                <a:pos x="4" y="2"/>
              </a:cxn>
              <a:cxn ang="0">
                <a:pos x="3" y="0"/>
              </a:cxn>
              <a:cxn ang="0">
                <a:pos x="0" y="2"/>
              </a:cxn>
              <a:cxn ang="0">
                <a:pos x="2" y="2"/>
              </a:cxn>
              <a:cxn ang="0">
                <a:pos x="3" y="3"/>
              </a:cxn>
              <a:cxn ang="0">
                <a:pos x="3" y="5"/>
              </a:cxn>
              <a:cxn ang="0">
                <a:pos x="3" y="7"/>
              </a:cxn>
              <a:cxn ang="0">
                <a:pos x="6" y="8"/>
              </a:cxn>
              <a:cxn ang="0">
                <a:pos x="7" y="7"/>
              </a:cxn>
              <a:cxn ang="0">
                <a:pos x="8" y="5"/>
              </a:cxn>
              <a:cxn ang="0">
                <a:pos x="7" y="3"/>
              </a:cxn>
              <a:cxn ang="0">
                <a:pos x="10" y="3"/>
              </a:cxn>
              <a:cxn ang="0">
                <a:pos x="11" y="3"/>
              </a:cxn>
              <a:cxn ang="0">
                <a:pos x="11" y="5"/>
              </a:cxn>
              <a:cxn ang="0">
                <a:pos x="11" y="7"/>
              </a:cxn>
              <a:cxn ang="0">
                <a:pos x="12" y="10"/>
              </a:cxn>
              <a:cxn ang="0">
                <a:pos x="14" y="10"/>
              </a:cxn>
              <a:cxn ang="0">
                <a:pos x="14" y="8"/>
              </a:cxn>
              <a:cxn ang="0">
                <a:pos x="14" y="7"/>
              </a:cxn>
              <a:cxn ang="0">
                <a:pos x="14" y="5"/>
              </a:cxn>
              <a:cxn ang="0">
                <a:pos x="15" y="7"/>
              </a:cxn>
              <a:cxn ang="0">
                <a:pos x="16" y="7"/>
              </a:cxn>
              <a:cxn ang="0">
                <a:pos x="16" y="8"/>
              </a:cxn>
              <a:cxn ang="0">
                <a:pos x="16" y="10"/>
              </a:cxn>
              <a:cxn ang="0">
                <a:pos x="18" y="11"/>
              </a:cxn>
              <a:cxn ang="0">
                <a:pos x="16" y="13"/>
              </a:cxn>
              <a:cxn ang="0">
                <a:pos x="15" y="16"/>
              </a:cxn>
              <a:cxn ang="0">
                <a:pos x="15" y="21"/>
              </a:cxn>
              <a:cxn ang="0">
                <a:pos x="16" y="25"/>
              </a:cxn>
              <a:cxn ang="0">
                <a:pos x="18" y="25"/>
              </a:cxn>
              <a:cxn ang="0">
                <a:pos x="20" y="29"/>
              </a:cxn>
              <a:cxn ang="0">
                <a:pos x="22" y="27"/>
              </a:cxn>
              <a:cxn ang="0">
                <a:pos x="23" y="29"/>
              </a:cxn>
              <a:cxn ang="0">
                <a:pos x="23" y="27"/>
              </a:cxn>
            </a:cxnLst>
            <a:rect l="0" t="0" r="r" b="b"/>
            <a:pathLst>
              <a:path w="23" h="29">
                <a:moveTo>
                  <a:pt x="23" y="27"/>
                </a:moveTo>
                <a:lnTo>
                  <a:pt x="23" y="24"/>
                </a:lnTo>
                <a:lnTo>
                  <a:pt x="22" y="22"/>
                </a:lnTo>
                <a:lnTo>
                  <a:pt x="22" y="21"/>
                </a:lnTo>
                <a:lnTo>
                  <a:pt x="20" y="19"/>
                </a:lnTo>
                <a:lnTo>
                  <a:pt x="20" y="16"/>
                </a:lnTo>
                <a:lnTo>
                  <a:pt x="22" y="13"/>
                </a:lnTo>
                <a:lnTo>
                  <a:pt x="23" y="11"/>
                </a:lnTo>
                <a:lnTo>
                  <a:pt x="22" y="7"/>
                </a:lnTo>
                <a:lnTo>
                  <a:pt x="23" y="5"/>
                </a:lnTo>
                <a:lnTo>
                  <a:pt x="22" y="3"/>
                </a:lnTo>
                <a:lnTo>
                  <a:pt x="20" y="3"/>
                </a:lnTo>
                <a:lnTo>
                  <a:pt x="16" y="2"/>
                </a:lnTo>
                <a:lnTo>
                  <a:pt x="12" y="2"/>
                </a:lnTo>
                <a:lnTo>
                  <a:pt x="11" y="0"/>
                </a:lnTo>
                <a:lnTo>
                  <a:pt x="10" y="0"/>
                </a:lnTo>
                <a:lnTo>
                  <a:pt x="7" y="2"/>
                </a:lnTo>
                <a:lnTo>
                  <a:pt x="4" y="2"/>
                </a:lnTo>
                <a:lnTo>
                  <a:pt x="3" y="0"/>
                </a:lnTo>
                <a:lnTo>
                  <a:pt x="0" y="2"/>
                </a:lnTo>
                <a:lnTo>
                  <a:pt x="2" y="2"/>
                </a:lnTo>
                <a:lnTo>
                  <a:pt x="3" y="3"/>
                </a:lnTo>
                <a:lnTo>
                  <a:pt x="3" y="5"/>
                </a:lnTo>
                <a:lnTo>
                  <a:pt x="3" y="7"/>
                </a:lnTo>
                <a:lnTo>
                  <a:pt x="6" y="8"/>
                </a:lnTo>
                <a:lnTo>
                  <a:pt x="7" y="7"/>
                </a:lnTo>
                <a:lnTo>
                  <a:pt x="8" y="5"/>
                </a:lnTo>
                <a:lnTo>
                  <a:pt x="7" y="3"/>
                </a:lnTo>
                <a:lnTo>
                  <a:pt x="10" y="3"/>
                </a:lnTo>
                <a:lnTo>
                  <a:pt x="11" y="3"/>
                </a:lnTo>
                <a:lnTo>
                  <a:pt x="11" y="5"/>
                </a:lnTo>
                <a:lnTo>
                  <a:pt x="11" y="7"/>
                </a:lnTo>
                <a:lnTo>
                  <a:pt x="12" y="10"/>
                </a:lnTo>
                <a:lnTo>
                  <a:pt x="14" y="10"/>
                </a:lnTo>
                <a:lnTo>
                  <a:pt x="14" y="8"/>
                </a:lnTo>
                <a:lnTo>
                  <a:pt x="14" y="7"/>
                </a:lnTo>
                <a:lnTo>
                  <a:pt x="14" y="5"/>
                </a:lnTo>
                <a:lnTo>
                  <a:pt x="15" y="7"/>
                </a:lnTo>
                <a:lnTo>
                  <a:pt x="16" y="7"/>
                </a:lnTo>
                <a:lnTo>
                  <a:pt x="16" y="8"/>
                </a:lnTo>
                <a:lnTo>
                  <a:pt x="16" y="10"/>
                </a:lnTo>
                <a:lnTo>
                  <a:pt x="18" y="11"/>
                </a:lnTo>
                <a:lnTo>
                  <a:pt x="16" y="13"/>
                </a:lnTo>
                <a:lnTo>
                  <a:pt x="15" y="16"/>
                </a:lnTo>
                <a:lnTo>
                  <a:pt x="15" y="21"/>
                </a:lnTo>
                <a:lnTo>
                  <a:pt x="16" y="25"/>
                </a:lnTo>
                <a:lnTo>
                  <a:pt x="18" y="25"/>
                </a:lnTo>
                <a:lnTo>
                  <a:pt x="20" y="29"/>
                </a:lnTo>
                <a:lnTo>
                  <a:pt x="22" y="27"/>
                </a:lnTo>
                <a:lnTo>
                  <a:pt x="23" y="29"/>
                </a:lnTo>
                <a:lnTo>
                  <a:pt x="23" y="27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95" name="Freeform 1425"/>
          <p:cNvSpPr>
            <a:spLocks/>
          </p:cNvSpPr>
          <p:nvPr/>
        </p:nvSpPr>
        <p:spPr bwMode="auto">
          <a:xfrm>
            <a:off x="2762895" y="2469398"/>
            <a:ext cx="44823" cy="55838"/>
          </a:xfrm>
          <a:custGeom>
            <a:avLst/>
            <a:gdLst/>
            <a:ahLst/>
            <a:cxnLst>
              <a:cxn ang="0">
                <a:pos x="23" y="27"/>
              </a:cxn>
              <a:cxn ang="0">
                <a:pos x="23" y="24"/>
              </a:cxn>
              <a:cxn ang="0">
                <a:pos x="22" y="22"/>
              </a:cxn>
              <a:cxn ang="0">
                <a:pos x="22" y="21"/>
              </a:cxn>
              <a:cxn ang="0">
                <a:pos x="20" y="19"/>
              </a:cxn>
              <a:cxn ang="0">
                <a:pos x="20" y="16"/>
              </a:cxn>
              <a:cxn ang="0">
                <a:pos x="22" y="13"/>
              </a:cxn>
              <a:cxn ang="0">
                <a:pos x="23" y="11"/>
              </a:cxn>
              <a:cxn ang="0">
                <a:pos x="22" y="7"/>
              </a:cxn>
              <a:cxn ang="0">
                <a:pos x="23" y="5"/>
              </a:cxn>
              <a:cxn ang="0">
                <a:pos x="22" y="3"/>
              </a:cxn>
              <a:cxn ang="0">
                <a:pos x="20" y="3"/>
              </a:cxn>
              <a:cxn ang="0">
                <a:pos x="16" y="2"/>
              </a:cxn>
              <a:cxn ang="0">
                <a:pos x="12" y="2"/>
              </a:cxn>
              <a:cxn ang="0">
                <a:pos x="11" y="0"/>
              </a:cxn>
              <a:cxn ang="0">
                <a:pos x="10" y="0"/>
              </a:cxn>
              <a:cxn ang="0">
                <a:pos x="7" y="2"/>
              </a:cxn>
              <a:cxn ang="0">
                <a:pos x="4" y="2"/>
              </a:cxn>
              <a:cxn ang="0">
                <a:pos x="3" y="0"/>
              </a:cxn>
              <a:cxn ang="0">
                <a:pos x="0" y="2"/>
              </a:cxn>
              <a:cxn ang="0">
                <a:pos x="2" y="2"/>
              </a:cxn>
              <a:cxn ang="0">
                <a:pos x="3" y="3"/>
              </a:cxn>
              <a:cxn ang="0">
                <a:pos x="3" y="5"/>
              </a:cxn>
              <a:cxn ang="0">
                <a:pos x="3" y="7"/>
              </a:cxn>
              <a:cxn ang="0">
                <a:pos x="6" y="8"/>
              </a:cxn>
              <a:cxn ang="0">
                <a:pos x="7" y="7"/>
              </a:cxn>
              <a:cxn ang="0">
                <a:pos x="8" y="5"/>
              </a:cxn>
              <a:cxn ang="0">
                <a:pos x="7" y="3"/>
              </a:cxn>
              <a:cxn ang="0">
                <a:pos x="10" y="3"/>
              </a:cxn>
              <a:cxn ang="0">
                <a:pos x="11" y="3"/>
              </a:cxn>
              <a:cxn ang="0">
                <a:pos x="11" y="5"/>
              </a:cxn>
              <a:cxn ang="0">
                <a:pos x="11" y="7"/>
              </a:cxn>
              <a:cxn ang="0">
                <a:pos x="12" y="10"/>
              </a:cxn>
              <a:cxn ang="0">
                <a:pos x="14" y="10"/>
              </a:cxn>
              <a:cxn ang="0">
                <a:pos x="14" y="8"/>
              </a:cxn>
              <a:cxn ang="0">
                <a:pos x="14" y="7"/>
              </a:cxn>
              <a:cxn ang="0">
                <a:pos x="14" y="5"/>
              </a:cxn>
              <a:cxn ang="0">
                <a:pos x="15" y="7"/>
              </a:cxn>
              <a:cxn ang="0">
                <a:pos x="16" y="7"/>
              </a:cxn>
              <a:cxn ang="0">
                <a:pos x="16" y="8"/>
              </a:cxn>
              <a:cxn ang="0">
                <a:pos x="16" y="10"/>
              </a:cxn>
              <a:cxn ang="0">
                <a:pos x="18" y="11"/>
              </a:cxn>
              <a:cxn ang="0">
                <a:pos x="16" y="13"/>
              </a:cxn>
              <a:cxn ang="0">
                <a:pos x="15" y="16"/>
              </a:cxn>
              <a:cxn ang="0">
                <a:pos x="15" y="21"/>
              </a:cxn>
              <a:cxn ang="0">
                <a:pos x="16" y="25"/>
              </a:cxn>
              <a:cxn ang="0">
                <a:pos x="18" y="25"/>
              </a:cxn>
              <a:cxn ang="0">
                <a:pos x="20" y="29"/>
              </a:cxn>
              <a:cxn ang="0">
                <a:pos x="22" y="27"/>
              </a:cxn>
              <a:cxn ang="0">
                <a:pos x="23" y="29"/>
              </a:cxn>
              <a:cxn ang="0">
                <a:pos x="23" y="27"/>
              </a:cxn>
            </a:cxnLst>
            <a:rect l="0" t="0" r="r" b="b"/>
            <a:pathLst>
              <a:path w="23" h="29">
                <a:moveTo>
                  <a:pt x="23" y="27"/>
                </a:moveTo>
                <a:lnTo>
                  <a:pt x="23" y="24"/>
                </a:lnTo>
                <a:lnTo>
                  <a:pt x="22" y="22"/>
                </a:lnTo>
                <a:lnTo>
                  <a:pt x="22" y="21"/>
                </a:lnTo>
                <a:lnTo>
                  <a:pt x="20" y="19"/>
                </a:lnTo>
                <a:lnTo>
                  <a:pt x="20" y="16"/>
                </a:lnTo>
                <a:lnTo>
                  <a:pt x="22" y="13"/>
                </a:lnTo>
                <a:lnTo>
                  <a:pt x="23" y="11"/>
                </a:lnTo>
                <a:lnTo>
                  <a:pt x="22" y="7"/>
                </a:lnTo>
                <a:lnTo>
                  <a:pt x="23" y="5"/>
                </a:lnTo>
                <a:lnTo>
                  <a:pt x="22" y="3"/>
                </a:lnTo>
                <a:lnTo>
                  <a:pt x="20" y="3"/>
                </a:lnTo>
                <a:lnTo>
                  <a:pt x="16" y="2"/>
                </a:lnTo>
                <a:lnTo>
                  <a:pt x="12" y="2"/>
                </a:lnTo>
                <a:lnTo>
                  <a:pt x="11" y="0"/>
                </a:lnTo>
                <a:lnTo>
                  <a:pt x="10" y="0"/>
                </a:lnTo>
                <a:lnTo>
                  <a:pt x="7" y="2"/>
                </a:lnTo>
                <a:lnTo>
                  <a:pt x="4" y="2"/>
                </a:lnTo>
                <a:lnTo>
                  <a:pt x="3" y="0"/>
                </a:lnTo>
                <a:lnTo>
                  <a:pt x="0" y="2"/>
                </a:lnTo>
                <a:lnTo>
                  <a:pt x="2" y="2"/>
                </a:lnTo>
                <a:lnTo>
                  <a:pt x="3" y="3"/>
                </a:lnTo>
                <a:lnTo>
                  <a:pt x="3" y="5"/>
                </a:lnTo>
                <a:lnTo>
                  <a:pt x="3" y="7"/>
                </a:lnTo>
                <a:lnTo>
                  <a:pt x="6" y="8"/>
                </a:lnTo>
                <a:lnTo>
                  <a:pt x="7" y="7"/>
                </a:lnTo>
                <a:lnTo>
                  <a:pt x="8" y="5"/>
                </a:lnTo>
                <a:lnTo>
                  <a:pt x="7" y="3"/>
                </a:lnTo>
                <a:lnTo>
                  <a:pt x="10" y="3"/>
                </a:lnTo>
                <a:lnTo>
                  <a:pt x="11" y="3"/>
                </a:lnTo>
                <a:lnTo>
                  <a:pt x="11" y="5"/>
                </a:lnTo>
                <a:lnTo>
                  <a:pt x="11" y="7"/>
                </a:lnTo>
                <a:lnTo>
                  <a:pt x="12" y="10"/>
                </a:lnTo>
                <a:lnTo>
                  <a:pt x="14" y="10"/>
                </a:lnTo>
                <a:lnTo>
                  <a:pt x="14" y="8"/>
                </a:lnTo>
                <a:lnTo>
                  <a:pt x="14" y="7"/>
                </a:lnTo>
                <a:lnTo>
                  <a:pt x="14" y="5"/>
                </a:lnTo>
                <a:lnTo>
                  <a:pt x="15" y="7"/>
                </a:lnTo>
                <a:lnTo>
                  <a:pt x="16" y="7"/>
                </a:lnTo>
                <a:lnTo>
                  <a:pt x="16" y="8"/>
                </a:lnTo>
                <a:lnTo>
                  <a:pt x="16" y="10"/>
                </a:lnTo>
                <a:lnTo>
                  <a:pt x="18" y="11"/>
                </a:lnTo>
                <a:lnTo>
                  <a:pt x="16" y="13"/>
                </a:lnTo>
                <a:lnTo>
                  <a:pt x="15" y="16"/>
                </a:lnTo>
                <a:lnTo>
                  <a:pt x="15" y="21"/>
                </a:lnTo>
                <a:lnTo>
                  <a:pt x="16" y="25"/>
                </a:lnTo>
                <a:lnTo>
                  <a:pt x="18" y="25"/>
                </a:lnTo>
                <a:lnTo>
                  <a:pt x="20" y="29"/>
                </a:lnTo>
                <a:lnTo>
                  <a:pt x="22" y="27"/>
                </a:lnTo>
                <a:lnTo>
                  <a:pt x="23" y="29"/>
                </a:lnTo>
                <a:lnTo>
                  <a:pt x="23" y="27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96" name="Freeform 1426"/>
          <p:cNvSpPr>
            <a:spLocks/>
          </p:cNvSpPr>
          <p:nvPr/>
        </p:nvSpPr>
        <p:spPr bwMode="auto">
          <a:xfrm>
            <a:off x="2809667" y="2516646"/>
            <a:ext cx="44823" cy="6013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6"/>
              </a:cxn>
              <a:cxn ang="0">
                <a:pos x="2" y="5"/>
              </a:cxn>
              <a:cxn ang="0">
                <a:pos x="2" y="3"/>
              </a:cxn>
              <a:cxn ang="0">
                <a:pos x="4" y="3"/>
              </a:cxn>
              <a:cxn ang="0">
                <a:pos x="4" y="5"/>
              </a:cxn>
              <a:cxn ang="0">
                <a:pos x="7" y="5"/>
              </a:cxn>
              <a:cxn ang="0">
                <a:pos x="7" y="8"/>
              </a:cxn>
              <a:cxn ang="0">
                <a:pos x="10" y="11"/>
              </a:cxn>
              <a:cxn ang="0">
                <a:pos x="8" y="12"/>
              </a:cxn>
              <a:cxn ang="0">
                <a:pos x="8" y="14"/>
              </a:cxn>
              <a:cxn ang="0">
                <a:pos x="10" y="16"/>
              </a:cxn>
              <a:cxn ang="0">
                <a:pos x="11" y="17"/>
              </a:cxn>
              <a:cxn ang="0">
                <a:pos x="14" y="19"/>
              </a:cxn>
              <a:cxn ang="0">
                <a:pos x="12" y="20"/>
              </a:cxn>
              <a:cxn ang="0">
                <a:pos x="15" y="23"/>
              </a:cxn>
              <a:cxn ang="0">
                <a:pos x="16" y="25"/>
              </a:cxn>
              <a:cxn ang="0">
                <a:pos x="15" y="26"/>
              </a:cxn>
              <a:cxn ang="0">
                <a:pos x="15" y="28"/>
              </a:cxn>
              <a:cxn ang="0">
                <a:pos x="16" y="28"/>
              </a:cxn>
              <a:cxn ang="0">
                <a:pos x="19" y="30"/>
              </a:cxn>
              <a:cxn ang="0">
                <a:pos x="20" y="28"/>
              </a:cxn>
              <a:cxn ang="0">
                <a:pos x="23" y="26"/>
              </a:cxn>
              <a:cxn ang="0">
                <a:pos x="24" y="26"/>
              </a:cxn>
              <a:cxn ang="0">
                <a:pos x="24" y="25"/>
              </a:cxn>
              <a:cxn ang="0">
                <a:pos x="23" y="23"/>
              </a:cxn>
              <a:cxn ang="0">
                <a:pos x="20" y="20"/>
              </a:cxn>
              <a:cxn ang="0">
                <a:pos x="18" y="17"/>
              </a:cxn>
              <a:cxn ang="0">
                <a:pos x="15" y="16"/>
              </a:cxn>
              <a:cxn ang="0">
                <a:pos x="14" y="17"/>
              </a:cxn>
              <a:cxn ang="0">
                <a:pos x="12" y="16"/>
              </a:cxn>
              <a:cxn ang="0">
                <a:pos x="14" y="12"/>
              </a:cxn>
              <a:cxn ang="0">
                <a:pos x="14" y="11"/>
              </a:cxn>
              <a:cxn ang="0">
                <a:pos x="15" y="11"/>
              </a:cxn>
              <a:cxn ang="0">
                <a:pos x="15" y="9"/>
              </a:cxn>
              <a:cxn ang="0">
                <a:pos x="12" y="9"/>
              </a:cxn>
              <a:cxn ang="0">
                <a:pos x="12" y="8"/>
              </a:cxn>
              <a:cxn ang="0">
                <a:pos x="12" y="6"/>
              </a:cxn>
              <a:cxn ang="0">
                <a:pos x="12" y="5"/>
              </a:cxn>
              <a:cxn ang="0">
                <a:pos x="11" y="1"/>
              </a:cxn>
              <a:cxn ang="0">
                <a:pos x="10" y="1"/>
              </a:cxn>
              <a:cxn ang="0">
                <a:pos x="10" y="5"/>
              </a:cxn>
              <a:cxn ang="0">
                <a:pos x="11" y="8"/>
              </a:cxn>
              <a:cxn ang="0">
                <a:pos x="10" y="8"/>
              </a:cxn>
              <a:cxn ang="0">
                <a:pos x="8" y="6"/>
              </a:cxn>
              <a:cxn ang="0">
                <a:pos x="8" y="3"/>
              </a:cxn>
              <a:cxn ang="0">
                <a:pos x="7" y="0"/>
              </a:cxn>
              <a:cxn ang="0">
                <a:pos x="6" y="0"/>
              </a:cxn>
              <a:cxn ang="0">
                <a:pos x="7" y="3"/>
              </a:cxn>
              <a:cxn ang="0">
                <a:pos x="6" y="3"/>
              </a:cxn>
              <a:cxn ang="0">
                <a:pos x="4" y="1"/>
              </a:cxn>
              <a:cxn ang="0">
                <a:pos x="2" y="0"/>
              </a:cxn>
              <a:cxn ang="0">
                <a:pos x="0" y="1"/>
              </a:cxn>
              <a:cxn ang="0">
                <a:pos x="0" y="3"/>
              </a:cxn>
            </a:cxnLst>
            <a:rect l="0" t="0" r="r" b="b"/>
            <a:pathLst>
              <a:path w="24" h="30">
                <a:moveTo>
                  <a:pt x="0" y="3"/>
                </a:moveTo>
                <a:lnTo>
                  <a:pt x="0" y="6"/>
                </a:lnTo>
                <a:lnTo>
                  <a:pt x="2" y="5"/>
                </a:lnTo>
                <a:lnTo>
                  <a:pt x="2" y="3"/>
                </a:lnTo>
                <a:lnTo>
                  <a:pt x="4" y="3"/>
                </a:lnTo>
                <a:lnTo>
                  <a:pt x="4" y="5"/>
                </a:lnTo>
                <a:lnTo>
                  <a:pt x="7" y="5"/>
                </a:lnTo>
                <a:lnTo>
                  <a:pt x="7" y="8"/>
                </a:lnTo>
                <a:lnTo>
                  <a:pt x="10" y="11"/>
                </a:lnTo>
                <a:lnTo>
                  <a:pt x="8" y="12"/>
                </a:lnTo>
                <a:lnTo>
                  <a:pt x="8" y="14"/>
                </a:lnTo>
                <a:lnTo>
                  <a:pt x="10" y="16"/>
                </a:lnTo>
                <a:lnTo>
                  <a:pt x="11" y="17"/>
                </a:lnTo>
                <a:lnTo>
                  <a:pt x="14" y="19"/>
                </a:lnTo>
                <a:lnTo>
                  <a:pt x="12" y="20"/>
                </a:lnTo>
                <a:lnTo>
                  <a:pt x="15" y="23"/>
                </a:lnTo>
                <a:lnTo>
                  <a:pt x="16" y="25"/>
                </a:lnTo>
                <a:lnTo>
                  <a:pt x="15" y="26"/>
                </a:lnTo>
                <a:lnTo>
                  <a:pt x="15" y="28"/>
                </a:lnTo>
                <a:lnTo>
                  <a:pt x="16" y="28"/>
                </a:lnTo>
                <a:lnTo>
                  <a:pt x="19" y="30"/>
                </a:lnTo>
                <a:lnTo>
                  <a:pt x="20" y="28"/>
                </a:lnTo>
                <a:lnTo>
                  <a:pt x="23" y="26"/>
                </a:lnTo>
                <a:lnTo>
                  <a:pt x="24" y="26"/>
                </a:lnTo>
                <a:lnTo>
                  <a:pt x="24" y="25"/>
                </a:lnTo>
                <a:lnTo>
                  <a:pt x="23" y="23"/>
                </a:lnTo>
                <a:lnTo>
                  <a:pt x="20" y="20"/>
                </a:lnTo>
                <a:lnTo>
                  <a:pt x="18" y="17"/>
                </a:lnTo>
                <a:lnTo>
                  <a:pt x="15" y="16"/>
                </a:lnTo>
                <a:lnTo>
                  <a:pt x="14" y="17"/>
                </a:lnTo>
                <a:lnTo>
                  <a:pt x="12" y="16"/>
                </a:lnTo>
                <a:lnTo>
                  <a:pt x="14" y="12"/>
                </a:lnTo>
                <a:lnTo>
                  <a:pt x="14" y="11"/>
                </a:lnTo>
                <a:lnTo>
                  <a:pt x="15" y="11"/>
                </a:lnTo>
                <a:lnTo>
                  <a:pt x="15" y="9"/>
                </a:lnTo>
                <a:lnTo>
                  <a:pt x="12" y="9"/>
                </a:lnTo>
                <a:lnTo>
                  <a:pt x="12" y="8"/>
                </a:lnTo>
                <a:lnTo>
                  <a:pt x="12" y="6"/>
                </a:lnTo>
                <a:lnTo>
                  <a:pt x="12" y="5"/>
                </a:lnTo>
                <a:lnTo>
                  <a:pt x="11" y="1"/>
                </a:lnTo>
                <a:lnTo>
                  <a:pt x="10" y="1"/>
                </a:lnTo>
                <a:lnTo>
                  <a:pt x="10" y="5"/>
                </a:lnTo>
                <a:lnTo>
                  <a:pt x="11" y="8"/>
                </a:lnTo>
                <a:lnTo>
                  <a:pt x="10" y="8"/>
                </a:lnTo>
                <a:lnTo>
                  <a:pt x="8" y="6"/>
                </a:lnTo>
                <a:lnTo>
                  <a:pt x="8" y="3"/>
                </a:lnTo>
                <a:lnTo>
                  <a:pt x="7" y="0"/>
                </a:lnTo>
                <a:lnTo>
                  <a:pt x="6" y="0"/>
                </a:lnTo>
                <a:lnTo>
                  <a:pt x="7" y="3"/>
                </a:lnTo>
                <a:lnTo>
                  <a:pt x="6" y="3"/>
                </a:lnTo>
                <a:lnTo>
                  <a:pt x="4" y="1"/>
                </a:lnTo>
                <a:lnTo>
                  <a:pt x="2" y="0"/>
                </a:lnTo>
                <a:lnTo>
                  <a:pt x="0" y="1"/>
                </a:lnTo>
                <a:lnTo>
                  <a:pt x="0" y="3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97" name="Freeform 1427"/>
          <p:cNvSpPr>
            <a:spLocks/>
          </p:cNvSpPr>
          <p:nvPr/>
        </p:nvSpPr>
        <p:spPr bwMode="auto">
          <a:xfrm>
            <a:off x="2809667" y="2516646"/>
            <a:ext cx="44823" cy="6013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6"/>
              </a:cxn>
              <a:cxn ang="0">
                <a:pos x="2" y="5"/>
              </a:cxn>
              <a:cxn ang="0">
                <a:pos x="2" y="3"/>
              </a:cxn>
              <a:cxn ang="0">
                <a:pos x="4" y="3"/>
              </a:cxn>
              <a:cxn ang="0">
                <a:pos x="4" y="5"/>
              </a:cxn>
              <a:cxn ang="0">
                <a:pos x="7" y="5"/>
              </a:cxn>
              <a:cxn ang="0">
                <a:pos x="7" y="8"/>
              </a:cxn>
              <a:cxn ang="0">
                <a:pos x="10" y="11"/>
              </a:cxn>
              <a:cxn ang="0">
                <a:pos x="8" y="12"/>
              </a:cxn>
              <a:cxn ang="0">
                <a:pos x="8" y="14"/>
              </a:cxn>
              <a:cxn ang="0">
                <a:pos x="10" y="16"/>
              </a:cxn>
              <a:cxn ang="0">
                <a:pos x="11" y="17"/>
              </a:cxn>
              <a:cxn ang="0">
                <a:pos x="14" y="19"/>
              </a:cxn>
              <a:cxn ang="0">
                <a:pos x="12" y="20"/>
              </a:cxn>
              <a:cxn ang="0">
                <a:pos x="15" y="23"/>
              </a:cxn>
              <a:cxn ang="0">
                <a:pos x="16" y="25"/>
              </a:cxn>
              <a:cxn ang="0">
                <a:pos x="15" y="26"/>
              </a:cxn>
              <a:cxn ang="0">
                <a:pos x="15" y="28"/>
              </a:cxn>
              <a:cxn ang="0">
                <a:pos x="16" y="28"/>
              </a:cxn>
              <a:cxn ang="0">
                <a:pos x="19" y="30"/>
              </a:cxn>
              <a:cxn ang="0">
                <a:pos x="20" y="28"/>
              </a:cxn>
              <a:cxn ang="0">
                <a:pos x="23" y="26"/>
              </a:cxn>
              <a:cxn ang="0">
                <a:pos x="24" y="26"/>
              </a:cxn>
              <a:cxn ang="0">
                <a:pos x="24" y="25"/>
              </a:cxn>
              <a:cxn ang="0">
                <a:pos x="23" y="23"/>
              </a:cxn>
              <a:cxn ang="0">
                <a:pos x="20" y="20"/>
              </a:cxn>
              <a:cxn ang="0">
                <a:pos x="18" y="17"/>
              </a:cxn>
              <a:cxn ang="0">
                <a:pos x="15" y="16"/>
              </a:cxn>
              <a:cxn ang="0">
                <a:pos x="14" y="17"/>
              </a:cxn>
              <a:cxn ang="0">
                <a:pos x="12" y="16"/>
              </a:cxn>
              <a:cxn ang="0">
                <a:pos x="14" y="12"/>
              </a:cxn>
              <a:cxn ang="0">
                <a:pos x="14" y="11"/>
              </a:cxn>
              <a:cxn ang="0">
                <a:pos x="15" y="11"/>
              </a:cxn>
              <a:cxn ang="0">
                <a:pos x="15" y="9"/>
              </a:cxn>
              <a:cxn ang="0">
                <a:pos x="12" y="9"/>
              </a:cxn>
              <a:cxn ang="0">
                <a:pos x="12" y="8"/>
              </a:cxn>
              <a:cxn ang="0">
                <a:pos x="12" y="6"/>
              </a:cxn>
              <a:cxn ang="0">
                <a:pos x="12" y="5"/>
              </a:cxn>
              <a:cxn ang="0">
                <a:pos x="11" y="1"/>
              </a:cxn>
              <a:cxn ang="0">
                <a:pos x="10" y="1"/>
              </a:cxn>
              <a:cxn ang="0">
                <a:pos x="10" y="5"/>
              </a:cxn>
              <a:cxn ang="0">
                <a:pos x="11" y="8"/>
              </a:cxn>
              <a:cxn ang="0">
                <a:pos x="10" y="8"/>
              </a:cxn>
              <a:cxn ang="0">
                <a:pos x="8" y="6"/>
              </a:cxn>
              <a:cxn ang="0">
                <a:pos x="8" y="3"/>
              </a:cxn>
              <a:cxn ang="0">
                <a:pos x="7" y="0"/>
              </a:cxn>
              <a:cxn ang="0">
                <a:pos x="6" y="0"/>
              </a:cxn>
              <a:cxn ang="0">
                <a:pos x="7" y="3"/>
              </a:cxn>
              <a:cxn ang="0">
                <a:pos x="6" y="3"/>
              </a:cxn>
              <a:cxn ang="0">
                <a:pos x="4" y="1"/>
              </a:cxn>
              <a:cxn ang="0">
                <a:pos x="2" y="0"/>
              </a:cxn>
              <a:cxn ang="0">
                <a:pos x="0" y="1"/>
              </a:cxn>
              <a:cxn ang="0">
                <a:pos x="0" y="3"/>
              </a:cxn>
            </a:cxnLst>
            <a:rect l="0" t="0" r="r" b="b"/>
            <a:pathLst>
              <a:path w="24" h="30">
                <a:moveTo>
                  <a:pt x="0" y="3"/>
                </a:moveTo>
                <a:lnTo>
                  <a:pt x="0" y="6"/>
                </a:lnTo>
                <a:lnTo>
                  <a:pt x="2" y="5"/>
                </a:lnTo>
                <a:lnTo>
                  <a:pt x="2" y="3"/>
                </a:lnTo>
                <a:lnTo>
                  <a:pt x="4" y="3"/>
                </a:lnTo>
                <a:lnTo>
                  <a:pt x="4" y="5"/>
                </a:lnTo>
                <a:lnTo>
                  <a:pt x="7" y="5"/>
                </a:lnTo>
                <a:lnTo>
                  <a:pt x="7" y="8"/>
                </a:lnTo>
                <a:lnTo>
                  <a:pt x="10" y="11"/>
                </a:lnTo>
                <a:lnTo>
                  <a:pt x="8" y="12"/>
                </a:lnTo>
                <a:lnTo>
                  <a:pt x="8" y="14"/>
                </a:lnTo>
                <a:lnTo>
                  <a:pt x="10" y="16"/>
                </a:lnTo>
                <a:lnTo>
                  <a:pt x="11" y="17"/>
                </a:lnTo>
                <a:lnTo>
                  <a:pt x="14" y="19"/>
                </a:lnTo>
                <a:lnTo>
                  <a:pt x="12" y="20"/>
                </a:lnTo>
                <a:lnTo>
                  <a:pt x="15" y="23"/>
                </a:lnTo>
                <a:lnTo>
                  <a:pt x="16" y="25"/>
                </a:lnTo>
                <a:lnTo>
                  <a:pt x="15" y="26"/>
                </a:lnTo>
                <a:lnTo>
                  <a:pt x="15" y="28"/>
                </a:lnTo>
                <a:lnTo>
                  <a:pt x="16" y="28"/>
                </a:lnTo>
                <a:lnTo>
                  <a:pt x="19" y="30"/>
                </a:lnTo>
                <a:lnTo>
                  <a:pt x="20" y="28"/>
                </a:lnTo>
                <a:lnTo>
                  <a:pt x="23" y="26"/>
                </a:lnTo>
                <a:lnTo>
                  <a:pt x="24" y="26"/>
                </a:lnTo>
                <a:lnTo>
                  <a:pt x="24" y="25"/>
                </a:lnTo>
                <a:lnTo>
                  <a:pt x="23" y="23"/>
                </a:lnTo>
                <a:lnTo>
                  <a:pt x="20" y="20"/>
                </a:lnTo>
                <a:lnTo>
                  <a:pt x="18" y="17"/>
                </a:lnTo>
                <a:lnTo>
                  <a:pt x="15" y="16"/>
                </a:lnTo>
                <a:lnTo>
                  <a:pt x="14" y="17"/>
                </a:lnTo>
                <a:lnTo>
                  <a:pt x="12" y="16"/>
                </a:lnTo>
                <a:lnTo>
                  <a:pt x="14" y="12"/>
                </a:lnTo>
                <a:lnTo>
                  <a:pt x="14" y="11"/>
                </a:lnTo>
                <a:lnTo>
                  <a:pt x="15" y="11"/>
                </a:lnTo>
                <a:lnTo>
                  <a:pt x="15" y="9"/>
                </a:lnTo>
                <a:lnTo>
                  <a:pt x="12" y="9"/>
                </a:lnTo>
                <a:lnTo>
                  <a:pt x="12" y="8"/>
                </a:lnTo>
                <a:lnTo>
                  <a:pt x="12" y="6"/>
                </a:lnTo>
                <a:lnTo>
                  <a:pt x="12" y="5"/>
                </a:lnTo>
                <a:lnTo>
                  <a:pt x="11" y="1"/>
                </a:lnTo>
                <a:lnTo>
                  <a:pt x="10" y="1"/>
                </a:lnTo>
                <a:lnTo>
                  <a:pt x="10" y="5"/>
                </a:lnTo>
                <a:lnTo>
                  <a:pt x="11" y="8"/>
                </a:lnTo>
                <a:lnTo>
                  <a:pt x="10" y="8"/>
                </a:lnTo>
                <a:lnTo>
                  <a:pt x="8" y="6"/>
                </a:lnTo>
                <a:lnTo>
                  <a:pt x="8" y="3"/>
                </a:lnTo>
                <a:lnTo>
                  <a:pt x="7" y="0"/>
                </a:lnTo>
                <a:lnTo>
                  <a:pt x="6" y="0"/>
                </a:lnTo>
                <a:lnTo>
                  <a:pt x="7" y="3"/>
                </a:lnTo>
                <a:lnTo>
                  <a:pt x="6" y="3"/>
                </a:lnTo>
                <a:lnTo>
                  <a:pt x="4" y="1"/>
                </a:lnTo>
                <a:lnTo>
                  <a:pt x="2" y="0"/>
                </a:lnTo>
                <a:lnTo>
                  <a:pt x="0" y="1"/>
                </a:lnTo>
                <a:lnTo>
                  <a:pt x="0" y="3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98" name="Freeform 1428"/>
          <p:cNvSpPr>
            <a:spLocks/>
          </p:cNvSpPr>
          <p:nvPr/>
        </p:nvSpPr>
        <p:spPr bwMode="auto">
          <a:xfrm>
            <a:off x="3378723" y="2772211"/>
            <a:ext cx="114979" cy="49394"/>
          </a:xfrm>
          <a:custGeom>
            <a:avLst/>
            <a:gdLst/>
            <a:ahLst/>
            <a:cxnLst>
              <a:cxn ang="0">
                <a:pos x="3" y="20"/>
              </a:cxn>
              <a:cxn ang="0">
                <a:pos x="4" y="18"/>
              </a:cxn>
              <a:cxn ang="0">
                <a:pos x="6" y="17"/>
              </a:cxn>
              <a:cxn ang="0">
                <a:pos x="10" y="14"/>
              </a:cxn>
              <a:cxn ang="0">
                <a:pos x="25" y="11"/>
              </a:cxn>
              <a:cxn ang="0">
                <a:pos x="29" y="11"/>
              </a:cxn>
              <a:cxn ang="0">
                <a:pos x="33" y="11"/>
              </a:cxn>
              <a:cxn ang="0">
                <a:pos x="36" y="11"/>
              </a:cxn>
              <a:cxn ang="0">
                <a:pos x="39" y="11"/>
              </a:cxn>
              <a:cxn ang="0">
                <a:pos x="40" y="12"/>
              </a:cxn>
              <a:cxn ang="0">
                <a:pos x="43" y="12"/>
              </a:cxn>
              <a:cxn ang="0">
                <a:pos x="41" y="11"/>
              </a:cxn>
              <a:cxn ang="0">
                <a:pos x="40" y="7"/>
              </a:cxn>
              <a:cxn ang="0">
                <a:pos x="39" y="7"/>
              </a:cxn>
              <a:cxn ang="0">
                <a:pos x="41" y="7"/>
              </a:cxn>
              <a:cxn ang="0">
                <a:pos x="43" y="7"/>
              </a:cxn>
              <a:cxn ang="0">
                <a:pos x="43" y="9"/>
              </a:cxn>
              <a:cxn ang="0">
                <a:pos x="45" y="7"/>
              </a:cxn>
              <a:cxn ang="0">
                <a:pos x="55" y="4"/>
              </a:cxn>
              <a:cxn ang="0">
                <a:pos x="57" y="4"/>
              </a:cxn>
              <a:cxn ang="0">
                <a:pos x="61" y="0"/>
              </a:cxn>
              <a:cxn ang="0">
                <a:pos x="61" y="1"/>
              </a:cxn>
              <a:cxn ang="0">
                <a:pos x="60" y="4"/>
              </a:cxn>
              <a:cxn ang="0">
                <a:pos x="53" y="7"/>
              </a:cxn>
              <a:cxn ang="0">
                <a:pos x="53" y="9"/>
              </a:cxn>
              <a:cxn ang="0">
                <a:pos x="55" y="9"/>
              </a:cxn>
              <a:cxn ang="0">
                <a:pos x="56" y="11"/>
              </a:cxn>
              <a:cxn ang="0">
                <a:pos x="55" y="12"/>
              </a:cxn>
              <a:cxn ang="0">
                <a:pos x="53" y="12"/>
              </a:cxn>
              <a:cxn ang="0">
                <a:pos x="55" y="14"/>
              </a:cxn>
              <a:cxn ang="0">
                <a:pos x="56" y="17"/>
              </a:cxn>
              <a:cxn ang="0">
                <a:pos x="55" y="18"/>
              </a:cxn>
              <a:cxn ang="0">
                <a:pos x="51" y="18"/>
              </a:cxn>
              <a:cxn ang="0">
                <a:pos x="45" y="22"/>
              </a:cxn>
              <a:cxn ang="0">
                <a:pos x="43" y="23"/>
              </a:cxn>
              <a:cxn ang="0">
                <a:pos x="37" y="23"/>
              </a:cxn>
              <a:cxn ang="0">
                <a:pos x="33" y="23"/>
              </a:cxn>
              <a:cxn ang="0">
                <a:pos x="32" y="22"/>
              </a:cxn>
              <a:cxn ang="0">
                <a:pos x="28" y="22"/>
              </a:cxn>
              <a:cxn ang="0">
                <a:pos x="25" y="22"/>
              </a:cxn>
              <a:cxn ang="0">
                <a:pos x="20" y="22"/>
              </a:cxn>
              <a:cxn ang="0">
                <a:pos x="13" y="23"/>
              </a:cxn>
              <a:cxn ang="0">
                <a:pos x="12" y="23"/>
              </a:cxn>
              <a:cxn ang="0">
                <a:pos x="8" y="25"/>
              </a:cxn>
              <a:cxn ang="0">
                <a:pos x="7" y="25"/>
              </a:cxn>
              <a:cxn ang="0">
                <a:pos x="0" y="23"/>
              </a:cxn>
              <a:cxn ang="0">
                <a:pos x="3" y="20"/>
              </a:cxn>
            </a:cxnLst>
            <a:rect l="0" t="0" r="r" b="b"/>
            <a:pathLst>
              <a:path w="61" h="25">
                <a:moveTo>
                  <a:pt x="3" y="20"/>
                </a:moveTo>
                <a:lnTo>
                  <a:pt x="4" y="18"/>
                </a:lnTo>
                <a:lnTo>
                  <a:pt x="6" y="17"/>
                </a:lnTo>
                <a:lnTo>
                  <a:pt x="10" y="14"/>
                </a:lnTo>
                <a:lnTo>
                  <a:pt x="25" y="11"/>
                </a:lnTo>
                <a:lnTo>
                  <a:pt x="29" y="11"/>
                </a:lnTo>
                <a:lnTo>
                  <a:pt x="33" y="11"/>
                </a:lnTo>
                <a:lnTo>
                  <a:pt x="36" y="11"/>
                </a:lnTo>
                <a:lnTo>
                  <a:pt x="39" y="11"/>
                </a:lnTo>
                <a:lnTo>
                  <a:pt x="40" y="12"/>
                </a:lnTo>
                <a:lnTo>
                  <a:pt x="43" y="12"/>
                </a:lnTo>
                <a:lnTo>
                  <a:pt x="41" y="11"/>
                </a:lnTo>
                <a:lnTo>
                  <a:pt x="40" y="7"/>
                </a:lnTo>
                <a:lnTo>
                  <a:pt x="39" y="7"/>
                </a:lnTo>
                <a:lnTo>
                  <a:pt x="41" y="7"/>
                </a:lnTo>
                <a:lnTo>
                  <a:pt x="43" y="7"/>
                </a:lnTo>
                <a:lnTo>
                  <a:pt x="43" y="9"/>
                </a:lnTo>
                <a:lnTo>
                  <a:pt x="45" y="7"/>
                </a:lnTo>
                <a:lnTo>
                  <a:pt x="55" y="4"/>
                </a:lnTo>
                <a:lnTo>
                  <a:pt x="57" y="4"/>
                </a:lnTo>
                <a:lnTo>
                  <a:pt x="61" y="0"/>
                </a:lnTo>
                <a:lnTo>
                  <a:pt x="61" y="1"/>
                </a:lnTo>
                <a:lnTo>
                  <a:pt x="60" y="4"/>
                </a:lnTo>
                <a:lnTo>
                  <a:pt x="53" y="7"/>
                </a:lnTo>
                <a:lnTo>
                  <a:pt x="53" y="9"/>
                </a:lnTo>
                <a:lnTo>
                  <a:pt x="55" y="9"/>
                </a:lnTo>
                <a:lnTo>
                  <a:pt x="56" y="11"/>
                </a:lnTo>
                <a:lnTo>
                  <a:pt x="55" y="12"/>
                </a:lnTo>
                <a:lnTo>
                  <a:pt x="53" y="12"/>
                </a:lnTo>
                <a:lnTo>
                  <a:pt x="55" y="14"/>
                </a:lnTo>
                <a:lnTo>
                  <a:pt x="56" y="17"/>
                </a:lnTo>
                <a:lnTo>
                  <a:pt x="55" y="18"/>
                </a:lnTo>
                <a:lnTo>
                  <a:pt x="51" y="18"/>
                </a:lnTo>
                <a:lnTo>
                  <a:pt x="45" y="22"/>
                </a:lnTo>
                <a:lnTo>
                  <a:pt x="43" y="23"/>
                </a:lnTo>
                <a:lnTo>
                  <a:pt x="37" y="23"/>
                </a:lnTo>
                <a:lnTo>
                  <a:pt x="33" y="23"/>
                </a:lnTo>
                <a:lnTo>
                  <a:pt x="32" y="22"/>
                </a:lnTo>
                <a:lnTo>
                  <a:pt x="28" y="22"/>
                </a:lnTo>
                <a:lnTo>
                  <a:pt x="25" y="22"/>
                </a:lnTo>
                <a:lnTo>
                  <a:pt x="20" y="22"/>
                </a:lnTo>
                <a:lnTo>
                  <a:pt x="13" y="23"/>
                </a:lnTo>
                <a:lnTo>
                  <a:pt x="12" y="23"/>
                </a:lnTo>
                <a:lnTo>
                  <a:pt x="8" y="25"/>
                </a:lnTo>
                <a:lnTo>
                  <a:pt x="7" y="25"/>
                </a:lnTo>
                <a:lnTo>
                  <a:pt x="0" y="23"/>
                </a:lnTo>
                <a:lnTo>
                  <a:pt x="3" y="20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499" name="Freeform 1429"/>
          <p:cNvSpPr>
            <a:spLocks/>
          </p:cNvSpPr>
          <p:nvPr/>
        </p:nvSpPr>
        <p:spPr bwMode="auto">
          <a:xfrm>
            <a:off x="3378723" y="2772211"/>
            <a:ext cx="114979" cy="49394"/>
          </a:xfrm>
          <a:custGeom>
            <a:avLst/>
            <a:gdLst/>
            <a:ahLst/>
            <a:cxnLst>
              <a:cxn ang="0">
                <a:pos x="3" y="20"/>
              </a:cxn>
              <a:cxn ang="0">
                <a:pos x="4" y="18"/>
              </a:cxn>
              <a:cxn ang="0">
                <a:pos x="6" y="17"/>
              </a:cxn>
              <a:cxn ang="0">
                <a:pos x="10" y="14"/>
              </a:cxn>
              <a:cxn ang="0">
                <a:pos x="25" y="11"/>
              </a:cxn>
              <a:cxn ang="0">
                <a:pos x="29" y="11"/>
              </a:cxn>
              <a:cxn ang="0">
                <a:pos x="33" y="11"/>
              </a:cxn>
              <a:cxn ang="0">
                <a:pos x="36" y="11"/>
              </a:cxn>
              <a:cxn ang="0">
                <a:pos x="39" y="11"/>
              </a:cxn>
              <a:cxn ang="0">
                <a:pos x="40" y="12"/>
              </a:cxn>
              <a:cxn ang="0">
                <a:pos x="43" y="12"/>
              </a:cxn>
              <a:cxn ang="0">
                <a:pos x="41" y="11"/>
              </a:cxn>
              <a:cxn ang="0">
                <a:pos x="40" y="7"/>
              </a:cxn>
              <a:cxn ang="0">
                <a:pos x="39" y="7"/>
              </a:cxn>
              <a:cxn ang="0">
                <a:pos x="41" y="7"/>
              </a:cxn>
              <a:cxn ang="0">
                <a:pos x="43" y="7"/>
              </a:cxn>
              <a:cxn ang="0">
                <a:pos x="43" y="9"/>
              </a:cxn>
              <a:cxn ang="0">
                <a:pos x="45" y="7"/>
              </a:cxn>
              <a:cxn ang="0">
                <a:pos x="55" y="4"/>
              </a:cxn>
              <a:cxn ang="0">
                <a:pos x="57" y="4"/>
              </a:cxn>
              <a:cxn ang="0">
                <a:pos x="61" y="0"/>
              </a:cxn>
              <a:cxn ang="0">
                <a:pos x="61" y="1"/>
              </a:cxn>
              <a:cxn ang="0">
                <a:pos x="60" y="4"/>
              </a:cxn>
              <a:cxn ang="0">
                <a:pos x="53" y="7"/>
              </a:cxn>
              <a:cxn ang="0">
                <a:pos x="53" y="9"/>
              </a:cxn>
              <a:cxn ang="0">
                <a:pos x="55" y="9"/>
              </a:cxn>
              <a:cxn ang="0">
                <a:pos x="56" y="11"/>
              </a:cxn>
              <a:cxn ang="0">
                <a:pos x="55" y="12"/>
              </a:cxn>
              <a:cxn ang="0">
                <a:pos x="53" y="12"/>
              </a:cxn>
              <a:cxn ang="0">
                <a:pos x="55" y="14"/>
              </a:cxn>
              <a:cxn ang="0">
                <a:pos x="56" y="17"/>
              </a:cxn>
              <a:cxn ang="0">
                <a:pos x="55" y="18"/>
              </a:cxn>
              <a:cxn ang="0">
                <a:pos x="51" y="18"/>
              </a:cxn>
              <a:cxn ang="0">
                <a:pos x="45" y="22"/>
              </a:cxn>
              <a:cxn ang="0">
                <a:pos x="43" y="23"/>
              </a:cxn>
              <a:cxn ang="0">
                <a:pos x="37" y="23"/>
              </a:cxn>
              <a:cxn ang="0">
                <a:pos x="33" y="23"/>
              </a:cxn>
              <a:cxn ang="0">
                <a:pos x="32" y="22"/>
              </a:cxn>
              <a:cxn ang="0">
                <a:pos x="28" y="22"/>
              </a:cxn>
              <a:cxn ang="0">
                <a:pos x="25" y="22"/>
              </a:cxn>
              <a:cxn ang="0">
                <a:pos x="20" y="22"/>
              </a:cxn>
              <a:cxn ang="0">
                <a:pos x="13" y="23"/>
              </a:cxn>
              <a:cxn ang="0">
                <a:pos x="12" y="23"/>
              </a:cxn>
              <a:cxn ang="0">
                <a:pos x="8" y="25"/>
              </a:cxn>
              <a:cxn ang="0">
                <a:pos x="7" y="25"/>
              </a:cxn>
              <a:cxn ang="0">
                <a:pos x="0" y="23"/>
              </a:cxn>
              <a:cxn ang="0">
                <a:pos x="3" y="20"/>
              </a:cxn>
            </a:cxnLst>
            <a:rect l="0" t="0" r="r" b="b"/>
            <a:pathLst>
              <a:path w="61" h="25">
                <a:moveTo>
                  <a:pt x="3" y="20"/>
                </a:moveTo>
                <a:lnTo>
                  <a:pt x="4" y="18"/>
                </a:lnTo>
                <a:lnTo>
                  <a:pt x="6" y="17"/>
                </a:lnTo>
                <a:lnTo>
                  <a:pt x="10" y="14"/>
                </a:lnTo>
                <a:lnTo>
                  <a:pt x="25" y="11"/>
                </a:lnTo>
                <a:lnTo>
                  <a:pt x="29" y="11"/>
                </a:lnTo>
                <a:lnTo>
                  <a:pt x="33" y="11"/>
                </a:lnTo>
                <a:lnTo>
                  <a:pt x="36" y="11"/>
                </a:lnTo>
                <a:lnTo>
                  <a:pt x="39" y="11"/>
                </a:lnTo>
                <a:lnTo>
                  <a:pt x="40" y="12"/>
                </a:lnTo>
                <a:lnTo>
                  <a:pt x="43" y="12"/>
                </a:lnTo>
                <a:lnTo>
                  <a:pt x="41" y="11"/>
                </a:lnTo>
                <a:lnTo>
                  <a:pt x="40" y="7"/>
                </a:lnTo>
                <a:lnTo>
                  <a:pt x="39" y="7"/>
                </a:lnTo>
                <a:lnTo>
                  <a:pt x="41" y="7"/>
                </a:lnTo>
                <a:lnTo>
                  <a:pt x="43" y="7"/>
                </a:lnTo>
                <a:lnTo>
                  <a:pt x="43" y="9"/>
                </a:lnTo>
                <a:lnTo>
                  <a:pt x="45" y="7"/>
                </a:lnTo>
                <a:lnTo>
                  <a:pt x="55" y="4"/>
                </a:lnTo>
                <a:lnTo>
                  <a:pt x="57" y="4"/>
                </a:lnTo>
                <a:lnTo>
                  <a:pt x="61" y="0"/>
                </a:lnTo>
                <a:lnTo>
                  <a:pt x="61" y="1"/>
                </a:lnTo>
                <a:lnTo>
                  <a:pt x="60" y="4"/>
                </a:lnTo>
                <a:lnTo>
                  <a:pt x="53" y="7"/>
                </a:lnTo>
                <a:lnTo>
                  <a:pt x="53" y="9"/>
                </a:lnTo>
                <a:lnTo>
                  <a:pt x="55" y="9"/>
                </a:lnTo>
                <a:lnTo>
                  <a:pt x="56" y="11"/>
                </a:lnTo>
                <a:lnTo>
                  <a:pt x="55" y="12"/>
                </a:lnTo>
                <a:lnTo>
                  <a:pt x="53" y="12"/>
                </a:lnTo>
                <a:lnTo>
                  <a:pt x="55" y="14"/>
                </a:lnTo>
                <a:lnTo>
                  <a:pt x="56" y="17"/>
                </a:lnTo>
                <a:lnTo>
                  <a:pt x="55" y="18"/>
                </a:lnTo>
                <a:lnTo>
                  <a:pt x="51" y="18"/>
                </a:lnTo>
                <a:lnTo>
                  <a:pt x="45" y="22"/>
                </a:lnTo>
                <a:lnTo>
                  <a:pt x="43" y="23"/>
                </a:lnTo>
                <a:lnTo>
                  <a:pt x="37" y="23"/>
                </a:lnTo>
                <a:lnTo>
                  <a:pt x="33" y="23"/>
                </a:lnTo>
                <a:lnTo>
                  <a:pt x="32" y="22"/>
                </a:lnTo>
                <a:lnTo>
                  <a:pt x="28" y="22"/>
                </a:lnTo>
                <a:lnTo>
                  <a:pt x="25" y="22"/>
                </a:lnTo>
                <a:lnTo>
                  <a:pt x="20" y="22"/>
                </a:lnTo>
                <a:lnTo>
                  <a:pt x="13" y="23"/>
                </a:lnTo>
                <a:lnTo>
                  <a:pt x="12" y="23"/>
                </a:lnTo>
                <a:lnTo>
                  <a:pt x="8" y="25"/>
                </a:lnTo>
                <a:lnTo>
                  <a:pt x="7" y="25"/>
                </a:lnTo>
                <a:lnTo>
                  <a:pt x="0" y="23"/>
                </a:lnTo>
                <a:lnTo>
                  <a:pt x="3" y="20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500" name="Freeform 1430"/>
          <p:cNvSpPr>
            <a:spLocks/>
          </p:cNvSpPr>
          <p:nvPr/>
        </p:nvSpPr>
        <p:spPr bwMode="auto">
          <a:xfrm>
            <a:off x="3024038" y="2615436"/>
            <a:ext cx="220215" cy="92348"/>
          </a:xfrm>
          <a:custGeom>
            <a:avLst/>
            <a:gdLst/>
            <a:ahLst/>
            <a:cxnLst>
              <a:cxn ang="0">
                <a:pos x="19" y="44"/>
              </a:cxn>
              <a:cxn ang="0">
                <a:pos x="19" y="41"/>
              </a:cxn>
              <a:cxn ang="0">
                <a:pos x="18" y="38"/>
              </a:cxn>
              <a:cxn ang="0">
                <a:pos x="3" y="42"/>
              </a:cxn>
              <a:cxn ang="0">
                <a:pos x="0" y="41"/>
              </a:cxn>
              <a:cxn ang="0">
                <a:pos x="12" y="31"/>
              </a:cxn>
              <a:cxn ang="0">
                <a:pos x="30" y="24"/>
              </a:cxn>
              <a:cxn ang="0">
                <a:pos x="42" y="16"/>
              </a:cxn>
              <a:cxn ang="0">
                <a:pos x="44" y="11"/>
              </a:cxn>
              <a:cxn ang="0">
                <a:pos x="48" y="9"/>
              </a:cxn>
              <a:cxn ang="0">
                <a:pos x="51" y="11"/>
              </a:cxn>
              <a:cxn ang="0">
                <a:pos x="55" y="3"/>
              </a:cxn>
              <a:cxn ang="0">
                <a:pos x="55" y="6"/>
              </a:cxn>
              <a:cxn ang="0">
                <a:pos x="54" y="9"/>
              </a:cxn>
              <a:cxn ang="0">
                <a:pos x="56" y="8"/>
              </a:cxn>
              <a:cxn ang="0">
                <a:pos x="59" y="2"/>
              </a:cxn>
              <a:cxn ang="0">
                <a:pos x="70" y="3"/>
              </a:cxn>
              <a:cxn ang="0">
                <a:pos x="75" y="5"/>
              </a:cxn>
              <a:cxn ang="0">
                <a:pos x="83" y="5"/>
              </a:cxn>
              <a:cxn ang="0">
                <a:pos x="87" y="6"/>
              </a:cxn>
              <a:cxn ang="0">
                <a:pos x="92" y="17"/>
              </a:cxn>
              <a:cxn ang="0">
                <a:pos x="101" y="19"/>
              </a:cxn>
              <a:cxn ang="0">
                <a:pos x="107" y="20"/>
              </a:cxn>
              <a:cxn ang="0">
                <a:pos x="108" y="25"/>
              </a:cxn>
              <a:cxn ang="0">
                <a:pos x="111" y="33"/>
              </a:cxn>
              <a:cxn ang="0">
                <a:pos x="115" y="38"/>
              </a:cxn>
              <a:cxn ang="0">
                <a:pos x="113" y="41"/>
              </a:cxn>
              <a:cxn ang="0">
                <a:pos x="113" y="42"/>
              </a:cxn>
              <a:cxn ang="0">
                <a:pos x="115" y="44"/>
              </a:cxn>
              <a:cxn ang="0">
                <a:pos x="111" y="46"/>
              </a:cxn>
              <a:cxn ang="0">
                <a:pos x="105" y="44"/>
              </a:cxn>
              <a:cxn ang="0">
                <a:pos x="103" y="39"/>
              </a:cxn>
              <a:cxn ang="0">
                <a:pos x="97" y="41"/>
              </a:cxn>
              <a:cxn ang="0">
                <a:pos x="87" y="42"/>
              </a:cxn>
              <a:cxn ang="0">
                <a:pos x="83" y="46"/>
              </a:cxn>
              <a:cxn ang="0">
                <a:pos x="74" y="44"/>
              </a:cxn>
              <a:cxn ang="0">
                <a:pos x="68" y="42"/>
              </a:cxn>
              <a:cxn ang="0">
                <a:pos x="62" y="38"/>
              </a:cxn>
              <a:cxn ang="0">
                <a:pos x="56" y="38"/>
              </a:cxn>
              <a:cxn ang="0">
                <a:pos x="54" y="39"/>
              </a:cxn>
              <a:cxn ang="0">
                <a:pos x="55" y="35"/>
              </a:cxn>
              <a:cxn ang="0">
                <a:pos x="62" y="30"/>
              </a:cxn>
              <a:cxn ang="0">
                <a:pos x="64" y="27"/>
              </a:cxn>
              <a:cxn ang="0">
                <a:pos x="58" y="28"/>
              </a:cxn>
              <a:cxn ang="0">
                <a:pos x="51" y="31"/>
              </a:cxn>
              <a:cxn ang="0">
                <a:pos x="44" y="36"/>
              </a:cxn>
              <a:cxn ang="0">
                <a:pos x="38" y="39"/>
              </a:cxn>
              <a:cxn ang="0">
                <a:pos x="28" y="42"/>
              </a:cxn>
              <a:cxn ang="0">
                <a:pos x="19" y="42"/>
              </a:cxn>
            </a:cxnLst>
            <a:rect l="0" t="0" r="r" b="b"/>
            <a:pathLst>
              <a:path w="115" h="46">
                <a:moveTo>
                  <a:pt x="19" y="42"/>
                </a:moveTo>
                <a:lnTo>
                  <a:pt x="19" y="44"/>
                </a:lnTo>
                <a:lnTo>
                  <a:pt x="18" y="42"/>
                </a:lnTo>
                <a:lnTo>
                  <a:pt x="19" y="41"/>
                </a:lnTo>
                <a:lnTo>
                  <a:pt x="19" y="38"/>
                </a:lnTo>
                <a:lnTo>
                  <a:pt x="18" y="38"/>
                </a:lnTo>
                <a:lnTo>
                  <a:pt x="7" y="42"/>
                </a:lnTo>
                <a:lnTo>
                  <a:pt x="3" y="42"/>
                </a:lnTo>
                <a:lnTo>
                  <a:pt x="2" y="42"/>
                </a:lnTo>
                <a:lnTo>
                  <a:pt x="0" y="41"/>
                </a:lnTo>
                <a:lnTo>
                  <a:pt x="2" y="39"/>
                </a:lnTo>
                <a:lnTo>
                  <a:pt x="12" y="31"/>
                </a:lnTo>
                <a:lnTo>
                  <a:pt x="24" y="25"/>
                </a:lnTo>
                <a:lnTo>
                  <a:pt x="30" y="24"/>
                </a:lnTo>
                <a:lnTo>
                  <a:pt x="35" y="19"/>
                </a:lnTo>
                <a:lnTo>
                  <a:pt x="42" y="16"/>
                </a:lnTo>
                <a:lnTo>
                  <a:pt x="43" y="14"/>
                </a:lnTo>
                <a:lnTo>
                  <a:pt x="44" y="11"/>
                </a:lnTo>
                <a:lnTo>
                  <a:pt x="48" y="8"/>
                </a:lnTo>
                <a:lnTo>
                  <a:pt x="48" y="9"/>
                </a:lnTo>
                <a:lnTo>
                  <a:pt x="48" y="13"/>
                </a:lnTo>
                <a:lnTo>
                  <a:pt x="51" y="11"/>
                </a:lnTo>
                <a:lnTo>
                  <a:pt x="54" y="5"/>
                </a:lnTo>
                <a:lnTo>
                  <a:pt x="55" y="3"/>
                </a:lnTo>
                <a:lnTo>
                  <a:pt x="55" y="5"/>
                </a:lnTo>
                <a:lnTo>
                  <a:pt x="55" y="6"/>
                </a:lnTo>
                <a:lnTo>
                  <a:pt x="54" y="8"/>
                </a:lnTo>
                <a:lnTo>
                  <a:pt x="54" y="9"/>
                </a:lnTo>
                <a:lnTo>
                  <a:pt x="55" y="9"/>
                </a:lnTo>
                <a:lnTo>
                  <a:pt x="56" y="8"/>
                </a:lnTo>
                <a:lnTo>
                  <a:pt x="59" y="6"/>
                </a:lnTo>
                <a:lnTo>
                  <a:pt x="59" y="2"/>
                </a:lnTo>
                <a:lnTo>
                  <a:pt x="60" y="0"/>
                </a:lnTo>
                <a:lnTo>
                  <a:pt x="70" y="3"/>
                </a:lnTo>
                <a:lnTo>
                  <a:pt x="75" y="13"/>
                </a:lnTo>
                <a:lnTo>
                  <a:pt x="75" y="5"/>
                </a:lnTo>
                <a:lnTo>
                  <a:pt x="80" y="5"/>
                </a:lnTo>
                <a:lnTo>
                  <a:pt x="83" y="5"/>
                </a:lnTo>
                <a:lnTo>
                  <a:pt x="85" y="5"/>
                </a:lnTo>
                <a:lnTo>
                  <a:pt x="87" y="6"/>
                </a:lnTo>
                <a:lnTo>
                  <a:pt x="88" y="9"/>
                </a:lnTo>
                <a:lnTo>
                  <a:pt x="92" y="17"/>
                </a:lnTo>
                <a:lnTo>
                  <a:pt x="96" y="19"/>
                </a:lnTo>
                <a:lnTo>
                  <a:pt x="101" y="19"/>
                </a:lnTo>
                <a:lnTo>
                  <a:pt x="108" y="17"/>
                </a:lnTo>
                <a:lnTo>
                  <a:pt x="107" y="20"/>
                </a:lnTo>
                <a:lnTo>
                  <a:pt x="107" y="24"/>
                </a:lnTo>
                <a:lnTo>
                  <a:pt x="108" y="25"/>
                </a:lnTo>
                <a:lnTo>
                  <a:pt x="112" y="30"/>
                </a:lnTo>
                <a:lnTo>
                  <a:pt x="111" y="33"/>
                </a:lnTo>
                <a:lnTo>
                  <a:pt x="112" y="36"/>
                </a:lnTo>
                <a:lnTo>
                  <a:pt x="115" y="38"/>
                </a:lnTo>
                <a:lnTo>
                  <a:pt x="113" y="39"/>
                </a:lnTo>
                <a:lnTo>
                  <a:pt x="113" y="41"/>
                </a:lnTo>
                <a:lnTo>
                  <a:pt x="115" y="41"/>
                </a:lnTo>
                <a:lnTo>
                  <a:pt x="113" y="42"/>
                </a:lnTo>
                <a:lnTo>
                  <a:pt x="113" y="44"/>
                </a:lnTo>
                <a:lnTo>
                  <a:pt x="115" y="44"/>
                </a:lnTo>
                <a:lnTo>
                  <a:pt x="115" y="46"/>
                </a:lnTo>
                <a:lnTo>
                  <a:pt x="111" y="46"/>
                </a:lnTo>
                <a:lnTo>
                  <a:pt x="108" y="46"/>
                </a:lnTo>
                <a:lnTo>
                  <a:pt x="105" y="44"/>
                </a:lnTo>
                <a:lnTo>
                  <a:pt x="105" y="41"/>
                </a:lnTo>
                <a:lnTo>
                  <a:pt x="103" y="39"/>
                </a:lnTo>
                <a:lnTo>
                  <a:pt x="100" y="41"/>
                </a:lnTo>
                <a:lnTo>
                  <a:pt x="97" y="41"/>
                </a:lnTo>
                <a:lnTo>
                  <a:pt x="89" y="41"/>
                </a:lnTo>
                <a:lnTo>
                  <a:pt x="87" y="42"/>
                </a:lnTo>
                <a:lnTo>
                  <a:pt x="84" y="44"/>
                </a:lnTo>
                <a:lnTo>
                  <a:pt x="83" y="46"/>
                </a:lnTo>
                <a:lnTo>
                  <a:pt x="80" y="46"/>
                </a:lnTo>
                <a:lnTo>
                  <a:pt x="74" y="44"/>
                </a:lnTo>
                <a:lnTo>
                  <a:pt x="72" y="46"/>
                </a:lnTo>
                <a:lnTo>
                  <a:pt x="68" y="42"/>
                </a:lnTo>
                <a:lnTo>
                  <a:pt x="67" y="41"/>
                </a:lnTo>
                <a:lnTo>
                  <a:pt x="62" y="38"/>
                </a:lnTo>
                <a:lnTo>
                  <a:pt x="58" y="39"/>
                </a:lnTo>
                <a:lnTo>
                  <a:pt x="56" y="38"/>
                </a:lnTo>
                <a:lnTo>
                  <a:pt x="54" y="41"/>
                </a:lnTo>
                <a:lnTo>
                  <a:pt x="54" y="39"/>
                </a:lnTo>
                <a:lnTo>
                  <a:pt x="55" y="36"/>
                </a:lnTo>
                <a:lnTo>
                  <a:pt x="55" y="35"/>
                </a:lnTo>
                <a:lnTo>
                  <a:pt x="58" y="35"/>
                </a:lnTo>
                <a:lnTo>
                  <a:pt x="62" y="30"/>
                </a:lnTo>
                <a:lnTo>
                  <a:pt x="64" y="28"/>
                </a:lnTo>
                <a:lnTo>
                  <a:pt x="64" y="27"/>
                </a:lnTo>
                <a:lnTo>
                  <a:pt x="62" y="27"/>
                </a:lnTo>
                <a:lnTo>
                  <a:pt x="58" y="28"/>
                </a:lnTo>
                <a:lnTo>
                  <a:pt x="55" y="30"/>
                </a:lnTo>
                <a:lnTo>
                  <a:pt x="51" y="31"/>
                </a:lnTo>
                <a:lnTo>
                  <a:pt x="47" y="35"/>
                </a:lnTo>
                <a:lnTo>
                  <a:pt x="44" y="36"/>
                </a:lnTo>
                <a:lnTo>
                  <a:pt x="42" y="38"/>
                </a:lnTo>
                <a:lnTo>
                  <a:pt x="38" y="39"/>
                </a:lnTo>
                <a:lnTo>
                  <a:pt x="34" y="39"/>
                </a:lnTo>
                <a:lnTo>
                  <a:pt x="28" y="42"/>
                </a:lnTo>
                <a:lnTo>
                  <a:pt x="24" y="42"/>
                </a:lnTo>
                <a:lnTo>
                  <a:pt x="19" y="4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501" name="Freeform 1431"/>
          <p:cNvSpPr>
            <a:spLocks/>
          </p:cNvSpPr>
          <p:nvPr/>
        </p:nvSpPr>
        <p:spPr bwMode="auto">
          <a:xfrm>
            <a:off x="3291023" y="2838787"/>
            <a:ext cx="9745" cy="10739"/>
          </a:xfrm>
          <a:custGeom>
            <a:avLst/>
            <a:gdLst/>
            <a:ahLst/>
            <a:cxnLst>
              <a:cxn ang="0">
                <a:pos x="6" y="3"/>
              </a:cxn>
              <a:cxn ang="0">
                <a:pos x="6" y="5"/>
              </a:cxn>
              <a:cxn ang="0">
                <a:pos x="6" y="6"/>
              </a:cxn>
              <a:cxn ang="0">
                <a:pos x="5" y="6"/>
              </a:cxn>
              <a:cxn ang="0">
                <a:pos x="2" y="6"/>
              </a:cxn>
              <a:cxn ang="0">
                <a:pos x="0" y="6"/>
              </a:cxn>
              <a:cxn ang="0">
                <a:pos x="0" y="5"/>
              </a:cxn>
              <a:cxn ang="0">
                <a:pos x="0" y="3"/>
              </a:cxn>
              <a:cxn ang="0">
                <a:pos x="0" y="2"/>
              </a:cxn>
              <a:cxn ang="0">
                <a:pos x="1" y="0"/>
              </a:cxn>
              <a:cxn ang="0">
                <a:pos x="5" y="0"/>
              </a:cxn>
              <a:cxn ang="0">
                <a:pos x="5" y="2"/>
              </a:cxn>
              <a:cxn ang="0">
                <a:pos x="6" y="3"/>
              </a:cxn>
            </a:cxnLst>
            <a:rect l="0" t="0" r="r" b="b"/>
            <a:pathLst>
              <a:path w="6" h="6">
                <a:moveTo>
                  <a:pt x="6" y="3"/>
                </a:moveTo>
                <a:lnTo>
                  <a:pt x="6" y="5"/>
                </a:lnTo>
                <a:lnTo>
                  <a:pt x="6" y="6"/>
                </a:lnTo>
                <a:lnTo>
                  <a:pt x="5" y="6"/>
                </a:lnTo>
                <a:lnTo>
                  <a:pt x="2" y="6"/>
                </a:lnTo>
                <a:lnTo>
                  <a:pt x="0" y="6"/>
                </a:lnTo>
                <a:lnTo>
                  <a:pt x="0" y="5"/>
                </a:lnTo>
                <a:lnTo>
                  <a:pt x="0" y="3"/>
                </a:lnTo>
                <a:lnTo>
                  <a:pt x="0" y="2"/>
                </a:lnTo>
                <a:lnTo>
                  <a:pt x="1" y="0"/>
                </a:lnTo>
                <a:lnTo>
                  <a:pt x="5" y="0"/>
                </a:lnTo>
                <a:lnTo>
                  <a:pt x="5" y="2"/>
                </a:lnTo>
                <a:lnTo>
                  <a:pt x="6" y="3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502" name="Freeform 1432"/>
          <p:cNvSpPr>
            <a:spLocks/>
          </p:cNvSpPr>
          <p:nvPr/>
        </p:nvSpPr>
        <p:spPr bwMode="auto">
          <a:xfrm>
            <a:off x="3275434" y="2828050"/>
            <a:ext cx="130571" cy="55838"/>
          </a:xfrm>
          <a:custGeom>
            <a:avLst/>
            <a:gdLst/>
            <a:ahLst/>
            <a:cxnLst>
              <a:cxn ang="0">
                <a:pos x="49" y="13"/>
              </a:cxn>
              <a:cxn ang="0">
                <a:pos x="46" y="16"/>
              </a:cxn>
              <a:cxn ang="0">
                <a:pos x="44" y="18"/>
              </a:cxn>
              <a:cxn ang="0">
                <a:pos x="40" y="18"/>
              </a:cxn>
              <a:cxn ang="0">
                <a:pos x="34" y="19"/>
              </a:cxn>
              <a:cxn ang="0">
                <a:pos x="24" y="26"/>
              </a:cxn>
              <a:cxn ang="0">
                <a:pos x="20" y="26"/>
              </a:cxn>
              <a:cxn ang="0">
                <a:pos x="14" y="27"/>
              </a:cxn>
              <a:cxn ang="0">
                <a:pos x="9" y="26"/>
              </a:cxn>
              <a:cxn ang="0">
                <a:pos x="6" y="26"/>
              </a:cxn>
              <a:cxn ang="0">
                <a:pos x="5" y="24"/>
              </a:cxn>
              <a:cxn ang="0">
                <a:pos x="4" y="22"/>
              </a:cxn>
              <a:cxn ang="0">
                <a:pos x="0" y="22"/>
              </a:cxn>
              <a:cxn ang="0">
                <a:pos x="1" y="21"/>
              </a:cxn>
              <a:cxn ang="0">
                <a:pos x="4" y="16"/>
              </a:cxn>
              <a:cxn ang="0">
                <a:pos x="9" y="18"/>
              </a:cxn>
              <a:cxn ang="0">
                <a:pos x="10" y="16"/>
              </a:cxn>
              <a:cxn ang="0">
                <a:pos x="14" y="18"/>
              </a:cxn>
              <a:cxn ang="0">
                <a:pos x="14" y="16"/>
              </a:cxn>
              <a:cxn ang="0">
                <a:pos x="16" y="15"/>
              </a:cxn>
              <a:cxn ang="0">
                <a:pos x="18" y="13"/>
              </a:cxn>
              <a:cxn ang="0">
                <a:pos x="21" y="11"/>
              </a:cxn>
              <a:cxn ang="0">
                <a:pos x="24" y="11"/>
              </a:cxn>
              <a:cxn ang="0">
                <a:pos x="25" y="11"/>
              </a:cxn>
              <a:cxn ang="0">
                <a:pos x="26" y="8"/>
              </a:cxn>
              <a:cxn ang="0">
                <a:pos x="28" y="7"/>
              </a:cxn>
              <a:cxn ang="0">
                <a:pos x="29" y="7"/>
              </a:cxn>
              <a:cxn ang="0">
                <a:pos x="34" y="5"/>
              </a:cxn>
              <a:cxn ang="0">
                <a:pos x="40" y="5"/>
              </a:cxn>
              <a:cxn ang="0">
                <a:pos x="44" y="7"/>
              </a:cxn>
              <a:cxn ang="0">
                <a:pos x="48" y="4"/>
              </a:cxn>
              <a:cxn ang="0">
                <a:pos x="50" y="2"/>
              </a:cxn>
              <a:cxn ang="0">
                <a:pos x="56" y="0"/>
              </a:cxn>
              <a:cxn ang="0">
                <a:pos x="57" y="0"/>
              </a:cxn>
              <a:cxn ang="0">
                <a:pos x="61" y="0"/>
              </a:cxn>
              <a:cxn ang="0">
                <a:pos x="62" y="0"/>
              </a:cxn>
              <a:cxn ang="0">
                <a:pos x="69" y="2"/>
              </a:cxn>
              <a:cxn ang="0">
                <a:pos x="65" y="5"/>
              </a:cxn>
              <a:cxn ang="0">
                <a:pos x="64" y="7"/>
              </a:cxn>
              <a:cxn ang="0">
                <a:pos x="62" y="7"/>
              </a:cxn>
              <a:cxn ang="0">
                <a:pos x="60" y="10"/>
              </a:cxn>
              <a:cxn ang="0">
                <a:pos x="54" y="11"/>
              </a:cxn>
              <a:cxn ang="0">
                <a:pos x="52" y="13"/>
              </a:cxn>
              <a:cxn ang="0">
                <a:pos x="49" y="13"/>
              </a:cxn>
            </a:cxnLst>
            <a:rect l="0" t="0" r="r" b="b"/>
            <a:pathLst>
              <a:path w="69" h="27">
                <a:moveTo>
                  <a:pt x="49" y="13"/>
                </a:moveTo>
                <a:lnTo>
                  <a:pt x="46" y="16"/>
                </a:lnTo>
                <a:lnTo>
                  <a:pt x="44" y="18"/>
                </a:lnTo>
                <a:lnTo>
                  <a:pt x="40" y="18"/>
                </a:lnTo>
                <a:lnTo>
                  <a:pt x="34" y="19"/>
                </a:lnTo>
                <a:lnTo>
                  <a:pt x="24" y="26"/>
                </a:lnTo>
                <a:lnTo>
                  <a:pt x="20" y="26"/>
                </a:lnTo>
                <a:lnTo>
                  <a:pt x="14" y="27"/>
                </a:lnTo>
                <a:lnTo>
                  <a:pt x="9" y="26"/>
                </a:lnTo>
                <a:lnTo>
                  <a:pt x="6" y="26"/>
                </a:lnTo>
                <a:lnTo>
                  <a:pt x="5" y="24"/>
                </a:lnTo>
                <a:lnTo>
                  <a:pt x="4" y="22"/>
                </a:lnTo>
                <a:lnTo>
                  <a:pt x="0" y="22"/>
                </a:lnTo>
                <a:lnTo>
                  <a:pt x="1" y="21"/>
                </a:lnTo>
                <a:lnTo>
                  <a:pt x="4" y="16"/>
                </a:lnTo>
                <a:lnTo>
                  <a:pt x="9" y="18"/>
                </a:lnTo>
                <a:lnTo>
                  <a:pt x="10" y="16"/>
                </a:lnTo>
                <a:lnTo>
                  <a:pt x="14" y="18"/>
                </a:lnTo>
                <a:lnTo>
                  <a:pt x="14" y="16"/>
                </a:lnTo>
                <a:lnTo>
                  <a:pt x="16" y="15"/>
                </a:lnTo>
                <a:lnTo>
                  <a:pt x="18" y="13"/>
                </a:lnTo>
                <a:lnTo>
                  <a:pt x="21" y="11"/>
                </a:lnTo>
                <a:lnTo>
                  <a:pt x="24" y="11"/>
                </a:lnTo>
                <a:lnTo>
                  <a:pt x="25" y="11"/>
                </a:lnTo>
                <a:lnTo>
                  <a:pt x="26" y="8"/>
                </a:lnTo>
                <a:lnTo>
                  <a:pt x="28" y="7"/>
                </a:lnTo>
                <a:lnTo>
                  <a:pt x="29" y="7"/>
                </a:lnTo>
                <a:lnTo>
                  <a:pt x="34" y="5"/>
                </a:lnTo>
                <a:lnTo>
                  <a:pt x="40" y="5"/>
                </a:lnTo>
                <a:lnTo>
                  <a:pt x="44" y="7"/>
                </a:lnTo>
                <a:lnTo>
                  <a:pt x="48" y="4"/>
                </a:lnTo>
                <a:lnTo>
                  <a:pt x="50" y="2"/>
                </a:lnTo>
                <a:lnTo>
                  <a:pt x="56" y="0"/>
                </a:lnTo>
                <a:lnTo>
                  <a:pt x="57" y="0"/>
                </a:lnTo>
                <a:lnTo>
                  <a:pt x="61" y="0"/>
                </a:lnTo>
                <a:lnTo>
                  <a:pt x="62" y="0"/>
                </a:lnTo>
                <a:lnTo>
                  <a:pt x="69" y="2"/>
                </a:lnTo>
                <a:lnTo>
                  <a:pt x="65" y="5"/>
                </a:lnTo>
                <a:lnTo>
                  <a:pt x="64" y="7"/>
                </a:lnTo>
                <a:lnTo>
                  <a:pt x="62" y="7"/>
                </a:lnTo>
                <a:lnTo>
                  <a:pt x="60" y="10"/>
                </a:lnTo>
                <a:lnTo>
                  <a:pt x="54" y="11"/>
                </a:lnTo>
                <a:lnTo>
                  <a:pt x="52" y="13"/>
                </a:lnTo>
                <a:lnTo>
                  <a:pt x="49" y="13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503" name="Freeform 1433"/>
          <p:cNvSpPr>
            <a:spLocks/>
          </p:cNvSpPr>
          <p:nvPr/>
        </p:nvSpPr>
        <p:spPr bwMode="auto">
          <a:xfrm>
            <a:off x="3275434" y="2828050"/>
            <a:ext cx="130571" cy="55838"/>
          </a:xfrm>
          <a:custGeom>
            <a:avLst/>
            <a:gdLst/>
            <a:ahLst/>
            <a:cxnLst>
              <a:cxn ang="0">
                <a:pos x="49" y="13"/>
              </a:cxn>
              <a:cxn ang="0">
                <a:pos x="46" y="16"/>
              </a:cxn>
              <a:cxn ang="0">
                <a:pos x="44" y="18"/>
              </a:cxn>
              <a:cxn ang="0">
                <a:pos x="40" y="18"/>
              </a:cxn>
              <a:cxn ang="0">
                <a:pos x="34" y="19"/>
              </a:cxn>
              <a:cxn ang="0">
                <a:pos x="24" y="26"/>
              </a:cxn>
              <a:cxn ang="0">
                <a:pos x="20" y="26"/>
              </a:cxn>
              <a:cxn ang="0">
                <a:pos x="14" y="27"/>
              </a:cxn>
              <a:cxn ang="0">
                <a:pos x="9" y="26"/>
              </a:cxn>
              <a:cxn ang="0">
                <a:pos x="6" y="26"/>
              </a:cxn>
              <a:cxn ang="0">
                <a:pos x="5" y="24"/>
              </a:cxn>
              <a:cxn ang="0">
                <a:pos x="4" y="22"/>
              </a:cxn>
              <a:cxn ang="0">
                <a:pos x="0" y="22"/>
              </a:cxn>
              <a:cxn ang="0">
                <a:pos x="1" y="21"/>
              </a:cxn>
              <a:cxn ang="0">
                <a:pos x="4" y="16"/>
              </a:cxn>
              <a:cxn ang="0">
                <a:pos x="9" y="18"/>
              </a:cxn>
              <a:cxn ang="0">
                <a:pos x="10" y="16"/>
              </a:cxn>
              <a:cxn ang="0">
                <a:pos x="14" y="18"/>
              </a:cxn>
              <a:cxn ang="0">
                <a:pos x="14" y="16"/>
              </a:cxn>
              <a:cxn ang="0">
                <a:pos x="16" y="15"/>
              </a:cxn>
              <a:cxn ang="0">
                <a:pos x="18" y="13"/>
              </a:cxn>
              <a:cxn ang="0">
                <a:pos x="21" y="11"/>
              </a:cxn>
              <a:cxn ang="0">
                <a:pos x="24" y="11"/>
              </a:cxn>
              <a:cxn ang="0">
                <a:pos x="25" y="11"/>
              </a:cxn>
              <a:cxn ang="0">
                <a:pos x="26" y="8"/>
              </a:cxn>
              <a:cxn ang="0">
                <a:pos x="28" y="7"/>
              </a:cxn>
              <a:cxn ang="0">
                <a:pos x="29" y="7"/>
              </a:cxn>
              <a:cxn ang="0">
                <a:pos x="34" y="5"/>
              </a:cxn>
              <a:cxn ang="0">
                <a:pos x="40" y="5"/>
              </a:cxn>
              <a:cxn ang="0">
                <a:pos x="44" y="7"/>
              </a:cxn>
              <a:cxn ang="0">
                <a:pos x="48" y="4"/>
              </a:cxn>
              <a:cxn ang="0">
                <a:pos x="50" y="2"/>
              </a:cxn>
              <a:cxn ang="0">
                <a:pos x="56" y="0"/>
              </a:cxn>
              <a:cxn ang="0">
                <a:pos x="57" y="0"/>
              </a:cxn>
              <a:cxn ang="0">
                <a:pos x="61" y="0"/>
              </a:cxn>
              <a:cxn ang="0">
                <a:pos x="62" y="0"/>
              </a:cxn>
              <a:cxn ang="0">
                <a:pos x="69" y="2"/>
              </a:cxn>
              <a:cxn ang="0">
                <a:pos x="65" y="5"/>
              </a:cxn>
              <a:cxn ang="0">
                <a:pos x="64" y="7"/>
              </a:cxn>
              <a:cxn ang="0">
                <a:pos x="62" y="7"/>
              </a:cxn>
              <a:cxn ang="0">
                <a:pos x="60" y="10"/>
              </a:cxn>
              <a:cxn ang="0">
                <a:pos x="54" y="11"/>
              </a:cxn>
              <a:cxn ang="0">
                <a:pos x="52" y="13"/>
              </a:cxn>
              <a:cxn ang="0">
                <a:pos x="49" y="13"/>
              </a:cxn>
            </a:cxnLst>
            <a:rect l="0" t="0" r="r" b="b"/>
            <a:pathLst>
              <a:path w="69" h="27">
                <a:moveTo>
                  <a:pt x="49" y="13"/>
                </a:moveTo>
                <a:lnTo>
                  <a:pt x="46" y="16"/>
                </a:lnTo>
                <a:lnTo>
                  <a:pt x="44" y="18"/>
                </a:lnTo>
                <a:lnTo>
                  <a:pt x="40" y="18"/>
                </a:lnTo>
                <a:lnTo>
                  <a:pt x="34" y="19"/>
                </a:lnTo>
                <a:lnTo>
                  <a:pt x="24" y="26"/>
                </a:lnTo>
                <a:lnTo>
                  <a:pt x="20" y="26"/>
                </a:lnTo>
                <a:lnTo>
                  <a:pt x="14" y="27"/>
                </a:lnTo>
                <a:lnTo>
                  <a:pt x="9" y="26"/>
                </a:lnTo>
                <a:lnTo>
                  <a:pt x="6" y="26"/>
                </a:lnTo>
                <a:lnTo>
                  <a:pt x="5" y="24"/>
                </a:lnTo>
                <a:lnTo>
                  <a:pt x="4" y="22"/>
                </a:lnTo>
                <a:lnTo>
                  <a:pt x="0" y="22"/>
                </a:lnTo>
                <a:lnTo>
                  <a:pt x="1" y="21"/>
                </a:lnTo>
                <a:lnTo>
                  <a:pt x="4" y="16"/>
                </a:lnTo>
                <a:lnTo>
                  <a:pt x="9" y="18"/>
                </a:lnTo>
                <a:lnTo>
                  <a:pt x="10" y="16"/>
                </a:lnTo>
                <a:lnTo>
                  <a:pt x="14" y="18"/>
                </a:lnTo>
                <a:lnTo>
                  <a:pt x="14" y="16"/>
                </a:lnTo>
                <a:lnTo>
                  <a:pt x="16" y="15"/>
                </a:lnTo>
                <a:lnTo>
                  <a:pt x="18" y="13"/>
                </a:lnTo>
                <a:lnTo>
                  <a:pt x="21" y="11"/>
                </a:lnTo>
                <a:lnTo>
                  <a:pt x="24" y="11"/>
                </a:lnTo>
                <a:lnTo>
                  <a:pt x="25" y="11"/>
                </a:lnTo>
                <a:lnTo>
                  <a:pt x="26" y="8"/>
                </a:lnTo>
                <a:lnTo>
                  <a:pt x="28" y="7"/>
                </a:lnTo>
                <a:lnTo>
                  <a:pt x="29" y="7"/>
                </a:lnTo>
                <a:lnTo>
                  <a:pt x="34" y="5"/>
                </a:lnTo>
                <a:lnTo>
                  <a:pt x="40" y="5"/>
                </a:lnTo>
                <a:lnTo>
                  <a:pt x="44" y="7"/>
                </a:lnTo>
                <a:lnTo>
                  <a:pt x="48" y="4"/>
                </a:lnTo>
                <a:lnTo>
                  <a:pt x="50" y="2"/>
                </a:lnTo>
                <a:lnTo>
                  <a:pt x="56" y="0"/>
                </a:lnTo>
                <a:lnTo>
                  <a:pt x="57" y="0"/>
                </a:lnTo>
                <a:lnTo>
                  <a:pt x="61" y="0"/>
                </a:lnTo>
                <a:lnTo>
                  <a:pt x="62" y="0"/>
                </a:lnTo>
                <a:lnTo>
                  <a:pt x="69" y="2"/>
                </a:lnTo>
                <a:lnTo>
                  <a:pt x="65" y="5"/>
                </a:lnTo>
                <a:lnTo>
                  <a:pt x="64" y="7"/>
                </a:lnTo>
                <a:lnTo>
                  <a:pt x="62" y="7"/>
                </a:lnTo>
                <a:lnTo>
                  <a:pt x="60" y="10"/>
                </a:lnTo>
                <a:lnTo>
                  <a:pt x="54" y="11"/>
                </a:lnTo>
                <a:lnTo>
                  <a:pt x="52" y="13"/>
                </a:lnTo>
                <a:lnTo>
                  <a:pt x="49" y="13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504" name="Freeform 1434"/>
          <p:cNvSpPr>
            <a:spLocks/>
          </p:cNvSpPr>
          <p:nvPr/>
        </p:nvSpPr>
        <p:spPr bwMode="auto">
          <a:xfrm>
            <a:off x="6046649" y="3837424"/>
            <a:ext cx="62363" cy="66576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2" y="3"/>
              </a:cxn>
              <a:cxn ang="0">
                <a:pos x="3" y="1"/>
              </a:cxn>
              <a:cxn ang="0">
                <a:pos x="4" y="1"/>
              </a:cxn>
              <a:cxn ang="0">
                <a:pos x="6" y="0"/>
              </a:cxn>
              <a:cxn ang="0">
                <a:pos x="10" y="1"/>
              </a:cxn>
              <a:cxn ang="0">
                <a:pos x="11" y="3"/>
              </a:cxn>
              <a:cxn ang="0">
                <a:pos x="14" y="4"/>
              </a:cxn>
              <a:cxn ang="0">
                <a:pos x="15" y="7"/>
              </a:cxn>
              <a:cxn ang="0">
                <a:pos x="16" y="14"/>
              </a:cxn>
              <a:cxn ang="0">
                <a:pos x="20" y="15"/>
              </a:cxn>
              <a:cxn ang="0">
                <a:pos x="24" y="14"/>
              </a:cxn>
              <a:cxn ang="0">
                <a:pos x="26" y="15"/>
              </a:cxn>
              <a:cxn ang="0">
                <a:pos x="28" y="15"/>
              </a:cxn>
              <a:cxn ang="0">
                <a:pos x="30" y="15"/>
              </a:cxn>
              <a:cxn ang="0">
                <a:pos x="32" y="20"/>
              </a:cxn>
              <a:cxn ang="0">
                <a:pos x="31" y="22"/>
              </a:cxn>
              <a:cxn ang="0">
                <a:pos x="31" y="23"/>
              </a:cxn>
              <a:cxn ang="0">
                <a:pos x="28" y="26"/>
              </a:cxn>
              <a:cxn ang="0">
                <a:pos x="24" y="28"/>
              </a:cxn>
              <a:cxn ang="0">
                <a:pos x="22" y="28"/>
              </a:cxn>
              <a:cxn ang="0">
                <a:pos x="19" y="29"/>
              </a:cxn>
              <a:cxn ang="0">
                <a:pos x="18" y="33"/>
              </a:cxn>
              <a:cxn ang="0">
                <a:pos x="16" y="33"/>
              </a:cxn>
              <a:cxn ang="0">
                <a:pos x="14" y="31"/>
              </a:cxn>
              <a:cxn ang="0">
                <a:pos x="11" y="23"/>
              </a:cxn>
              <a:cxn ang="0">
                <a:pos x="10" y="22"/>
              </a:cxn>
              <a:cxn ang="0">
                <a:pos x="6" y="18"/>
              </a:cxn>
              <a:cxn ang="0">
                <a:pos x="4" y="15"/>
              </a:cxn>
              <a:cxn ang="0">
                <a:pos x="3" y="14"/>
              </a:cxn>
              <a:cxn ang="0">
                <a:pos x="2" y="9"/>
              </a:cxn>
              <a:cxn ang="0">
                <a:pos x="0" y="7"/>
              </a:cxn>
              <a:cxn ang="0">
                <a:pos x="0" y="6"/>
              </a:cxn>
              <a:cxn ang="0">
                <a:pos x="0" y="4"/>
              </a:cxn>
            </a:cxnLst>
            <a:rect l="0" t="0" r="r" b="b"/>
            <a:pathLst>
              <a:path w="32" h="33">
                <a:moveTo>
                  <a:pt x="0" y="4"/>
                </a:moveTo>
                <a:lnTo>
                  <a:pt x="2" y="3"/>
                </a:lnTo>
                <a:lnTo>
                  <a:pt x="3" y="1"/>
                </a:lnTo>
                <a:lnTo>
                  <a:pt x="4" y="1"/>
                </a:lnTo>
                <a:lnTo>
                  <a:pt x="6" y="0"/>
                </a:lnTo>
                <a:lnTo>
                  <a:pt x="10" y="1"/>
                </a:lnTo>
                <a:lnTo>
                  <a:pt x="11" y="3"/>
                </a:lnTo>
                <a:lnTo>
                  <a:pt x="14" y="4"/>
                </a:lnTo>
                <a:lnTo>
                  <a:pt x="15" y="7"/>
                </a:lnTo>
                <a:lnTo>
                  <a:pt x="16" y="14"/>
                </a:lnTo>
                <a:lnTo>
                  <a:pt x="20" y="15"/>
                </a:lnTo>
                <a:lnTo>
                  <a:pt x="24" y="14"/>
                </a:lnTo>
                <a:lnTo>
                  <a:pt x="26" y="15"/>
                </a:lnTo>
                <a:lnTo>
                  <a:pt x="28" y="15"/>
                </a:lnTo>
                <a:lnTo>
                  <a:pt x="30" y="15"/>
                </a:lnTo>
                <a:lnTo>
                  <a:pt x="32" y="20"/>
                </a:lnTo>
                <a:lnTo>
                  <a:pt x="31" y="22"/>
                </a:lnTo>
                <a:lnTo>
                  <a:pt x="31" y="23"/>
                </a:lnTo>
                <a:lnTo>
                  <a:pt x="28" y="26"/>
                </a:lnTo>
                <a:lnTo>
                  <a:pt x="24" y="28"/>
                </a:lnTo>
                <a:lnTo>
                  <a:pt x="22" y="28"/>
                </a:lnTo>
                <a:lnTo>
                  <a:pt x="19" y="29"/>
                </a:lnTo>
                <a:lnTo>
                  <a:pt x="18" y="33"/>
                </a:lnTo>
                <a:lnTo>
                  <a:pt x="16" y="33"/>
                </a:lnTo>
                <a:lnTo>
                  <a:pt x="14" y="31"/>
                </a:lnTo>
                <a:lnTo>
                  <a:pt x="11" y="23"/>
                </a:lnTo>
                <a:lnTo>
                  <a:pt x="10" y="22"/>
                </a:lnTo>
                <a:lnTo>
                  <a:pt x="6" y="18"/>
                </a:lnTo>
                <a:lnTo>
                  <a:pt x="4" y="15"/>
                </a:lnTo>
                <a:lnTo>
                  <a:pt x="3" y="14"/>
                </a:lnTo>
                <a:lnTo>
                  <a:pt x="2" y="9"/>
                </a:lnTo>
                <a:lnTo>
                  <a:pt x="0" y="7"/>
                </a:lnTo>
                <a:lnTo>
                  <a:pt x="0" y="6"/>
                </a:lnTo>
                <a:lnTo>
                  <a:pt x="0" y="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505" name="Freeform 1435"/>
          <p:cNvSpPr>
            <a:spLocks/>
          </p:cNvSpPr>
          <p:nvPr/>
        </p:nvSpPr>
        <p:spPr bwMode="auto">
          <a:xfrm>
            <a:off x="6646883" y="4681434"/>
            <a:ext cx="37028" cy="171808"/>
          </a:xfrm>
          <a:custGeom>
            <a:avLst/>
            <a:gdLst/>
            <a:ahLst/>
            <a:cxnLst>
              <a:cxn ang="0">
                <a:pos x="15" y="80"/>
              </a:cxn>
              <a:cxn ang="0">
                <a:pos x="13" y="83"/>
              </a:cxn>
              <a:cxn ang="0">
                <a:pos x="12" y="85"/>
              </a:cxn>
              <a:cxn ang="0">
                <a:pos x="11" y="82"/>
              </a:cxn>
              <a:cxn ang="0">
                <a:pos x="9" y="79"/>
              </a:cxn>
              <a:cxn ang="0">
                <a:pos x="11" y="76"/>
              </a:cxn>
              <a:cxn ang="0">
                <a:pos x="8" y="72"/>
              </a:cxn>
              <a:cxn ang="0">
                <a:pos x="7" y="69"/>
              </a:cxn>
              <a:cxn ang="0">
                <a:pos x="5" y="57"/>
              </a:cxn>
              <a:cxn ang="0">
                <a:pos x="1" y="49"/>
              </a:cxn>
              <a:cxn ang="0">
                <a:pos x="4" y="44"/>
              </a:cxn>
              <a:cxn ang="0">
                <a:pos x="5" y="39"/>
              </a:cxn>
              <a:cxn ang="0">
                <a:pos x="5" y="21"/>
              </a:cxn>
              <a:cxn ang="0">
                <a:pos x="5" y="16"/>
              </a:cxn>
              <a:cxn ang="0">
                <a:pos x="3" y="13"/>
              </a:cxn>
              <a:cxn ang="0">
                <a:pos x="0" y="5"/>
              </a:cxn>
              <a:cxn ang="0">
                <a:pos x="3" y="0"/>
              </a:cxn>
              <a:cxn ang="0">
                <a:pos x="8" y="5"/>
              </a:cxn>
              <a:cxn ang="0">
                <a:pos x="11" y="14"/>
              </a:cxn>
              <a:cxn ang="0">
                <a:pos x="12" y="22"/>
              </a:cxn>
              <a:cxn ang="0">
                <a:pos x="13" y="32"/>
              </a:cxn>
              <a:cxn ang="0">
                <a:pos x="17" y="35"/>
              </a:cxn>
              <a:cxn ang="0">
                <a:pos x="16" y="43"/>
              </a:cxn>
              <a:cxn ang="0">
                <a:pos x="12" y="52"/>
              </a:cxn>
              <a:cxn ang="0">
                <a:pos x="13" y="57"/>
              </a:cxn>
              <a:cxn ang="0">
                <a:pos x="15" y="65"/>
              </a:cxn>
              <a:cxn ang="0">
                <a:pos x="15" y="71"/>
              </a:cxn>
              <a:cxn ang="0">
                <a:pos x="15" y="76"/>
              </a:cxn>
              <a:cxn ang="0">
                <a:pos x="17" y="76"/>
              </a:cxn>
              <a:cxn ang="0">
                <a:pos x="20" y="85"/>
              </a:cxn>
              <a:cxn ang="0">
                <a:pos x="17" y="83"/>
              </a:cxn>
              <a:cxn ang="0">
                <a:pos x="16" y="82"/>
              </a:cxn>
            </a:cxnLst>
            <a:rect l="0" t="0" r="r" b="b"/>
            <a:pathLst>
              <a:path w="20" h="87">
                <a:moveTo>
                  <a:pt x="16" y="82"/>
                </a:moveTo>
                <a:lnTo>
                  <a:pt x="15" y="80"/>
                </a:lnTo>
                <a:lnTo>
                  <a:pt x="15" y="82"/>
                </a:lnTo>
                <a:lnTo>
                  <a:pt x="13" y="83"/>
                </a:lnTo>
                <a:lnTo>
                  <a:pt x="13" y="85"/>
                </a:lnTo>
                <a:lnTo>
                  <a:pt x="12" y="85"/>
                </a:lnTo>
                <a:lnTo>
                  <a:pt x="11" y="83"/>
                </a:lnTo>
                <a:lnTo>
                  <a:pt x="11" y="82"/>
                </a:lnTo>
                <a:lnTo>
                  <a:pt x="9" y="80"/>
                </a:lnTo>
                <a:lnTo>
                  <a:pt x="9" y="79"/>
                </a:lnTo>
                <a:lnTo>
                  <a:pt x="11" y="77"/>
                </a:lnTo>
                <a:lnTo>
                  <a:pt x="11" y="76"/>
                </a:lnTo>
                <a:lnTo>
                  <a:pt x="11" y="74"/>
                </a:lnTo>
                <a:lnTo>
                  <a:pt x="8" y="72"/>
                </a:lnTo>
                <a:lnTo>
                  <a:pt x="8" y="71"/>
                </a:lnTo>
                <a:lnTo>
                  <a:pt x="7" y="69"/>
                </a:lnTo>
                <a:lnTo>
                  <a:pt x="7" y="65"/>
                </a:lnTo>
                <a:lnTo>
                  <a:pt x="5" y="57"/>
                </a:lnTo>
                <a:lnTo>
                  <a:pt x="1" y="50"/>
                </a:lnTo>
                <a:lnTo>
                  <a:pt x="1" y="49"/>
                </a:lnTo>
                <a:lnTo>
                  <a:pt x="3" y="47"/>
                </a:lnTo>
                <a:lnTo>
                  <a:pt x="4" y="44"/>
                </a:lnTo>
                <a:lnTo>
                  <a:pt x="5" y="43"/>
                </a:lnTo>
                <a:lnTo>
                  <a:pt x="5" y="39"/>
                </a:lnTo>
                <a:lnTo>
                  <a:pt x="5" y="27"/>
                </a:lnTo>
                <a:lnTo>
                  <a:pt x="5" y="21"/>
                </a:lnTo>
                <a:lnTo>
                  <a:pt x="5" y="17"/>
                </a:lnTo>
                <a:lnTo>
                  <a:pt x="5" y="16"/>
                </a:lnTo>
                <a:lnTo>
                  <a:pt x="4" y="14"/>
                </a:lnTo>
                <a:lnTo>
                  <a:pt x="3" y="13"/>
                </a:lnTo>
                <a:lnTo>
                  <a:pt x="0" y="8"/>
                </a:lnTo>
                <a:lnTo>
                  <a:pt x="0" y="5"/>
                </a:lnTo>
                <a:lnTo>
                  <a:pt x="1" y="3"/>
                </a:lnTo>
                <a:lnTo>
                  <a:pt x="3" y="0"/>
                </a:lnTo>
                <a:lnTo>
                  <a:pt x="5" y="2"/>
                </a:lnTo>
                <a:lnTo>
                  <a:pt x="8" y="5"/>
                </a:lnTo>
                <a:lnTo>
                  <a:pt x="9" y="8"/>
                </a:lnTo>
                <a:lnTo>
                  <a:pt x="11" y="14"/>
                </a:lnTo>
                <a:lnTo>
                  <a:pt x="12" y="19"/>
                </a:lnTo>
                <a:lnTo>
                  <a:pt x="12" y="22"/>
                </a:lnTo>
                <a:lnTo>
                  <a:pt x="12" y="28"/>
                </a:lnTo>
                <a:lnTo>
                  <a:pt x="13" y="32"/>
                </a:lnTo>
                <a:lnTo>
                  <a:pt x="16" y="32"/>
                </a:lnTo>
                <a:lnTo>
                  <a:pt x="17" y="35"/>
                </a:lnTo>
                <a:lnTo>
                  <a:pt x="17" y="36"/>
                </a:lnTo>
                <a:lnTo>
                  <a:pt x="16" y="43"/>
                </a:lnTo>
                <a:lnTo>
                  <a:pt x="13" y="47"/>
                </a:lnTo>
                <a:lnTo>
                  <a:pt x="12" y="52"/>
                </a:lnTo>
                <a:lnTo>
                  <a:pt x="13" y="55"/>
                </a:lnTo>
                <a:lnTo>
                  <a:pt x="13" y="57"/>
                </a:lnTo>
                <a:lnTo>
                  <a:pt x="13" y="61"/>
                </a:lnTo>
                <a:lnTo>
                  <a:pt x="15" y="65"/>
                </a:lnTo>
                <a:lnTo>
                  <a:pt x="15" y="68"/>
                </a:lnTo>
                <a:lnTo>
                  <a:pt x="15" y="71"/>
                </a:lnTo>
                <a:lnTo>
                  <a:pt x="15" y="74"/>
                </a:lnTo>
                <a:lnTo>
                  <a:pt x="15" y="76"/>
                </a:lnTo>
                <a:lnTo>
                  <a:pt x="16" y="76"/>
                </a:lnTo>
                <a:lnTo>
                  <a:pt x="17" y="76"/>
                </a:lnTo>
                <a:lnTo>
                  <a:pt x="17" y="77"/>
                </a:lnTo>
                <a:lnTo>
                  <a:pt x="20" y="85"/>
                </a:lnTo>
                <a:lnTo>
                  <a:pt x="20" y="87"/>
                </a:lnTo>
                <a:lnTo>
                  <a:pt x="17" y="83"/>
                </a:lnTo>
                <a:lnTo>
                  <a:pt x="16" y="83"/>
                </a:lnTo>
                <a:lnTo>
                  <a:pt x="16" y="8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506" name="Freeform 1436"/>
          <p:cNvSpPr>
            <a:spLocks/>
          </p:cNvSpPr>
          <p:nvPr/>
        </p:nvSpPr>
        <p:spPr bwMode="auto">
          <a:xfrm>
            <a:off x="6512415" y="4462378"/>
            <a:ext cx="56516" cy="191138"/>
          </a:xfrm>
          <a:custGeom>
            <a:avLst/>
            <a:gdLst/>
            <a:ahLst/>
            <a:cxnLst>
              <a:cxn ang="0">
                <a:pos x="18" y="74"/>
              </a:cxn>
              <a:cxn ang="0">
                <a:pos x="16" y="71"/>
              </a:cxn>
              <a:cxn ang="0">
                <a:pos x="12" y="69"/>
              </a:cxn>
              <a:cxn ang="0">
                <a:pos x="8" y="65"/>
              </a:cxn>
              <a:cxn ang="0">
                <a:pos x="6" y="63"/>
              </a:cxn>
              <a:cxn ang="0">
                <a:pos x="4" y="57"/>
              </a:cxn>
              <a:cxn ang="0">
                <a:pos x="2" y="55"/>
              </a:cxn>
              <a:cxn ang="0">
                <a:pos x="2" y="49"/>
              </a:cxn>
              <a:cxn ang="0">
                <a:pos x="2" y="46"/>
              </a:cxn>
              <a:cxn ang="0">
                <a:pos x="2" y="41"/>
              </a:cxn>
              <a:cxn ang="0">
                <a:pos x="1" y="36"/>
              </a:cxn>
              <a:cxn ang="0">
                <a:pos x="0" y="32"/>
              </a:cxn>
              <a:cxn ang="0">
                <a:pos x="0" y="25"/>
              </a:cxn>
              <a:cxn ang="0">
                <a:pos x="1" y="19"/>
              </a:cxn>
              <a:cxn ang="0">
                <a:pos x="1" y="16"/>
              </a:cxn>
              <a:cxn ang="0">
                <a:pos x="0" y="16"/>
              </a:cxn>
              <a:cxn ang="0">
                <a:pos x="0" y="14"/>
              </a:cxn>
              <a:cxn ang="0">
                <a:pos x="0" y="11"/>
              </a:cxn>
              <a:cxn ang="0">
                <a:pos x="1" y="7"/>
              </a:cxn>
              <a:cxn ang="0">
                <a:pos x="1" y="2"/>
              </a:cxn>
              <a:cxn ang="0">
                <a:pos x="2" y="0"/>
              </a:cxn>
              <a:cxn ang="0">
                <a:pos x="2" y="2"/>
              </a:cxn>
              <a:cxn ang="0">
                <a:pos x="4" y="3"/>
              </a:cxn>
              <a:cxn ang="0">
                <a:pos x="4" y="7"/>
              </a:cxn>
              <a:cxn ang="0">
                <a:pos x="4" y="11"/>
              </a:cxn>
              <a:cxn ang="0">
                <a:pos x="4" y="14"/>
              </a:cxn>
              <a:cxn ang="0">
                <a:pos x="6" y="16"/>
              </a:cxn>
              <a:cxn ang="0">
                <a:pos x="8" y="19"/>
              </a:cxn>
              <a:cxn ang="0">
                <a:pos x="8" y="24"/>
              </a:cxn>
              <a:cxn ang="0">
                <a:pos x="8" y="30"/>
              </a:cxn>
              <a:cxn ang="0">
                <a:pos x="9" y="32"/>
              </a:cxn>
              <a:cxn ang="0">
                <a:pos x="9" y="33"/>
              </a:cxn>
              <a:cxn ang="0">
                <a:pos x="9" y="38"/>
              </a:cxn>
              <a:cxn ang="0">
                <a:pos x="10" y="41"/>
              </a:cxn>
              <a:cxn ang="0">
                <a:pos x="12" y="46"/>
              </a:cxn>
              <a:cxn ang="0">
                <a:pos x="10" y="47"/>
              </a:cxn>
              <a:cxn ang="0">
                <a:pos x="9" y="50"/>
              </a:cxn>
              <a:cxn ang="0">
                <a:pos x="10" y="54"/>
              </a:cxn>
              <a:cxn ang="0">
                <a:pos x="16" y="58"/>
              </a:cxn>
              <a:cxn ang="0">
                <a:pos x="21" y="65"/>
              </a:cxn>
              <a:cxn ang="0">
                <a:pos x="21" y="68"/>
              </a:cxn>
              <a:cxn ang="0">
                <a:pos x="21" y="72"/>
              </a:cxn>
              <a:cxn ang="0">
                <a:pos x="24" y="79"/>
              </a:cxn>
              <a:cxn ang="0">
                <a:pos x="25" y="83"/>
              </a:cxn>
              <a:cxn ang="0">
                <a:pos x="26" y="87"/>
              </a:cxn>
              <a:cxn ang="0">
                <a:pos x="29" y="93"/>
              </a:cxn>
              <a:cxn ang="0">
                <a:pos x="28" y="96"/>
              </a:cxn>
              <a:cxn ang="0">
                <a:pos x="24" y="94"/>
              </a:cxn>
              <a:cxn ang="0">
                <a:pos x="22" y="93"/>
              </a:cxn>
              <a:cxn ang="0">
                <a:pos x="21" y="93"/>
              </a:cxn>
              <a:cxn ang="0">
                <a:pos x="21" y="90"/>
              </a:cxn>
              <a:cxn ang="0">
                <a:pos x="21" y="88"/>
              </a:cxn>
              <a:cxn ang="0">
                <a:pos x="20" y="87"/>
              </a:cxn>
              <a:cxn ang="0">
                <a:pos x="18" y="74"/>
              </a:cxn>
            </a:cxnLst>
            <a:rect l="0" t="0" r="r" b="b"/>
            <a:pathLst>
              <a:path w="29" h="96">
                <a:moveTo>
                  <a:pt x="18" y="74"/>
                </a:moveTo>
                <a:lnTo>
                  <a:pt x="16" y="71"/>
                </a:lnTo>
                <a:lnTo>
                  <a:pt x="12" y="69"/>
                </a:lnTo>
                <a:lnTo>
                  <a:pt x="8" y="65"/>
                </a:lnTo>
                <a:lnTo>
                  <a:pt x="6" y="63"/>
                </a:lnTo>
                <a:lnTo>
                  <a:pt x="4" y="57"/>
                </a:lnTo>
                <a:lnTo>
                  <a:pt x="2" y="55"/>
                </a:lnTo>
                <a:lnTo>
                  <a:pt x="2" y="49"/>
                </a:lnTo>
                <a:lnTo>
                  <a:pt x="2" y="46"/>
                </a:lnTo>
                <a:lnTo>
                  <a:pt x="2" y="41"/>
                </a:lnTo>
                <a:lnTo>
                  <a:pt x="1" y="36"/>
                </a:lnTo>
                <a:lnTo>
                  <a:pt x="0" y="32"/>
                </a:lnTo>
                <a:lnTo>
                  <a:pt x="0" y="25"/>
                </a:lnTo>
                <a:lnTo>
                  <a:pt x="1" y="19"/>
                </a:lnTo>
                <a:lnTo>
                  <a:pt x="1" y="16"/>
                </a:lnTo>
                <a:lnTo>
                  <a:pt x="0" y="16"/>
                </a:lnTo>
                <a:lnTo>
                  <a:pt x="0" y="14"/>
                </a:lnTo>
                <a:lnTo>
                  <a:pt x="0" y="11"/>
                </a:lnTo>
                <a:lnTo>
                  <a:pt x="1" y="7"/>
                </a:lnTo>
                <a:lnTo>
                  <a:pt x="1" y="2"/>
                </a:lnTo>
                <a:lnTo>
                  <a:pt x="2" y="0"/>
                </a:lnTo>
                <a:lnTo>
                  <a:pt x="2" y="2"/>
                </a:lnTo>
                <a:lnTo>
                  <a:pt x="4" y="3"/>
                </a:lnTo>
                <a:lnTo>
                  <a:pt x="4" y="7"/>
                </a:lnTo>
                <a:lnTo>
                  <a:pt x="4" y="11"/>
                </a:lnTo>
                <a:lnTo>
                  <a:pt x="4" y="14"/>
                </a:lnTo>
                <a:lnTo>
                  <a:pt x="6" y="16"/>
                </a:lnTo>
                <a:lnTo>
                  <a:pt x="8" y="19"/>
                </a:lnTo>
                <a:lnTo>
                  <a:pt x="8" y="24"/>
                </a:lnTo>
                <a:lnTo>
                  <a:pt x="8" y="30"/>
                </a:lnTo>
                <a:lnTo>
                  <a:pt x="9" y="32"/>
                </a:lnTo>
                <a:lnTo>
                  <a:pt x="9" y="33"/>
                </a:lnTo>
                <a:lnTo>
                  <a:pt x="9" y="38"/>
                </a:lnTo>
                <a:lnTo>
                  <a:pt x="10" y="41"/>
                </a:lnTo>
                <a:lnTo>
                  <a:pt x="12" y="46"/>
                </a:lnTo>
                <a:lnTo>
                  <a:pt x="10" y="47"/>
                </a:lnTo>
                <a:lnTo>
                  <a:pt x="9" y="50"/>
                </a:lnTo>
                <a:lnTo>
                  <a:pt x="10" y="54"/>
                </a:lnTo>
                <a:lnTo>
                  <a:pt x="16" y="58"/>
                </a:lnTo>
                <a:lnTo>
                  <a:pt x="21" y="65"/>
                </a:lnTo>
                <a:lnTo>
                  <a:pt x="21" y="68"/>
                </a:lnTo>
                <a:lnTo>
                  <a:pt x="21" y="72"/>
                </a:lnTo>
                <a:lnTo>
                  <a:pt x="24" y="79"/>
                </a:lnTo>
                <a:lnTo>
                  <a:pt x="25" y="83"/>
                </a:lnTo>
                <a:lnTo>
                  <a:pt x="26" y="87"/>
                </a:lnTo>
                <a:lnTo>
                  <a:pt x="29" y="93"/>
                </a:lnTo>
                <a:lnTo>
                  <a:pt x="28" y="96"/>
                </a:lnTo>
                <a:lnTo>
                  <a:pt x="24" y="94"/>
                </a:lnTo>
                <a:lnTo>
                  <a:pt x="22" y="93"/>
                </a:lnTo>
                <a:lnTo>
                  <a:pt x="21" y="93"/>
                </a:lnTo>
                <a:lnTo>
                  <a:pt x="21" y="90"/>
                </a:lnTo>
                <a:lnTo>
                  <a:pt x="21" y="88"/>
                </a:lnTo>
                <a:lnTo>
                  <a:pt x="20" y="87"/>
                </a:lnTo>
                <a:lnTo>
                  <a:pt x="18" y="7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507" name="Freeform 1437"/>
          <p:cNvSpPr>
            <a:spLocks/>
          </p:cNvSpPr>
          <p:nvPr/>
        </p:nvSpPr>
        <p:spPr bwMode="auto">
          <a:xfrm>
            <a:off x="3142915" y="2697045"/>
            <a:ext cx="239704" cy="176104"/>
          </a:xfrm>
          <a:custGeom>
            <a:avLst/>
            <a:gdLst/>
            <a:ahLst/>
            <a:cxnLst>
              <a:cxn ang="0">
                <a:pos x="6" y="88"/>
              </a:cxn>
              <a:cxn ang="0">
                <a:pos x="2" y="74"/>
              </a:cxn>
              <a:cxn ang="0">
                <a:pos x="1" y="62"/>
              </a:cxn>
              <a:cxn ang="0">
                <a:pos x="5" y="48"/>
              </a:cxn>
              <a:cxn ang="0">
                <a:pos x="9" y="35"/>
              </a:cxn>
              <a:cxn ang="0">
                <a:pos x="9" y="29"/>
              </a:cxn>
              <a:cxn ang="0">
                <a:pos x="0" y="38"/>
              </a:cxn>
              <a:cxn ang="0">
                <a:pos x="5" y="30"/>
              </a:cxn>
              <a:cxn ang="0">
                <a:pos x="18" y="16"/>
              </a:cxn>
              <a:cxn ang="0">
                <a:pos x="26" y="15"/>
              </a:cxn>
              <a:cxn ang="0">
                <a:pos x="39" y="10"/>
              </a:cxn>
              <a:cxn ang="0">
                <a:pos x="47" y="15"/>
              </a:cxn>
              <a:cxn ang="0">
                <a:pos x="53" y="11"/>
              </a:cxn>
              <a:cxn ang="0">
                <a:pos x="59" y="11"/>
              </a:cxn>
              <a:cxn ang="0">
                <a:pos x="55" y="4"/>
              </a:cxn>
              <a:cxn ang="0">
                <a:pos x="55" y="0"/>
              </a:cxn>
              <a:cxn ang="0">
                <a:pos x="59" y="5"/>
              </a:cxn>
              <a:cxn ang="0">
                <a:pos x="75" y="8"/>
              </a:cxn>
              <a:cxn ang="0">
                <a:pos x="83" y="10"/>
              </a:cxn>
              <a:cxn ang="0">
                <a:pos x="97" y="11"/>
              </a:cxn>
              <a:cxn ang="0">
                <a:pos x="107" y="13"/>
              </a:cxn>
              <a:cxn ang="0">
                <a:pos x="117" y="22"/>
              </a:cxn>
              <a:cxn ang="0">
                <a:pos x="121" y="27"/>
              </a:cxn>
              <a:cxn ang="0">
                <a:pos x="125" y="32"/>
              </a:cxn>
              <a:cxn ang="0">
                <a:pos x="119" y="33"/>
              </a:cxn>
              <a:cxn ang="0">
                <a:pos x="115" y="38"/>
              </a:cxn>
              <a:cxn ang="0">
                <a:pos x="109" y="35"/>
              </a:cxn>
              <a:cxn ang="0">
                <a:pos x="105" y="33"/>
              </a:cxn>
              <a:cxn ang="0">
                <a:pos x="102" y="30"/>
              </a:cxn>
              <a:cxn ang="0">
                <a:pos x="95" y="26"/>
              </a:cxn>
              <a:cxn ang="0">
                <a:pos x="99" y="33"/>
              </a:cxn>
              <a:cxn ang="0">
                <a:pos x="93" y="48"/>
              </a:cxn>
              <a:cxn ang="0">
                <a:pos x="91" y="60"/>
              </a:cxn>
              <a:cxn ang="0">
                <a:pos x="83" y="63"/>
              </a:cxn>
              <a:cxn ang="0">
                <a:pos x="81" y="52"/>
              </a:cxn>
              <a:cxn ang="0">
                <a:pos x="69" y="48"/>
              </a:cxn>
              <a:cxn ang="0">
                <a:pos x="62" y="52"/>
              </a:cxn>
              <a:cxn ang="0">
                <a:pos x="66" y="44"/>
              </a:cxn>
              <a:cxn ang="0">
                <a:pos x="70" y="37"/>
              </a:cxn>
              <a:cxn ang="0">
                <a:pos x="69" y="29"/>
              </a:cxn>
              <a:cxn ang="0">
                <a:pos x="62" y="22"/>
              </a:cxn>
              <a:cxn ang="0">
                <a:pos x="54" y="18"/>
              </a:cxn>
              <a:cxn ang="0">
                <a:pos x="43" y="18"/>
              </a:cxn>
              <a:cxn ang="0">
                <a:pos x="41" y="24"/>
              </a:cxn>
              <a:cxn ang="0">
                <a:pos x="37" y="30"/>
              </a:cxn>
              <a:cxn ang="0">
                <a:pos x="33" y="29"/>
              </a:cxn>
              <a:cxn ang="0">
                <a:pos x="26" y="35"/>
              </a:cxn>
              <a:cxn ang="0">
                <a:pos x="25" y="43"/>
              </a:cxn>
              <a:cxn ang="0">
                <a:pos x="23" y="59"/>
              </a:cxn>
              <a:cxn ang="0">
                <a:pos x="22" y="77"/>
              </a:cxn>
              <a:cxn ang="0">
                <a:pos x="12" y="88"/>
              </a:cxn>
            </a:cxnLst>
            <a:rect l="0" t="0" r="r" b="b"/>
            <a:pathLst>
              <a:path w="125" h="88">
                <a:moveTo>
                  <a:pt x="12" y="88"/>
                </a:moveTo>
                <a:lnTo>
                  <a:pt x="9" y="88"/>
                </a:lnTo>
                <a:lnTo>
                  <a:pt x="8" y="88"/>
                </a:lnTo>
                <a:lnTo>
                  <a:pt x="6" y="88"/>
                </a:lnTo>
                <a:lnTo>
                  <a:pt x="6" y="87"/>
                </a:lnTo>
                <a:lnTo>
                  <a:pt x="5" y="84"/>
                </a:lnTo>
                <a:lnTo>
                  <a:pt x="2" y="77"/>
                </a:lnTo>
                <a:lnTo>
                  <a:pt x="2" y="74"/>
                </a:lnTo>
                <a:lnTo>
                  <a:pt x="2" y="71"/>
                </a:lnTo>
                <a:lnTo>
                  <a:pt x="2" y="70"/>
                </a:lnTo>
                <a:lnTo>
                  <a:pt x="1" y="65"/>
                </a:lnTo>
                <a:lnTo>
                  <a:pt x="1" y="62"/>
                </a:lnTo>
                <a:lnTo>
                  <a:pt x="2" y="59"/>
                </a:lnTo>
                <a:lnTo>
                  <a:pt x="4" y="52"/>
                </a:lnTo>
                <a:lnTo>
                  <a:pt x="5" y="49"/>
                </a:lnTo>
                <a:lnTo>
                  <a:pt x="5" y="48"/>
                </a:lnTo>
                <a:lnTo>
                  <a:pt x="6" y="43"/>
                </a:lnTo>
                <a:lnTo>
                  <a:pt x="6" y="41"/>
                </a:lnTo>
                <a:lnTo>
                  <a:pt x="8" y="38"/>
                </a:lnTo>
                <a:lnTo>
                  <a:pt x="9" y="35"/>
                </a:lnTo>
                <a:lnTo>
                  <a:pt x="12" y="32"/>
                </a:lnTo>
                <a:lnTo>
                  <a:pt x="13" y="27"/>
                </a:lnTo>
                <a:lnTo>
                  <a:pt x="13" y="26"/>
                </a:lnTo>
                <a:lnTo>
                  <a:pt x="9" y="29"/>
                </a:lnTo>
                <a:lnTo>
                  <a:pt x="9" y="30"/>
                </a:lnTo>
                <a:lnTo>
                  <a:pt x="8" y="32"/>
                </a:lnTo>
                <a:lnTo>
                  <a:pt x="6" y="32"/>
                </a:lnTo>
                <a:lnTo>
                  <a:pt x="0" y="38"/>
                </a:lnTo>
                <a:lnTo>
                  <a:pt x="0" y="37"/>
                </a:lnTo>
                <a:lnTo>
                  <a:pt x="2" y="33"/>
                </a:lnTo>
                <a:lnTo>
                  <a:pt x="2" y="32"/>
                </a:lnTo>
                <a:lnTo>
                  <a:pt x="5" y="30"/>
                </a:lnTo>
                <a:lnTo>
                  <a:pt x="6" y="27"/>
                </a:lnTo>
                <a:lnTo>
                  <a:pt x="13" y="19"/>
                </a:lnTo>
                <a:lnTo>
                  <a:pt x="16" y="16"/>
                </a:lnTo>
                <a:lnTo>
                  <a:pt x="18" y="16"/>
                </a:lnTo>
                <a:lnTo>
                  <a:pt x="20" y="15"/>
                </a:lnTo>
                <a:lnTo>
                  <a:pt x="20" y="18"/>
                </a:lnTo>
                <a:lnTo>
                  <a:pt x="21" y="18"/>
                </a:lnTo>
                <a:lnTo>
                  <a:pt x="26" y="15"/>
                </a:lnTo>
                <a:lnTo>
                  <a:pt x="30" y="13"/>
                </a:lnTo>
                <a:lnTo>
                  <a:pt x="34" y="13"/>
                </a:lnTo>
                <a:lnTo>
                  <a:pt x="37" y="11"/>
                </a:lnTo>
                <a:lnTo>
                  <a:pt x="39" y="10"/>
                </a:lnTo>
                <a:lnTo>
                  <a:pt x="43" y="11"/>
                </a:lnTo>
                <a:lnTo>
                  <a:pt x="46" y="11"/>
                </a:lnTo>
                <a:lnTo>
                  <a:pt x="46" y="13"/>
                </a:lnTo>
                <a:lnTo>
                  <a:pt x="47" y="15"/>
                </a:lnTo>
                <a:lnTo>
                  <a:pt x="50" y="15"/>
                </a:lnTo>
                <a:lnTo>
                  <a:pt x="50" y="11"/>
                </a:lnTo>
                <a:lnTo>
                  <a:pt x="51" y="11"/>
                </a:lnTo>
                <a:lnTo>
                  <a:pt x="53" y="11"/>
                </a:lnTo>
                <a:lnTo>
                  <a:pt x="53" y="13"/>
                </a:lnTo>
                <a:lnTo>
                  <a:pt x="58" y="11"/>
                </a:lnTo>
                <a:lnTo>
                  <a:pt x="61" y="11"/>
                </a:lnTo>
                <a:lnTo>
                  <a:pt x="59" y="11"/>
                </a:lnTo>
                <a:lnTo>
                  <a:pt x="58" y="10"/>
                </a:lnTo>
                <a:lnTo>
                  <a:pt x="55" y="8"/>
                </a:lnTo>
                <a:lnTo>
                  <a:pt x="55" y="5"/>
                </a:lnTo>
                <a:lnTo>
                  <a:pt x="55" y="4"/>
                </a:lnTo>
                <a:lnTo>
                  <a:pt x="54" y="4"/>
                </a:lnTo>
                <a:lnTo>
                  <a:pt x="54" y="2"/>
                </a:lnTo>
                <a:lnTo>
                  <a:pt x="54" y="0"/>
                </a:lnTo>
                <a:lnTo>
                  <a:pt x="55" y="0"/>
                </a:lnTo>
                <a:lnTo>
                  <a:pt x="55" y="2"/>
                </a:lnTo>
                <a:lnTo>
                  <a:pt x="58" y="5"/>
                </a:lnTo>
                <a:lnTo>
                  <a:pt x="58" y="7"/>
                </a:lnTo>
                <a:lnTo>
                  <a:pt x="59" y="5"/>
                </a:lnTo>
                <a:lnTo>
                  <a:pt x="63" y="5"/>
                </a:lnTo>
                <a:lnTo>
                  <a:pt x="73" y="8"/>
                </a:lnTo>
                <a:lnTo>
                  <a:pt x="74" y="8"/>
                </a:lnTo>
                <a:lnTo>
                  <a:pt x="75" y="8"/>
                </a:lnTo>
                <a:lnTo>
                  <a:pt x="78" y="8"/>
                </a:lnTo>
                <a:lnTo>
                  <a:pt x="79" y="8"/>
                </a:lnTo>
                <a:lnTo>
                  <a:pt x="82" y="8"/>
                </a:lnTo>
                <a:lnTo>
                  <a:pt x="83" y="10"/>
                </a:lnTo>
                <a:lnTo>
                  <a:pt x="89" y="10"/>
                </a:lnTo>
                <a:lnTo>
                  <a:pt x="93" y="10"/>
                </a:lnTo>
                <a:lnTo>
                  <a:pt x="97" y="10"/>
                </a:lnTo>
                <a:lnTo>
                  <a:pt x="97" y="11"/>
                </a:lnTo>
                <a:lnTo>
                  <a:pt x="97" y="13"/>
                </a:lnTo>
                <a:lnTo>
                  <a:pt x="99" y="11"/>
                </a:lnTo>
                <a:lnTo>
                  <a:pt x="105" y="13"/>
                </a:lnTo>
                <a:lnTo>
                  <a:pt x="107" y="13"/>
                </a:lnTo>
                <a:lnTo>
                  <a:pt x="110" y="15"/>
                </a:lnTo>
                <a:lnTo>
                  <a:pt x="111" y="18"/>
                </a:lnTo>
                <a:lnTo>
                  <a:pt x="115" y="21"/>
                </a:lnTo>
                <a:lnTo>
                  <a:pt x="117" y="22"/>
                </a:lnTo>
                <a:lnTo>
                  <a:pt x="118" y="22"/>
                </a:lnTo>
                <a:lnTo>
                  <a:pt x="119" y="22"/>
                </a:lnTo>
                <a:lnTo>
                  <a:pt x="119" y="24"/>
                </a:lnTo>
                <a:lnTo>
                  <a:pt x="121" y="27"/>
                </a:lnTo>
                <a:lnTo>
                  <a:pt x="119" y="27"/>
                </a:lnTo>
                <a:lnTo>
                  <a:pt x="122" y="30"/>
                </a:lnTo>
                <a:lnTo>
                  <a:pt x="123" y="30"/>
                </a:lnTo>
                <a:lnTo>
                  <a:pt x="125" y="32"/>
                </a:lnTo>
                <a:lnTo>
                  <a:pt x="123" y="33"/>
                </a:lnTo>
                <a:lnTo>
                  <a:pt x="122" y="33"/>
                </a:lnTo>
                <a:lnTo>
                  <a:pt x="119" y="32"/>
                </a:lnTo>
                <a:lnTo>
                  <a:pt x="119" y="33"/>
                </a:lnTo>
                <a:lnTo>
                  <a:pt x="121" y="35"/>
                </a:lnTo>
                <a:lnTo>
                  <a:pt x="121" y="37"/>
                </a:lnTo>
                <a:lnTo>
                  <a:pt x="119" y="38"/>
                </a:lnTo>
                <a:lnTo>
                  <a:pt x="115" y="38"/>
                </a:lnTo>
                <a:lnTo>
                  <a:pt x="111" y="37"/>
                </a:lnTo>
                <a:lnTo>
                  <a:pt x="110" y="37"/>
                </a:lnTo>
                <a:lnTo>
                  <a:pt x="109" y="33"/>
                </a:lnTo>
                <a:lnTo>
                  <a:pt x="109" y="35"/>
                </a:lnTo>
                <a:lnTo>
                  <a:pt x="106" y="37"/>
                </a:lnTo>
                <a:lnTo>
                  <a:pt x="106" y="35"/>
                </a:lnTo>
                <a:lnTo>
                  <a:pt x="106" y="33"/>
                </a:lnTo>
                <a:lnTo>
                  <a:pt x="105" y="33"/>
                </a:lnTo>
                <a:lnTo>
                  <a:pt x="105" y="30"/>
                </a:lnTo>
                <a:lnTo>
                  <a:pt x="103" y="30"/>
                </a:lnTo>
                <a:lnTo>
                  <a:pt x="103" y="32"/>
                </a:lnTo>
                <a:lnTo>
                  <a:pt x="102" y="30"/>
                </a:lnTo>
                <a:lnTo>
                  <a:pt x="101" y="29"/>
                </a:lnTo>
                <a:lnTo>
                  <a:pt x="101" y="26"/>
                </a:lnTo>
                <a:lnTo>
                  <a:pt x="95" y="24"/>
                </a:lnTo>
                <a:lnTo>
                  <a:pt x="95" y="26"/>
                </a:lnTo>
                <a:lnTo>
                  <a:pt x="97" y="27"/>
                </a:lnTo>
                <a:lnTo>
                  <a:pt x="98" y="30"/>
                </a:lnTo>
                <a:lnTo>
                  <a:pt x="99" y="32"/>
                </a:lnTo>
                <a:lnTo>
                  <a:pt x="99" y="33"/>
                </a:lnTo>
                <a:lnTo>
                  <a:pt x="99" y="35"/>
                </a:lnTo>
                <a:lnTo>
                  <a:pt x="98" y="38"/>
                </a:lnTo>
                <a:lnTo>
                  <a:pt x="94" y="44"/>
                </a:lnTo>
                <a:lnTo>
                  <a:pt x="93" y="48"/>
                </a:lnTo>
                <a:lnTo>
                  <a:pt x="94" y="51"/>
                </a:lnTo>
                <a:lnTo>
                  <a:pt x="94" y="55"/>
                </a:lnTo>
                <a:lnTo>
                  <a:pt x="93" y="59"/>
                </a:lnTo>
                <a:lnTo>
                  <a:pt x="91" y="60"/>
                </a:lnTo>
                <a:lnTo>
                  <a:pt x="89" y="62"/>
                </a:lnTo>
                <a:lnTo>
                  <a:pt x="87" y="62"/>
                </a:lnTo>
                <a:lnTo>
                  <a:pt x="86" y="63"/>
                </a:lnTo>
                <a:lnTo>
                  <a:pt x="83" y="63"/>
                </a:lnTo>
                <a:lnTo>
                  <a:pt x="82" y="63"/>
                </a:lnTo>
                <a:lnTo>
                  <a:pt x="82" y="60"/>
                </a:lnTo>
                <a:lnTo>
                  <a:pt x="81" y="55"/>
                </a:lnTo>
                <a:lnTo>
                  <a:pt x="81" y="52"/>
                </a:lnTo>
                <a:lnTo>
                  <a:pt x="79" y="51"/>
                </a:lnTo>
                <a:lnTo>
                  <a:pt x="77" y="46"/>
                </a:lnTo>
                <a:lnTo>
                  <a:pt x="74" y="46"/>
                </a:lnTo>
                <a:lnTo>
                  <a:pt x="69" y="48"/>
                </a:lnTo>
                <a:lnTo>
                  <a:pt x="67" y="52"/>
                </a:lnTo>
                <a:lnTo>
                  <a:pt x="65" y="52"/>
                </a:lnTo>
                <a:lnTo>
                  <a:pt x="63" y="54"/>
                </a:lnTo>
                <a:lnTo>
                  <a:pt x="62" y="52"/>
                </a:lnTo>
                <a:lnTo>
                  <a:pt x="61" y="52"/>
                </a:lnTo>
                <a:lnTo>
                  <a:pt x="62" y="49"/>
                </a:lnTo>
                <a:lnTo>
                  <a:pt x="63" y="48"/>
                </a:lnTo>
                <a:lnTo>
                  <a:pt x="66" y="44"/>
                </a:lnTo>
                <a:lnTo>
                  <a:pt x="67" y="43"/>
                </a:lnTo>
                <a:lnTo>
                  <a:pt x="70" y="41"/>
                </a:lnTo>
                <a:lnTo>
                  <a:pt x="70" y="40"/>
                </a:lnTo>
                <a:lnTo>
                  <a:pt x="70" y="37"/>
                </a:lnTo>
                <a:lnTo>
                  <a:pt x="69" y="32"/>
                </a:lnTo>
                <a:lnTo>
                  <a:pt x="69" y="30"/>
                </a:lnTo>
                <a:lnTo>
                  <a:pt x="67" y="29"/>
                </a:lnTo>
                <a:lnTo>
                  <a:pt x="69" y="29"/>
                </a:lnTo>
                <a:lnTo>
                  <a:pt x="69" y="27"/>
                </a:lnTo>
                <a:lnTo>
                  <a:pt x="67" y="26"/>
                </a:lnTo>
                <a:lnTo>
                  <a:pt x="66" y="24"/>
                </a:lnTo>
                <a:lnTo>
                  <a:pt x="62" y="22"/>
                </a:lnTo>
                <a:lnTo>
                  <a:pt x="59" y="21"/>
                </a:lnTo>
                <a:lnTo>
                  <a:pt x="58" y="21"/>
                </a:lnTo>
                <a:lnTo>
                  <a:pt x="55" y="18"/>
                </a:lnTo>
                <a:lnTo>
                  <a:pt x="54" y="18"/>
                </a:lnTo>
                <a:lnTo>
                  <a:pt x="51" y="18"/>
                </a:lnTo>
                <a:lnTo>
                  <a:pt x="47" y="16"/>
                </a:lnTo>
                <a:lnTo>
                  <a:pt x="45" y="18"/>
                </a:lnTo>
                <a:lnTo>
                  <a:pt x="43" y="18"/>
                </a:lnTo>
                <a:lnTo>
                  <a:pt x="43" y="19"/>
                </a:lnTo>
                <a:lnTo>
                  <a:pt x="43" y="21"/>
                </a:lnTo>
                <a:lnTo>
                  <a:pt x="45" y="22"/>
                </a:lnTo>
                <a:lnTo>
                  <a:pt x="41" y="24"/>
                </a:lnTo>
                <a:lnTo>
                  <a:pt x="38" y="26"/>
                </a:lnTo>
                <a:lnTo>
                  <a:pt x="38" y="29"/>
                </a:lnTo>
                <a:lnTo>
                  <a:pt x="38" y="30"/>
                </a:lnTo>
                <a:lnTo>
                  <a:pt x="37" y="30"/>
                </a:lnTo>
                <a:lnTo>
                  <a:pt x="35" y="32"/>
                </a:lnTo>
                <a:lnTo>
                  <a:pt x="34" y="29"/>
                </a:lnTo>
                <a:lnTo>
                  <a:pt x="34" y="27"/>
                </a:lnTo>
                <a:lnTo>
                  <a:pt x="33" y="29"/>
                </a:lnTo>
                <a:lnTo>
                  <a:pt x="31" y="29"/>
                </a:lnTo>
                <a:lnTo>
                  <a:pt x="27" y="32"/>
                </a:lnTo>
                <a:lnTo>
                  <a:pt x="27" y="33"/>
                </a:lnTo>
                <a:lnTo>
                  <a:pt x="26" y="35"/>
                </a:lnTo>
                <a:lnTo>
                  <a:pt x="26" y="38"/>
                </a:lnTo>
                <a:lnTo>
                  <a:pt x="25" y="38"/>
                </a:lnTo>
                <a:lnTo>
                  <a:pt x="25" y="41"/>
                </a:lnTo>
                <a:lnTo>
                  <a:pt x="25" y="43"/>
                </a:lnTo>
                <a:lnTo>
                  <a:pt x="23" y="44"/>
                </a:lnTo>
                <a:lnTo>
                  <a:pt x="23" y="48"/>
                </a:lnTo>
                <a:lnTo>
                  <a:pt x="21" y="54"/>
                </a:lnTo>
                <a:lnTo>
                  <a:pt x="23" y="59"/>
                </a:lnTo>
                <a:lnTo>
                  <a:pt x="25" y="62"/>
                </a:lnTo>
                <a:lnTo>
                  <a:pt x="26" y="63"/>
                </a:lnTo>
                <a:lnTo>
                  <a:pt x="25" y="71"/>
                </a:lnTo>
                <a:lnTo>
                  <a:pt x="22" y="77"/>
                </a:lnTo>
                <a:lnTo>
                  <a:pt x="20" y="82"/>
                </a:lnTo>
                <a:lnTo>
                  <a:pt x="20" y="85"/>
                </a:lnTo>
                <a:lnTo>
                  <a:pt x="16" y="87"/>
                </a:lnTo>
                <a:lnTo>
                  <a:pt x="12" y="88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508" name="Freeform 1438"/>
          <p:cNvSpPr>
            <a:spLocks/>
          </p:cNvSpPr>
          <p:nvPr/>
        </p:nvSpPr>
        <p:spPr bwMode="auto">
          <a:xfrm>
            <a:off x="3142915" y="2697045"/>
            <a:ext cx="239704" cy="176104"/>
          </a:xfrm>
          <a:custGeom>
            <a:avLst/>
            <a:gdLst/>
            <a:ahLst/>
            <a:cxnLst>
              <a:cxn ang="0">
                <a:pos x="6" y="88"/>
              </a:cxn>
              <a:cxn ang="0">
                <a:pos x="2" y="74"/>
              </a:cxn>
              <a:cxn ang="0">
                <a:pos x="1" y="62"/>
              </a:cxn>
              <a:cxn ang="0">
                <a:pos x="5" y="48"/>
              </a:cxn>
              <a:cxn ang="0">
                <a:pos x="9" y="35"/>
              </a:cxn>
              <a:cxn ang="0">
                <a:pos x="9" y="29"/>
              </a:cxn>
              <a:cxn ang="0">
                <a:pos x="0" y="38"/>
              </a:cxn>
              <a:cxn ang="0">
                <a:pos x="5" y="30"/>
              </a:cxn>
              <a:cxn ang="0">
                <a:pos x="18" y="16"/>
              </a:cxn>
              <a:cxn ang="0">
                <a:pos x="26" y="15"/>
              </a:cxn>
              <a:cxn ang="0">
                <a:pos x="39" y="10"/>
              </a:cxn>
              <a:cxn ang="0">
                <a:pos x="47" y="15"/>
              </a:cxn>
              <a:cxn ang="0">
                <a:pos x="53" y="11"/>
              </a:cxn>
              <a:cxn ang="0">
                <a:pos x="59" y="11"/>
              </a:cxn>
              <a:cxn ang="0">
                <a:pos x="55" y="4"/>
              </a:cxn>
              <a:cxn ang="0">
                <a:pos x="55" y="0"/>
              </a:cxn>
              <a:cxn ang="0">
                <a:pos x="59" y="5"/>
              </a:cxn>
              <a:cxn ang="0">
                <a:pos x="75" y="8"/>
              </a:cxn>
              <a:cxn ang="0">
                <a:pos x="83" y="10"/>
              </a:cxn>
              <a:cxn ang="0">
                <a:pos x="97" y="11"/>
              </a:cxn>
              <a:cxn ang="0">
                <a:pos x="107" y="13"/>
              </a:cxn>
              <a:cxn ang="0">
                <a:pos x="117" y="22"/>
              </a:cxn>
              <a:cxn ang="0">
                <a:pos x="121" y="27"/>
              </a:cxn>
              <a:cxn ang="0">
                <a:pos x="125" y="32"/>
              </a:cxn>
              <a:cxn ang="0">
                <a:pos x="119" y="33"/>
              </a:cxn>
              <a:cxn ang="0">
                <a:pos x="115" y="38"/>
              </a:cxn>
              <a:cxn ang="0">
                <a:pos x="109" y="35"/>
              </a:cxn>
              <a:cxn ang="0">
                <a:pos x="105" y="33"/>
              </a:cxn>
              <a:cxn ang="0">
                <a:pos x="102" y="30"/>
              </a:cxn>
              <a:cxn ang="0">
                <a:pos x="95" y="26"/>
              </a:cxn>
              <a:cxn ang="0">
                <a:pos x="99" y="33"/>
              </a:cxn>
              <a:cxn ang="0">
                <a:pos x="93" y="48"/>
              </a:cxn>
              <a:cxn ang="0">
                <a:pos x="91" y="60"/>
              </a:cxn>
              <a:cxn ang="0">
                <a:pos x="83" y="63"/>
              </a:cxn>
              <a:cxn ang="0">
                <a:pos x="81" y="52"/>
              </a:cxn>
              <a:cxn ang="0">
                <a:pos x="69" y="48"/>
              </a:cxn>
              <a:cxn ang="0">
                <a:pos x="62" y="52"/>
              </a:cxn>
              <a:cxn ang="0">
                <a:pos x="66" y="44"/>
              </a:cxn>
              <a:cxn ang="0">
                <a:pos x="70" y="37"/>
              </a:cxn>
              <a:cxn ang="0">
                <a:pos x="69" y="29"/>
              </a:cxn>
              <a:cxn ang="0">
                <a:pos x="62" y="22"/>
              </a:cxn>
              <a:cxn ang="0">
                <a:pos x="54" y="18"/>
              </a:cxn>
              <a:cxn ang="0">
                <a:pos x="43" y="18"/>
              </a:cxn>
              <a:cxn ang="0">
                <a:pos x="41" y="24"/>
              </a:cxn>
              <a:cxn ang="0">
                <a:pos x="37" y="30"/>
              </a:cxn>
              <a:cxn ang="0">
                <a:pos x="33" y="29"/>
              </a:cxn>
              <a:cxn ang="0">
                <a:pos x="26" y="35"/>
              </a:cxn>
              <a:cxn ang="0">
                <a:pos x="25" y="43"/>
              </a:cxn>
              <a:cxn ang="0">
                <a:pos x="23" y="59"/>
              </a:cxn>
            </a:cxnLst>
            <a:rect l="0" t="0" r="r" b="b"/>
            <a:pathLst>
              <a:path w="125" h="88">
                <a:moveTo>
                  <a:pt x="12" y="88"/>
                </a:moveTo>
                <a:lnTo>
                  <a:pt x="9" y="88"/>
                </a:lnTo>
                <a:lnTo>
                  <a:pt x="8" y="88"/>
                </a:lnTo>
                <a:lnTo>
                  <a:pt x="6" y="88"/>
                </a:lnTo>
                <a:lnTo>
                  <a:pt x="6" y="87"/>
                </a:lnTo>
                <a:lnTo>
                  <a:pt x="5" y="84"/>
                </a:lnTo>
                <a:lnTo>
                  <a:pt x="2" y="77"/>
                </a:lnTo>
                <a:lnTo>
                  <a:pt x="2" y="74"/>
                </a:lnTo>
                <a:lnTo>
                  <a:pt x="2" y="71"/>
                </a:lnTo>
                <a:lnTo>
                  <a:pt x="2" y="70"/>
                </a:lnTo>
                <a:lnTo>
                  <a:pt x="1" y="65"/>
                </a:lnTo>
                <a:lnTo>
                  <a:pt x="1" y="62"/>
                </a:lnTo>
                <a:lnTo>
                  <a:pt x="2" y="59"/>
                </a:lnTo>
                <a:lnTo>
                  <a:pt x="4" y="52"/>
                </a:lnTo>
                <a:lnTo>
                  <a:pt x="5" y="49"/>
                </a:lnTo>
                <a:lnTo>
                  <a:pt x="5" y="48"/>
                </a:lnTo>
                <a:lnTo>
                  <a:pt x="6" y="43"/>
                </a:lnTo>
                <a:lnTo>
                  <a:pt x="6" y="41"/>
                </a:lnTo>
                <a:lnTo>
                  <a:pt x="8" y="38"/>
                </a:lnTo>
                <a:lnTo>
                  <a:pt x="9" y="35"/>
                </a:lnTo>
                <a:lnTo>
                  <a:pt x="12" y="32"/>
                </a:lnTo>
                <a:lnTo>
                  <a:pt x="13" y="27"/>
                </a:lnTo>
                <a:lnTo>
                  <a:pt x="13" y="26"/>
                </a:lnTo>
                <a:lnTo>
                  <a:pt x="9" y="29"/>
                </a:lnTo>
                <a:lnTo>
                  <a:pt x="9" y="30"/>
                </a:lnTo>
                <a:lnTo>
                  <a:pt x="8" y="32"/>
                </a:lnTo>
                <a:lnTo>
                  <a:pt x="6" y="32"/>
                </a:lnTo>
                <a:lnTo>
                  <a:pt x="0" y="38"/>
                </a:lnTo>
                <a:lnTo>
                  <a:pt x="0" y="37"/>
                </a:lnTo>
                <a:lnTo>
                  <a:pt x="2" y="33"/>
                </a:lnTo>
                <a:lnTo>
                  <a:pt x="2" y="32"/>
                </a:lnTo>
                <a:lnTo>
                  <a:pt x="5" y="30"/>
                </a:lnTo>
                <a:lnTo>
                  <a:pt x="6" y="27"/>
                </a:lnTo>
                <a:lnTo>
                  <a:pt x="13" y="19"/>
                </a:lnTo>
                <a:lnTo>
                  <a:pt x="16" y="16"/>
                </a:lnTo>
                <a:lnTo>
                  <a:pt x="18" y="16"/>
                </a:lnTo>
                <a:lnTo>
                  <a:pt x="20" y="15"/>
                </a:lnTo>
                <a:lnTo>
                  <a:pt x="20" y="18"/>
                </a:lnTo>
                <a:lnTo>
                  <a:pt x="21" y="18"/>
                </a:lnTo>
                <a:lnTo>
                  <a:pt x="26" y="15"/>
                </a:lnTo>
                <a:lnTo>
                  <a:pt x="30" y="13"/>
                </a:lnTo>
                <a:lnTo>
                  <a:pt x="34" y="13"/>
                </a:lnTo>
                <a:lnTo>
                  <a:pt x="37" y="11"/>
                </a:lnTo>
                <a:lnTo>
                  <a:pt x="39" y="10"/>
                </a:lnTo>
                <a:lnTo>
                  <a:pt x="43" y="11"/>
                </a:lnTo>
                <a:lnTo>
                  <a:pt x="46" y="11"/>
                </a:lnTo>
                <a:lnTo>
                  <a:pt x="46" y="13"/>
                </a:lnTo>
                <a:lnTo>
                  <a:pt x="47" y="15"/>
                </a:lnTo>
                <a:lnTo>
                  <a:pt x="50" y="15"/>
                </a:lnTo>
                <a:lnTo>
                  <a:pt x="50" y="11"/>
                </a:lnTo>
                <a:lnTo>
                  <a:pt x="51" y="11"/>
                </a:lnTo>
                <a:lnTo>
                  <a:pt x="53" y="11"/>
                </a:lnTo>
                <a:lnTo>
                  <a:pt x="53" y="13"/>
                </a:lnTo>
                <a:lnTo>
                  <a:pt x="58" y="11"/>
                </a:lnTo>
                <a:lnTo>
                  <a:pt x="61" y="11"/>
                </a:lnTo>
                <a:lnTo>
                  <a:pt x="59" y="11"/>
                </a:lnTo>
                <a:lnTo>
                  <a:pt x="58" y="10"/>
                </a:lnTo>
                <a:lnTo>
                  <a:pt x="55" y="8"/>
                </a:lnTo>
                <a:lnTo>
                  <a:pt x="55" y="5"/>
                </a:lnTo>
                <a:lnTo>
                  <a:pt x="55" y="4"/>
                </a:lnTo>
                <a:lnTo>
                  <a:pt x="54" y="4"/>
                </a:lnTo>
                <a:lnTo>
                  <a:pt x="54" y="2"/>
                </a:lnTo>
                <a:lnTo>
                  <a:pt x="54" y="0"/>
                </a:lnTo>
                <a:lnTo>
                  <a:pt x="55" y="0"/>
                </a:lnTo>
                <a:lnTo>
                  <a:pt x="55" y="2"/>
                </a:lnTo>
                <a:lnTo>
                  <a:pt x="58" y="5"/>
                </a:lnTo>
                <a:lnTo>
                  <a:pt x="58" y="7"/>
                </a:lnTo>
                <a:lnTo>
                  <a:pt x="59" y="5"/>
                </a:lnTo>
                <a:lnTo>
                  <a:pt x="63" y="5"/>
                </a:lnTo>
                <a:lnTo>
                  <a:pt x="73" y="8"/>
                </a:lnTo>
                <a:lnTo>
                  <a:pt x="74" y="8"/>
                </a:lnTo>
                <a:lnTo>
                  <a:pt x="75" y="8"/>
                </a:lnTo>
                <a:lnTo>
                  <a:pt x="78" y="8"/>
                </a:lnTo>
                <a:lnTo>
                  <a:pt x="79" y="8"/>
                </a:lnTo>
                <a:lnTo>
                  <a:pt x="82" y="8"/>
                </a:lnTo>
                <a:lnTo>
                  <a:pt x="83" y="10"/>
                </a:lnTo>
                <a:lnTo>
                  <a:pt x="89" y="10"/>
                </a:lnTo>
                <a:lnTo>
                  <a:pt x="93" y="10"/>
                </a:lnTo>
                <a:lnTo>
                  <a:pt x="97" y="10"/>
                </a:lnTo>
                <a:lnTo>
                  <a:pt x="97" y="11"/>
                </a:lnTo>
                <a:lnTo>
                  <a:pt x="97" y="13"/>
                </a:lnTo>
                <a:lnTo>
                  <a:pt x="99" y="11"/>
                </a:lnTo>
                <a:lnTo>
                  <a:pt x="105" y="13"/>
                </a:lnTo>
                <a:lnTo>
                  <a:pt x="107" y="13"/>
                </a:lnTo>
                <a:lnTo>
                  <a:pt x="110" y="15"/>
                </a:lnTo>
                <a:lnTo>
                  <a:pt x="111" y="18"/>
                </a:lnTo>
                <a:lnTo>
                  <a:pt x="115" y="21"/>
                </a:lnTo>
                <a:lnTo>
                  <a:pt x="117" y="22"/>
                </a:lnTo>
                <a:lnTo>
                  <a:pt x="118" y="22"/>
                </a:lnTo>
                <a:lnTo>
                  <a:pt x="119" y="22"/>
                </a:lnTo>
                <a:lnTo>
                  <a:pt x="119" y="24"/>
                </a:lnTo>
                <a:lnTo>
                  <a:pt x="121" y="27"/>
                </a:lnTo>
                <a:lnTo>
                  <a:pt x="119" y="27"/>
                </a:lnTo>
                <a:lnTo>
                  <a:pt x="122" y="30"/>
                </a:lnTo>
                <a:lnTo>
                  <a:pt x="123" y="30"/>
                </a:lnTo>
                <a:lnTo>
                  <a:pt x="125" y="32"/>
                </a:lnTo>
                <a:lnTo>
                  <a:pt x="123" y="33"/>
                </a:lnTo>
                <a:lnTo>
                  <a:pt x="122" y="33"/>
                </a:lnTo>
                <a:lnTo>
                  <a:pt x="119" y="32"/>
                </a:lnTo>
                <a:lnTo>
                  <a:pt x="119" y="33"/>
                </a:lnTo>
                <a:lnTo>
                  <a:pt x="121" y="35"/>
                </a:lnTo>
                <a:lnTo>
                  <a:pt x="121" y="37"/>
                </a:lnTo>
                <a:lnTo>
                  <a:pt x="119" y="38"/>
                </a:lnTo>
                <a:lnTo>
                  <a:pt x="115" y="38"/>
                </a:lnTo>
                <a:lnTo>
                  <a:pt x="111" y="37"/>
                </a:lnTo>
                <a:lnTo>
                  <a:pt x="110" y="37"/>
                </a:lnTo>
                <a:lnTo>
                  <a:pt x="109" y="33"/>
                </a:lnTo>
                <a:lnTo>
                  <a:pt x="109" y="35"/>
                </a:lnTo>
                <a:lnTo>
                  <a:pt x="106" y="37"/>
                </a:lnTo>
                <a:lnTo>
                  <a:pt x="106" y="35"/>
                </a:lnTo>
                <a:lnTo>
                  <a:pt x="106" y="33"/>
                </a:lnTo>
                <a:lnTo>
                  <a:pt x="105" y="33"/>
                </a:lnTo>
                <a:lnTo>
                  <a:pt x="105" y="30"/>
                </a:lnTo>
                <a:lnTo>
                  <a:pt x="103" y="30"/>
                </a:lnTo>
                <a:lnTo>
                  <a:pt x="103" y="32"/>
                </a:lnTo>
                <a:lnTo>
                  <a:pt x="102" y="30"/>
                </a:lnTo>
                <a:lnTo>
                  <a:pt x="101" y="29"/>
                </a:lnTo>
                <a:lnTo>
                  <a:pt x="101" y="26"/>
                </a:lnTo>
                <a:lnTo>
                  <a:pt x="95" y="24"/>
                </a:lnTo>
                <a:lnTo>
                  <a:pt x="95" y="26"/>
                </a:lnTo>
                <a:lnTo>
                  <a:pt x="97" y="27"/>
                </a:lnTo>
                <a:lnTo>
                  <a:pt x="98" y="30"/>
                </a:lnTo>
                <a:lnTo>
                  <a:pt x="99" y="32"/>
                </a:lnTo>
                <a:lnTo>
                  <a:pt x="99" y="33"/>
                </a:lnTo>
                <a:lnTo>
                  <a:pt x="99" y="35"/>
                </a:lnTo>
                <a:lnTo>
                  <a:pt x="98" y="38"/>
                </a:lnTo>
                <a:lnTo>
                  <a:pt x="94" y="44"/>
                </a:lnTo>
                <a:lnTo>
                  <a:pt x="93" y="48"/>
                </a:lnTo>
                <a:lnTo>
                  <a:pt x="94" y="51"/>
                </a:lnTo>
                <a:lnTo>
                  <a:pt x="94" y="55"/>
                </a:lnTo>
                <a:lnTo>
                  <a:pt x="93" y="59"/>
                </a:lnTo>
                <a:lnTo>
                  <a:pt x="91" y="60"/>
                </a:lnTo>
                <a:lnTo>
                  <a:pt x="89" y="62"/>
                </a:lnTo>
                <a:lnTo>
                  <a:pt x="87" y="62"/>
                </a:lnTo>
                <a:lnTo>
                  <a:pt x="86" y="63"/>
                </a:lnTo>
                <a:lnTo>
                  <a:pt x="83" y="63"/>
                </a:lnTo>
                <a:lnTo>
                  <a:pt x="82" y="63"/>
                </a:lnTo>
                <a:lnTo>
                  <a:pt x="82" y="60"/>
                </a:lnTo>
                <a:lnTo>
                  <a:pt x="81" y="55"/>
                </a:lnTo>
                <a:lnTo>
                  <a:pt x="81" y="52"/>
                </a:lnTo>
                <a:lnTo>
                  <a:pt x="79" y="51"/>
                </a:lnTo>
                <a:lnTo>
                  <a:pt x="77" y="46"/>
                </a:lnTo>
                <a:lnTo>
                  <a:pt x="74" y="46"/>
                </a:lnTo>
                <a:lnTo>
                  <a:pt x="69" y="48"/>
                </a:lnTo>
                <a:lnTo>
                  <a:pt x="67" y="52"/>
                </a:lnTo>
                <a:lnTo>
                  <a:pt x="65" y="52"/>
                </a:lnTo>
                <a:lnTo>
                  <a:pt x="63" y="54"/>
                </a:lnTo>
                <a:lnTo>
                  <a:pt x="62" y="52"/>
                </a:lnTo>
                <a:lnTo>
                  <a:pt x="61" y="52"/>
                </a:lnTo>
                <a:lnTo>
                  <a:pt x="62" y="49"/>
                </a:lnTo>
                <a:lnTo>
                  <a:pt x="63" y="48"/>
                </a:lnTo>
                <a:lnTo>
                  <a:pt x="66" y="44"/>
                </a:lnTo>
                <a:lnTo>
                  <a:pt x="67" y="43"/>
                </a:lnTo>
                <a:lnTo>
                  <a:pt x="70" y="41"/>
                </a:lnTo>
                <a:lnTo>
                  <a:pt x="70" y="40"/>
                </a:lnTo>
                <a:lnTo>
                  <a:pt x="70" y="37"/>
                </a:lnTo>
                <a:lnTo>
                  <a:pt x="69" y="32"/>
                </a:lnTo>
                <a:lnTo>
                  <a:pt x="69" y="30"/>
                </a:lnTo>
                <a:lnTo>
                  <a:pt x="67" y="29"/>
                </a:lnTo>
                <a:lnTo>
                  <a:pt x="69" y="29"/>
                </a:lnTo>
                <a:lnTo>
                  <a:pt x="69" y="27"/>
                </a:lnTo>
                <a:lnTo>
                  <a:pt x="67" y="26"/>
                </a:lnTo>
                <a:lnTo>
                  <a:pt x="66" y="24"/>
                </a:lnTo>
                <a:lnTo>
                  <a:pt x="62" y="22"/>
                </a:lnTo>
                <a:lnTo>
                  <a:pt x="59" y="21"/>
                </a:lnTo>
                <a:lnTo>
                  <a:pt x="58" y="21"/>
                </a:lnTo>
                <a:lnTo>
                  <a:pt x="55" y="18"/>
                </a:lnTo>
                <a:lnTo>
                  <a:pt x="54" y="18"/>
                </a:lnTo>
                <a:lnTo>
                  <a:pt x="51" y="18"/>
                </a:lnTo>
                <a:lnTo>
                  <a:pt x="47" y="16"/>
                </a:lnTo>
                <a:lnTo>
                  <a:pt x="45" y="18"/>
                </a:lnTo>
                <a:lnTo>
                  <a:pt x="43" y="18"/>
                </a:lnTo>
                <a:lnTo>
                  <a:pt x="43" y="19"/>
                </a:lnTo>
                <a:lnTo>
                  <a:pt x="43" y="21"/>
                </a:lnTo>
                <a:lnTo>
                  <a:pt x="45" y="22"/>
                </a:lnTo>
                <a:lnTo>
                  <a:pt x="41" y="24"/>
                </a:lnTo>
                <a:lnTo>
                  <a:pt x="38" y="26"/>
                </a:lnTo>
                <a:lnTo>
                  <a:pt x="38" y="29"/>
                </a:lnTo>
                <a:lnTo>
                  <a:pt x="38" y="30"/>
                </a:lnTo>
                <a:lnTo>
                  <a:pt x="37" y="30"/>
                </a:lnTo>
                <a:lnTo>
                  <a:pt x="35" y="32"/>
                </a:lnTo>
                <a:lnTo>
                  <a:pt x="34" y="29"/>
                </a:lnTo>
                <a:lnTo>
                  <a:pt x="34" y="27"/>
                </a:lnTo>
                <a:lnTo>
                  <a:pt x="33" y="29"/>
                </a:lnTo>
                <a:lnTo>
                  <a:pt x="31" y="29"/>
                </a:lnTo>
                <a:lnTo>
                  <a:pt x="27" y="32"/>
                </a:lnTo>
                <a:lnTo>
                  <a:pt x="27" y="33"/>
                </a:lnTo>
                <a:lnTo>
                  <a:pt x="26" y="35"/>
                </a:lnTo>
                <a:lnTo>
                  <a:pt x="26" y="38"/>
                </a:lnTo>
                <a:lnTo>
                  <a:pt x="25" y="38"/>
                </a:lnTo>
                <a:lnTo>
                  <a:pt x="25" y="41"/>
                </a:lnTo>
                <a:lnTo>
                  <a:pt x="25" y="43"/>
                </a:lnTo>
                <a:lnTo>
                  <a:pt x="23" y="44"/>
                </a:lnTo>
                <a:lnTo>
                  <a:pt x="23" y="48"/>
                </a:lnTo>
                <a:lnTo>
                  <a:pt x="21" y="54"/>
                </a:lnTo>
                <a:lnTo>
                  <a:pt x="23" y="59"/>
                </a:lnTo>
                <a:lnTo>
                  <a:pt x="25" y="62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509" name="Freeform 1439"/>
          <p:cNvSpPr>
            <a:spLocks/>
          </p:cNvSpPr>
          <p:nvPr/>
        </p:nvSpPr>
        <p:spPr bwMode="auto">
          <a:xfrm>
            <a:off x="3166301" y="2821606"/>
            <a:ext cx="27284" cy="51542"/>
          </a:xfrm>
          <a:custGeom>
            <a:avLst/>
            <a:gdLst/>
            <a:ahLst/>
            <a:cxnLst>
              <a:cxn ang="0">
                <a:pos x="13" y="0"/>
              </a:cxn>
              <a:cxn ang="0">
                <a:pos x="14" y="1"/>
              </a:cxn>
              <a:cxn ang="0">
                <a:pos x="13" y="9"/>
              </a:cxn>
              <a:cxn ang="0">
                <a:pos x="10" y="15"/>
              </a:cxn>
              <a:cxn ang="0">
                <a:pos x="8" y="20"/>
              </a:cxn>
              <a:cxn ang="0">
                <a:pos x="8" y="23"/>
              </a:cxn>
              <a:cxn ang="0">
                <a:pos x="4" y="25"/>
              </a:cxn>
              <a:cxn ang="0">
                <a:pos x="0" y="26"/>
              </a:cxn>
            </a:cxnLst>
            <a:rect l="0" t="0" r="r" b="b"/>
            <a:pathLst>
              <a:path w="14" h="26">
                <a:moveTo>
                  <a:pt x="13" y="0"/>
                </a:moveTo>
                <a:lnTo>
                  <a:pt x="14" y="1"/>
                </a:lnTo>
                <a:lnTo>
                  <a:pt x="13" y="9"/>
                </a:lnTo>
                <a:lnTo>
                  <a:pt x="10" y="15"/>
                </a:lnTo>
                <a:lnTo>
                  <a:pt x="8" y="20"/>
                </a:lnTo>
                <a:lnTo>
                  <a:pt x="8" y="23"/>
                </a:lnTo>
                <a:lnTo>
                  <a:pt x="4" y="25"/>
                </a:lnTo>
                <a:lnTo>
                  <a:pt x="0" y="26"/>
                </a:lnTo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510" name="Freeform 1440"/>
          <p:cNvSpPr>
            <a:spLocks/>
          </p:cNvSpPr>
          <p:nvPr/>
        </p:nvSpPr>
        <p:spPr bwMode="auto">
          <a:xfrm>
            <a:off x="2260104" y="2119339"/>
            <a:ext cx="274782" cy="81609"/>
          </a:xfrm>
          <a:custGeom>
            <a:avLst/>
            <a:gdLst/>
            <a:ahLst/>
            <a:cxnLst>
              <a:cxn ang="0">
                <a:pos x="141" y="5"/>
              </a:cxn>
              <a:cxn ang="0">
                <a:pos x="116" y="4"/>
              </a:cxn>
              <a:cxn ang="0">
                <a:pos x="104" y="8"/>
              </a:cxn>
              <a:cxn ang="0">
                <a:pos x="99" y="13"/>
              </a:cxn>
              <a:cxn ang="0">
                <a:pos x="83" y="18"/>
              </a:cxn>
              <a:cxn ang="0">
                <a:pos x="79" y="16"/>
              </a:cxn>
              <a:cxn ang="0">
                <a:pos x="79" y="13"/>
              </a:cxn>
              <a:cxn ang="0">
                <a:pos x="75" y="16"/>
              </a:cxn>
              <a:cxn ang="0">
                <a:pos x="69" y="13"/>
              </a:cxn>
              <a:cxn ang="0">
                <a:pos x="68" y="8"/>
              </a:cxn>
              <a:cxn ang="0">
                <a:pos x="65" y="7"/>
              </a:cxn>
              <a:cxn ang="0">
                <a:pos x="64" y="10"/>
              </a:cxn>
              <a:cxn ang="0">
                <a:pos x="57" y="11"/>
              </a:cxn>
              <a:cxn ang="0">
                <a:pos x="45" y="7"/>
              </a:cxn>
              <a:cxn ang="0">
                <a:pos x="44" y="2"/>
              </a:cxn>
              <a:cxn ang="0">
                <a:pos x="35" y="0"/>
              </a:cxn>
              <a:cxn ang="0">
                <a:pos x="39" y="4"/>
              </a:cxn>
              <a:cxn ang="0">
                <a:pos x="44" y="8"/>
              </a:cxn>
              <a:cxn ang="0">
                <a:pos x="52" y="13"/>
              </a:cxn>
              <a:cxn ang="0">
                <a:pos x="56" y="15"/>
              </a:cxn>
              <a:cxn ang="0">
                <a:pos x="55" y="16"/>
              </a:cxn>
              <a:cxn ang="0">
                <a:pos x="63" y="19"/>
              </a:cxn>
              <a:cxn ang="0">
                <a:pos x="59" y="21"/>
              </a:cxn>
              <a:cxn ang="0">
                <a:pos x="60" y="22"/>
              </a:cxn>
              <a:cxn ang="0">
                <a:pos x="53" y="24"/>
              </a:cxn>
              <a:cxn ang="0">
                <a:pos x="51" y="27"/>
              </a:cxn>
              <a:cxn ang="0">
                <a:pos x="48" y="29"/>
              </a:cxn>
              <a:cxn ang="0">
                <a:pos x="44" y="29"/>
              </a:cxn>
              <a:cxn ang="0">
                <a:pos x="45" y="32"/>
              </a:cxn>
              <a:cxn ang="0">
                <a:pos x="41" y="33"/>
              </a:cxn>
              <a:cxn ang="0">
                <a:pos x="33" y="30"/>
              </a:cxn>
              <a:cxn ang="0">
                <a:pos x="30" y="32"/>
              </a:cxn>
              <a:cxn ang="0">
                <a:pos x="16" y="29"/>
              </a:cxn>
              <a:cxn ang="0">
                <a:pos x="6" y="27"/>
              </a:cxn>
              <a:cxn ang="0">
                <a:pos x="2" y="32"/>
              </a:cxn>
              <a:cxn ang="0">
                <a:pos x="7" y="30"/>
              </a:cxn>
              <a:cxn ang="0">
                <a:pos x="11" y="29"/>
              </a:cxn>
              <a:cxn ang="0">
                <a:pos x="19" y="33"/>
              </a:cxn>
              <a:cxn ang="0">
                <a:pos x="24" y="35"/>
              </a:cxn>
              <a:cxn ang="0">
                <a:pos x="35" y="40"/>
              </a:cxn>
              <a:cxn ang="0">
                <a:pos x="44" y="40"/>
              </a:cxn>
              <a:cxn ang="0">
                <a:pos x="57" y="38"/>
              </a:cxn>
              <a:cxn ang="0">
                <a:pos x="68" y="36"/>
              </a:cxn>
              <a:cxn ang="0">
                <a:pos x="73" y="35"/>
              </a:cxn>
              <a:cxn ang="0">
                <a:pos x="79" y="30"/>
              </a:cxn>
              <a:cxn ang="0">
                <a:pos x="84" y="29"/>
              </a:cxn>
              <a:cxn ang="0">
                <a:pos x="91" y="27"/>
              </a:cxn>
              <a:cxn ang="0">
                <a:pos x="104" y="21"/>
              </a:cxn>
              <a:cxn ang="0">
                <a:pos x="105" y="18"/>
              </a:cxn>
              <a:cxn ang="0">
                <a:pos x="113" y="15"/>
              </a:cxn>
              <a:cxn ang="0">
                <a:pos x="119" y="11"/>
              </a:cxn>
              <a:cxn ang="0">
                <a:pos x="124" y="11"/>
              </a:cxn>
              <a:cxn ang="0">
                <a:pos x="132" y="11"/>
              </a:cxn>
              <a:cxn ang="0">
                <a:pos x="128" y="10"/>
              </a:cxn>
              <a:cxn ang="0">
                <a:pos x="129" y="8"/>
              </a:cxn>
              <a:cxn ang="0">
                <a:pos x="127" y="5"/>
              </a:cxn>
              <a:cxn ang="0">
                <a:pos x="139" y="10"/>
              </a:cxn>
            </a:cxnLst>
            <a:rect l="0" t="0" r="r" b="b"/>
            <a:pathLst>
              <a:path w="144" h="40">
                <a:moveTo>
                  <a:pt x="144" y="7"/>
                </a:moveTo>
                <a:lnTo>
                  <a:pt x="143" y="5"/>
                </a:lnTo>
                <a:lnTo>
                  <a:pt x="141" y="5"/>
                </a:lnTo>
                <a:lnTo>
                  <a:pt x="131" y="4"/>
                </a:lnTo>
                <a:lnTo>
                  <a:pt x="125" y="4"/>
                </a:lnTo>
                <a:lnTo>
                  <a:pt x="116" y="4"/>
                </a:lnTo>
                <a:lnTo>
                  <a:pt x="107" y="7"/>
                </a:lnTo>
                <a:lnTo>
                  <a:pt x="105" y="7"/>
                </a:lnTo>
                <a:lnTo>
                  <a:pt x="104" y="8"/>
                </a:lnTo>
                <a:lnTo>
                  <a:pt x="103" y="11"/>
                </a:lnTo>
                <a:lnTo>
                  <a:pt x="101" y="13"/>
                </a:lnTo>
                <a:lnTo>
                  <a:pt x="99" y="13"/>
                </a:lnTo>
                <a:lnTo>
                  <a:pt x="96" y="16"/>
                </a:lnTo>
                <a:lnTo>
                  <a:pt x="93" y="18"/>
                </a:lnTo>
                <a:lnTo>
                  <a:pt x="83" y="18"/>
                </a:lnTo>
                <a:lnTo>
                  <a:pt x="81" y="18"/>
                </a:lnTo>
                <a:lnTo>
                  <a:pt x="79" y="18"/>
                </a:lnTo>
                <a:lnTo>
                  <a:pt x="79" y="16"/>
                </a:lnTo>
                <a:lnTo>
                  <a:pt x="80" y="15"/>
                </a:lnTo>
                <a:lnTo>
                  <a:pt x="80" y="13"/>
                </a:lnTo>
                <a:lnTo>
                  <a:pt x="79" y="13"/>
                </a:lnTo>
                <a:lnTo>
                  <a:pt x="77" y="16"/>
                </a:lnTo>
                <a:lnTo>
                  <a:pt x="76" y="16"/>
                </a:lnTo>
                <a:lnTo>
                  <a:pt x="75" y="16"/>
                </a:lnTo>
                <a:lnTo>
                  <a:pt x="73" y="16"/>
                </a:lnTo>
                <a:lnTo>
                  <a:pt x="72" y="15"/>
                </a:lnTo>
                <a:lnTo>
                  <a:pt x="69" y="13"/>
                </a:lnTo>
                <a:lnTo>
                  <a:pt x="68" y="11"/>
                </a:lnTo>
                <a:lnTo>
                  <a:pt x="68" y="10"/>
                </a:lnTo>
                <a:lnTo>
                  <a:pt x="68" y="8"/>
                </a:lnTo>
                <a:lnTo>
                  <a:pt x="65" y="5"/>
                </a:lnTo>
                <a:lnTo>
                  <a:pt x="64" y="5"/>
                </a:lnTo>
                <a:lnTo>
                  <a:pt x="65" y="7"/>
                </a:lnTo>
                <a:lnTo>
                  <a:pt x="65" y="8"/>
                </a:lnTo>
                <a:lnTo>
                  <a:pt x="65" y="10"/>
                </a:lnTo>
                <a:lnTo>
                  <a:pt x="64" y="10"/>
                </a:lnTo>
                <a:lnTo>
                  <a:pt x="63" y="11"/>
                </a:lnTo>
                <a:lnTo>
                  <a:pt x="61" y="11"/>
                </a:lnTo>
                <a:lnTo>
                  <a:pt x="57" y="11"/>
                </a:lnTo>
                <a:lnTo>
                  <a:pt x="53" y="8"/>
                </a:lnTo>
                <a:lnTo>
                  <a:pt x="52" y="8"/>
                </a:lnTo>
                <a:lnTo>
                  <a:pt x="45" y="7"/>
                </a:lnTo>
                <a:lnTo>
                  <a:pt x="44" y="4"/>
                </a:lnTo>
                <a:lnTo>
                  <a:pt x="44" y="0"/>
                </a:lnTo>
                <a:lnTo>
                  <a:pt x="44" y="2"/>
                </a:lnTo>
                <a:lnTo>
                  <a:pt x="40" y="2"/>
                </a:lnTo>
                <a:lnTo>
                  <a:pt x="37" y="2"/>
                </a:lnTo>
                <a:lnTo>
                  <a:pt x="35" y="0"/>
                </a:lnTo>
                <a:lnTo>
                  <a:pt x="35" y="2"/>
                </a:lnTo>
                <a:lnTo>
                  <a:pt x="36" y="4"/>
                </a:lnTo>
                <a:lnTo>
                  <a:pt x="39" y="4"/>
                </a:lnTo>
                <a:lnTo>
                  <a:pt x="40" y="5"/>
                </a:lnTo>
                <a:lnTo>
                  <a:pt x="39" y="5"/>
                </a:lnTo>
                <a:lnTo>
                  <a:pt x="44" y="8"/>
                </a:lnTo>
                <a:lnTo>
                  <a:pt x="44" y="10"/>
                </a:lnTo>
                <a:lnTo>
                  <a:pt x="49" y="10"/>
                </a:lnTo>
                <a:lnTo>
                  <a:pt x="52" y="13"/>
                </a:lnTo>
                <a:lnTo>
                  <a:pt x="52" y="15"/>
                </a:lnTo>
                <a:lnTo>
                  <a:pt x="53" y="15"/>
                </a:lnTo>
                <a:lnTo>
                  <a:pt x="56" y="15"/>
                </a:lnTo>
                <a:lnTo>
                  <a:pt x="57" y="15"/>
                </a:lnTo>
                <a:lnTo>
                  <a:pt x="56" y="16"/>
                </a:lnTo>
                <a:lnTo>
                  <a:pt x="55" y="16"/>
                </a:lnTo>
                <a:lnTo>
                  <a:pt x="55" y="18"/>
                </a:lnTo>
                <a:lnTo>
                  <a:pt x="63" y="18"/>
                </a:lnTo>
                <a:lnTo>
                  <a:pt x="63" y="19"/>
                </a:lnTo>
                <a:lnTo>
                  <a:pt x="61" y="19"/>
                </a:lnTo>
                <a:lnTo>
                  <a:pt x="59" y="19"/>
                </a:lnTo>
                <a:lnTo>
                  <a:pt x="59" y="21"/>
                </a:lnTo>
                <a:lnTo>
                  <a:pt x="61" y="21"/>
                </a:lnTo>
                <a:lnTo>
                  <a:pt x="61" y="22"/>
                </a:lnTo>
                <a:lnTo>
                  <a:pt x="60" y="22"/>
                </a:lnTo>
                <a:lnTo>
                  <a:pt x="53" y="22"/>
                </a:lnTo>
                <a:lnTo>
                  <a:pt x="52" y="22"/>
                </a:lnTo>
                <a:lnTo>
                  <a:pt x="53" y="24"/>
                </a:lnTo>
                <a:lnTo>
                  <a:pt x="52" y="24"/>
                </a:lnTo>
                <a:lnTo>
                  <a:pt x="52" y="25"/>
                </a:lnTo>
                <a:lnTo>
                  <a:pt x="51" y="27"/>
                </a:lnTo>
                <a:lnTo>
                  <a:pt x="49" y="27"/>
                </a:lnTo>
                <a:lnTo>
                  <a:pt x="51" y="29"/>
                </a:lnTo>
                <a:lnTo>
                  <a:pt x="48" y="29"/>
                </a:lnTo>
                <a:lnTo>
                  <a:pt x="47" y="29"/>
                </a:lnTo>
                <a:lnTo>
                  <a:pt x="45" y="29"/>
                </a:lnTo>
                <a:lnTo>
                  <a:pt x="44" y="29"/>
                </a:lnTo>
                <a:lnTo>
                  <a:pt x="43" y="30"/>
                </a:lnTo>
                <a:lnTo>
                  <a:pt x="45" y="30"/>
                </a:lnTo>
                <a:lnTo>
                  <a:pt x="45" y="32"/>
                </a:lnTo>
                <a:lnTo>
                  <a:pt x="44" y="32"/>
                </a:lnTo>
                <a:lnTo>
                  <a:pt x="43" y="33"/>
                </a:lnTo>
                <a:lnTo>
                  <a:pt x="41" y="33"/>
                </a:lnTo>
                <a:lnTo>
                  <a:pt x="39" y="32"/>
                </a:lnTo>
                <a:lnTo>
                  <a:pt x="36" y="32"/>
                </a:lnTo>
                <a:lnTo>
                  <a:pt x="33" y="30"/>
                </a:lnTo>
                <a:lnTo>
                  <a:pt x="31" y="29"/>
                </a:lnTo>
                <a:lnTo>
                  <a:pt x="31" y="30"/>
                </a:lnTo>
                <a:lnTo>
                  <a:pt x="30" y="32"/>
                </a:lnTo>
                <a:lnTo>
                  <a:pt x="28" y="32"/>
                </a:lnTo>
                <a:lnTo>
                  <a:pt x="23" y="32"/>
                </a:lnTo>
                <a:lnTo>
                  <a:pt x="16" y="29"/>
                </a:lnTo>
                <a:lnTo>
                  <a:pt x="8" y="27"/>
                </a:lnTo>
                <a:lnTo>
                  <a:pt x="7" y="27"/>
                </a:lnTo>
                <a:lnTo>
                  <a:pt x="6" y="27"/>
                </a:lnTo>
                <a:lnTo>
                  <a:pt x="0" y="30"/>
                </a:lnTo>
                <a:lnTo>
                  <a:pt x="0" y="32"/>
                </a:lnTo>
                <a:lnTo>
                  <a:pt x="2" y="32"/>
                </a:lnTo>
                <a:lnTo>
                  <a:pt x="10" y="32"/>
                </a:lnTo>
                <a:lnTo>
                  <a:pt x="8" y="32"/>
                </a:lnTo>
                <a:lnTo>
                  <a:pt x="7" y="30"/>
                </a:lnTo>
                <a:lnTo>
                  <a:pt x="10" y="30"/>
                </a:lnTo>
                <a:lnTo>
                  <a:pt x="11" y="30"/>
                </a:lnTo>
                <a:lnTo>
                  <a:pt x="11" y="29"/>
                </a:lnTo>
                <a:lnTo>
                  <a:pt x="14" y="30"/>
                </a:lnTo>
                <a:lnTo>
                  <a:pt x="15" y="32"/>
                </a:lnTo>
                <a:lnTo>
                  <a:pt x="19" y="33"/>
                </a:lnTo>
                <a:lnTo>
                  <a:pt x="22" y="35"/>
                </a:lnTo>
                <a:lnTo>
                  <a:pt x="23" y="35"/>
                </a:lnTo>
                <a:lnTo>
                  <a:pt x="24" y="35"/>
                </a:lnTo>
                <a:lnTo>
                  <a:pt x="31" y="36"/>
                </a:lnTo>
                <a:lnTo>
                  <a:pt x="35" y="38"/>
                </a:lnTo>
                <a:lnTo>
                  <a:pt x="35" y="40"/>
                </a:lnTo>
                <a:lnTo>
                  <a:pt x="37" y="40"/>
                </a:lnTo>
                <a:lnTo>
                  <a:pt x="43" y="40"/>
                </a:lnTo>
                <a:lnTo>
                  <a:pt x="44" y="40"/>
                </a:lnTo>
                <a:lnTo>
                  <a:pt x="45" y="40"/>
                </a:lnTo>
                <a:lnTo>
                  <a:pt x="48" y="40"/>
                </a:lnTo>
                <a:lnTo>
                  <a:pt x="57" y="38"/>
                </a:lnTo>
                <a:lnTo>
                  <a:pt x="63" y="36"/>
                </a:lnTo>
                <a:lnTo>
                  <a:pt x="65" y="36"/>
                </a:lnTo>
                <a:lnTo>
                  <a:pt x="68" y="36"/>
                </a:lnTo>
                <a:lnTo>
                  <a:pt x="69" y="36"/>
                </a:lnTo>
                <a:lnTo>
                  <a:pt x="72" y="36"/>
                </a:lnTo>
                <a:lnTo>
                  <a:pt x="73" y="35"/>
                </a:lnTo>
                <a:lnTo>
                  <a:pt x="75" y="32"/>
                </a:lnTo>
                <a:lnTo>
                  <a:pt x="77" y="32"/>
                </a:lnTo>
                <a:lnTo>
                  <a:pt x="79" y="30"/>
                </a:lnTo>
                <a:lnTo>
                  <a:pt x="81" y="30"/>
                </a:lnTo>
                <a:lnTo>
                  <a:pt x="81" y="29"/>
                </a:lnTo>
                <a:lnTo>
                  <a:pt x="84" y="29"/>
                </a:lnTo>
                <a:lnTo>
                  <a:pt x="87" y="29"/>
                </a:lnTo>
                <a:lnTo>
                  <a:pt x="88" y="29"/>
                </a:lnTo>
                <a:lnTo>
                  <a:pt x="91" y="27"/>
                </a:lnTo>
                <a:lnTo>
                  <a:pt x="95" y="27"/>
                </a:lnTo>
                <a:lnTo>
                  <a:pt x="100" y="22"/>
                </a:lnTo>
                <a:lnTo>
                  <a:pt x="104" y="21"/>
                </a:lnTo>
                <a:lnTo>
                  <a:pt x="104" y="19"/>
                </a:lnTo>
                <a:lnTo>
                  <a:pt x="104" y="18"/>
                </a:lnTo>
                <a:lnTo>
                  <a:pt x="105" y="18"/>
                </a:lnTo>
                <a:lnTo>
                  <a:pt x="109" y="16"/>
                </a:lnTo>
                <a:lnTo>
                  <a:pt x="111" y="15"/>
                </a:lnTo>
                <a:lnTo>
                  <a:pt x="113" y="15"/>
                </a:lnTo>
                <a:lnTo>
                  <a:pt x="116" y="13"/>
                </a:lnTo>
                <a:lnTo>
                  <a:pt x="115" y="10"/>
                </a:lnTo>
                <a:lnTo>
                  <a:pt x="119" y="11"/>
                </a:lnTo>
                <a:lnTo>
                  <a:pt x="120" y="11"/>
                </a:lnTo>
                <a:lnTo>
                  <a:pt x="123" y="11"/>
                </a:lnTo>
                <a:lnTo>
                  <a:pt x="124" y="11"/>
                </a:lnTo>
                <a:lnTo>
                  <a:pt x="127" y="10"/>
                </a:lnTo>
                <a:lnTo>
                  <a:pt x="129" y="10"/>
                </a:lnTo>
                <a:lnTo>
                  <a:pt x="132" y="11"/>
                </a:lnTo>
                <a:lnTo>
                  <a:pt x="133" y="10"/>
                </a:lnTo>
                <a:lnTo>
                  <a:pt x="132" y="10"/>
                </a:lnTo>
                <a:lnTo>
                  <a:pt x="128" y="10"/>
                </a:lnTo>
                <a:lnTo>
                  <a:pt x="128" y="8"/>
                </a:lnTo>
                <a:lnTo>
                  <a:pt x="125" y="8"/>
                </a:lnTo>
                <a:lnTo>
                  <a:pt x="129" y="8"/>
                </a:lnTo>
                <a:lnTo>
                  <a:pt x="129" y="7"/>
                </a:lnTo>
                <a:lnTo>
                  <a:pt x="123" y="7"/>
                </a:lnTo>
                <a:lnTo>
                  <a:pt x="127" y="5"/>
                </a:lnTo>
                <a:lnTo>
                  <a:pt x="132" y="7"/>
                </a:lnTo>
                <a:lnTo>
                  <a:pt x="139" y="8"/>
                </a:lnTo>
                <a:lnTo>
                  <a:pt x="139" y="10"/>
                </a:lnTo>
                <a:lnTo>
                  <a:pt x="144" y="7"/>
                </a:lnTo>
                <a:close/>
              </a:path>
            </a:pathLst>
          </a:custGeom>
          <a:solidFill>
            <a:srgbClr val="0070C0"/>
          </a:solidFill>
          <a:ln w="3175" cmpd="sng">
            <a:solidFill>
              <a:sysClr val="window" lastClr="FFFFFF">
                <a:lumMod val="95000"/>
              </a:sysClr>
            </a:solidFill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1511" name="Freeform 1034"/>
          <p:cNvSpPr>
            <a:spLocks/>
          </p:cNvSpPr>
          <p:nvPr/>
        </p:nvSpPr>
        <p:spPr bwMode="auto">
          <a:xfrm>
            <a:off x="6424719" y="2860263"/>
            <a:ext cx="500846" cy="212614"/>
          </a:xfrm>
          <a:custGeom>
            <a:avLst/>
            <a:gdLst/>
            <a:ahLst/>
            <a:cxnLst>
              <a:cxn ang="0">
                <a:pos x="151" y="97"/>
              </a:cxn>
              <a:cxn ang="0">
                <a:pos x="144" y="97"/>
              </a:cxn>
              <a:cxn ang="0">
                <a:pos x="133" y="94"/>
              </a:cxn>
              <a:cxn ang="0">
                <a:pos x="121" y="100"/>
              </a:cxn>
              <a:cxn ang="0">
                <a:pos x="112" y="105"/>
              </a:cxn>
              <a:cxn ang="0">
                <a:pos x="96" y="106"/>
              </a:cxn>
              <a:cxn ang="0">
                <a:pos x="88" y="98"/>
              </a:cxn>
              <a:cxn ang="0">
                <a:pos x="71" y="92"/>
              </a:cxn>
              <a:cxn ang="0">
                <a:pos x="66" y="102"/>
              </a:cxn>
              <a:cxn ang="0">
                <a:pos x="51" y="105"/>
              </a:cxn>
              <a:cxn ang="0">
                <a:pos x="46" y="95"/>
              </a:cxn>
              <a:cxn ang="0">
                <a:pos x="39" y="95"/>
              </a:cxn>
              <a:cxn ang="0">
                <a:pos x="30" y="97"/>
              </a:cxn>
              <a:cxn ang="0">
                <a:pos x="22" y="94"/>
              </a:cxn>
              <a:cxn ang="0">
                <a:pos x="31" y="92"/>
              </a:cxn>
              <a:cxn ang="0">
                <a:pos x="26" y="91"/>
              </a:cxn>
              <a:cxn ang="0">
                <a:pos x="20" y="84"/>
              </a:cxn>
              <a:cxn ang="0">
                <a:pos x="19" y="80"/>
              </a:cxn>
              <a:cxn ang="0">
                <a:pos x="15" y="78"/>
              </a:cxn>
              <a:cxn ang="0">
                <a:pos x="14" y="70"/>
              </a:cxn>
              <a:cxn ang="0">
                <a:pos x="4" y="69"/>
              </a:cxn>
              <a:cxn ang="0">
                <a:pos x="4" y="64"/>
              </a:cxn>
              <a:cxn ang="0">
                <a:pos x="10" y="65"/>
              </a:cxn>
              <a:cxn ang="0">
                <a:pos x="11" y="62"/>
              </a:cxn>
              <a:cxn ang="0">
                <a:pos x="12" y="56"/>
              </a:cxn>
              <a:cxn ang="0">
                <a:pos x="10" y="48"/>
              </a:cxn>
              <a:cxn ang="0">
                <a:pos x="0" y="45"/>
              </a:cxn>
              <a:cxn ang="0">
                <a:pos x="4" y="36"/>
              </a:cxn>
              <a:cxn ang="0">
                <a:pos x="14" y="29"/>
              </a:cxn>
              <a:cxn ang="0">
                <a:pos x="26" y="31"/>
              </a:cxn>
              <a:cxn ang="0">
                <a:pos x="28" y="29"/>
              </a:cxn>
              <a:cxn ang="0">
                <a:pos x="44" y="29"/>
              </a:cxn>
              <a:cxn ang="0">
                <a:pos x="56" y="25"/>
              </a:cxn>
              <a:cxn ang="0">
                <a:pos x="48" y="23"/>
              </a:cxn>
              <a:cxn ang="0">
                <a:pos x="44" y="18"/>
              </a:cxn>
              <a:cxn ang="0">
                <a:pos x="54" y="17"/>
              </a:cxn>
              <a:cxn ang="0">
                <a:pos x="70" y="18"/>
              </a:cxn>
              <a:cxn ang="0">
                <a:pos x="84" y="12"/>
              </a:cxn>
              <a:cxn ang="0">
                <a:pos x="98" y="4"/>
              </a:cxn>
              <a:cxn ang="0">
                <a:pos x="120" y="1"/>
              </a:cxn>
              <a:cxn ang="0">
                <a:pos x="137" y="0"/>
              </a:cxn>
              <a:cxn ang="0">
                <a:pos x="147" y="7"/>
              </a:cxn>
              <a:cxn ang="0">
                <a:pos x="161" y="14"/>
              </a:cxn>
              <a:cxn ang="0">
                <a:pos x="180" y="20"/>
              </a:cxn>
              <a:cxn ang="0">
                <a:pos x="208" y="18"/>
              </a:cxn>
              <a:cxn ang="0">
                <a:pos x="230" y="7"/>
              </a:cxn>
              <a:cxn ang="0">
                <a:pos x="244" y="11"/>
              </a:cxn>
              <a:cxn ang="0">
                <a:pos x="250" y="9"/>
              </a:cxn>
              <a:cxn ang="0">
                <a:pos x="260" y="17"/>
              </a:cxn>
            </a:cxnLst>
            <a:rect l="0" t="0" r="r" b="b"/>
            <a:pathLst>
              <a:path w="261" h="108">
                <a:moveTo>
                  <a:pt x="148" y="106"/>
                </a:moveTo>
                <a:lnTo>
                  <a:pt x="147" y="103"/>
                </a:lnTo>
                <a:lnTo>
                  <a:pt x="148" y="98"/>
                </a:lnTo>
                <a:lnTo>
                  <a:pt x="151" y="97"/>
                </a:lnTo>
                <a:lnTo>
                  <a:pt x="152" y="95"/>
                </a:lnTo>
                <a:lnTo>
                  <a:pt x="149" y="92"/>
                </a:lnTo>
                <a:lnTo>
                  <a:pt x="144" y="95"/>
                </a:lnTo>
                <a:lnTo>
                  <a:pt x="144" y="97"/>
                </a:lnTo>
                <a:lnTo>
                  <a:pt x="141" y="98"/>
                </a:lnTo>
                <a:lnTo>
                  <a:pt x="139" y="97"/>
                </a:lnTo>
                <a:lnTo>
                  <a:pt x="136" y="95"/>
                </a:lnTo>
                <a:lnTo>
                  <a:pt x="133" y="94"/>
                </a:lnTo>
                <a:lnTo>
                  <a:pt x="131" y="94"/>
                </a:lnTo>
                <a:lnTo>
                  <a:pt x="129" y="94"/>
                </a:lnTo>
                <a:lnTo>
                  <a:pt x="127" y="95"/>
                </a:lnTo>
                <a:lnTo>
                  <a:pt x="121" y="100"/>
                </a:lnTo>
                <a:lnTo>
                  <a:pt x="120" y="102"/>
                </a:lnTo>
                <a:lnTo>
                  <a:pt x="117" y="102"/>
                </a:lnTo>
                <a:lnTo>
                  <a:pt x="115" y="105"/>
                </a:lnTo>
                <a:lnTo>
                  <a:pt x="112" y="105"/>
                </a:lnTo>
                <a:lnTo>
                  <a:pt x="110" y="105"/>
                </a:lnTo>
                <a:lnTo>
                  <a:pt x="104" y="106"/>
                </a:lnTo>
                <a:lnTo>
                  <a:pt x="102" y="108"/>
                </a:lnTo>
                <a:lnTo>
                  <a:pt x="96" y="106"/>
                </a:lnTo>
                <a:lnTo>
                  <a:pt x="94" y="103"/>
                </a:lnTo>
                <a:lnTo>
                  <a:pt x="92" y="102"/>
                </a:lnTo>
                <a:lnTo>
                  <a:pt x="91" y="100"/>
                </a:lnTo>
                <a:lnTo>
                  <a:pt x="88" y="98"/>
                </a:lnTo>
                <a:lnTo>
                  <a:pt x="82" y="95"/>
                </a:lnTo>
                <a:lnTo>
                  <a:pt x="78" y="92"/>
                </a:lnTo>
                <a:lnTo>
                  <a:pt x="74" y="92"/>
                </a:lnTo>
                <a:lnTo>
                  <a:pt x="71" y="92"/>
                </a:lnTo>
                <a:lnTo>
                  <a:pt x="68" y="92"/>
                </a:lnTo>
                <a:lnTo>
                  <a:pt x="67" y="95"/>
                </a:lnTo>
                <a:lnTo>
                  <a:pt x="67" y="98"/>
                </a:lnTo>
                <a:lnTo>
                  <a:pt x="66" y="102"/>
                </a:lnTo>
                <a:lnTo>
                  <a:pt x="60" y="103"/>
                </a:lnTo>
                <a:lnTo>
                  <a:pt x="56" y="105"/>
                </a:lnTo>
                <a:lnTo>
                  <a:pt x="54" y="105"/>
                </a:lnTo>
                <a:lnTo>
                  <a:pt x="51" y="105"/>
                </a:lnTo>
                <a:lnTo>
                  <a:pt x="48" y="103"/>
                </a:lnTo>
                <a:lnTo>
                  <a:pt x="46" y="100"/>
                </a:lnTo>
                <a:lnTo>
                  <a:pt x="46" y="97"/>
                </a:lnTo>
                <a:lnTo>
                  <a:pt x="46" y="95"/>
                </a:lnTo>
                <a:lnTo>
                  <a:pt x="43" y="95"/>
                </a:lnTo>
                <a:lnTo>
                  <a:pt x="43" y="97"/>
                </a:lnTo>
                <a:lnTo>
                  <a:pt x="42" y="97"/>
                </a:lnTo>
                <a:lnTo>
                  <a:pt x="39" y="95"/>
                </a:lnTo>
                <a:lnTo>
                  <a:pt x="38" y="94"/>
                </a:lnTo>
                <a:lnTo>
                  <a:pt x="34" y="94"/>
                </a:lnTo>
                <a:lnTo>
                  <a:pt x="32" y="95"/>
                </a:lnTo>
                <a:lnTo>
                  <a:pt x="30" y="97"/>
                </a:lnTo>
                <a:lnTo>
                  <a:pt x="30" y="95"/>
                </a:lnTo>
                <a:lnTo>
                  <a:pt x="30" y="94"/>
                </a:lnTo>
                <a:lnTo>
                  <a:pt x="20" y="97"/>
                </a:lnTo>
                <a:lnTo>
                  <a:pt x="22" y="94"/>
                </a:lnTo>
                <a:lnTo>
                  <a:pt x="24" y="94"/>
                </a:lnTo>
                <a:lnTo>
                  <a:pt x="28" y="94"/>
                </a:lnTo>
                <a:lnTo>
                  <a:pt x="30" y="92"/>
                </a:lnTo>
                <a:lnTo>
                  <a:pt x="31" y="92"/>
                </a:lnTo>
                <a:lnTo>
                  <a:pt x="32" y="91"/>
                </a:lnTo>
                <a:lnTo>
                  <a:pt x="34" y="89"/>
                </a:lnTo>
                <a:lnTo>
                  <a:pt x="31" y="89"/>
                </a:lnTo>
                <a:lnTo>
                  <a:pt x="26" y="91"/>
                </a:lnTo>
                <a:lnTo>
                  <a:pt x="19" y="91"/>
                </a:lnTo>
                <a:lnTo>
                  <a:pt x="19" y="89"/>
                </a:lnTo>
                <a:lnTo>
                  <a:pt x="22" y="86"/>
                </a:lnTo>
                <a:lnTo>
                  <a:pt x="20" y="84"/>
                </a:lnTo>
                <a:lnTo>
                  <a:pt x="19" y="83"/>
                </a:lnTo>
                <a:lnTo>
                  <a:pt x="18" y="83"/>
                </a:lnTo>
                <a:lnTo>
                  <a:pt x="18" y="81"/>
                </a:lnTo>
                <a:lnTo>
                  <a:pt x="19" y="80"/>
                </a:lnTo>
                <a:lnTo>
                  <a:pt x="20" y="78"/>
                </a:lnTo>
                <a:lnTo>
                  <a:pt x="18" y="78"/>
                </a:lnTo>
                <a:lnTo>
                  <a:pt x="16" y="80"/>
                </a:lnTo>
                <a:lnTo>
                  <a:pt x="15" y="78"/>
                </a:lnTo>
                <a:lnTo>
                  <a:pt x="16" y="76"/>
                </a:lnTo>
                <a:lnTo>
                  <a:pt x="16" y="75"/>
                </a:lnTo>
                <a:lnTo>
                  <a:pt x="15" y="72"/>
                </a:lnTo>
                <a:lnTo>
                  <a:pt x="14" y="70"/>
                </a:lnTo>
                <a:lnTo>
                  <a:pt x="10" y="70"/>
                </a:lnTo>
                <a:lnTo>
                  <a:pt x="8" y="69"/>
                </a:lnTo>
                <a:lnTo>
                  <a:pt x="6" y="69"/>
                </a:lnTo>
                <a:lnTo>
                  <a:pt x="4" y="69"/>
                </a:lnTo>
                <a:lnTo>
                  <a:pt x="3" y="67"/>
                </a:lnTo>
                <a:lnTo>
                  <a:pt x="3" y="65"/>
                </a:lnTo>
                <a:lnTo>
                  <a:pt x="4" y="65"/>
                </a:lnTo>
                <a:lnTo>
                  <a:pt x="4" y="64"/>
                </a:lnTo>
                <a:lnTo>
                  <a:pt x="4" y="62"/>
                </a:lnTo>
                <a:lnTo>
                  <a:pt x="6" y="61"/>
                </a:lnTo>
                <a:lnTo>
                  <a:pt x="8" y="65"/>
                </a:lnTo>
                <a:lnTo>
                  <a:pt x="10" y="65"/>
                </a:lnTo>
                <a:lnTo>
                  <a:pt x="12" y="65"/>
                </a:lnTo>
                <a:lnTo>
                  <a:pt x="15" y="65"/>
                </a:lnTo>
                <a:lnTo>
                  <a:pt x="15" y="64"/>
                </a:lnTo>
                <a:lnTo>
                  <a:pt x="11" y="62"/>
                </a:lnTo>
                <a:lnTo>
                  <a:pt x="10" y="61"/>
                </a:lnTo>
                <a:lnTo>
                  <a:pt x="11" y="59"/>
                </a:lnTo>
                <a:lnTo>
                  <a:pt x="12" y="58"/>
                </a:lnTo>
                <a:lnTo>
                  <a:pt x="12" y="56"/>
                </a:lnTo>
                <a:lnTo>
                  <a:pt x="11" y="54"/>
                </a:lnTo>
                <a:lnTo>
                  <a:pt x="11" y="53"/>
                </a:lnTo>
                <a:lnTo>
                  <a:pt x="10" y="50"/>
                </a:lnTo>
                <a:lnTo>
                  <a:pt x="10" y="48"/>
                </a:lnTo>
                <a:lnTo>
                  <a:pt x="12" y="45"/>
                </a:lnTo>
                <a:lnTo>
                  <a:pt x="11" y="45"/>
                </a:lnTo>
                <a:lnTo>
                  <a:pt x="7" y="45"/>
                </a:lnTo>
                <a:lnTo>
                  <a:pt x="0" y="45"/>
                </a:lnTo>
                <a:lnTo>
                  <a:pt x="0" y="44"/>
                </a:lnTo>
                <a:lnTo>
                  <a:pt x="0" y="39"/>
                </a:lnTo>
                <a:lnTo>
                  <a:pt x="2" y="37"/>
                </a:lnTo>
                <a:lnTo>
                  <a:pt x="4" y="36"/>
                </a:lnTo>
                <a:lnTo>
                  <a:pt x="6" y="34"/>
                </a:lnTo>
                <a:lnTo>
                  <a:pt x="8" y="33"/>
                </a:lnTo>
                <a:lnTo>
                  <a:pt x="10" y="29"/>
                </a:lnTo>
                <a:lnTo>
                  <a:pt x="14" y="29"/>
                </a:lnTo>
                <a:lnTo>
                  <a:pt x="18" y="28"/>
                </a:lnTo>
                <a:lnTo>
                  <a:pt x="19" y="29"/>
                </a:lnTo>
                <a:lnTo>
                  <a:pt x="22" y="31"/>
                </a:lnTo>
                <a:lnTo>
                  <a:pt x="26" y="31"/>
                </a:lnTo>
                <a:lnTo>
                  <a:pt x="24" y="28"/>
                </a:lnTo>
                <a:lnTo>
                  <a:pt x="27" y="28"/>
                </a:lnTo>
                <a:lnTo>
                  <a:pt x="28" y="28"/>
                </a:lnTo>
                <a:lnTo>
                  <a:pt x="28" y="29"/>
                </a:lnTo>
                <a:lnTo>
                  <a:pt x="30" y="29"/>
                </a:lnTo>
                <a:lnTo>
                  <a:pt x="34" y="29"/>
                </a:lnTo>
                <a:lnTo>
                  <a:pt x="42" y="29"/>
                </a:lnTo>
                <a:lnTo>
                  <a:pt x="44" y="29"/>
                </a:lnTo>
                <a:lnTo>
                  <a:pt x="44" y="28"/>
                </a:lnTo>
                <a:lnTo>
                  <a:pt x="42" y="26"/>
                </a:lnTo>
                <a:lnTo>
                  <a:pt x="44" y="25"/>
                </a:lnTo>
                <a:lnTo>
                  <a:pt x="56" y="25"/>
                </a:lnTo>
                <a:lnTo>
                  <a:pt x="56" y="23"/>
                </a:lnTo>
                <a:lnTo>
                  <a:pt x="54" y="23"/>
                </a:lnTo>
                <a:lnTo>
                  <a:pt x="52" y="23"/>
                </a:lnTo>
                <a:lnTo>
                  <a:pt x="48" y="23"/>
                </a:lnTo>
                <a:lnTo>
                  <a:pt x="48" y="22"/>
                </a:lnTo>
                <a:lnTo>
                  <a:pt x="47" y="22"/>
                </a:lnTo>
                <a:lnTo>
                  <a:pt x="46" y="20"/>
                </a:lnTo>
                <a:lnTo>
                  <a:pt x="44" y="18"/>
                </a:lnTo>
                <a:lnTo>
                  <a:pt x="46" y="17"/>
                </a:lnTo>
                <a:lnTo>
                  <a:pt x="47" y="15"/>
                </a:lnTo>
                <a:lnTo>
                  <a:pt x="50" y="15"/>
                </a:lnTo>
                <a:lnTo>
                  <a:pt x="54" y="17"/>
                </a:lnTo>
                <a:lnTo>
                  <a:pt x="64" y="17"/>
                </a:lnTo>
                <a:lnTo>
                  <a:pt x="67" y="17"/>
                </a:lnTo>
                <a:lnTo>
                  <a:pt x="68" y="18"/>
                </a:lnTo>
                <a:lnTo>
                  <a:pt x="70" y="18"/>
                </a:lnTo>
                <a:lnTo>
                  <a:pt x="75" y="18"/>
                </a:lnTo>
                <a:lnTo>
                  <a:pt x="79" y="17"/>
                </a:lnTo>
                <a:lnTo>
                  <a:pt x="82" y="14"/>
                </a:lnTo>
                <a:lnTo>
                  <a:pt x="84" y="12"/>
                </a:lnTo>
                <a:lnTo>
                  <a:pt x="88" y="9"/>
                </a:lnTo>
                <a:lnTo>
                  <a:pt x="91" y="9"/>
                </a:lnTo>
                <a:lnTo>
                  <a:pt x="95" y="6"/>
                </a:lnTo>
                <a:lnTo>
                  <a:pt x="98" y="4"/>
                </a:lnTo>
                <a:lnTo>
                  <a:pt x="106" y="1"/>
                </a:lnTo>
                <a:lnTo>
                  <a:pt x="110" y="1"/>
                </a:lnTo>
                <a:lnTo>
                  <a:pt x="113" y="1"/>
                </a:lnTo>
                <a:lnTo>
                  <a:pt x="120" y="1"/>
                </a:lnTo>
                <a:lnTo>
                  <a:pt x="131" y="1"/>
                </a:lnTo>
                <a:lnTo>
                  <a:pt x="133" y="0"/>
                </a:lnTo>
                <a:lnTo>
                  <a:pt x="136" y="0"/>
                </a:lnTo>
                <a:lnTo>
                  <a:pt x="137" y="0"/>
                </a:lnTo>
                <a:lnTo>
                  <a:pt x="137" y="3"/>
                </a:lnTo>
                <a:lnTo>
                  <a:pt x="139" y="4"/>
                </a:lnTo>
                <a:lnTo>
                  <a:pt x="143" y="7"/>
                </a:lnTo>
                <a:lnTo>
                  <a:pt x="147" y="7"/>
                </a:lnTo>
                <a:lnTo>
                  <a:pt x="151" y="6"/>
                </a:lnTo>
                <a:lnTo>
                  <a:pt x="152" y="9"/>
                </a:lnTo>
                <a:lnTo>
                  <a:pt x="155" y="14"/>
                </a:lnTo>
                <a:lnTo>
                  <a:pt x="161" y="14"/>
                </a:lnTo>
                <a:lnTo>
                  <a:pt x="171" y="20"/>
                </a:lnTo>
                <a:lnTo>
                  <a:pt x="173" y="18"/>
                </a:lnTo>
                <a:lnTo>
                  <a:pt x="175" y="18"/>
                </a:lnTo>
                <a:lnTo>
                  <a:pt x="180" y="20"/>
                </a:lnTo>
                <a:lnTo>
                  <a:pt x="187" y="20"/>
                </a:lnTo>
                <a:lnTo>
                  <a:pt x="191" y="18"/>
                </a:lnTo>
                <a:lnTo>
                  <a:pt x="199" y="17"/>
                </a:lnTo>
                <a:lnTo>
                  <a:pt x="208" y="18"/>
                </a:lnTo>
                <a:lnTo>
                  <a:pt x="215" y="18"/>
                </a:lnTo>
                <a:lnTo>
                  <a:pt x="225" y="12"/>
                </a:lnTo>
                <a:lnTo>
                  <a:pt x="230" y="9"/>
                </a:lnTo>
                <a:lnTo>
                  <a:pt x="230" y="7"/>
                </a:lnTo>
                <a:lnTo>
                  <a:pt x="233" y="9"/>
                </a:lnTo>
                <a:lnTo>
                  <a:pt x="236" y="9"/>
                </a:lnTo>
                <a:lnTo>
                  <a:pt x="238" y="9"/>
                </a:lnTo>
                <a:lnTo>
                  <a:pt x="244" y="11"/>
                </a:lnTo>
                <a:lnTo>
                  <a:pt x="245" y="11"/>
                </a:lnTo>
                <a:lnTo>
                  <a:pt x="246" y="9"/>
                </a:lnTo>
                <a:lnTo>
                  <a:pt x="248" y="7"/>
                </a:lnTo>
                <a:lnTo>
                  <a:pt x="250" y="9"/>
                </a:lnTo>
                <a:lnTo>
                  <a:pt x="253" y="11"/>
                </a:lnTo>
                <a:lnTo>
                  <a:pt x="256" y="14"/>
                </a:lnTo>
                <a:lnTo>
                  <a:pt x="257" y="14"/>
                </a:lnTo>
                <a:lnTo>
                  <a:pt x="260" y="17"/>
                </a:lnTo>
                <a:lnTo>
                  <a:pt x="261" y="18"/>
                </a:ln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3175" cmpd="sng">
            <a:solidFill>
              <a:sysClr val="window" lastClr="FFFFFF">
                <a:lumMod val="95000"/>
              </a:sysClr>
            </a:solidFill>
            <a:prstDash val="solid"/>
            <a:round/>
            <a:headEnd/>
            <a:tailEnd/>
          </a:ln>
        </p:spPr>
        <p:txBody>
          <a:bodyPr lIns="75749" tIns="37874" rIns="75749" bIns="37874"/>
          <a:lstStyle/>
          <a:p>
            <a:pPr>
              <a:defRPr/>
            </a:pPr>
            <a:endParaRPr lang="en-GB" kern="0" dirty="0">
              <a:solidFill>
                <a:srgbClr val="283E36"/>
              </a:solidFill>
            </a:endParaRPr>
          </a:p>
        </p:txBody>
      </p:sp>
      <p:sp>
        <p:nvSpPr>
          <p:cNvPr id="42" name="Freeform 41"/>
          <p:cNvSpPr/>
          <p:nvPr/>
        </p:nvSpPr>
        <p:spPr>
          <a:xfrm>
            <a:off x="6685350" y="2030134"/>
            <a:ext cx="444434" cy="362190"/>
          </a:xfrm>
          <a:custGeom>
            <a:avLst/>
            <a:gdLst>
              <a:gd name="connsiteX0" fmla="*/ 185894 w 246184"/>
              <a:gd name="connsiteY0" fmla="*/ 208504 h 208504"/>
              <a:gd name="connsiteX1" fmla="*/ 193430 w 246184"/>
              <a:gd name="connsiteY1" fmla="*/ 195943 h 208504"/>
              <a:gd name="connsiteX2" fmla="*/ 188406 w 246184"/>
              <a:gd name="connsiteY2" fmla="*/ 188407 h 208504"/>
              <a:gd name="connsiteX3" fmla="*/ 185894 w 246184"/>
              <a:gd name="connsiteY3" fmla="*/ 180871 h 208504"/>
              <a:gd name="connsiteX4" fmla="*/ 221063 w 246184"/>
              <a:gd name="connsiteY4" fmla="*/ 168310 h 208504"/>
              <a:gd name="connsiteX5" fmla="*/ 226088 w 246184"/>
              <a:gd name="connsiteY5" fmla="*/ 153238 h 208504"/>
              <a:gd name="connsiteX6" fmla="*/ 231112 w 246184"/>
              <a:gd name="connsiteY6" fmla="*/ 145701 h 208504"/>
              <a:gd name="connsiteX7" fmla="*/ 233624 w 246184"/>
              <a:gd name="connsiteY7" fmla="*/ 138165 h 208504"/>
              <a:gd name="connsiteX8" fmla="*/ 243672 w 246184"/>
              <a:gd name="connsiteY8" fmla="*/ 123093 h 208504"/>
              <a:gd name="connsiteX9" fmla="*/ 246184 w 246184"/>
              <a:gd name="connsiteY9" fmla="*/ 115556 h 208504"/>
              <a:gd name="connsiteX10" fmla="*/ 208503 w 246184"/>
              <a:gd name="connsiteY10" fmla="*/ 108020 h 208504"/>
              <a:gd name="connsiteX11" fmla="*/ 200967 w 246184"/>
              <a:gd name="connsiteY11" fmla="*/ 113044 h 208504"/>
              <a:gd name="connsiteX12" fmla="*/ 185894 w 246184"/>
              <a:gd name="connsiteY12" fmla="*/ 118068 h 208504"/>
              <a:gd name="connsiteX13" fmla="*/ 175846 w 246184"/>
              <a:gd name="connsiteY13" fmla="*/ 115556 h 208504"/>
              <a:gd name="connsiteX14" fmla="*/ 173334 w 246184"/>
              <a:gd name="connsiteY14" fmla="*/ 108020 h 208504"/>
              <a:gd name="connsiteX15" fmla="*/ 165797 w 246184"/>
              <a:gd name="connsiteY15" fmla="*/ 87923 h 208504"/>
              <a:gd name="connsiteX16" fmla="*/ 150725 w 246184"/>
              <a:gd name="connsiteY16" fmla="*/ 82899 h 208504"/>
              <a:gd name="connsiteX17" fmla="*/ 128116 w 246184"/>
              <a:gd name="connsiteY17" fmla="*/ 77875 h 208504"/>
              <a:gd name="connsiteX18" fmla="*/ 123092 w 246184"/>
              <a:gd name="connsiteY18" fmla="*/ 62802 h 208504"/>
              <a:gd name="connsiteX19" fmla="*/ 118068 w 246184"/>
              <a:gd name="connsiteY19" fmla="*/ 42706 h 208504"/>
              <a:gd name="connsiteX20" fmla="*/ 108019 w 246184"/>
              <a:gd name="connsiteY20" fmla="*/ 30145 h 208504"/>
              <a:gd name="connsiteX21" fmla="*/ 95459 w 246184"/>
              <a:gd name="connsiteY21" fmla="*/ 7537 h 208504"/>
              <a:gd name="connsiteX22" fmla="*/ 80386 w 246184"/>
              <a:gd name="connsiteY22" fmla="*/ 0 h 208504"/>
              <a:gd name="connsiteX23" fmla="*/ 10048 w 246184"/>
              <a:gd name="connsiteY23" fmla="*/ 2512 h 208504"/>
              <a:gd name="connsiteX24" fmla="*/ 2512 w 246184"/>
              <a:gd name="connsiteY24" fmla="*/ 5024 h 208504"/>
              <a:gd name="connsiteX25" fmla="*/ 0 w 246184"/>
              <a:gd name="connsiteY25" fmla="*/ 12561 h 208504"/>
              <a:gd name="connsiteX26" fmla="*/ 7536 w 246184"/>
              <a:gd name="connsiteY26" fmla="*/ 17585 h 208504"/>
              <a:gd name="connsiteX27" fmla="*/ 17584 w 246184"/>
              <a:gd name="connsiteY27" fmla="*/ 20097 h 208504"/>
              <a:gd name="connsiteX28" fmla="*/ 5024 w 246184"/>
              <a:gd name="connsiteY28" fmla="*/ 32657 h 208504"/>
              <a:gd name="connsiteX29" fmla="*/ 12560 w 246184"/>
              <a:gd name="connsiteY29" fmla="*/ 35170 h 208504"/>
              <a:gd name="connsiteX30" fmla="*/ 25121 w 246184"/>
              <a:gd name="connsiteY30" fmla="*/ 37682 h 208504"/>
              <a:gd name="connsiteX31" fmla="*/ 35169 w 246184"/>
              <a:gd name="connsiteY31" fmla="*/ 60290 h 208504"/>
              <a:gd name="connsiteX32" fmla="*/ 42705 w 246184"/>
              <a:gd name="connsiteY32" fmla="*/ 62802 h 208504"/>
              <a:gd name="connsiteX33" fmla="*/ 57778 w 246184"/>
              <a:gd name="connsiteY33" fmla="*/ 60290 h 208504"/>
              <a:gd name="connsiteX34" fmla="*/ 72850 w 246184"/>
              <a:gd name="connsiteY34" fmla="*/ 50242 h 208504"/>
              <a:gd name="connsiteX35" fmla="*/ 80386 w 246184"/>
              <a:gd name="connsiteY35" fmla="*/ 47730 h 208504"/>
              <a:gd name="connsiteX36" fmla="*/ 80386 w 246184"/>
              <a:gd name="connsiteY36" fmla="*/ 90435 h 208504"/>
              <a:gd name="connsiteX37" fmla="*/ 82899 w 246184"/>
              <a:gd name="connsiteY37" fmla="*/ 115556 h 208504"/>
              <a:gd name="connsiteX38" fmla="*/ 87923 w 246184"/>
              <a:gd name="connsiteY38" fmla="*/ 130629 h 208504"/>
              <a:gd name="connsiteX39" fmla="*/ 80386 w 246184"/>
              <a:gd name="connsiteY39" fmla="*/ 143189 h 208504"/>
              <a:gd name="connsiteX40" fmla="*/ 77874 w 246184"/>
              <a:gd name="connsiteY40" fmla="*/ 150726 h 208504"/>
              <a:gd name="connsiteX41" fmla="*/ 72850 w 246184"/>
              <a:gd name="connsiteY41" fmla="*/ 158262 h 208504"/>
              <a:gd name="connsiteX42" fmla="*/ 67826 w 246184"/>
              <a:gd name="connsiteY42" fmla="*/ 173334 h 208504"/>
              <a:gd name="connsiteX43" fmla="*/ 80386 w 246184"/>
              <a:gd name="connsiteY43" fmla="*/ 180871 h 208504"/>
              <a:gd name="connsiteX44" fmla="*/ 87923 w 246184"/>
              <a:gd name="connsiteY44" fmla="*/ 183383 h 208504"/>
              <a:gd name="connsiteX45" fmla="*/ 128116 w 246184"/>
              <a:gd name="connsiteY45" fmla="*/ 183383 h 208504"/>
              <a:gd name="connsiteX46" fmla="*/ 135652 w 246184"/>
              <a:gd name="connsiteY46" fmla="*/ 188407 h 208504"/>
              <a:gd name="connsiteX47" fmla="*/ 138164 w 246184"/>
              <a:gd name="connsiteY47" fmla="*/ 195943 h 208504"/>
              <a:gd name="connsiteX48" fmla="*/ 145701 w 246184"/>
              <a:gd name="connsiteY48" fmla="*/ 198455 h 208504"/>
              <a:gd name="connsiteX49" fmla="*/ 173334 w 246184"/>
              <a:gd name="connsiteY49" fmla="*/ 200967 h 208504"/>
              <a:gd name="connsiteX50" fmla="*/ 185894 w 246184"/>
              <a:gd name="connsiteY50" fmla="*/ 208504 h 208504"/>
              <a:gd name="connsiteX0" fmla="*/ 186865 w 247155"/>
              <a:gd name="connsiteY0" fmla="*/ 215932 h 215932"/>
              <a:gd name="connsiteX1" fmla="*/ 194401 w 247155"/>
              <a:gd name="connsiteY1" fmla="*/ 203371 h 215932"/>
              <a:gd name="connsiteX2" fmla="*/ 189377 w 247155"/>
              <a:gd name="connsiteY2" fmla="*/ 195835 h 215932"/>
              <a:gd name="connsiteX3" fmla="*/ 186865 w 247155"/>
              <a:gd name="connsiteY3" fmla="*/ 188299 h 215932"/>
              <a:gd name="connsiteX4" fmla="*/ 222034 w 247155"/>
              <a:gd name="connsiteY4" fmla="*/ 175738 h 215932"/>
              <a:gd name="connsiteX5" fmla="*/ 227059 w 247155"/>
              <a:gd name="connsiteY5" fmla="*/ 160666 h 215932"/>
              <a:gd name="connsiteX6" fmla="*/ 232083 w 247155"/>
              <a:gd name="connsiteY6" fmla="*/ 153129 h 215932"/>
              <a:gd name="connsiteX7" fmla="*/ 234595 w 247155"/>
              <a:gd name="connsiteY7" fmla="*/ 145593 h 215932"/>
              <a:gd name="connsiteX8" fmla="*/ 244643 w 247155"/>
              <a:gd name="connsiteY8" fmla="*/ 130521 h 215932"/>
              <a:gd name="connsiteX9" fmla="*/ 247155 w 247155"/>
              <a:gd name="connsiteY9" fmla="*/ 122984 h 215932"/>
              <a:gd name="connsiteX10" fmla="*/ 209474 w 247155"/>
              <a:gd name="connsiteY10" fmla="*/ 115448 h 215932"/>
              <a:gd name="connsiteX11" fmla="*/ 201938 w 247155"/>
              <a:gd name="connsiteY11" fmla="*/ 120472 h 215932"/>
              <a:gd name="connsiteX12" fmla="*/ 186865 w 247155"/>
              <a:gd name="connsiteY12" fmla="*/ 125496 h 215932"/>
              <a:gd name="connsiteX13" fmla="*/ 176817 w 247155"/>
              <a:gd name="connsiteY13" fmla="*/ 122984 h 215932"/>
              <a:gd name="connsiteX14" fmla="*/ 174305 w 247155"/>
              <a:gd name="connsiteY14" fmla="*/ 115448 h 215932"/>
              <a:gd name="connsiteX15" fmla="*/ 166768 w 247155"/>
              <a:gd name="connsiteY15" fmla="*/ 95351 h 215932"/>
              <a:gd name="connsiteX16" fmla="*/ 151696 w 247155"/>
              <a:gd name="connsiteY16" fmla="*/ 90327 h 215932"/>
              <a:gd name="connsiteX17" fmla="*/ 129087 w 247155"/>
              <a:gd name="connsiteY17" fmla="*/ 85303 h 215932"/>
              <a:gd name="connsiteX18" fmla="*/ 124063 w 247155"/>
              <a:gd name="connsiteY18" fmla="*/ 70230 h 215932"/>
              <a:gd name="connsiteX19" fmla="*/ 119039 w 247155"/>
              <a:gd name="connsiteY19" fmla="*/ 50134 h 215932"/>
              <a:gd name="connsiteX20" fmla="*/ 108990 w 247155"/>
              <a:gd name="connsiteY20" fmla="*/ 37573 h 215932"/>
              <a:gd name="connsiteX21" fmla="*/ 96430 w 247155"/>
              <a:gd name="connsiteY21" fmla="*/ 14965 h 215932"/>
              <a:gd name="connsiteX22" fmla="*/ 81357 w 247155"/>
              <a:gd name="connsiteY22" fmla="*/ 7428 h 215932"/>
              <a:gd name="connsiteX23" fmla="*/ 40359 w 247155"/>
              <a:gd name="connsiteY23" fmla="*/ 161 h 215932"/>
              <a:gd name="connsiteX24" fmla="*/ 3483 w 247155"/>
              <a:gd name="connsiteY24" fmla="*/ 12452 h 215932"/>
              <a:gd name="connsiteX25" fmla="*/ 971 w 247155"/>
              <a:gd name="connsiteY25" fmla="*/ 19989 h 215932"/>
              <a:gd name="connsiteX26" fmla="*/ 8507 w 247155"/>
              <a:gd name="connsiteY26" fmla="*/ 25013 h 215932"/>
              <a:gd name="connsiteX27" fmla="*/ 18555 w 247155"/>
              <a:gd name="connsiteY27" fmla="*/ 27525 h 215932"/>
              <a:gd name="connsiteX28" fmla="*/ 5995 w 247155"/>
              <a:gd name="connsiteY28" fmla="*/ 40085 h 215932"/>
              <a:gd name="connsiteX29" fmla="*/ 13531 w 247155"/>
              <a:gd name="connsiteY29" fmla="*/ 42598 h 215932"/>
              <a:gd name="connsiteX30" fmla="*/ 26092 w 247155"/>
              <a:gd name="connsiteY30" fmla="*/ 45110 h 215932"/>
              <a:gd name="connsiteX31" fmla="*/ 36140 w 247155"/>
              <a:gd name="connsiteY31" fmla="*/ 67718 h 215932"/>
              <a:gd name="connsiteX32" fmla="*/ 43676 w 247155"/>
              <a:gd name="connsiteY32" fmla="*/ 70230 h 215932"/>
              <a:gd name="connsiteX33" fmla="*/ 58749 w 247155"/>
              <a:gd name="connsiteY33" fmla="*/ 67718 h 215932"/>
              <a:gd name="connsiteX34" fmla="*/ 73821 w 247155"/>
              <a:gd name="connsiteY34" fmla="*/ 57670 h 215932"/>
              <a:gd name="connsiteX35" fmla="*/ 81357 w 247155"/>
              <a:gd name="connsiteY35" fmla="*/ 55158 h 215932"/>
              <a:gd name="connsiteX36" fmla="*/ 81357 w 247155"/>
              <a:gd name="connsiteY36" fmla="*/ 97863 h 215932"/>
              <a:gd name="connsiteX37" fmla="*/ 83870 w 247155"/>
              <a:gd name="connsiteY37" fmla="*/ 122984 h 215932"/>
              <a:gd name="connsiteX38" fmla="*/ 88894 w 247155"/>
              <a:gd name="connsiteY38" fmla="*/ 138057 h 215932"/>
              <a:gd name="connsiteX39" fmla="*/ 81357 w 247155"/>
              <a:gd name="connsiteY39" fmla="*/ 150617 h 215932"/>
              <a:gd name="connsiteX40" fmla="*/ 78845 w 247155"/>
              <a:gd name="connsiteY40" fmla="*/ 158154 h 215932"/>
              <a:gd name="connsiteX41" fmla="*/ 73821 w 247155"/>
              <a:gd name="connsiteY41" fmla="*/ 165690 h 215932"/>
              <a:gd name="connsiteX42" fmla="*/ 68797 w 247155"/>
              <a:gd name="connsiteY42" fmla="*/ 180762 h 215932"/>
              <a:gd name="connsiteX43" fmla="*/ 81357 w 247155"/>
              <a:gd name="connsiteY43" fmla="*/ 188299 h 215932"/>
              <a:gd name="connsiteX44" fmla="*/ 88894 w 247155"/>
              <a:gd name="connsiteY44" fmla="*/ 190811 h 215932"/>
              <a:gd name="connsiteX45" fmla="*/ 129087 w 247155"/>
              <a:gd name="connsiteY45" fmla="*/ 190811 h 215932"/>
              <a:gd name="connsiteX46" fmla="*/ 136623 w 247155"/>
              <a:gd name="connsiteY46" fmla="*/ 195835 h 215932"/>
              <a:gd name="connsiteX47" fmla="*/ 139135 w 247155"/>
              <a:gd name="connsiteY47" fmla="*/ 203371 h 215932"/>
              <a:gd name="connsiteX48" fmla="*/ 146672 w 247155"/>
              <a:gd name="connsiteY48" fmla="*/ 205883 h 215932"/>
              <a:gd name="connsiteX49" fmla="*/ 174305 w 247155"/>
              <a:gd name="connsiteY49" fmla="*/ 208395 h 215932"/>
              <a:gd name="connsiteX50" fmla="*/ 186865 w 247155"/>
              <a:gd name="connsiteY50" fmla="*/ 215932 h 215932"/>
              <a:gd name="connsiteX0" fmla="*/ 186865 w 247155"/>
              <a:gd name="connsiteY0" fmla="*/ 215932 h 215932"/>
              <a:gd name="connsiteX1" fmla="*/ 194401 w 247155"/>
              <a:gd name="connsiteY1" fmla="*/ 203371 h 215932"/>
              <a:gd name="connsiteX2" fmla="*/ 189377 w 247155"/>
              <a:gd name="connsiteY2" fmla="*/ 195835 h 215932"/>
              <a:gd name="connsiteX3" fmla="*/ 186865 w 247155"/>
              <a:gd name="connsiteY3" fmla="*/ 188299 h 215932"/>
              <a:gd name="connsiteX4" fmla="*/ 222034 w 247155"/>
              <a:gd name="connsiteY4" fmla="*/ 175738 h 215932"/>
              <a:gd name="connsiteX5" fmla="*/ 227059 w 247155"/>
              <a:gd name="connsiteY5" fmla="*/ 160666 h 215932"/>
              <a:gd name="connsiteX6" fmla="*/ 232083 w 247155"/>
              <a:gd name="connsiteY6" fmla="*/ 153129 h 215932"/>
              <a:gd name="connsiteX7" fmla="*/ 234595 w 247155"/>
              <a:gd name="connsiteY7" fmla="*/ 145593 h 215932"/>
              <a:gd name="connsiteX8" fmla="*/ 244643 w 247155"/>
              <a:gd name="connsiteY8" fmla="*/ 130521 h 215932"/>
              <a:gd name="connsiteX9" fmla="*/ 247155 w 247155"/>
              <a:gd name="connsiteY9" fmla="*/ 122984 h 215932"/>
              <a:gd name="connsiteX10" fmla="*/ 209474 w 247155"/>
              <a:gd name="connsiteY10" fmla="*/ 115448 h 215932"/>
              <a:gd name="connsiteX11" fmla="*/ 219053 w 247155"/>
              <a:gd name="connsiteY11" fmla="*/ 122917 h 215932"/>
              <a:gd name="connsiteX12" fmla="*/ 186865 w 247155"/>
              <a:gd name="connsiteY12" fmla="*/ 125496 h 215932"/>
              <a:gd name="connsiteX13" fmla="*/ 176817 w 247155"/>
              <a:gd name="connsiteY13" fmla="*/ 122984 h 215932"/>
              <a:gd name="connsiteX14" fmla="*/ 174305 w 247155"/>
              <a:gd name="connsiteY14" fmla="*/ 115448 h 215932"/>
              <a:gd name="connsiteX15" fmla="*/ 166768 w 247155"/>
              <a:gd name="connsiteY15" fmla="*/ 95351 h 215932"/>
              <a:gd name="connsiteX16" fmla="*/ 151696 w 247155"/>
              <a:gd name="connsiteY16" fmla="*/ 90327 h 215932"/>
              <a:gd name="connsiteX17" fmla="*/ 129087 w 247155"/>
              <a:gd name="connsiteY17" fmla="*/ 85303 h 215932"/>
              <a:gd name="connsiteX18" fmla="*/ 124063 w 247155"/>
              <a:gd name="connsiteY18" fmla="*/ 70230 h 215932"/>
              <a:gd name="connsiteX19" fmla="*/ 119039 w 247155"/>
              <a:gd name="connsiteY19" fmla="*/ 50134 h 215932"/>
              <a:gd name="connsiteX20" fmla="*/ 108990 w 247155"/>
              <a:gd name="connsiteY20" fmla="*/ 37573 h 215932"/>
              <a:gd name="connsiteX21" fmla="*/ 96430 w 247155"/>
              <a:gd name="connsiteY21" fmla="*/ 14965 h 215932"/>
              <a:gd name="connsiteX22" fmla="*/ 81357 w 247155"/>
              <a:gd name="connsiteY22" fmla="*/ 7428 h 215932"/>
              <a:gd name="connsiteX23" fmla="*/ 40359 w 247155"/>
              <a:gd name="connsiteY23" fmla="*/ 161 h 215932"/>
              <a:gd name="connsiteX24" fmla="*/ 3483 w 247155"/>
              <a:gd name="connsiteY24" fmla="*/ 12452 h 215932"/>
              <a:gd name="connsiteX25" fmla="*/ 971 w 247155"/>
              <a:gd name="connsiteY25" fmla="*/ 19989 h 215932"/>
              <a:gd name="connsiteX26" fmla="*/ 8507 w 247155"/>
              <a:gd name="connsiteY26" fmla="*/ 25013 h 215932"/>
              <a:gd name="connsiteX27" fmla="*/ 18555 w 247155"/>
              <a:gd name="connsiteY27" fmla="*/ 27525 h 215932"/>
              <a:gd name="connsiteX28" fmla="*/ 5995 w 247155"/>
              <a:gd name="connsiteY28" fmla="*/ 40085 h 215932"/>
              <a:gd name="connsiteX29" fmla="*/ 13531 w 247155"/>
              <a:gd name="connsiteY29" fmla="*/ 42598 h 215932"/>
              <a:gd name="connsiteX30" fmla="*/ 26092 w 247155"/>
              <a:gd name="connsiteY30" fmla="*/ 45110 h 215932"/>
              <a:gd name="connsiteX31" fmla="*/ 36140 w 247155"/>
              <a:gd name="connsiteY31" fmla="*/ 67718 h 215932"/>
              <a:gd name="connsiteX32" fmla="*/ 43676 w 247155"/>
              <a:gd name="connsiteY32" fmla="*/ 70230 h 215932"/>
              <a:gd name="connsiteX33" fmla="*/ 58749 w 247155"/>
              <a:gd name="connsiteY33" fmla="*/ 67718 h 215932"/>
              <a:gd name="connsiteX34" fmla="*/ 73821 w 247155"/>
              <a:gd name="connsiteY34" fmla="*/ 57670 h 215932"/>
              <a:gd name="connsiteX35" fmla="*/ 81357 w 247155"/>
              <a:gd name="connsiteY35" fmla="*/ 55158 h 215932"/>
              <a:gd name="connsiteX36" fmla="*/ 81357 w 247155"/>
              <a:gd name="connsiteY36" fmla="*/ 97863 h 215932"/>
              <a:gd name="connsiteX37" fmla="*/ 83870 w 247155"/>
              <a:gd name="connsiteY37" fmla="*/ 122984 h 215932"/>
              <a:gd name="connsiteX38" fmla="*/ 88894 w 247155"/>
              <a:gd name="connsiteY38" fmla="*/ 138057 h 215932"/>
              <a:gd name="connsiteX39" fmla="*/ 81357 w 247155"/>
              <a:gd name="connsiteY39" fmla="*/ 150617 h 215932"/>
              <a:gd name="connsiteX40" fmla="*/ 78845 w 247155"/>
              <a:gd name="connsiteY40" fmla="*/ 158154 h 215932"/>
              <a:gd name="connsiteX41" fmla="*/ 73821 w 247155"/>
              <a:gd name="connsiteY41" fmla="*/ 165690 h 215932"/>
              <a:gd name="connsiteX42" fmla="*/ 68797 w 247155"/>
              <a:gd name="connsiteY42" fmla="*/ 180762 h 215932"/>
              <a:gd name="connsiteX43" fmla="*/ 81357 w 247155"/>
              <a:gd name="connsiteY43" fmla="*/ 188299 h 215932"/>
              <a:gd name="connsiteX44" fmla="*/ 88894 w 247155"/>
              <a:gd name="connsiteY44" fmla="*/ 190811 h 215932"/>
              <a:gd name="connsiteX45" fmla="*/ 129087 w 247155"/>
              <a:gd name="connsiteY45" fmla="*/ 190811 h 215932"/>
              <a:gd name="connsiteX46" fmla="*/ 136623 w 247155"/>
              <a:gd name="connsiteY46" fmla="*/ 195835 h 215932"/>
              <a:gd name="connsiteX47" fmla="*/ 139135 w 247155"/>
              <a:gd name="connsiteY47" fmla="*/ 203371 h 215932"/>
              <a:gd name="connsiteX48" fmla="*/ 146672 w 247155"/>
              <a:gd name="connsiteY48" fmla="*/ 205883 h 215932"/>
              <a:gd name="connsiteX49" fmla="*/ 174305 w 247155"/>
              <a:gd name="connsiteY49" fmla="*/ 208395 h 215932"/>
              <a:gd name="connsiteX50" fmla="*/ 186865 w 247155"/>
              <a:gd name="connsiteY50" fmla="*/ 215932 h 215932"/>
              <a:gd name="connsiteX0" fmla="*/ 186865 w 247155"/>
              <a:gd name="connsiteY0" fmla="*/ 215932 h 215932"/>
              <a:gd name="connsiteX1" fmla="*/ 194401 w 247155"/>
              <a:gd name="connsiteY1" fmla="*/ 203371 h 215932"/>
              <a:gd name="connsiteX2" fmla="*/ 189377 w 247155"/>
              <a:gd name="connsiteY2" fmla="*/ 195835 h 215932"/>
              <a:gd name="connsiteX3" fmla="*/ 186865 w 247155"/>
              <a:gd name="connsiteY3" fmla="*/ 188299 h 215932"/>
              <a:gd name="connsiteX4" fmla="*/ 222034 w 247155"/>
              <a:gd name="connsiteY4" fmla="*/ 175738 h 215932"/>
              <a:gd name="connsiteX5" fmla="*/ 227059 w 247155"/>
              <a:gd name="connsiteY5" fmla="*/ 160666 h 215932"/>
              <a:gd name="connsiteX6" fmla="*/ 232083 w 247155"/>
              <a:gd name="connsiteY6" fmla="*/ 153129 h 215932"/>
              <a:gd name="connsiteX7" fmla="*/ 234595 w 247155"/>
              <a:gd name="connsiteY7" fmla="*/ 145593 h 215932"/>
              <a:gd name="connsiteX8" fmla="*/ 244643 w 247155"/>
              <a:gd name="connsiteY8" fmla="*/ 130521 h 215932"/>
              <a:gd name="connsiteX9" fmla="*/ 247155 w 247155"/>
              <a:gd name="connsiteY9" fmla="*/ 122984 h 215932"/>
              <a:gd name="connsiteX10" fmla="*/ 209474 w 247155"/>
              <a:gd name="connsiteY10" fmla="*/ 115448 h 215932"/>
              <a:gd name="connsiteX11" fmla="*/ 219053 w 247155"/>
              <a:gd name="connsiteY11" fmla="*/ 122917 h 215932"/>
              <a:gd name="connsiteX12" fmla="*/ 186865 w 247155"/>
              <a:gd name="connsiteY12" fmla="*/ 125496 h 215932"/>
              <a:gd name="connsiteX13" fmla="*/ 176817 w 247155"/>
              <a:gd name="connsiteY13" fmla="*/ 122984 h 215932"/>
              <a:gd name="connsiteX14" fmla="*/ 181640 w 247155"/>
              <a:gd name="connsiteY14" fmla="*/ 115448 h 215932"/>
              <a:gd name="connsiteX15" fmla="*/ 166768 w 247155"/>
              <a:gd name="connsiteY15" fmla="*/ 95351 h 215932"/>
              <a:gd name="connsiteX16" fmla="*/ 151696 w 247155"/>
              <a:gd name="connsiteY16" fmla="*/ 90327 h 215932"/>
              <a:gd name="connsiteX17" fmla="*/ 129087 w 247155"/>
              <a:gd name="connsiteY17" fmla="*/ 85303 h 215932"/>
              <a:gd name="connsiteX18" fmla="*/ 124063 w 247155"/>
              <a:gd name="connsiteY18" fmla="*/ 70230 h 215932"/>
              <a:gd name="connsiteX19" fmla="*/ 119039 w 247155"/>
              <a:gd name="connsiteY19" fmla="*/ 50134 h 215932"/>
              <a:gd name="connsiteX20" fmla="*/ 108990 w 247155"/>
              <a:gd name="connsiteY20" fmla="*/ 37573 h 215932"/>
              <a:gd name="connsiteX21" fmla="*/ 96430 w 247155"/>
              <a:gd name="connsiteY21" fmla="*/ 14965 h 215932"/>
              <a:gd name="connsiteX22" fmla="*/ 81357 w 247155"/>
              <a:gd name="connsiteY22" fmla="*/ 7428 h 215932"/>
              <a:gd name="connsiteX23" fmla="*/ 40359 w 247155"/>
              <a:gd name="connsiteY23" fmla="*/ 161 h 215932"/>
              <a:gd name="connsiteX24" fmla="*/ 3483 w 247155"/>
              <a:gd name="connsiteY24" fmla="*/ 12452 h 215932"/>
              <a:gd name="connsiteX25" fmla="*/ 971 w 247155"/>
              <a:gd name="connsiteY25" fmla="*/ 19989 h 215932"/>
              <a:gd name="connsiteX26" fmla="*/ 8507 w 247155"/>
              <a:gd name="connsiteY26" fmla="*/ 25013 h 215932"/>
              <a:gd name="connsiteX27" fmla="*/ 18555 w 247155"/>
              <a:gd name="connsiteY27" fmla="*/ 27525 h 215932"/>
              <a:gd name="connsiteX28" fmla="*/ 5995 w 247155"/>
              <a:gd name="connsiteY28" fmla="*/ 40085 h 215932"/>
              <a:gd name="connsiteX29" fmla="*/ 13531 w 247155"/>
              <a:gd name="connsiteY29" fmla="*/ 42598 h 215932"/>
              <a:gd name="connsiteX30" fmla="*/ 26092 w 247155"/>
              <a:gd name="connsiteY30" fmla="*/ 45110 h 215932"/>
              <a:gd name="connsiteX31" fmla="*/ 36140 w 247155"/>
              <a:gd name="connsiteY31" fmla="*/ 67718 h 215932"/>
              <a:gd name="connsiteX32" fmla="*/ 43676 w 247155"/>
              <a:gd name="connsiteY32" fmla="*/ 70230 h 215932"/>
              <a:gd name="connsiteX33" fmla="*/ 58749 w 247155"/>
              <a:gd name="connsiteY33" fmla="*/ 67718 h 215932"/>
              <a:gd name="connsiteX34" fmla="*/ 73821 w 247155"/>
              <a:gd name="connsiteY34" fmla="*/ 57670 h 215932"/>
              <a:gd name="connsiteX35" fmla="*/ 81357 w 247155"/>
              <a:gd name="connsiteY35" fmla="*/ 55158 h 215932"/>
              <a:gd name="connsiteX36" fmla="*/ 81357 w 247155"/>
              <a:gd name="connsiteY36" fmla="*/ 97863 h 215932"/>
              <a:gd name="connsiteX37" fmla="*/ 83870 w 247155"/>
              <a:gd name="connsiteY37" fmla="*/ 122984 h 215932"/>
              <a:gd name="connsiteX38" fmla="*/ 88894 w 247155"/>
              <a:gd name="connsiteY38" fmla="*/ 138057 h 215932"/>
              <a:gd name="connsiteX39" fmla="*/ 81357 w 247155"/>
              <a:gd name="connsiteY39" fmla="*/ 150617 h 215932"/>
              <a:gd name="connsiteX40" fmla="*/ 78845 w 247155"/>
              <a:gd name="connsiteY40" fmla="*/ 158154 h 215932"/>
              <a:gd name="connsiteX41" fmla="*/ 73821 w 247155"/>
              <a:gd name="connsiteY41" fmla="*/ 165690 h 215932"/>
              <a:gd name="connsiteX42" fmla="*/ 68797 w 247155"/>
              <a:gd name="connsiteY42" fmla="*/ 180762 h 215932"/>
              <a:gd name="connsiteX43" fmla="*/ 81357 w 247155"/>
              <a:gd name="connsiteY43" fmla="*/ 188299 h 215932"/>
              <a:gd name="connsiteX44" fmla="*/ 88894 w 247155"/>
              <a:gd name="connsiteY44" fmla="*/ 190811 h 215932"/>
              <a:gd name="connsiteX45" fmla="*/ 129087 w 247155"/>
              <a:gd name="connsiteY45" fmla="*/ 190811 h 215932"/>
              <a:gd name="connsiteX46" fmla="*/ 136623 w 247155"/>
              <a:gd name="connsiteY46" fmla="*/ 195835 h 215932"/>
              <a:gd name="connsiteX47" fmla="*/ 139135 w 247155"/>
              <a:gd name="connsiteY47" fmla="*/ 203371 h 215932"/>
              <a:gd name="connsiteX48" fmla="*/ 146672 w 247155"/>
              <a:gd name="connsiteY48" fmla="*/ 205883 h 215932"/>
              <a:gd name="connsiteX49" fmla="*/ 174305 w 247155"/>
              <a:gd name="connsiteY49" fmla="*/ 208395 h 215932"/>
              <a:gd name="connsiteX50" fmla="*/ 186865 w 247155"/>
              <a:gd name="connsiteY50" fmla="*/ 215932 h 215932"/>
              <a:gd name="connsiteX0" fmla="*/ 186865 w 247155"/>
              <a:gd name="connsiteY0" fmla="*/ 215932 h 215932"/>
              <a:gd name="connsiteX1" fmla="*/ 194401 w 247155"/>
              <a:gd name="connsiteY1" fmla="*/ 203371 h 215932"/>
              <a:gd name="connsiteX2" fmla="*/ 189377 w 247155"/>
              <a:gd name="connsiteY2" fmla="*/ 195835 h 215932"/>
              <a:gd name="connsiteX3" fmla="*/ 186865 w 247155"/>
              <a:gd name="connsiteY3" fmla="*/ 188299 h 215932"/>
              <a:gd name="connsiteX4" fmla="*/ 222034 w 247155"/>
              <a:gd name="connsiteY4" fmla="*/ 175738 h 215932"/>
              <a:gd name="connsiteX5" fmla="*/ 227059 w 247155"/>
              <a:gd name="connsiteY5" fmla="*/ 160666 h 215932"/>
              <a:gd name="connsiteX6" fmla="*/ 232083 w 247155"/>
              <a:gd name="connsiteY6" fmla="*/ 153129 h 215932"/>
              <a:gd name="connsiteX7" fmla="*/ 234595 w 247155"/>
              <a:gd name="connsiteY7" fmla="*/ 145593 h 215932"/>
              <a:gd name="connsiteX8" fmla="*/ 244643 w 247155"/>
              <a:gd name="connsiteY8" fmla="*/ 130521 h 215932"/>
              <a:gd name="connsiteX9" fmla="*/ 247155 w 247155"/>
              <a:gd name="connsiteY9" fmla="*/ 122984 h 215932"/>
              <a:gd name="connsiteX10" fmla="*/ 209474 w 247155"/>
              <a:gd name="connsiteY10" fmla="*/ 115448 h 215932"/>
              <a:gd name="connsiteX11" fmla="*/ 219053 w 247155"/>
              <a:gd name="connsiteY11" fmla="*/ 122917 h 215932"/>
              <a:gd name="connsiteX12" fmla="*/ 186865 w 247155"/>
              <a:gd name="connsiteY12" fmla="*/ 125496 h 215932"/>
              <a:gd name="connsiteX13" fmla="*/ 176817 w 247155"/>
              <a:gd name="connsiteY13" fmla="*/ 122984 h 215932"/>
              <a:gd name="connsiteX14" fmla="*/ 181640 w 247155"/>
              <a:gd name="connsiteY14" fmla="*/ 115448 h 215932"/>
              <a:gd name="connsiteX15" fmla="*/ 174103 w 247155"/>
              <a:gd name="connsiteY15" fmla="*/ 92906 h 215932"/>
              <a:gd name="connsiteX16" fmla="*/ 151696 w 247155"/>
              <a:gd name="connsiteY16" fmla="*/ 90327 h 215932"/>
              <a:gd name="connsiteX17" fmla="*/ 129087 w 247155"/>
              <a:gd name="connsiteY17" fmla="*/ 85303 h 215932"/>
              <a:gd name="connsiteX18" fmla="*/ 124063 w 247155"/>
              <a:gd name="connsiteY18" fmla="*/ 70230 h 215932"/>
              <a:gd name="connsiteX19" fmla="*/ 119039 w 247155"/>
              <a:gd name="connsiteY19" fmla="*/ 50134 h 215932"/>
              <a:gd name="connsiteX20" fmla="*/ 108990 w 247155"/>
              <a:gd name="connsiteY20" fmla="*/ 37573 h 215932"/>
              <a:gd name="connsiteX21" fmla="*/ 96430 w 247155"/>
              <a:gd name="connsiteY21" fmla="*/ 14965 h 215932"/>
              <a:gd name="connsiteX22" fmla="*/ 81357 w 247155"/>
              <a:gd name="connsiteY22" fmla="*/ 7428 h 215932"/>
              <a:gd name="connsiteX23" fmla="*/ 40359 w 247155"/>
              <a:gd name="connsiteY23" fmla="*/ 161 h 215932"/>
              <a:gd name="connsiteX24" fmla="*/ 3483 w 247155"/>
              <a:gd name="connsiteY24" fmla="*/ 12452 h 215932"/>
              <a:gd name="connsiteX25" fmla="*/ 971 w 247155"/>
              <a:gd name="connsiteY25" fmla="*/ 19989 h 215932"/>
              <a:gd name="connsiteX26" fmla="*/ 8507 w 247155"/>
              <a:gd name="connsiteY26" fmla="*/ 25013 h 215932"/>
              <a:gd name="connsiteX27" fmla="*/ 18555 w 247155"/>
              <a:gd name="connsiteY27" fmla="*/ 27525 h 215932"/>
              <a:gd name="connsiteX28" fmla="*/ 5995 w 247155"/>
              <a:gd name="connsiteY28" fmla="*/ 40085 h 215932"/>
              <a:gd name="connsiteX29" fmla="*/ 13531 w 247155"/>
              <a:gd name="connsiteY29" fmla="*/ 42598 h 215932"/>
              <a:gd name="connsiteX30" fmla="*/ 26092 w 247155"/>
              <a:gd name="connsiteY30" fmla="*/ 45110 h 215932"/>
              <a:gd name="connsiteX31" fmla="*/ 36140 w 247155"/>
              <a:gd name="connsiteY31" fmla="*/ 67718 h 215932"/>
              <a:gd name="connsiteX32" fmla="*/ 43676 w 247155"/>
              <a:gd name="connsiteY32" fmla="*/ 70230 h 215932"/>
              <a:gd name="connsiteX33" fmla="*/ 58749 w 247155"/>
              <a:gd name="connsiteY33" fmla="*/ 67718 h 215932"/>
              <a:gd name="connsiteX34" fmla="*/ 73821 w 247155"/>
              <a:gd name="connsiteY34" fmla="*/ 57670 h 215932"/>
              <a:gd name="connsiteX35" fmla="*/ 81357 w 247155"/>
              <a:gd name="connsiteY35" fmla="*/ 55158 h 215932"/>
              <a:gd name="connsiteX36" fmla="*/ 81357 w 247155"/>
              <a:gd name="connsiteY36" fmla="*/ 97863 h 215932"/>
              <a:gd name="connsiteX37" fmla="*/ 83870 w 247155"/>
              <a:gd name="connsiteY37" fmla="*/ 122984 h 215932"/>
              <a:gd name="connsiteX38" fmla="*/ 88894 w 247155"/>
              <a:gd name="connsiteY38" fmla="*/ 138057 h 215932"/>
              <a:gd name="connsiteX39" fmla="*/ 81357 w 247155"/>
              <a:gd name="connsiteY39" fmla="*/ 150617 h 215932"/>
              <a:gd name="connsiteX40" fmla="*/ 78845 w 247155"/>
              <a:gd name="connsiteY40" fmla="*/ 158154 h 215932"/>
              <a:gd name="connsiteX41" fmla="*/ 73821 w 247155"/>
              <a:gd name="connsiteY41" fmla="*/ 165690 h 215932"/>
              <a:gd name="connsiteX42" fmla="*/ 68797 w 247155"/>
              <a:gd name="connsiteY42" fmla="*/ 180762 h 215932"/>
              <a:gd name="connsiteX43" fmla="*/ 81357 w 247155"/>
              <a:gd name="connsiteY43" fmla="*/ 188299 h 215932"/>
              <a:gd name="connsiteX44" fmla="*/ 88894 w 247155"/>
              <a:gd name="connsiteY44" fmla="*/ 190811 h 215932"/>
              <a:gd name="connsiteX45" fmla="*/ 129087 w 247155"/>
              <a:gd name="connsiteY45" fmla="*/ 190811 h 215932"/>
              <a:gd name="connsiteX46" fmla="*/ 136623 w 247155"/>
              <a:gd name="connsiteY46" fmla="*/ 195835 h 215932"/>
              <a:gd name="connsiteX47" fmla="*/ 139135 w 247155"/>
              <a:gd name="connsiteY47" fmla="*/ 203371 h 215932"/>
              <a:gd name="connsiteX48" fmla="*/ 146672 w 247155"/>
              <a:gd name="connsiteY48" fmla="*/ 205883 h 215932"/>
              <a:gd name="connsiteX49" fmla="*/ 174305 w 247155"/>
              <a:gd name="connsiteY49" fmla="*/ 208395 h 215932"/>
              <a:gd name="connsiteX50" fmla="*/ 186865 w 247155"/>
              <a:gd name="connsiteY50" fmla="*/ 215932 h 215932"/>
              <a:gd name="connsiteX0" fmla="*/ 186865 w 252045"/>
              <a:gd name="connsiteY0" fmla="*/ 215932 h 215932"/>
              <a:gd name="connsiteX1" fmla="*/ 194401 w 252045"/>
              <a:gd name="connsiteY1" fmla="*/ 203371 h 215932"/>
              <a:gd name="connsiteX2" fmla="*/ 189377 w 252045"/>
              <a:gd name="connsiteY2" fmla="*/ 195835 h 215932"/>
              <a:gd name="connsiteX3" fmla="*/ 186865 w 252045"/>
              <a:gd name="connsiteY3" fmla="*/ 188299 h 215932"/>
              <a:gd name="connsiteX4" fmla="*/ 222034 w 252045"/>
              <a:gd name="connsiteY4" fmla="*/ 175738 h 215932"/>
              <a:gd name="connsiteX5" fmla="*/ 227059 w 252045"/>
              <a:gd name="connsiteY5" fmla="*/ 160666 h 215932"/>
              <a:gd name="connsiteX6" fmla="*/ 232083 w 252045"/>
              <a:gd name="connsiteY6" fmla="*/ 153129 h 215932"/>
              <a:gd name="connsiteX7" fmla="*/ 234595 w 252045"/>
              <a:gd name="connsiteY7" fmla="*/ 145593 h 215932"/>
              <a:gd name="connsiteX8" fmla="*/ 244643 w 252045"/>
              <a:gd name="connsiteY8" fmla="*/ 130521 h 215932"/>
              <a:gd name="connsiteX9" fmla="*/ 252045 w 252045"/>
              <a:gd name="connsiteY9" fmla="*/ 110760 h 215932"/>
              <a:gd name="connsiteX10" fmla="*/ 209474 w 252045"/>
              <a:gd name="connsiteY10" fmla="*/ 115448 h 215932"/>
              <a:gd name="connsiteX11" fmla="*/ 219053 w 252045"/>
              <a:gd name="connsiteY11" fmla="*/ 122917 h 215932"/>
              <a:gd name="connsiteX12" fmla="*/ 186865 w 252045"/>
              <a:gd name="connsiteY12" fmla="*/ 125496 h 215932"/>
              <a:gd name="connsiteX13" fmla="*/ 176817 w 252045"/>
              <a:gd name="connsiteY13" fmla="*/ 122984 h 215932"/>
              <a:gd name="connsiteX14" fmla="*/ 181640 w 252045"/>
              <a:gd name="connsiteY14" fmla="*/ 115448 h 215932"/>
              <a:gd name="connsiteX15" fmla="*/ 174103 w 252045"/>
              <a:gd name="connsiteY15" fmla="*/ 92906 h 215932"/>
              <a:gd name="connsiteX16" fmla="*/ 151696 w 252045"/>
              <a:gd name="connsiteY16" fmla="*/ 90327 h 215932"/>
              <a:gd name="connsiteX17" fmla="*/ 129087 w 252045"/>
              <a:gd name="connsiteY17" fmla="*/ 85303 h 215932"/>
              <a:gd name="connsiteX18" fmla="*/ 124063 w 252045"/>
              <a:gd name="connsiteY18" fmla="*/ 70230 h 215932"/>
              <a:gd name="connsiteX19" fmla="*/ 119039 w 252045"/>
              <a:gd name="connsiteY19" fmla="*/ 50134 h 215932"/>
              <a:gd name="connsiteX20" fmla="*/ 108990 w 252045"/>
              <a:gd name="connsiteY20" fmla="*/ 37573 h 215932"/>
              <a:gd name="connsiteX21" fmla="*/ 96430 w 252045"/>
              <a:gd name="connsiteY21" fmla="*/ 14965 h 215932"/>
              <a:gd name="connsiteX22" fmla="*/ 81357 w 252045"/>
              <a:gd name="connsiteY22" fmla="*/ 7428 h 215932"/>
              <a:gd name="connsiteX23" fmla="*/ 40359 w 252045"/>
              <a:gd name="connsiteY23" fmla="*/ 161 h 215932"/>
              <a:gd name="connsiteX24" fmla="*/ 3483 w 252045"/>
              <a:gd name="connsiteY24" fmla="*/ 12452 h 215932"/>
              <a:gd name="connsiteX25" fmla="*/ 971 w 252045"/>
              <a:gd name="connsiteY25" fmla="*/ 19989 h 215932"/>
              <a:gd name="connsiteX26" fmla="*/ 8507 w 252045"/>
              <a:gd name="connsiteY26" fmla="*/ 25013 h 215932"/>
              <a:gd name="connsiteX27" fmla="*/ 18555 w 252045"/>
              <a:gd name="connsiteY27" fmla="*/ 27525 h 215932"/>
              <a:gd name="connsiteX28" fmla="*/ 5995 w 252045"/>
              <a:gd name="connsiteY28" fmla="*/ 40085 h 215932"/>
              <a:gd name="connsiteX29" fmla="*/ 13531 w 252045"/>
              <a:gd name="connsiteY29" fmla="*/ 42598 h 215932"/>
              <a:gd name="connsiteX30" fmla="*/ 26092 w 252045"/>
              <a:gd name="connsiteY30" fmla="*/ 45110 h 215932"/>
              <a:gd name="connsiteX31" fmla="*/ 36140 w 252045"/>
              <a:gd name="connsiteY31" fmla="*/ 67718 h 215932"/>
              <a:gd name="connsiteX32" fmla="*/ 43676 w 252045"/>
              <a:gd name="connsiteY32" fmla="*/ 70230 h 215932"/>
              <a:gd name="connsiteX33" fmla="*/ 58749 w 252045"/>
              <a:gd name="connsiteY33" fmla="*/ 67718 h 215932"/>
              <a:gd name="connsiteX34" fmla="*/ 73821 w 252045"/>
              <a:gd name="connsiteY34" fmla="*/ 57670 h 215932"/>
              <a:gd name="connsiteX35" fmla="*/ 81357 w 252045"/>
              <a:gd name="connsiteY35" fmla="*/ 55158 h 215932"/>
              <a:gd name="connsiteX36" fmla="*/ 81357 w 252045"/>
              <a:gd name="connsiteY36" fmla="*/ 97863 h 215932"/>
              <a:gd name="connsiteX37" fmla="*/ 83870 w 252045"/>
              <a:gd name="connsiteY37" fmla="*/ 122984 h 215932"/>
              <a:gd name="connsiteX38" fmla="*/ 88894 w 252045"/>
              <a:gd name="connsiteY38" fmla="*/ 138057 h 215932"/>
              <a:gd name="connsiteX39" fmla="*/ 81357 w 252045"/>
              <a:gd name="connsiteY39" fmla="*/ 150617 h 215932"/>
              <a:gd name="connsiteX40" fmla="*/ 78845 w 252045"/>
              <a:gd name="connsiteY40" fmla="*/ 158154 h 215932"/>
              <a:gd name="connsiteX41" fmla="*/ 73821 w 252045"/>
              <a:gd name="connsiteY41" fmla="*/ 165690 h 215932"/>
              <a:gd name="connsiteX42" fmla="*/ 68797 w 252045"/>
              <a:gd name="connsiteY42" fmla="*/ 180762 h 215932"/>
              <a:gd name="connsiteX43" fmla="*/ 81357 w 252045"/>
              <a:gd name="connsiteY43" fmla="*/ 188299 h 215932"/>
              <a:gd name="connsiteX44" fmla="*/ 88894 w 252045"/>
              <a:gd name="connsiteY44" fmla="*/ 190811 h 215932"/>
              <a:gd name="connsiteX45" fmla="*/ 129087 w 252045"/>
              <a:gd name="connsiteY45" fmla="*/ 190811 h 215932"/>
              <a:gd name="connsiteX46" fmla="*/ 136623 w 252045"/>
              <a:gd name="connsiteY46" fmla="*/ 195835 h 215932"/>
              <a:gd name="connsiteX47" fmla="*/ 139135 w 252045"/>
              <a:gd name="connsiteY47" fmla="*/ 203371 h 215932"/>
              <a:gd name="connsiteX48" fmla="*/ 146672 w 252045"/>
              <a:gd name="connsiteY48" fmla="*/ 205883 h 215932"/>
              <a:gd name="connsiteX49" fmla="*/ 174305 w 252045"/>
              <a:gd name="connsiteY49" fmla="*/ 208395 h 215932"/>
              <a:gd name="connsiteX50" fmla="*/ 186865 w 252045"/>
              <a:gd name="connsiteY50" fmla="*/ 215932 h 215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252045" h="215932">
                <a:moveTo>
                  <a:pt x="186865" y="215932"/>
                </a:moveTo>
                <a:cubicBezTo>
                  <a:pt x="189377" y="211745"/>
                  <a:pt x="193795" y="208216"/>
                  <a:pt x="194401" y="203371"/>
                </a:cubicBezTo>
                <a:cubicBezTo>
                  <a:pt x="194775" y="200375"/>
                  <a:pt x="190727" y="198535"/>
                  <a:pt x="189377" y="195835"/>
                </a:cubicBezTo>
                <a:cubicBezTo>
                  <a:pt x="188193" y="193467"/>
                  <a:pt x="187702" y="190811"/>
                  <a:pt x="186865" y="188299"/>
                </a:cubicBezTo>
                <a:cubicBezTo>
                  <a:pt x="193284" y="162621"/>
                  <a:pt x="181953" y="194441"/>
                  <a:pt x="222034" y="175738"/>
                </a:cubicBezTo>
                <a:cubicBezTo>
                  <a:pt x="226833" y="173499"/>
                  <a:pt x="224122" y="165073"/>
                  <a:pt x="227059" y="160666"/>
                </a:cubicBezTo>
                <a:cubicBezTo>
                  <a:pt x="228734" y="158154"/>
                  <a:pt x="230733" y="155830"/>
                  <a:pt x="232083" y="153129"/>
                </a:cubicBezTo>
                <a:cubicBezTo>
                  <a:pt x="233267" y="150761"/>
                  <a:pt x="233309" y="147908"/>
                  <a:pt x="234595" y="145593"/>
                </a:cubicBezTo>
                <a:cubicBezTo>
                  <a:pt x="237527" y="140315"/>
                  <a:pt x="241735" y="136326"/>
                  <a:pt x="244643" y="130521"/>
                </a:cubicBezTo>
                <a:cubicBezTo>
                  <a:pt x="247551" y="124716"/>
                  <a:pt x="252045" y="113408"/>
                  <a:pt x="252045" y="110760"/>
                </a:cubicBezTo>
                <a:cubicBezTo>
                  <a:pt x="252045" y="88927"/>
                  <a:pt x="229831" y="113994"/>
                  <a:pt x="209474" y="115448"/>
                </a:cubicBezTo>
                <a:cubicBezTo>
                  <a:pt x="206962" y="117123"/>
                  <a:pt x="221812" y="121691"/>
                  <a:pt x="219053" y="122917"/>
                </a:cubicBezTo>
                <a:cubicBezTo>
                  <a:pt x="214213" y="125068"/>
                  <a:pt x="193904" y="125485"/>
                  <a:pt x="186865" y="125496"/>
                </a:cubicBezTo>
                <a:cubicBezTo>
                  <a:pt x="179826" y="125507"/>
                  <a:pt x="177688" y="124659"/>
                  <a:pt x="176817" y="122984"/>
                </a:cubicBezTo>
                <a:cubicBezTo>
                  <a:pt x="175946" y="121309"/>
                  <a:pt x="182092" y="120461"/>
                  <a:pt x="181640" y="115448"/>
                </a:cubicBezTo>
                <a:cubicBezTo>
                  <a:pt x="181188" y="110435"/>
                  <a:pt x="179094" y="97093"/>
                  <a:pt x="174103" y="92906"/>
                </a:cubicBezTo>
                <a:cubicBezTo>
                  <a:pt x="169112" y="88719"/>
                  <a:pt x="159199" y="91594"/>
                  <a:pt x="151696" y="90327"/>
                </a:cubicBezTo>
                <a:cubicBezTo>
                  <a:pt x="144193" y="89060"/>
                  <a:pt x="143277" y="88851"/>
                  <a:pt x="129087" y="85303"/>
                </a:cubicBezTo>
                <a:cubicBezTo>
                  <a:pt x="127412" y="80279"/>
                  <a:pt x="125102" y="75423"/>
                  <a:pt x="124063" y="70230"/>
                </a:cubicBezTo>
                <a:cubicBezTo>
                  <a:pt x="123108" y="65453"/>
                  <a:pt x="121614" y="55284"/>
                  <a:pt x="119039" y="50134"/>
                </a:cubicBezTo>
                <a:cubicBezTo>
                  <a:pt x="115870" y="43796"/>
                  <a:pt x="113663" y="42246"/>
                  <a:pt x="108990" y="37573"/>
                </a:cubicBezTo>
                <a:cubicBezTo>
                  <a:pt x="106778" y="30937"/>
                  <a:pt x="102909" y="17125"/>
                  <a:pt x="96430" y="14965"/>
                </a:cubicBezTo>
                <a:cubicBezTo>
                  <a:pt x="86030" y="11497"/>
                  <a:pt x="91097" y="13921"/>
                  <a:pt x="81357" y="7428"/>
                </a:cubicBezTo>
                <a:cubicBezTo>
                  <a:pt x="57911" y="8265"/>
                  <a:pt x="63771" y="-1349"/>
                  <a:pt x="40359" y="161"/>
                </a:cubicBezTo>
                <a:cubicBezTo>
                  <a:pt x="37717" y="331"/>
                  <a:pt x="10048" y="9147"/>
                  <a:pt x="3483" y="12452"/>
                </a:cubicBezTo>
                <a:cubicBezTo>
                  <a:pt x="-3082" y="15757"/>
                  <a:pt x="1808" y="17477"/>
                  <a:pt x="971" y="19989"/>
                </a:cubicBezTo>
                <a:cubicBezTo>
                  <a:pt x="3483" y="21664"/>
                  <a:pt x="5732" y="23824"/>
                  <a:pt x="8507" y="25013"/>
                </a:cubicBezTo>
                <a:cubicBezTo>
                  <a:pt x="11680" y="26373"/>
                  <a:pt x="17011" y="24437"/>
                  <a:pt x="18555" y="27525"/>
                </a:cubicBezTo>
                <a:cubicBezTo>
                  <a:pt x="20648" y="31712"/>
                  <a:pt x="7251" y="39248"/>
                  <a:pt x="5995" y="40085"/>
                </a:cubicBezTo>
                <a:cubicBezTo>
                  <a:pt x="8507" y="40923"/>
                  <a:pt x="10962" y="41956"/>
                  <a:pt x="13531" y="42598"/>
                </a:cubicBezTo>
                <a:cubicBezTo>
                  <a:pt x="17673" y="43634"/>
                  <a:pt x="23073" y="42091"/>
                  <a:pt x="26092" y="45110"/>
                </a:cubicBezTo>
                <a:cubicBezTo>
                  <a:pt x="42983" y="62000"/>
                  <a:pt x="21957" y="56372"/>
                  <a:pt x="36140" y="67718"/>
                </a:cubicBezTo>
                <a:cubicBezTo>
                  <a:pt x="38208" y="69372"/>
                  <a:pt x="41164" y="69393"/>
                  <a:pt x="43676" y="70230"/>
                </a:cubicBezTo>
                <a:cubicBezTo>
                  <a:pt x="48700" y="69393"/>
                  <a:pt x="54047" y="69677"/>
                  <a:pt x="58749" y="67718"/>
                </a:cubicBezTo>
                <a:cubicBezTo>
                  <a:pt x="64323" y="65396"/>
                  <a:pt x="68093" y="59579"/>
                  <a:pt x="73821" y="57670"/>
                </a:cubicBezTo>
                <a:lnTo>
                  <a:pt x="81357" y="55158"/>
                </a:lnTo>
                <a:cubicBezTo>
                  <a:pt x="88197" y="75669"/>
                  <a:pt x="81357" y="51951"/>
                  <a:pt x="81357" y="97863"/>
                </a:cubicBezTo>
                <a:cubicBezTo>
                  <a:pt x="81357" y="106278"/>
                  <a:pt x="82319" y="114713"/>
                  <a:pt x="83870" y="122984"/>
                </a:cubicBezTo>
                <a:cubicBezTo>
                  <a:pt x="84846" y="128189"/>
                  <a:pt x="88894" y="138057"/>
                  <a:pt x="88894" y="138057"/>
                </a:cubicBezTo>
                <a:cubicBezTo>
                  <a:pt x="81777" y="159408"/>
                  <a:pt x="91704" y="133374"/>
                  <a:pt x="81357" y="150617"/>
                </a:cubicBezTo>
                <a:cubicBezTo>
                  <a:pt x="79994" y="152888"/>
                  <a:pt x="80029" y="155785"/>
                  <a:pt x="78845" y="158154"/>
                </a:cubicBezTo>
                <a:cubicBezTo>
                  <a:pt x="77495" y="160854"/>
                  <a:pt x="75047" y="162931"/>
                  <a:pt x="73821" y="165690"/>
                </a:cubicBezTo>
                <a:cubicBezTo>
                  <a:pt x="71670" y="170529"/>
                  <a:pt x="68797" y="180762"/>
                  <a:pt x="68797" y="180762"/>
                </a:cubicBezTo>
                <a:cubicBezTo>
                  <a:pt x="90148" y="187879"/>
                  <a:pt x="64114" y="177952"/>
                  <a:pt x="81357" y="188299"/>
                </a:cubicBezTo>
                <a:cubicBezTo>
                  <a:pt x="83628" y="189662"/>
                  <a:pt x="86382" y="189974"/>
                  <a:pt x="88894" y="190811"/>
                </a:cubicBezTo>
                <a:cubicBezTo>
                  <a:pt x="105737" y="188706"/>
                  <a:pt x="112244" y="186218"/>
                  <a:pt x="129087" y="190811"/>
                </a:cubicBezTo>
                <a:cubicBezTo>
                  <a:pt x="132000" y="191605"/>
                  <a:pt x="134111" y="194160"/>
                  <a:pt x="136623" y="195835"/>
                </a:cubicBezTo>
                <a:cubicBezTo>
                  <a:pt x="137460" y="198347"/>
                  <a:pt x="137263" y="201499"/>
                  <a:pt x="139135" y="203371"/>
                </a:cubicBezTo>
                <a:cubicBezTo>
                  <a:pt x="141008" y="205243"/>
                  <a:pt x="144050" y="205509"/>
                  <a:pt x="146672" y="205883"/>
                </a:cubicBezTo>
                <a:cubicBezTo>
                  <a:pt x="155828" y="207191"/>
                  <a:pt x="165094" y="207558"/>
                  <a:pt x="174305" y="208395"/>
                </a:cubicBezTo>
                <a:lnTo>
                  <a:pt x="186865" y="215932"/>
                </a:lnTo>
                <a:close/>
              </a:path>
            </a:pathLst>
          </a:custGeom>
          <a:solidFill>
            <a:srgbClr val="C8EDF8"/>
          </a:solidFill>
          <a:ln w="317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GB" kern="0" dirty="0" err="1">
              <a:solidFill>
                <a:prstClr val="white"/>
              </a:solidFill>
            </a:endParaRPr>
          </a:p>
        </p:txBody>
      </p:sp>
      <p:sp>
        <p:nvSpPr>
          <p:cNvPr id="46" name="Freeform 45"/>
          <p:cNvSpPr/>
          <p:nvPr/>
        </p:nvSpPr>
        <p:spPr>
          <a:xfrm>
            <a:off x="6471022" y="2597698"/>
            <a:ext cx="248116" cy="225084"/>
          </a:xfrm>
          <a:custGeom>
            <a:avLst/>
            <a:gdLst>
              <a:gd name="connsiteX0" fmla="*/ 385 w 140879"/>
              <a:gd name="connsiteY0" fmla="*/ 73818 h 102393"/>
              <a:gd name="connsiteX1" fmla="*/ 9910 w 140879"/>
              <a:gd name="connsiteY1" fmla="*/ 85725 h 102393"/>
              <a:gd name="connsiteX2" fmla="*/ 19435 w 140879"/>
              <a:gd name="connsiteY2" fmla="*/ 102393 h 102393"/>
              <a:gd name="connsiteX3" fmla="*/ 28960 w 140879"/>
              <a:gd name="connsiteY3" fmla="*/ 83343 h 102393"/>
              <a:gd name="connsiteX4" fmla="*/ 36104 w 140879"/>
              <a:gd name="connsiteY4" fmla="*/ 76200 h 102393"/>
              <a:gd name="connsiteX5" fmla="*/ 50392 w 140879"/>
              <a:gd name="connsiteY5" fmla="*/ 71437 h 102393"/>
              <a:gd name="connsiteX6" fmla="*/ 62298 w 140879"/>
              <a:gd name="connsiteY6" fmla="*/ 59531 h 102393"/>
              <a:gd name="connsiteX7" fmla="*/ 64679 w 140879"/>
              <a:gd name="connsiteY7" fmla="*/ 52387 h 102393"/>
              <a:gd name="connsiteX8" fmla="*/ 71823 w 140879"/>
              <a:gd name="connsiteY8" fmla="*/ 50006 h 102393"/>
              <a:gd name="connsiteX9" fmla="*/ 78967 w 140879"/>
              <a:gd name="connsiteY9" fmla="*/ 52387 h 102393"/>
              <a:gd name="connsiteX10" fmla="*/ 83729 w 140879"/>
              <a:gd name="connsiteY10" fmla="*/ 59531 h 102393"/>
              <a:gd name="connsiteX11" fmla="*/ 95635 w 140879"/>
              <a:gd name="connsiteY11" fmla="*/ 57150 h 102393"/>
              <a:gd name="connsiteX12" fmla="*/ 102779 w 140879"/>
              <a:gd name="connsiteY12" fmla="*/ 54768 h 102393"/>
              <a:gd name="connsiteX13" fmla="*/ 117067 w 140879"/>
              <a:gd name="connsiteY13" fmla="*/ 45243 h 102393"/>
              <a:gd name="connsiteX14" fmla="*/ 119448 w 140879"/>
              <a:gd name="connsiteY14" fmla="*/ 38100 h 102393"/>
              <a:gd name="connsiteX15" fmla="*/ 136117 w 140879"/>
              <a:gd name="connsiteY15" fmla="*/ 28575 h 102393"/>
              <a:gd name="connsiteX16" fmla="*/ 140879 w 140879"/>
              <a:gd name="connsiteY16" fmla="*/ 21431 h 102393"/>
              <a:gd name="connsiteX17" fmla="*/ 121829 w 140879"/>
              <a:gd name="connsiteY17" fmla="*/ 4762 h 102393"/>
              <a:gd name="connsiteX18" fmla="*/ 114685 w 140879"/>
              <a:gd name="connsiteY18" fmla="*/ 0 h 102393"/>
              <a:gd name="connsiteX19" fmla="*/ 86110 w 140879"/>
              <a:gd name="connsiteY19" fmla="*/ 9525 h 102393"/>
              <a:gd name="connsiteX20" fmla="*/ 83729 w 140879"/>
              <a:gd name="connsiteY20" fmla="*/ 19050 h 102393"/>
              <a:gd name="connsiteX21" fmla="*/ 69442 w 140879"/>
              <a:gd name="connsiteY21" fmla="*/ 23812 h 102393"/>
              <a:gd name="connsiteX22" fmla="*/ 62298 w 140879"/>
              <a:gd name="connsiteY22" fmla="*/ 26193 h 102393"/>
              <a:gd name="connsiteX23" fmla="*/ 59917 w 140879"/>
              <a:gd name="connsiteY23" fmla="*/ 19050 h 102393"/>
              <a:gd name="connsiteX24" fmla="*/ 57535 w 140879"/>
              <a:gd name="connsiteY24" fmla="*/ 9525 h 102393"/>
              <a:gd name="connsiteX25" fmla="*/ 43248 w 140879"/>
              <a:gd name="connsiteY25" fmla="*/ 11906 h 102393"/>
              <a:gd name="connsiteX26" fmla="*/ 21817 w 140879"/>
              <a:gd name="connsiteY26" fmla="*/ 28575 h 102393"/>
              <a:gd name="connsiteX27" fmla="*/ 12292 w 140879"/>
              <a:gd name="connsiteY27" fmla="*/ 52387 h 102393"/>
              <a:gd name="connsiteX28" fmla="*/ 5148 w 140879"/>
              <a:gd name="connsiteY28" fmla="*/ 57150 h 102393"/>
              <a:gd name="connsiteX29" fmla="*/ 2767 w 140879"/>
              <a:gd name="connsiteY29" fmla="*/ 64293 h 102393"/>
              <a:gd name="connsiteX30" fmla="*/ 385 w 140879"/>
              <a:gd name="connsiteY30" fmla="*/ 73818 h 102393"/>
              <a:gd name="connsiteX0" fmla="*/ 385 w 140879"/>
              <a:gd name="connsiteY0" fmla="*/ 73818 h 102393"/>
              <a:gd name="connsiteX1" fmla="*/ 9910 w 140879"/>
              <a:gd name="connsiteY1" fmla="*/ 85725 h 102393"/>
              <a:gd name="connsiteX2" fmla="*/ 19435 w 140879"/>
              <a:gd name="connsiteY2" fmla="*/ 102393 h 102393"/>
              <a:gd name="connsiteX3" fmla="*/ 28960 w 140879"/>
              <a:gd name="connsiteY3" fmla="*/ 83343 h 102393"/>
              <a:gd name="connsiteX4" fmla="*/ 36104 w 140879"/>
              <a:gd name="connsiteY4" fmla="*/ 76200 h 102393"/>
              <a:gd name="connsiteX5" fmla="*/ 50392 w 140879"/>
              <a:gd name="connsiteY5" fmla="*/ 71437 h 102393"/>
              <a:gd name="connsiteX6" fmla="*/ 62298 w 140879"/>
              <a:gd name="connsiteY6" fmla="*/ 59531 h 102393"/>
              <a:gd name="connsiteX7" fmla="*/ 64679 w 140879"/>
              <a:gd name="connsiteY7" fmla="*/ 52387 h 102393"/>
              <a:gd name="connsiteX8" fmla="*/ 71823 w 140879"/>
              <a:gd name="connsiteY8" fmla="*/ 50006 h 102393"/>
              <a:gd name="connsiteX9" fmla="*/ 78967 w 140879"/>
              <a:gd name="connsiteY9" fmla="*/ 52387 h 102393"/>
              <a:gd name="connsiteX10" fmla="*/ 83729 w 140879"/>
              <a:gd name="connsiteY10" fmla="*/ 59531 h 102393"/>
              <a:gd name="connsiteX11" fmla="*/ 95635 w 140879"/>
              <a:gd name="connsiteY11" fmla="*/ 57150 h 102393"/>
              <a:gd name="connsiteX12" fmla="*/ 102779 w 140879"/>
              <a:gd name="connsiteY12" fmla="*/ 54768 h 102393"/>
              <a:gd name="connsiteX13" fmla="*/ 117067 w 140879"/>
              <a:gd name="connsiteY13" fmla="*/ 45243 h 102393"/>
              <a:gd name="connsiteX14" fmla="*/ 119448 w 140879"/>
              <a:gd name="connsiteY14" fmla="*/ 38100 h 102393"/>
              <a:gd name="connsiteX15" fmla="*/ 136117 w 140879"/>
              <a:gd name="connsiteY15" fmla="*/ 28575 h 102393"/>
              <a:gd name="connsiteX16" fmla="*/ 140879 w 140879"/>
              <a:gd name="connsiteY16" fmla="*/ 21431 h 102393"/>
              <a:gd name="connsiteX17" fmla="*/ 121829 w 140879"/>
              <a:gd name="connsiteY17" fmla="*/ 4762 h 102393"/>
              <a:gd name="connsiteX18" fmla="*/ 114685 w 140879"/>
              <a:gd name="connsiteY18" fmla="*/ 0 h 102393"/>
              <a:gd name="connsiteX19" fmla="*/ 86110 w 140879"/>
              <a:gd name="connsiteY19" fmla="*/ 9525 h 102393"/>
              <a:gd name="connsiteX20" fmla="*/ 83729 w 140879"/>
              <a:gd name="connsiteY20" fmla="*/ 19050 h 102393"/>
              <a:gd name="connsiteX21" fmla="*/ 69442 w 140879"/>
              <a:gd name="connsiteY21" fmla="*/ 23812 h 102393"/>
              <a:gd name="connsiteX22" fmla="*/ 62298 w 140879"/>
              <a:gd name="connsiteY22" fmla="*/ 26193 h 102393"/>
              <a:gd name="connsiteX23" fmla="*/ 59917 w 140879"/>
              <a:gd name="connsiteY23" fmla="*/ 19050 h 102393"/>
              <a:gd name="connsiteX24" fmla="*/ 57535 w 140879"/>
              <a:gd name="connsiteY24" fmla="*/ 9525 h 102393"/>
              <a:gd name="connsiteX25" fmla="*/ 43248 w 140879"/>
              <a:gd name="connsiteY25" fmla="*/ 11906 h 102393"/>
              <a:gd name="connsiteX26" fmla="*/ 21817 w 140879"/>
              <a:gd name="connsiteY26" fmla="*/ 28575 h 102393"/>
              <a:gd name="connsiteX27" fmla="*/ 12292 w 140879"/>
              <a:gd name="connsiteY27" fmla="*/ 52387 h 102393"/>
              <a:gd name="connsiteX28" fmla="*/ 12292 w 140879"/>
              <a:gd name="connsiteY28" fmla="*/ 59531 h 102393"/>
              <a:gd name="connsiteX29" fmla="*/ 2767 w 140879"/>
              <a:gd name="connsiteY29" fmla="*/ 64293 h 102393"/>
              <a:gd name="connsiteX30" fmla="*/ 385 w 140879"/>
              <a:gd name="connsiteY30" fmla="*/ 73818 h 102393"/>
              <a:gd name="connsiteX0" fmla="*/ 385 w 140879"/>
              <a:gd name="connsiteY0" fmla="*/ 73818 h 102393"/>
              <a:gd name="connsiteX1" fmla="*/ 9910 w 140879"/>
              <a:gd name="connsiteY1" fmla="*/ 85725 h 102393"/>
              <a:gd name="connsiteX2" fmla="*/ 19435 w 140879"/>
              <a:gd name="connsiteY2" fmla="*/ 102393 h 102393"/>
              <a:gd name="connsiteX3" fmla="*/ 28960 w 140879"/>
              <a:gd name="connsiteY3" fmla="*/ 83343 h 102393"/>
              <a:gd name="connsiteX4" fmla="*/ 36104 w 140879"/>
              <a:gd name="connsiteY4" fmla="*/ 76200 h 102393"/>
              <a:gd name="connsiteX5" fmla="*/ 50392 w 140879"/>
              <a:gd name="connsiteY5" fmla="*/ 71437 h 102393"/>
              <a:gd name="connsiteX6" fmla="*/ 62298 w 140879"/>
              <a:gd name="connsiteY6" fmla="*/ 59531 h 102393"/>
              <a:gd name="connsiteX7" fmla="*/ 64679 w 140879"/>
              <a:gd name="connsiteY7" fmla="*/ 52387 h 102393"/>
              <a:gd name="connsiteX8" fmla="*/ 71823 w 140879"/>
              <a:gd name="connsiteY8" fmla="*/ 50006 h 102393"/>
              <a:gd name="connsiteX9" fmla="*/ 78967 w 140879"/>
              <a:gd name="connsiteY9" fmla="*/ 52387 h 102393"/>
              <a:gd name="connsiteX10" fmla="*/ 83729 w 140879"/>
              <a:gd name="connsiteY10" fmla="*/ 59531 h 102393"/>
              <a:gd name="connsiteX11" fmla="*/ 95635 w 140879"/>
              <a:gd name="connsiteY11" fmla="*/ 57150 h 102393"/>
              <a:gd name="connsiteX12" fmla="*/ 102779 w 140879"/>
              <a:gd name="connsiteY12" fmla="*/ 54768 h 102393"/>
              <a:gd name="connsiteX13" fmla="*/ 117067 w 140879"/>
              <a:gd name="connsiteY13" fmla="*/ 45243 h 102393"/>
              <a:gd name="connsiteX14" fmla="*/ 119448 w 140879"/>
              <a:gd name="connsiteY14" fmla="*/ 38100 h 102393"/>
              <a:gd name="connsiteX15" fmla="*/ 136117 w 140879"/>
              <a:gd name="connsiteY15" fmla="*/ 28575 h 102393"/>
              <a:gd name="connsiteX16" fmla="*/ 140879 w 140879"/>
              <a:gd name="connsiteY16" fmla="*/ 21431 h 102393"/>
              <a:gd name="connsiteX17" fmla="*/ 121829 w 140879"/>
              <a:gd name="connsiteY17" fmla="*/ 4762 h 102393"/>
              <a:gd name="connsiteX18" fmla="*/ 114685 w 140879"/>
              <a:gd name="connsiteY18" fmla="*/ 0 h 102393"/>
              <a:gd name="connsiteX19" fmla="*/ 86110 w 140879"/>
              <a:gd name="connsiteY19" fmla="*/ 9525 h 102393"/>
              <a:gd name="connsiteX20" fmla="*/ 83729 w 140879"/>
              <a:gd name="connsiteY20" fmla="*/ 19050 h 102393"/>
              <a:gd name="connsiteX21" fmla="*/ 69442 w 140879"/>
              <a:gd name="connsiteY21" fmla="*/ 23812 h 102393"/>
              <a:gd name="connsiteX22" fmla="*/ 62298 w 140879"/>
              <a:gd name="connsiteY22" fmla="*/ 26193 h 102393"/>
              <a:gd name="connsiteX23" fmla="*/ 59917 w 140879"/>
              <a:gd name="connsiteY23" fmla="*/ 19050 h 102393"/>
              <a:gd name="connsiteX24" fmla="*/ 57535 w 140879"/>
              <a:gd name="connsiteY24" fmla="*/ 9525 h 102393"/>
              <a:gd name="connsiteX25" fmla="*/ 43248 w 140879"/>
              <a:gd name="connsiteY25" fmla="*/ 11906 h 102393"/>
              <a:gd name="connsiteX26" fmla="*/ 21817 w 140879"/>
              <a:gd name="connsiteY26" fmla="*/ 28575 h 102393"/>
              <a:gd name="connsiteX27" fmla="*/ 12292 w 140879"/>
              <a:gd name="connsiteY27" fmla="*/ 52387 h 102393"/>
              <a:gd name="connsiteX28" fmla="*/ 26579 w 140879"/>
              <a:gd name="connsiteY28" fmla="*/ 59531 h 102393"/>
              <a:gd name="connsiteX29" fmla="*/ 2767 w 140879"/>
              <a:gd name="connsiteY29" fmla="*/ 64293 h 102393"/>
              <a:gd name="connsiteX30" fmla="*/ 385 w 140879"/>
              <a:gd name="connsiteY30" fmla="*/ 73818 h 102393"/>
              <a:gd name="connsiteX0" fmla="*/ 26295 w 166789"/>
              <a:gd name="connsiteY0" fmla="*/ 73818 h 102393"/>
              <a:gd name="connsiteX1" fmla="*/ 35820 w 166789"/>
              <a:gd name="connsiteY1" fmla="*/ 85725 h 102393"/>
              <a:gd name="connsiteX2" fmla="*/ 45345 w 166789"/>
              <a:gd name="connsiteY2" fmla="*/ 102393 h 102393"/>
              <a:gd name="connsiteX3" fmla="*/ 54870 w 166789"/>
              <a:gd name="connsiteY3" fmla="*/ 83343 h 102393"/>
              <a:gd name="connsiteX4" fmla="*/ 62014 w 166789"/>
              <a:gd name="connsiteY4" fmla="*/ 76200 h 102393"/>
              <a:gd name="connsiteX5" fmla="*/ 76302 w 166789"/>
              <a:gd name="connsiteY5" fmla="*/ 71437 h 102393"/>
              <a:gd name="connsiteX6" fmla="*/ 88208 w 166789"/>
              <a:gd name="connsiteY6" fmla="*/ 59531 h 102393"/>
              <a:gd name="connsiteX7" fmla="*/ 90589 w 166789"/>
              <a:gd name="connsiteY7" fmla="*/ 52387 h 102393"/>
              <a:gd name="connsiteX8" fmla="*/ 97733 w 166789"/>
              <a:gd name="connsiteY8" fmla="*/ 50006 h 102393"/>
              <a:gd name="connsiteX9" fmla="*/ 104877 w 166789"/>
              <a:gd name="connsiteY9" fmla="*/ 52387 h 102393"/>
              <a:gd name="connsiteX10" fmla="*/ 109639 w 166789"/>
              <a:gd name="connsiteY10" fmla="*/ 59531 h 102393"/>
              <a:gd name="connsiteX11" fmla="*/ 121545 w 166789"/>
              <a:gd name="connsiteY11" fmla="*/ 57150 h 102393"/>
              <a:gd name="connsiteX12" fmla="*/ 128689 w 166789"/>
              <a:gd name="connsiteY12" fmla="*/ 54768 h 102393"/>
              <a:gd name="connsiteX13" fmla="*/ 142977 w 166789"/>
              <a:gd name="connsiteY13" fmla="*/ 45243 h 102393"/>
              <a:gd name="connsiteX14" fmla="*/ 145358 w 166789"/>
              <a:gd name="connsiteY14" fmla="*/ 38100 h 102393"/>
              <a:gd name="connsiteX15" fmla="*/ 162027 w 166789"/>
              <a:gd name="connsiteY15" fmla="*/ 28575 h 102393"/>
              <a:gd name="connsiteX16" fmla="*/ 166789 w 166789"/>
              <a:gd name="connsiteY16" fmla="*/ 21431 h 102393"/>
              <a:gd name="connsiteX17" fmla="*/ 147739 w 166789"/>
              <a:gd name="connsiteY17" fmla="*/ 4762 h 102393"/>
              <a:gd name="connsiteX18" fmla="*/ 140595 w 166789"/>
              <a:gd name="connsiteY18" fmla="*/ 0 h 102393"/>
              <a:gd name="connsiteX19" fmla="*/ 112020 w 166789"/>
              <a:gd name="connsiteY19" fmla="*/ 9525 h 102393"/>
              <a:gd name="connsiteX20" fmla="*/ 109639 w 166789"/>
              <a:gd name="connsiteY20" fmla="*/ 19050 h 102393"/>
              <a:gd name="connsiteX21" fmla="*/ 95352 w 166789"/>
              <a:gd name="connsiteY21" fmla="*/ 23812 h 102393"/>
              <a:gd name="connsiteX22" fmla="*/ 88208 w 166789"/>
              <a:gd name="connsiteY22" fmla="*/ 26193 h 102393"/>
              <a:gd name="connsiteX23" fmla="*/ 85827 w 166789"/>
              <a:gd name="connsiteY23" fmla="*/ 19050 h 102393"/>
              <a:gd name="connsiteX24" fmla="*/ 83445 w 166789"/>
              <a:gd name="connsiteY24" fmla="*/ 9525 h 102393"/>
              <a:gd name="connsiteX25" fmla="*/ 69158 w 166789"/>
              <a:gd name="connsiteY25" fmla="*/ 11906 h 102393"/>
              <a:gd name="connsiteX26" fmla="*/ 47727 w 166789"/>
              <a:gd name="connsiteY26" fmla="*/ 28575 h 102393"/>
              <a:gd name="connsiteX27" fmla="*/ 38202 w 166789"/>
              <a:gd name="connsiteY27" fmla="*/ 52387 h 102393"/>
              <a:gd name="connsiteX28" fmla="*/ 52489 w 166789"/>
              <a:gd name="connsiteY28" fmla="*/ 59531 h 102393"/>
              <a:gd name="connsiteX29" fmla="*/ 102 w 166789"/>
              <a:gd name="connsiteY29" fmla="*/ 23812 h 102393"/>
              <a:gd name="connsiteX30" fmla="*/ 26295 w 166789"/>
              <a:gd name="connsiteY30" fmla="*/ 73818 h 102393"/>
              <a:gd name="connsiteX0" fmla="*/ 0 w 140494"/>
              <a:gd name="connsiteY0" fmla="*/ 73818 h 102393"/>
              <a:gd name="connsiteX1" fmla="*/ 9525 w 140494"/>
              <a:gd name="connsiteY1" fmla="*/ 85725 h 102393"/>
              <a:gd name="connsiteX2" fmla="*/ 19050 w 140494"/>
              <a:gd name="connsiteY2" fmla="*/ 102393 h 102393"/>
              <a:gd name="connsiteX3" fmla="*/ 28575 w 140494"/>
              <a:gd name="connsiteY3" fmla="*/ 83343 h 102393"/>
              <a:gd name="connsiteX4" fmla="*/ 35719 w 140494"/>
              <a:gd name="connsiteY4" fmla="*/ 76200 h 102393"/>
              <a:gd name="connsiteX5" fmla="*/ 50007 w 140494"/>
              <a:gd name="connsiteY5" fmla="*/ 71437 h 102393"/>
              <a:gd name="connsiteX6" fmla="*/ 61913 w 140494"/>
              <a:gd name="connsiteY6" fmla="*/ 59531 h 102393"/>
              <a:gd name="connsiteX7" fmla="*/ 64294 w 140494"/>
              <a:gd name="connsiteY7" fmla="*/ 52387 h 102393"/>
              <a:gd name="connsiteX8" fmla="*/ 71438 w 140494"/>
              <a:gd name="connsiteY8" fmla="*/ 50006 h 102393"/>
              <a:gd name="connsiteX9" fmla="*/ 78582 w 140494"/>
              <a:gd name="connsiteY9" fmla="*/ 52387 h 102393"/>
              <a:gd name="connsiteX10" fmla="*/ 83344 w 140494"/>
              <a:gd name="connsiteY10" fmla="*/ 59531 h 102393"/>
              <a:gd name="connsiteX11" fmla="*/ 95250 w 140494"/>
              <a:gd name="connsiteY11" fmla="*/ 57150 h 102393"/>
              <a:gd name="connsiteX12" fmla="*/ 102394 w 140494"/>
              <a:gd name="connsiteY12" fmla="*/ 54768 h 102393"/>
              <a:gd name="connsiteX13" fmla="*/ 116682 w 140494"/>
              <a:gd name="connsiteY13" fmla="*/ 45243 h 102393"/>
              <a:gd name="connsiteX14" fmla="*/ 119063 w 140494"/>
              <a:gd name="connsiteY14" fmla="*/ 38100 h 102393"/>
              <a:gd name="connsiteX15" fmla="*/ 135732 w 140494"/>
              <a:gd name="connsiteY15" fmla="*/ 28575 h 102393"/>
              <a:gd name="connsiteX16" fmla="*/ 140494 w 140494"/>
              <a:gd name="connsiteY16" fmla="*/ 21431 h 102393"/>
              <a:gd name="connsiteX17" fmla="*/ 121444 w 140494"/>
              <a:gd name="connsiteY17" fmla="*/ 4762 h 102393"/>
              <a:gd name="connsiteX18" fmla="*/ 114300 w 140494"/>
              <a:gd name="connsiteY18" fmla="*/ 0 h 102393"/>
              <a:gd name="connsiteX19" fmla="*/ 85725 w 140494"/>
              <a:gd name="connsiteY19" fmla="*/ 9525 h 102393"/>
              <a:gd name="connsiteX20" fmla="*/ 83344 w 140494"/>
              <a:gd name="connsiteY20" fmla="*/ 19050 h 102393"/>
              <a:gd name="connsiteX21" fmla="*/ 69057 w 140494"/>
              <a:gd name="connsiteY21" fmla="*/ 23812 h 102393"/>
              <a:gd name="connsiteX22" fmla="*/ 61913 w 140494"/>
              <a:gd name="connsiteY22" fmla="*/ 26193 h 102393"/>
              <a:gd name="connsiteX23" fmla="*/ 59532 w 140494"/>
              <a:gd name="connsiteY23" fmla="*/ 19050 h 102393"/>
              <a:gd name="connsiteX24" fmla="*/ 57150 w 140494"/>
              <a:gd name="connsiteY24" fmla="*/ 9525 h 102393"/>
              <a:gd name="connsiteX25" fmla="*/ 42863 w 140494"/>
              <a:gd name="connsiteY25" fmla="*/ 11906 h 102393"/>
              <a:gd name="connsiteX26" fmla="*/ 21432 w 140494"/>
              <a:gd name="connsiteY26" fmla="*/ 28575 h 102393"/>
              <a:gd name="connsiteX27" fmla="*/ 11907 w 140494"/>
              <a:gd name="connsiteY27" fmla="*/ 52387 h 102393"/>
              <a:gd name="connsiteX28" fmla="*/ 26194 w 140494"/>
              <a:gd name="connsiteY28" fmla="*/ 59531 h 102393"/>
              <a:gd name="connsiteX29" fmla="*/ 0 w 140494"/>
              <a:gd name="connsiteY29" fmla="*/ 73818 h 102393"/>
              <a:gd name="connsiteX0" fmla="*/ 0 w 140494"/>
              <a:gd name="connsiteY0" fmla="*/ 73818 h 102393"/>
              <a:gd name="connsiteX1" fmla="*/ 9525 w 140494"/>
              <a:gd name="connsiteY1" fmla="*/ 85725 h 102393"/>
              <a:gd name="connsiteX2" fmla="*/ 19050 w 140494"/>
              <a:gd name="connsiteY2" fmla="*/ 102393 h 102393"/>
              <a:gd name="connsiteX3" fmla="*/ 28575 w 140494"/>
              <a:gd name="connsiteY3" fmla="*/ 83343 h 102393"/>
              <a:gd name="connsiteX4" fmla="*/ 35719 w 140494"/>
              <a:gd name="connsiteY4" fmla="*/ 76200 h 102393"/>
              <a:gd name="connsiteX5" fmla="*/ 50007 w 140494"/>
              <a:gd name="connsiteY5" fmla="*/ 71437 h 102393"/>
              <a:gd name="connsiteX6" fmla="*/ 61913 w 140494"/>
              <a:gd name="connsiteY6" fmla="*/ 59531 h 102393"/>
              <a:gd name="connsiteX7" fmla="*/ 64294 w 140494"/>
              <a:gd name="connsiteY7" fmla="*/ 52387 h 102393"/>
              <a:gd name="connsiteX8" fmla="*/ 71438 w 140494"/>
              <a:gd name="connsiteY8" fmla="*/ 50006 h 102393"/>
              <a:gd name="connsiteX9" fmla="*/ 78582 w 140494"/>
              <a:gd name="connsiteY9" fmla="*/ 52387 h 102393"/>
              <a:gd name="connsiteX10" fmla="*/ 83344 w 140494"/>
              <a:gd name="connsiteY10" fmla="*/ 59531 h 102393"/>
              <a:gd name="connsiteX11" fmla="*/ 95250 w 140494"/>
              <a:gd name="connsiteY11" fmla="*/ 57150 h 102393"/>
              <a:gd name="connsiteX12" fmla="*/ 102394 w 140494"/>
              <a:gd name="connsiteY12" fmla="*/ 54768 h 102393"/>
              <a:gd name="connsiteX13" fmla="*/ 116682 w 140494"/>
              <a:gd name="connsiteY13" fmla="*/ 45243 h 102393"/>
              <a:gd name="connsiteX14" fmla="*/ 119063 w 140494"/>
              <a:gd name="connsiteY14" fmla="*/ 38100 h 102393"/>
              <a:gd name="connsiteX15" fmla="*/ 135732 w 140494"/>
              <a:gd name="connsiteY15" fmla="*/ 28575 h 102393"/>
              <a:gd name="connsiteX16" fmla="*/ 140494 w 140494"/>
              <a:gd name="connsiteY16" fmla="*/ 21431 h 102393"/>
              <a:gd name="connsiteX17" fmla="*/ 121444 w 140494"/>
              <a:gd name="connsiteY17" fmla="*/ 4762 h 102393"/>
              <a:gd name="connsiteX18" fmla="*/ 114300 w 140494"/>
              <a:gd name="connsiteY18" fmla="*/ 0 h 102393"/>
              <a:gd name="connsiteX19" fmla="*/ 85725 w 140494"/>
              <a:gd name="connsiteY19" fmla="*/ 9525 h 102393"/>
              <a:gd name="connsiteX20" fmla="*/ 83344 w 140494"/>
              <a:gd name="connsiteY20" fmla="*/ 19050 h 102393"/>
              <a:gd name="connsiteX21" fmla="*/ 69057 w 140494"/>
              <a:gd name="connsiteY21" fmla="*/ 23812 h 102393"/>
              <a:gd name="connsiteX22" fmla="*/ 61913 w 140494"/>
              <a:gd name="connsiteY22" fmla="*/ 26193 h 102393"/>
              <a:gd name="connsiteX23" fmla="*/ 59532 w 140494"/>
              <a:gd name="connsiteY23" fmla="*/ 19050 h 102393"/>
              <a:gd name="connsiteX24" fmla="*/ 57150 w 140494"/>
              <a:gd name="connsiteY24" fmla="*/ 9525 h 102393"/>
              <a:gd name="connsiteX25" fmla="*/ 42863 w 140494"/>
              <a:gd name="connsiteY25" fmla="*/ 11906 h 102393"/>
              <a:gd name="connsiteX26" fmla="*/ 21432 w 140494"/>
              <a:gd name="connsiteY26" fmla="*/ 28575 h 102393"/>
              <a:gd name="connsiteX27" fmla="*/ 11907 w 140494"/>
              <a:gd name="connsiteY27" fmla="*/ 52387 h 102393"/>
              <a:gd name="connsiteX28" fmla="*/ 0 w 140494"/>
              <a:gd name="connsiteY28" fmla="*/ 73818 h 102393"/>
              <a:gd name="connsiteX0" fmla="*/ 370 w 140864"/>
              <a:gd name="connsiteY0" fmla="*/ 73818 h 102393"/>
              <a:gd name="connsiteX1" fmla="*/ 9895 w 140864"/>
              <a:gd name="connsiteY1" fmla="*/ 85725 h 102393"/>
              <a:gd name="connsiteX2" fmla="*/ 19420 w 140864"/>
              <a:gd name="connsiteY2" fmla="*/ 102393 h 102393"/>
              <a:gd name="connsiteX3" fmla="*/ 28945 w 140864"/>
              <a:gd name="connsiteY3" fmla="*/ 83343 h 102393"/>
              <a:gd name="connsiteX4" fmla="*/ 36089 w 140864"/>
              <a:gd name="connsiteY4" fmla="*/ 76200 h 102393"/>
              <a:gd name="connsiteX5" fmla="*/ 50377 w 140864"/>
              <a:gd name="connsiteY5" fmla="*/ 71437 h 102393"/>
              <a:gd name="connsiteX6" fmla="*/ 62283 w 140864"/>
              <a:gd name="connsiteY6" fmla="*/ 59531 h 102393"/>
              <a:gd name="connsiteX7" fmla="*/ 64664 w 140864"/>
              <a:gd name="connsiteY7" fmla="*/ 52387 h 102393"/>
              <a:gd name="connsiteX8" fmla="*/ 71808 w 140864"/>
              <a:gd name="connsiteY8" fmla="*/ 50006 h 102393"/>
              <a:gd name="connsiteX9" fmla="*/ 78952 w 140864"/>
              <a:gd name="connsiteY9" fmla="*/ 52387 h 102393"/>
              <a:gd name="connsiteX10" fmla="*/ 83714 w 140864"/>
              <a:gd name="connsiteY10" fmla="*/ 59531 h 102393"/>
              <a:gd name="connsiteX11" fmla="*/ 95620 w 140864"/>
              <a:gd name="connsiteY11" fmla="*/ 57150 h 102393"/>
              <a:gd name="connsiteX12" fmla="*/ 102764 w 140864"/>
              <a:gd name="connsiteY12" fmla="*/ 54768 h 102393"/>
              <a:gd name="connsiteX13" fmla="*/ 117052 w 140864"/>
              <a:gd name="connsiteY13" fmla="*/ 45243 h 102393"/>
              <a:gd name="connsiteX14" fmla="*/ 119433 w 140864"/>
              <a:gd name="connsiteY14" fmla="*/ 38100 h 102393"/>
              <a:gd name="connsiteX15" fmla="*/ 136102 w 140864"/>
              <a:gd name="connsiteY15" fmla="*/ 28575 h 102393"/>
              <a:gd name="connsiteX16" fmla="*/ 140864 w 140864"/>
              <a:gd name="connsiteY16" fmla="*/ 21431 h 102393"/>
              <a:gd name="connsiteX17" fmla="*/ 121814 w 140864"/>
              <a:gd name="connsiteY17" fmla="*/ 4762 h 102393"/>
              <a:gd name="connsiteX18" fmla="*/ 114670 w 140864"/>
              <a:gd name="connsiteY18" fmla="*/ 0 h 102393"/>
              <a:gd name="connsiteX19" fmla="*/ 86095 w 140864"/>
              <a:gd name="connsiteY19" fmla="*/ 9525 h 102393"/>
              <a:gd name="connsiteX20" fmla="*/ 83714 w 140864"/>
              <a:gd name="connsiteY20" fmla="*/ 19050 h 102393"/>
              <a:gd name="connsiteX21" fmla="*/ 69427 w 140864"/>
              <a:gd name="connsiteY21" fmla="*/ 23812 h 102393"/>
              <a:gd name="connsiteX22" fmla="*/ 62283 w 140864"/>
              <a:gd name="connsiteY22" fmla="*/ 26193 h 102393"/>
              <a:gd name="connsiteX23" fmla="*/ 59902 w 140864"/>
              <a:gd name="connsiteY23" fmla="*/ 19050 h 102393"/>
              <a:gd name="connsiteX24" fmla="*/ 57520 w 140864"/>
              <a:gd name="connsiteY24" fmla="*/ 9525 h 102393"/>
              <a:gd name="connsiteX25" fmla="*/ 43233 w 140864"/>
              <a:gd name="connsiteY25" fmla="*/ 11906 h 102393"/>
              <a:gd name="connsiteX26" fmla="*/ 21802 w 140864"/>
              <a:gd name="connsiteY26" fmla="*/ 28575 h 102393"/>
              <a:gd name="connsiteX27" fmla="*/ 24184 w 140864"/>
              <a:gd name="connsiteY27" fmla="*/ 59531 h 102393"/>
              <a:gd name="connsiteX28" fmla="*/ 370 w 140864"/>
              <a:gd name="connsiteY28" fmla="*/ 73818 h 102393"/>
              <a:gd name="connsiteX0" fmla="*/ 370 w 140864"/>
              <a:gd name="connsiteY0" fmla="*/ 73818 h 102393"/>
              <a:gd name="connsiteX1" fmla="*/ 9895 w 140864"/>
              <a:gd name="connsiteY1" fmla="*/ 85725 h 102393"/>
              <a:gd name="connsiteX2" fmla="*/ 19420 w 140864"/>
              <a:gd name="connsiteY2" fmla="*/ 102393 h 102393"/>
              <a:gd name="connsiteX3" fmla="*/ 28945 w 140864"/>
              <a:gd name="connsiteY3" fmla="*/ 83343 h 102393"/>
              <a:gd name="connsiteX4" fmla="*/ 36089 w 140864"/>
              <a:gd name="connsiteY4" fmla="*/ 76200 h 102393"/>
              <a:gd name="connsiteX5" fmla="*/ 50377 w 140864"/>
              <a:gd name="connsiteY5" fmla="*/ 71437 h 102393"/>
              <a:gd name="connsiteX6" fmla="*/ 62283 w 140864"/>
              <a:gd name="connsiteY6" fmla="*/ 59531 h 102393"/>
              <a:gd name="connsiteX7" fmla="*/ 64664 w 140864"/>
              <a:gd name="connsiteY7" fmla="*/ 52387 h 102393"/>
              <a:gd name="connsiteX8" fmla="*/ 71808 w 140864"/>
              <a:gd name="connsiteY8" fmla="*/ 50006 h 102393"/>
              <a:gd name="connsiteX9" fmla="*/ 78952 w 140864"/>
              <a:gd name="connsiteY9" fmla="*/ 52387 h 102393"/>
              <a:gd name="connsiteX10" fmla="*/ 83714 w 140864"/>
              <a:gd name="connsiteY10" fmla="*/ 59531 h 102393"/>
              <a:gd name="connsiteX11" fmla="*/ 95620 w 140864"/>
              <a:gd name="connsiteY11" fmla="*/ 57150 h 102393"/>
              <a:gd name="connsiteX12" fmla="*/ 102764 w 140864"/>
              <a:gd name="connsiteY12" fmla="*/ 54768 h 102393"/>
              <a:gd name="connsiteX13" fmla="*/ 117052 w 140864"/>
              <a:gd name="connsiteY13" fmla="*/ 45243 h 102393"/>
              <a:gd name="connsiteX14" fmla="*/ 119433 w 140864"/>
              <a:gd name="connsiteY14" fmla="*/ 38100 h 102393"/>
              <a:gd name="connsiteX15" fmla="*/ 136102 w 140864"/>
              <a:gd name="connsiteY15" fmla="*/ 28575 h 102393"/>
              <a:gd name="connsiteX16" fmla="*/ 140864 w 140864"/>
              <a:gd name="connsiteY16" fmla="*/ 21431 h 102393"/>
              <a:gd name="connsiteX17" fmla="*/ 121814 w 140864"/>
              <a:gd name="connsiteY17" fmla="*/ 4762 h 102393"/>
              <a:gd name="connsiteX18" fmla="*/ 114670 w 140864"/>
              <a:gd name="connsiteY18" fmla="*/ 0 h 102393"/>
              <a:gd name="connsiteX19" fmla="*/ 86095 w 140864"/>
              <a:gd name="connsiteY19" fmla="*/ 9525 h 102393"/>
              <a:gd name="connsiteX20" fmla="*/ 83714 w 140864"/>
              <a:gd name="connsiteY20" fmla="*/ 19050 h 102393"/>
              <a:gd name="connsiteX21" fmla="*/ 69427 w 140864"/>
              <a:gd name="connsiteY21" fmla="*/ 23812 h 102393"/>
              <a:gd name="connsiteX22" fmla="*/ 62283 w 140864"/>
              <a:gd name="connsiteY22" fmla="*/ 26193 h 102393"/>
              <a:gd name="connsiteX23" fmla="*/ 59902 w 140864"/>
              <a:gd name="connsiteY23" fmla="*/ 19050 h 102393"/>
              <a:gd name="connsiteX24" fmla="*/ 57520 w 140864"/>
              <a:gd name="connsiteY24" fmla="*/ 9525 h 102393"/>
              <a:gd name="connsiteX25" fmla="*/ 43233 w 140864"/>
              <a:gd name="connsiteY25" fmla="*/ 11906 h 102393"/>
              <a:gd name="connsiteX26" fmla="*/ 36090 w 140864"/>
              <a:gd name="connsiteY26" fmla="*/ 33337 h 102393"/>
              <a:gd name="connsiteX27" fmla="*/ 24184 w 140864"/>
              <a:gd name="connsiteY27" fmla="*/ 59531 h 102393"/>
              <a:gd name="connsiteX28" fmla="*/ 370 w 140864"/>
              <a:gd name="connsiteY28" fmla="*/ 73818 h 102393"/>
              <a:gd name="connsiteX0" fmla="*/ 187 w 140681"/>
              <a:gd name="connsiteY0" fmla="*/ 73818 h 102393"/>
              <a:gd name="connsiteX1" fmla="*/ 9712 w 140681"/>
              <a:gd name="connsiteY1" fmla="*/ 85725 h 102393"/>
              <a:gd name="connsiteX2" fmla="*/ 19237 w 140681"/>
              <a:gd name="connsiteY2" fmla="*/ 102393 h 102393"/>
              <a:gd name="connsiteX3" fmla="*/ 28762 w 140681"/>
              <a:gd name="connsiteY3" fmla="*/ 83343 h 102393"/>
              <a:gd name="connsiteX4" fmla="*/ 35906 w 140681"/>
              <a:gd name="connsiteY4" fmla="*/ 76200 h 102393"/>
              <a:gd name="connsiteX5" fmla="*/ 50194 w 140681"/>
              <a:gd name="connsiteY5" fmla="*/ 71437 h 102393"/>
              <a:gd name="connsiteX6" fmla="*/ 62100 w 140681"/>
              <a:gd name="connsiteY6" fmla="*/ 59531 h 102393"/>
              <a:gd name="connsiteX7" fmla="*/ 64481 w 140681"/>
              <a:gd name="connsiteY7" fmla="*/ 52387 h 102393"/>
              <a:gd name="connsiteX8" fmla="*/ 71625 w 140681"/>
              <a:gd name="connsiteY8" fmla="*/ 50006 h 102393"/>
              <a:gd name="connsiteX9" fmla="*/ 78769 w 140681"/>
              <a:gd name="connsiteY9" fmla="*/ 52387 h 102393"/>
              <a:gd name="connsiteX10" fmla="*/ 83531 w 140681"/>
              <a:gd name="connsiteY10" fmla="*/ 59531 h 102393"/>
              <a:gd name="connsiteX11" fmla="*/ 95437 w 140681"/>
              <a:gd name="connsiteY11" fmla="*/ 57150 h 102393"/>
              <a:gd name="connsiteX12" fmla="*/ 102581 w 140681"/>
              <a:gd name="connsiteY12" fmla="*/ 54768 h 102393"/>
              <a:gd name="connsiteX13" fmla="*/ 116869 w 140681"/>
              <a:gd name="connsiteY13" fmla="*/ 45243 h 102393"/>
              <a:gd name="connsiteX14" fmla="*/ 119250 w 140681"/>
              <a:gd name="connsiteY14" fmla="*/ 38100 h 102393"/>
              <a:gd name="connsiteX15" fmla="*/ 135919 w 140681"/>
              <a:gd name="connsiteY15" fmla="*/ 28575 h 102393"/>
              <a:gd name="connsiteX16" fmla="*/ 140681 w 140681"/>
              <a:gd name="connsiteY16" fmla="*/ 21431 h 102393"/>
              <a:gd name="connsiteX17" fmla="*/ 121631 w 140681"/>
              <a:gd name="connsiteY17" fmla="*/ 4762 h 102393"/>
              <a:gd name="connsiteX18" fmla="*/ 114487 w 140681"/>
              <a:gd name="connsiteY18" fmla="*/ 0 h 102393"/>
              <a:gd name="connsiteX19" fmla="*/ 85912 w 140681"/>
              <a:gd name="connsiteY19" fmla="*/ 9525 h 102393"/>
              <a:gd name="connsiteX20" fmla="*/ 83531 w 140681"/>
              <a:gd name="connsiteY20" fmla="*/ 19050 h 102393"/>
              <a:gd name="connsiteX21" fmla="*/ 69244 w 140681"/>
              <a:gd name="connsiteY21" fmla="*/ 23812 h 102393"/>
              <a:gd name="connsiteX22" fmla="*/ 62100 w 140681"/>
              <a:gd name="connsiteY22" fmla="*/ 26193 h 102393"/>
              <a:gd name="connsiteX23" fmla="*/ 59719 w 140681"/>
              <a:gd name="connsiteY23" fmla="*/ 19050 h 102393"/>
              <a:gd name="connsiteX24" fmla="*/ 57337 w 140681"/>
              <a:gd name="connsiteY24" fmla="*/ 9525 h 102393"/>
              <a:gd name="connsiteX25" fmla="*/ 43050 w 140681"/>
              <a:gd name="connsiteY25" fmla="*/ 11906 h 102393"/>
              <a:gd name="connsiteX26" fmla="*/ 35907 w 140681"/>
              <a:gd name="connsiteY26" fmla="*/ 33337 h 102393"/>
              <a:gd name="connsiteX27" fmla="*/ 19238 w 140681"/>
              <a:gd name="connsiteY27" fmla="*/ 59531 h 102393"/>
              <a:gd name="connsiteX28" fmla="*/ 187 w 140681"/>
              <a:gd name="connsiteY28" fmla="*/ 73818 h 102393"/>
              <a:gd name="connsiteX0" fmla="*/ 187 w 140681"/>
              <a:gd name="connsiteY0" fmla="*/ 73818 h 102393"/>
              <a:gd name="connsiteX1" fmla="*/ 9712 w 140681"/>
              <a:gd name="connsiteY1" fmla="*/ 85725 h 102393"/>
              <a:gd name="connsiteX2" fmla="*/ 19237 w 140681"/>
              <a:gd name="connsiteY2" fmla="*/ 102393 h 102393"/>
              <a:gd name="connsiteX3" fmla="*/ 28762 w 140681"/>
              <a:gd name="connsiteY3" fmla="*/ 83343 h 102393"/>
              <a:gd name="connsiteX4" fmla="*/ 35906 w 140681"/>
              <a:gd name="connsiteY4" fmla="*/ 76200 h 102393"/>
              <a:gd name="connsiteX5" fmla="*/ 50194 w 140681"/>
              <a:gd name="connsiteY5" fmla="*/ 71437 h 102393"/>
              <a:gd name="connsiteX6" fmla="*/ 62100 w 140681"/>
              <a:gd name="connsiteY6" fmla="*/ 59531 h 102393"/>
              <a:gd name="connsiteX7" fmla="*/ 64481 w 140681"/>
              <a:gd name="connsiteY7" fmla="*/ 52387 h 102393"/>
              <a:gd name="connsiteX8" fmla="*/ 71625 w 140681"/>
              <a:gd name="connsiteY8" fmla="*/ 50006 h 102393"/>
              <a:gd name="connsiteX9" fmla="*/ 78769 w 140681"/>
              <a:gd name="connsiteY9" fmla="*/ 52387 h 102393"/>
              <a:gd name="connsiteX10" fmla="*/ 83531 w 140681"/>
              <a:gd name="connsiteY10" fmla="*/ 59531 h 102393"/>
              <a:gd name="connsiteX11" fmla="*/ 95437 w 140681"/>
              <a:gd name="connsiteY11" fmla="*/ 57150 h 102393"/>
              <a:gd name="connsiteX12" fmla="*/ 102581 w 140681"/>
              <a:gd name="connsiteY12" fmla="*/ 54768 h 102393"/>
              <a:gd name="connsiteX13" fmla="*/ 116869 w 140681"/>
              <a:gd name="connsiteY13" fmla="*/ 45243 h 102393"/>
              <a:gd name="connsiteX14" fmla="*/ 119250 w 140681"/>
              <a:gd name="connsiteY14" fmla="*/ 38100 h 102393"/>
              <a:gd name="connsiteX15" fmla="*/ 135919 w 140681"/>
              <a:gd name="connsiteY15" fmla="*/ 28575 h 102393"/>
              <a:gd name="connsiteX16" fmla="*/ 140681 w 140681"/>
              <a:gd name="connsiteY16" fmla="*/ 21431 h 102393"/>
              <a:gd name="connsiteX17" fmla="*/ 121631 w 140681"/>
              <a:gd name="connsiteY17" fmla="*/ 4762 h 102393"/>
              <a:gd name="connsiteX18" fmla="*/ 114487 w 140681"/>
              <a:gd name="connsiteY18" fmla="*/ 0 h 102393"/>
              <a:gd name="connsiteX19" fmla="*/ 85912 w 140681"/>
              <a:gd name="connsiteY19" fmla="*/ 9525 h 102393"/>
              <a:gd name="connsiteX20" fmla="*/ 83531 w 140681"/>
              <a:gd name="connsiteY20" fmla="*/ 19050 h 102393"/>
              <a:gd name="connsiteX21" fmla="*/ 69244 w 140681"/>
              <a:gd name="connsiteY21" fmla="*/ 23812 h 102393"/>
              <a:gd name="connsiteX22" fmla="*/ 62100 w 140681"/>
              <a:gd name="connsiteY22" fmla="*/ 26193 h 102393"/>
              <a:gd name="connsiteX23" fmla="*/ 59719 w 140681"/>
              <a:gd name="connsiteY23" fmla="*/ 19050 h 102393"/>
              <a:gd name="connsiteX24" fmla="*/ 57337 w 140681"/>
              <a:gd name="connsiteY24" fmla="*/ 9525 h 102393"/>
              <a:gd name="connsiteX25" fmla="*/ 35906 w 140681"/>
              <a:gd name="connsiteY25" fmla="*/ 19050 h 102393"/>
              <a:gd name="connsiteX26" fmla="*/ 35907 w 140681"/>
              <a:gd name="connsiteY26" fmla="*/ 33337 h 102393"/>
              <a:gd name="connsiteX27" fmla="*/ 19238 w 140681"/>
              <a:gd name="connsiteY27" fmla="*/ 59531 h 102393"/>
              <a:gd name="connsiteX28" fmla="*/ 187 w 140681"/>
              <a:gd name="connsiteY28" fmla="*/ 73818 h 102393"/>
              <a:gd name="connsiteX0" fmla="*/ 187 w 140681"/>
              <a:gd name="connsiteY0" fmla="*/ 73818 h 102393"/>
              <a:gd name="connsiteX1" fmla="*/ 9712 w 140681"/>
              <a:gd name="connsiteY1" fmla="*/ 85725 h 102393"/>
              <a:gd name="connsiteX2" fmla="*/ 19237 w 140681"/>
              <a:gd name="connsiteY2" fmla="*/ 102393 h 102393"/>
              <a:gd name="connsiteX3" fmla="*/ 28762 w 140681"/>
              <a:gd name="connsiteY3" fmla="*/ 83343 h 102393"/>
              <a:gd name="connsiteX4" fmla="*/ 35906 w 140681"/>
              <a:gd name="connsiteY4" fmla="*/ 76200 h 102393"/>
              <a:gd name="connsiteX5" fmla="*/ 50194 w 140681"/>
              <a:gd name="connsiteY5" fmla="*/ 71437 h 102393"/>
              <a:gd name="connsiteX6" fmla="*/ 62100 w 140681"/>
              <a:gd name="connsiteY6" fmla="*/ 59531 h 102393"/>
              <a:gd name="connsiteX7" fmla="*/ 64481 w 140681"/>
              <a:gd name="connsiteY7" fmla="*/ 52387 h 102393"/>
              <a:gd name="connsiteX8" fmla="*/ 71625 w 140681"/>
              <a:gd name="connsiteY8" fmla="*/ 50006 h 102393"/>
              <a:gd name="connsiteX9" fmla="*/ 78769 w 140681"/>
              <a:gd name="connsiteY9" fmla="*/ 52387 h 102393"/>
              <a:gd name="connsiteX10" fmla="*/ 83531 w 140681"/>
              <a:gd name="connsiteY10" fmla="*/ 59531 h 102393"/>
              <a:gd name="connsiteX11" fmla="*/ 95437 w 140681"/>
              <a:gd name="connsiteY11" fmla="*/ 57150 h 102393"/>
              <a:gd name="connsiteX12" fmla="*/ 102581 w 140681"/>
              <a:gd name="connsiteY12" fmla="*/ 54768 h 102393"/>
              <a:gd name="connsiteX13" fmla="*/ 116869 w 140681"/>
              <a:gd name="connsiteY13" fmla="*/ 45243 h 102393"/>
              <a:gd name="connsiteX14" fmla="*/ 119250 w 140681"/>
              <a:gd name="connsiteY14" fmla="*/ 38100 h 102393"/>
              <a:gd name="connsiteX15" fmla="*/ 135919 w 140681"/>
              <a:gd name="connsiteY15" fmla="*/ 28575 h 102393"/>
              <a:gd name="connsiteX16" fmla="*/ 140681 w 140681"/>
              <a:gd name="connsiteY16" fmla="*/ 21431 h 102393"/>
              <a:gd name="connsiteX17" fmla="*/ 121631 w 140681"/>
              <a:gd name="connsiteY17" fmla="*/ 4762 h 102393"/>
              <a:gd name="connsiteX18" fmla="*/ 114487 w 140681"/>
              <a:gd name="connsiteY18" fmla="*/ 0 h 102393"/>
              <a:gd name="connsiteX19" fmla="*/ 85912 w 140681"/>
              <a:gd name="connsiteY19" fmla="*/ 9525 h 102393"/>
              <a:gd name="connsiteX20" fmla="*/ 83531 w 140681"/>
              <a:gd name="connsiteY20" fmla="*/ 19050 h 102393"/>
              <a:gd name="connsiteX21" fmla="*/ 69244 w 140681"/>
              <a:gd name="connsiteY21" fmla="*/ 23812 h 102393"/>
              <a:gd name="connsiteX22" fmla="*/ 62100 w 140681"/>
              <a:gd name="connsiteY22" fmla="*/ 26193 h 102393"/>
              <a:gd name="connsiteX23" fmla="*/ 59719 w 140681"/>
              <a:gd name="connsiteY23" fmla="*/ 19050 h 102393"/>
              <a:gd name="connsiteX24" fmla="*/ 62099 w 140681"/>
              <a:gd name="connsiteY24" fmla="*/ 4763 h 102393"/>
              <a:gd name="connsiteX25" fmla="*/ 35906 w 140681"/>
              <a:gd name="connsiteY25" fmla="*/ 19050 h 102393"/>
              <a:gd name="connsiteX26" fmla="*/ 35907 w 140681"/>
              <a:gd name="connsiteY26" fmla="*/ 33337 h 102393"/>
              <a:gd name="connsiteX27" fmla="*/ 19238 w 140681"/>
              <a:gd name="connsiteY27" fmla="*/ 59531 h 102393"/>
              <a:gd name="connsiteX28" fmla="*/ 187 w 140681"/>
              <a:gd name="connsiteY28" fmla="*/ 73818 h 102393"/>
              <a:gd name="connsiteX0" fmla="*/ 187 w 140681"/>
              <a:gd name="connsiteY0" fmla="*/ 75078 h 103653"/>
              <a:gd name="connsiteX1" fmla="*/ 9712 w 140681"/>
              <a:gd name="connsiteY1" fmla="*/ 86985 h 103653"/>
              <a:gd name="connsiteX2" fmla="*/ 19237 w 140681"/>
              <a:gd name="connsiteY2" fmla="*/ 103653 h 103653"/>
              <a:gd name="connsiteX3" fmla="*/ 28762 w 140681"/>
              <a:gd name="connsiteY3" fmla="*/ 84603 h 103653"/>
              <a:gd name="connsiteX4" fmla="*/ 35906 w 140681"/>
              <a:gd name="connsiteY4" fmla="*/ 77460 h 103653"/>
              <a:gd name="connsiteX5" fmla="*/ 50194 w 140681"/>
              <a:gd name="connsiteY5" fmla="*/ 72697 h 103653"/>
              <a:gd name="connsiteX6" fmla="*/ 62100 w 140681"/>
              <a:gd name="connsiteY6" fmla="*/ 60791 h 103653"/>
              <a:gd name="connsiteX7" fmla="*/ 64481 w 140681"/>
              <a:gd name="connsiteY7" fmla="*/ 53647 h 103653"/>
              <a:gd name="connsiteX8" fmla="*/ 71625 w 140681"/>
              <a:gd name="connsiteY8" fmla="*/ 51266 h 103653"/>
              <a:gd name="connsiteX9" fmla="*/ 78769 w 140681"/>
              <a:gd name="connsiteY9" fmla="*/ 53647 h 103653"/>
              <a:gd name="connsiteX10" fmla="*/ 83531 w 140681"/>
              <a:gd name="connsiteY10" fmla="*/ 60791 h 103653"/>
              <a:gd name="connsiteX11" fmla="*/ 95437 w 140681"/>
              <a:gd name="connsiteY11" fmla="*/ 58410 h 103653"/>
              <a:gd name="connsiteX12" fmla="*/ 102581 w 140681"/>
              <a:gd name="connsiteY12" fmla="*/ 56028 h 103653"/>
              <a:gd name="connsiteX13" fmla="*/ 116869 w 140681"/>
              <a:gd name="connsiteY13" fmla="*/ 46503 h 103653"/>
              <a:gd name="connsiteX14" fmla="*/ 119250 w 140681"/>
              <a:gd name="connsiteY14" fmla="*/ 39360 h 103653"/>
              <a:gd name="connsiteX15" fmla="*/ 135919 w 140681"/>
              <a:gd name="connsiteY15" fmla="*/ 29835 h 103653"/>
              <a:gd name="connsiteX16" fmla="*/ 140681 w 140681"/>
              <a:gd name="connsiteY16" fmla="*/ 22691 h 103653"/>
              <a:gd name="connsiteX17" fmla="*/ 121631 w 140681"/>
              <a:gd name="connsiteY17" fmla="*/ 6022 h 103653"/>
              <a:gd name="connsiteX18" fmla="*/ 114487 w 140681"/>
              <a:gd name="connsiteY18" fmla="*/ 1260 h 103653"/>
              <a:gd name="connsiteX19" fmla="*/ 85912 w 140681"/>
              <a:gd name="connsiteY19" fmla="*/ 10785 h 103653"/>
              <a:gd name="connsiteX20" fmla="*/ 83531 w 140681"/>
              <a:gd name="connsiteY20" fmla="*/ 20310 h 103653"/>
              <a:gd name="connsiteX21" fmla="*/ 69244 w 140681"/>
              <a:gd name="connsiteY21" fmla="*/ 25072 h 103653"/>
              <a:gd name="connsiteX22" fmla="*/ 62100 w 140681"/>
              <a:gd name="connsiteY22" fmla="*/ 27453 h 103653"/>
              <a:gd name="connsiteX23" fmla="*/ 59719 w 140681"/>
              <a:gd name="connsiteY23" fmla="*/ 20310 h 103653"/>
              <a:gd name="connsiteX24" fmla="*/ 62099 w 140681"/>
              <a:gd name="connsiteY24" fmla="*/ 6023 h 103653"/>
              <a:gd name="connsiteX25" fmla="*/ 35906 w 140681"/>
              <a:gd name="connsiteY25" fmla="*/ 1260 h 103653"/>
              <a:gd name="connsiteX26" fmla="*/ 35907 w 140681"/>
              <a:gd name="connsiteY26" fmla="*/ 34597 h 103653"/>
              <a:gd name="connsiteX27" fmla="*/ 19238 w 140681"/>
              <a:gd name="connsiteY27" fmla="*/ 60791 h 103653"/>
              <a:gd name="connsiteX28" fmla="*/ 187 w 140681"/>
              <a:gd name="connsiteY28" fmla="*/ 75078 h 103653"/>
              <a:gd name="connsiteX0" fmla="*/ 187 w 140681"/>
              <a:gd name="connsiteY0" fmla="*/ 75078 h 103653"/>
              <a:gd name="connsiteX1" fmla="*/ 9712 w 140681"/>
              <a:gd name="connsiteY1" fmla="*/ 86985 h 103653"/>
              <a:gd name="connsiteX2" fmla="*/ 19237 w 140681"/>
              <a:gd name="connsiteY2" fmla="*/ 103653 h 103653"/>
              <a:gd name="connsiteX3" fmla="*/ 28762 w 140681"/>
              <a:gd name="connsiteY3" fmla="*/ 84603 h 103653"/>
              <a:gd name="connsiteX4" fmla="*/ 35906 w 140681"/>
              <a:gd name="connsiteY4" fmla="*/ 77460 h 103653"/>
              <a:gd name="connsiteX5" fmla="*/ 50194 w 140681"/>
              <a:gd name="connsiteY5" fmla="*/ 72697 h 103653"/>
              <a:gd name="connsiteX6" fmla="*/ 62100 w 140681"/>
              <a:gd name="connsiteY6" fmla="*/ 60791 h 103653"/>
              <a:gd name="connsiteX7" fmla="*/ 64481 w 140681"/>
              <a:gd name="connsiteY7" fmla="*/ 53647 h 103653"/>
              <a:gd name="connsiteX8" fmla="*/ 71625 w 140681"/>
              <a:gd name="connsiteY8" fmla="*/ 51266 h 103653"/>
              <a:gd name="connsiteX9" fmla="*/ 78769 w 140681"/>
              <a:gd name="connsiteY9" fmla="*/ 53647 h 103653"/>
              <a:gd name="connsiteX10" fmla="*/ 83531 w 140681"/>
              <a:gd name="connsiteY10" fmla="*/ 60791 h 103653"/>
              <a:gd name="connsiteX11" fmla="*/ 95437 w 140681"/>
              <a:gd name="connsiteY11" fmla="*/ 58410 h 103653"/>
              <a:gd name="connsiteX12" fmla="*/ 102581 w 140681"/>
              <a:gd name="connsiteY12" fmla="*/ 56028 h 103653"/>
              <a:gd name="connsiteX13" fmla="*/ 116869 w 140681"/>
              <a:gd name="connsiteY13" fmla="*/ 46503 h 103653"/>
              <a:gd name="connsiteX14" fmla="*/ 119250 w 140681"/>
              <a:gd name="connsiteY14" fmla="*/ 39360 h 103653"/>
              <a:gd name="connsiteX15" fmla="*/ 135919 w 140681"/>
              <a:gd name="connsiteY15" fmla="*/ 29835 h 103653"/>
              <a:gd name="connsiteX16" fmla="*/ 140681 w 140681"/>
              <a:gd name="connsiteY16" fmla="*/ 22691 h 103653"/>
              <a:gd name="connsiteX17" fmla="*/ 121631 w 140681"/>
              <a:gd name="connsiteY17" fmla="*/ 6022 h 103653"/>
              <a:gd name="connsiteX18" fmla="*/ 114487 w 140681"/>
              <a:gd name="connsiteY18" fmla="*/ 1260 h 103653"/>
              <a:gd name="connsiteX19" fmla="*/ 85912 w 140681"/>
              <a:gd name="connsiteY19" fmla="*/ 10785 h 103653"/>
              <a:gd name="connsiteX20" fmla="*/ 83531 w 140681"/>
              <a:gd name="connsiteY20" fmla="*/ 20310 h 103653"/>
              <a:gd name="connsiteX21" fmla="*/ 69244 w 140681"/>
              <a:gd name="connsiteY21" fmla="*/ 25072 h 103653"/>
              <a:gd name="connsiteX22" fmla="*/ 62100 w 140681"/>
              <a:gd name="connsiteY22" fmla="*/ 27453 h 103653"/>
              <a:gd name="connsiteX23" fmla="*/ 59719 w 140681"/>
              <a:gd name="connsiteY23" fmla="*/ 20310 h 103653"/>
              <a:gd name="connsiteX24" fmla="*/ 62099 w 140681"/>
              <a:gd name="connsiteY24" fmla="*/ 6023 h 103653"/>
              <a:gd name="connsiteX25" fmla="*/ 35906 w 140681"/>
              <a:gd name="connsiteY25" fmla="*/ 1260 h 103653"/>
              <a:gd name="connsiteX26" fmla="*/ 26382 w 140681"/>
              <a:gd name="connsiteY26" fmla="*/ 34597 h 103653"/>
              <a:gd name="connsiteX27" fmla="*/ 19238 w 140681"/>
              <a:gd name="connsiteY27" fmla="*/ 60791 h 103653"/>
              <a:gd name="connsiteX28" fmla="*/ 187 w 140681"/>
              <a:gd name="connsiteY28" fmla="*/ 75078 h 103653"/>
              <a:gd name="connsiteX0" fmla="*/ 187 w 140681"/>
              <a:gd name="connsiteY0" fmla="*/ 85724 h 114299"/>
              <a:gd name="connsiteX1" fmla="*/ 9712 w 140681"/>
              <a:gd name="connsiteY1" fmla="*/ 97631 h 114299"/>
              <a:gd name="connsiteX2" fmla="*/ 19237 w 140681"/>
              <a:gd name="connsiteY2" fmla="*/ 114299 h 114299"/>
              <a:gd name="connsiteX3" fmla="*/ 28762 w 140681"/>
              <a:gd name="connsiteY3" fmla="*/ 95249 h 114299"/>
              <a:gd name="connsiteX4" fmla="*/ 35906 w 140681"/>
              <a:gd name="connsiteY4" fmla="*/ 88106 h 114299"/>
              <a:gd name="connsiteX5" fmla="*/ 50194 w 140681"/>
              <a:gd name="connsiteY5" fmla="*/ 83343 h 114299"/>
              <a:gd name="connsiteX6" fmla="*/ 62100 w 140681"/>
              <a:gd name="connsiteY6" fmla="*/ 71437 h 114299"/>
              <a:gd name="connsiteX7" fmla="*/ 64481 w 140681"/>
              <a:gd name="connsiteY7" fmla="*/ 64293 h 114299"/>
              <a:gd name="connsiteX8" fmla="*/ 71625 w 140681"/>
              <a:gd name="connsiteY8" fmla="*/ 61912 h 114299"/>
              <a:gd name="connsiteX9" fmla="*/ 78769 w 140681"/>
              <a:gd name="connsiteY9" fmla="*/ 64293 h 114299"/>
              <a:gd name="connsiteX10" fmla="*/ 83531 w 140681"/>
              <a:gd name="connsiteY10" fmla="*/ 71437 h 114299"/>
              <a:gd name="connsiteX11" fmla="*/ 95437 w 140681"/>
              <a:gd name="connsiteY11" fmla="*/ 69056 h 114299"/>
              <a:gd name="connsiteX12" fmla="*/ 102581 w 140681"/>
              <a:gd name="connsiteY12" fmla="*/ 66674 h 114299"/>
              <a:gd name="connsiteX13" fmla="*/ 116869 w 140681"/>
              <a:gd name="connsiteY13" fmla="*/ 57149 h 114299"/>
              <a:gd name="connsiteX14" fmla="*/ 119250 w 140681"/>
              <a:gd name="connsiteY14" fmla="*/ 50006 h 114299"/>
              <a:gd name="connsiteX15" fmla="*/ 135919 w 140681"/>
              <a:gd name="connsiteY15" fmla="*/ 40481 h 114299"/>
              <a:gd name="connsiteX16" fmla="*/ 140681 w 140681"/>
              <a:gd name="connsiteY16" fmla="*/ 33337 h 114299"/>
              <a:gd name="connsiteX17" fmla="*/ 121631 w 140681"/>
              <a:gd name="connsiteY17" fmla="*/ 16668 h 114299"/>
              <a:gd name="connsiteX18" fmla="*/ 114487 w 140681"/>
              <a:gd name="connsiteY18" fmla="*/ 11906 h 114299"/>
              <a:gd name="connsiteX19" fmla="*/ 85912 w 140681"/>
              <a:gd name="connsiteY19" fmla="*/ 21431 h 114299"/>
              <a:gd name="connsiteX20" fmla="*/ 83531 w 140681"/>
              <a:gd name="connsiteY20" fmla="*/ 30956 h 114299"/>
              <a:gd name="connsiteX21" fmla="*/ 69244 w 140681"/>
              <a:gd name="connsiteY21" fmla="*/ 35718 h 114299"/>
              <a:gd name="connsiteX22" fmla="*/ 62100 w 140681"/>
              <a:gd name="connsiteY22" fmla="*/ 38099 h 114299"/>
              <a:gd name="connsiteX23" fmla="*/ 59719 w 140681"/>
              <a:gd name="connsiteY23" fmla="*/ 30956 h 114299"/>
              <a:gd name="connsiteX24" fmla="*/ 69243 w 140681"/>
              <a:gd name="connsiteY24" fmla="*/ 0 h 114299"/>
              <a:gd name="connsiteX25" fmla="*/ 35906 w 140681"/>
              <a:gd name="connsiteY25" fmla="*/ 11906 h 114299"/>
              <a:gd name="connsiteX26" fmla="*/ 26382 w 140681"/>
              <a:gd name="connsiteY26" fmla="*/ 45243 h 114299"/>
              <a:gd name="connsiteX27" fmla="*/ 19238 w 140681"/>
              <a:gd name="connsiteY27" fmla="*/ 71437 h 114299"/>
              <a:gd name="connsiteX28" fmla="*/ 187 w 140681"/>
              <a:gd name="connsiteY28" fmla="*/ 85724 h 114299"/>
              <a:gd name="connsiteX0" fmla="*/ 187 w 140681"/>
              <a:gd name="connsiteY0" fmla="*/ 85724 h 114299"/>
              <a:gd name="connsiteX1" fmla="*/ 9712 w 140681"/>
              <a:gd name="connsiteY1" fmla="*/ 97631 h 114299"/>
              <a:gd name="connsiteX2" fmla="*/ 19237 w 140681"/>
              <a:gd name="connsiteY2" fmla="*/ 114299 h 114299"/>
              <a:gd name="connsiteX3" fmla="*/ 28762 w 140681"/>
              <a:gd name="connsiteY3" fmla="*/ 95249 h 114299"/>
              <a:gd name="connsiteX4" fmla="*/ 35906 w 140681"/>
              <a:gd name="connsiteY4" fmla="*/ 88106 h 114299"/>
              <a:gd name="connsiteX5" fmla="*/ 50194 w 140681"/>
              <a:gd name="connsiteY5" fmla="*/ 83343 h 114299"/>
              <a:gd name="connsiteX6" fmla="*/ 62100 w 140681"/>
              <a:gd name="connsiteY6" fmla="*/ 71437 h 114299"/>
              <a:gd name="connsiteX7" fmla="*/ 64481 w 140681"/>
              <a:gd name="connsiteY7" fmla="*/ 64293 h 114299"/>
              <a:gd name="connsiteX8" fmla="*/ 71625 w 140681"/>
              <a:gd name="connsiteY8" fmla="*/ 61912 h 114299"/>
              <a:gd name="connsiteX9" fmla="*/ 78769 w 140681"/>
              <a:gd name="connsiteY9" fmla="*/ 64293 h 114299"/>
              <a:gd name="connsiteX10" fmla="*/ 83531 w 140681"/>
              <a:gd name="connsiteY10" fmla="*/ 71437 h 114299"/>
              <a:gd name="connsiteX11" fmla="*/ 95437 w 140681"/>
              <a:gd name="connsiteY11" fmla="*/ 69056 h 114299"/>
              <a:gd name="connsiteX12" fmla="*/ 102581 w 140681"/>
              <a:gd name="connsiteY12" fmla="*/ 66674 h 114299"/>
              <a:gd name="connsiteX13" fmla="*/ 116869 w 140681"/>
              <a:gd name="connsiteY13" fmla="*/ 57149 h 114299"/>
              <a:gd name="connsiteX14" fmla="*/ 119250 w 140681"/>
              <a:gd name="connsiteY14" fmla="*/ 50006 h 114299"/>
              <a:gd name="connsiteX15" fmla="*/ 135919 w 140681"/>
              <a:gd name="connsiteY15" fmla="*/ 40481 h 114299"/>
              <a:gd name="connsiteX16" fmla="*/ 140681 w 140681"/>
              <a:gd name="connsiteY16" fmla="*/ 33337 h 114299"/>
              <a:gd name="connsiteX17" fmla="*/ 121631 w 140681"/>
              <a:gd name="connsiteY17" fmla="*/ 16668 h 114299"/>
              <a:gd name="connsiteX18" fmla="*/ 114487 w 140681"/>
              <a:gd name="connsiteY18" fmla="*/ 11906 h 114299"/>
              <a:gd name="connsiteX19" fmla="*/ 85912 w 140681"/>
              <a:gd name="connsiteY19" fmla="*/ 21431 h 114299"/>
              <a:gd name="connsiteX20" fmla="*/ 83531 w 140681"/>
              <a:gd name="connsiteY20" fmla="*/ 30956 h 114299"/>
              <a:gd name="connsiteX21" fmla="*/ 69244 w 140681"/>
              <a:gd name="connsiteY21" fmla="*/ 35718 h 114299"/>
              <a:gd name="connsiteX22" fmla="*/ 62100 w 140681"/>
              <a:gd name="connsiteY22" fmla="*/ 38099 h 114299"/>
              <a:gd name="connsiteX23" fmla="*/ 66862 w 140681"/>
              <a:gd name="connsiteY23" fmla="*/ 23813 h 114299"/>
              <a:gd name="connsiteX24" fmla="*/ 69243 w 140681"/>
              <a:gd name="connsiteY24" fmla="*/ 0 h 114299"/>
              <a:gd name="connsiteX25" fmla="*/ 35906 w 140681"/>
              <a:gd name="connsiteY25" fmla="*/ 11906 h 114299"/>
              <a:gd name="connsiteX26" fmla="*/ 26382 w 140681"/>
              <a:gd name="connsiteY26" fmla="*/ 45243 h 114299"/>
              <a:gd name="connsiteX27" fmla="*/ 19238 w 140681"/>
              <a:gd name="connsiteY27" fmla="*/ 71437 h 114299"/>
              <a:gd name="connsiteX28" fmla="*/ 187 w 140681"/>
              <a:gd name="connsiteY28" fmla="*/ 85724 h 114299"/>
              <a:gd name="connsiteX0" fmla="*/ 187 w 140681"/>
              <a:gd name="connsiteY0" fmla="*/ 86892 h 115467"/>
              <a:gd name="connsiteX1" fmla="*/ 9712 w 140681"/>
              <a:gd name="connsiteY1" fmla="*/ 98799 h 115467"/>
              <a:gd name="connsiteX2" fmla="*/ 19237 w 140681"/>
              <a:gd name="connsiteY2" fmla="*/ 115467 h 115467"/>
              <a:gd name="connsiteX3" fmla="*/ 28762 w 140681"/>
              <a:gd name="connsiteY3" fmla="*/ 96417 h 115467"/>
              <a:gd name="connsiteX4" fmla="*/ 35906 w 140681"/>
              <a:gd name="connsiteY4" fmla="*/ 89274 h 115467"/>
              <a:gd name="connsiteX5" fmla="*/ 50194 w 140681"/>
              <a:gd name="connsiteY5" fmla="*/ 84511 h 115467"/>
              <a:gd name="connsiteX6" fmla="*/ 62100 w 140681"/>
              <a:gd name="connsiteY6" fmla="*/ 72605 h 115467"/>
              <a:gd name="connsiteX7" fmla="*/ 64481 w 140681"/>
              <a:gd name="connsiteY7" fmla="*/ 65461 h 115467"/>
              <a:gd name="connsiteX8" fmla="*/ 71625 w 140681"/>
              <a:gd name="connsiteY8" fmla="*/ 63080 h 115467"/>
              <a:gd name="connsiteX9" fmla="*/ 78769 w 140681"/>
              <a:gd name="connsiteY9" fmla="*/ 65461 h 115467"/>
              <a:gd name="connsiteX10" fmla="*/ 83531 w 140681"/>
              <a:gd name="connsiteY10" fmla="*/ 72605 h 115467"/>
              <a:gd name="connsiteX11" fmla="*/ 95437 w 140681"/>
              <a:gd name="connsiteY11" fmla="*/ 70224 h 115467"/>
              <a:gd name="connsiteX12" fmla="*/ 102581 w 140681"/>
              <a:gd name="connsiteY12" fmla="*/ 67842 h 115467"/>
              <a:gd name="connsiteX13" fmla="*/ 116869 w 140681"/>
              <a:gd name="connsiteY13" fmla="*/ 58317 h 115467"/>
              <a:gd name="connsiteX14" fmla="*/ 119250 w 140681"/>
              <a:gd name="connsiteY14" fmla="*/ 51174 h 115467"/>
              <a:gd name="connsiteX15" fmla="*/ 135919 w 140681"/>
              <a:gd name="connsiteY15" fmla="*/ 41649 h 115467"/>
              <a:gd name="connsiteX16" fmla="*/ 140681 w 140681"/>
              <a:gd name="connsiteY16" fmla="*/ 34505 h 115467"/>
              <a:gd name="connsiteX17" fmla="*/ 121631 w 140681"/>
              <a:gd name="connsiteY17" fmla="*/ 17836 h 115467"/>
              <a:gd name="connsiteX18" fmla="*/ 114487 w 140681"/>
              <a:gd name="connsiteY18" fmla="*/ 13074 h 115467"/>
              <a:gd name="connsiteX19" fmla="*/ 85912 w 140681"/>
              <a:gd name="connsiteY19" fmla="*/ 22599 h 115467"/>
              <a:gd name="connsiteX20" fmla="*/ 83531 w 140681"/>
              <a:gd name="connsiteY20" fmla="*/ 32124 h 115467"/>
              <a:gd name="connsiteX21" fmla="*/ 69244 w 140681"/>
              <a:gd name="connsiteY21" fmla="*/ 36886 h 115467"/>
              <a:gd name="connsiteX22" fmla="*/ 62100 w 140681"/>
              <a:gd name="connsiteY22" fmla="*/ 39267 h 115467"/>
              <a:gd name="connsiteX23" fmla="*/ 69243 w 140681"/>
              <a:gd name="connsiteY23" fmla="*/ 1168 h 115467"/>
              <a:gd name="connsiteX24" fmla="*/ 35906 w 140681"/>
              <a:gd name="connsiteY24" fmla="*/ 13074 h 115467"/>
              <a:gd name="connsiteX25" fmla="*/ 26382 w 140681"/>
              <a:gd name="connsiteY25" fmla="*/ 46411 h 115467"/>
              <a:gd name="connsiteX26" fmla="*/ 19238 w 140681"/>
              <a:gd name="connsiteY26" fmla="*/ 72605 h 115467"/>
              <a:gd name="connsiteX27" fmla="*/ 187 w 140681"/>
              <a:gd name="connsiteY27" fmla="*/ 86892 h 115467"/>
              <a:gd name="connsiteX0" fmla="*/ 187 w 140681"/>
              <a:gd name="connsiteY0" fmla="*/ 90487 h 119062"/>
              <a:gd name="connsiteX1" fmla="*/ 9712 w 140681"/>
              <a:gd name="connsiteY1" fmla="*/ 102394 h 119062"/>
              <a:gd name="connsiteX2" fmla="*/ 19237 w 140681"/>
              <a:gd name="connsiteY2" fmla="*/ 119062 h 119062"/>
              <a:gd name="connsiteX3" fmla="*/ 28762 w 140681"/>
              <a:gd name="connsiteY3" fmla="*/ 100012 h 119062"/>
              <a:gd name="connsiteX4" fmla="*/ 35906 w 140681"/>
              <a:gd name="connsiteY4" fmla="*/ 92869 h 119062"/>
              <a:gd name="connsiteX5" fmla="*/ 50194 w 140681"/>
              <a:gd name="connsiteY5" fmla="*/ 88106 h 119062"/>
              <a:gd name="connsiteX6" fmla="*/ 62100 w 140681"/>
              <a:gd name="connsiteY6" fmla="*/ 76200 h 119062"/>
              <a:gd name="connsiteX7" fmla="*/ 64481 w 140681"/>
              <a:gd name="connsiteY7" fmla="*/ 69056 h 119062"/>
              <a:gd name="connsiteX8" fmla="*/ 71625 w 140681"/>
              <a:gd name="connsiteY8" fmla="*/ 66675 h 119062"/>
              <a:gd name="connsiteX9" fmla="*/ 78769 w 140681"/>
              <a:gd name="connsiteY9" fmla="*/ 69056 h 119062"/>
              <a:gd name="connsiteX10" fmla="*/ 83531 w 140681"/>
              <a:gd name="connsiteY10" fmla="*/ 76200 h 119062"/>
              <a:gd name="connsiteX11" fmla="*/ 95437 w 140681"/>
              <a:gd name="connsiteY11" fmla="*/ 73819 h 119062"/>
              <a:gd name="connsiteX12" fmla="*/ 102581 w 140681"/>
              <a:gd name="connsiteY12" fmla="*/ 71437 h 119062"/>
              <a:gd name="connsiteX13" fmla="*/ 116869 w 140681"/>
              <a:gd name="connsiteY13" fmla="*/ 61912 h 119062"/>
              <a:gd name="connsiteX14" fmla="*/ 119250 w 140681"/>
              <a:gd name="connsiteY14" fmla="*/ 54769 h 119062"/>
              <a:gd name="connsiteX15" fmla="*/ 135919 w 140681"/>
              <a:gd name="connsiteY15" fmla="*/ 45244 h 119062"/>
              <a:gd name="connsiteX16" fmla="*/ 140681 w 140681"/>
              <a:gd name="connsiteY16" fmla="*/ 38100 h 119062"/>
              <a:gd name="connsiteX17" fmla="*/ 121631 w 140681"/>
              <a:gd name="connsiteY17" fmla="*/ 21431 h 119062"/>
              <a:gd name="connsiteX18" fmla="*/ 104962 w 140681"/>
              <a:gd name="connsiteY18" fmla="*/ 0 h 119062"/>
              <a:gd name="connsiteX19" fmla="*/ 85912 w 140681"/>
              <a:gd name="connsiteY19" fmla="*/ 26194 h 119062"/>
              <a:gd name="connsiteX20" fmla="*/ 83531 w 140681"/>
              <a:gd name="connsiteY20" fmla="*/ 35719 h 119062"/>
              <a:gd name="connsiteX21" fmla="*/ 69244 w 140681"/>
              <a:gd name="connsiteY21" fmla="*/ 40481 h 119062"/>
              <a:gd name="connsiteX22" fmla="*/ 62100 w 140681"/>
              <a:gd name="connsiteY22" fmla="*/ 42862 h 119062"/>
              <a:gd name="connsiteX23" fmla="*/ 69243 w 140681"/>
              <a:gd name="connsiteY23" fmla="*/ 4763 h 119062"/>
              <a:gd name="connsiteX24" fmla="*/ 35906 w 140681"/>
              <a:gd name="connsiteY24" fmla="*/ 16669 h 119062"/>
              <a:gd name="connsiteX25" fmla="*/ 26382 w 140681"/>
              <a:gd name="connsiteY25" fmla="*/ 50006 h 119062"/>
              <a:gd name="connsiteX26" fmla="*/ 19238 w 140681"/>
              <a:gd name="connsiteY26" fmla="*/ 76200 h 119062"/>
              <a:gd name="connsiteX27" fmla="*/ 187 w 140681"/>
              <a:gd name="connsiteY27" fmla="*/ 90487 h 119062"/>
              <a:gd name="connsiteX0" fmla="*/ 187 w 140784"/>
              <a:gd name="connsiteY0" fmla="*/ 90744 h 119319"/>
              <a:gd name="connsiteX1" fmla="*/ 9712 w 140784"/>
              <a:gd name="connsiteY1" fmla="*/ 102651 h 119319"/>
              <a:gd name="connsiteX2" fmla="*/ 19237 w 140784"/>
              <a:gd name="connsiteY2" fmla="*/ 119319 h 119319"/>
              <a:gd name="connsiteX3" fmla="*/ 28762 w 140784"/>
              <a:gd name="connsiteY3" fmla="*/ 100269 h 119319"/>
              <a:gd name="connsiteX4" fmla="*/ 35906 w 140784"/>
              <a:gd name="connsiteY4" fmla="*/ 93126 h 119319"/>
              <a:gd name="connsiteX5" fmla="*/ 50194 w 140784"/>
              <a:gd name="connsiteY5" fmla="*/ 88363 h 119319"/>
              <a:gd name="connsiteX6" fmla="*/ 62100 w 140784"/>
              <a:gd name="connsiteY6" fmla="*/ 76457 h 119319"/>
              <a:gd name="connsiteX7" fmla="*/ 64481 w 140784"/>
              <a:gd name="connsiteY7" fmla="*/ 69313 h 119319"/>
              <a:gd name="connsiteX8" fmla="*/ 71625 w 140784"/>
              <a:gd name="connsiteY8" fmla="*/ 66932 h 119319"/>
              <a:gd name="connsiteX9" fmla="*/ 78769 w 140784"/>
              <a:gd name="connsiteY9" fmla="*/ 69313 h 119319"/>
              <a:gd name="connsiteX10" fmla="*/ 83531 w 140784"/>
              <a:gd name="connsiteY10" fmla="*/ 76457 h 119319"/>
              <a:gd name="connsiteX11" fmla="*/ 95437 w 140784"/>
              <a:gd name="connsiteY11" fmla="*/ 74076 h 119319"/>
              <a:gd name="connsiteX12" fmla="*/ 102581 w 140784"/>
              <a:gd name="connsiteY12" fmla="*/ 71694 h 119319"/>
              <a:gd name="connsiteX13" fmla="*/ 116869 w 140784"/>
              <a:gd name="connsiteY13" fmla="*/ 62169 h 119319"/>
              <a:gd name="connsiteX14" fmla="*/ 119250 w 140784"/>
              <a:gd name="connsiteY14" fmla="*/ 55026 h 119319"/>
              <a:gd name="connsiteX15" fmla="*/ 135919 w 140784"/>
              <a:gd name="connsiteY15" fmla="*/ 45501 h 119319"/>
              <a:gd name="connsiteX16" fmla="*/ 140681 w 140784"/>
              <a:gd name="connsiteY16" fmla="*/ 38357 h 119319"/>
              <a:gd name="connsiteX17" fmla="*/ 131156 w 140784"/>
              <a:gd name="connsiteY17" fmla="*/ 14544 h 119319"/>
              <a:gd name="connsiteX18" fmla="*/ 104962 w 140784"/>
              <a:gd name="connsiteY18" fmla="*/ 257 h 119319"/>
              <a:gd name="connsiteX19" fmla="*/ 85912 w 140784"/>
              <a:gd name="connsiteY19" fmla="*/ 26451 h 119319"/>
              <a:gd name="connsiteX20" fmla="*/ 83531 w 140784"/>
              <a:gd name="connsiteY20" fmla="*/ 35976 h 119319"/>
              <a:gd name="connsiteX21" fmla="*/ 69244 w 140784"/>
              <a:gd name="connsiteY21" fmla="*/ 40738 h 119319"/>
              <a:gd name="connsiteX22" fmla="*/ 62100 w 140784"/>
              <a:gd name="connsiteY22" fmla="*/ 43119 h 119319"/>
              <a:gd name="connsiteX23" fmla="*/ 69243 w 140784"/>
              <a:gd name="connsiteY23" fmla="*/ 5020 h 119319"/>
              <a:gd name="connsiteX24" fmla="*/ 35906 w 140784"/>
              <a:gd name="connsiteY24" fmla="*/ 16926 h 119319"/>
              <a:gd name="connsiteX25" fmla="*/ 26382 w 140784"/>
              <a:gd name="connsiteY25" fmla="*/ 50263 h 119319"/>
              <a:gd name="connsiteX26" fmla="*/ 19238 w 140784"/>
              <a:gd name="connsiteY26" fmla="*/ 76457 h 119319"/>
              <a:gd name="connsiteX27" fmla="*/ 187 w 140784"/>
              <a:gd name="connsiteY27" fmla="*/ 90744 h 119319"/>
              <a:gd name="connsiteX0" fmla="*/ 187 w 140784"/>
              <a:gd name="connsiteY0" fmla="*/ 90744 h 119319"/>
              <a:gd name="connsiteX1" fmla="*/ 9712 w 140784"/>
              <a:gd name="connsiteY1" fmla="*/ 102651 h 119319"/>
              <a:gd name="connsiteX2" fmla="*/ 19237 w 140784"/>
              <a:gd name="connsiteY2" fmla="*/ 119319 h 119319"/>
              <a:gd name="connsiteX3" fmla="*/ 28762 w 140784"/>
              <a:gd name="connsiteY3" fmla="*/ 100269 h 119319"/>
              <a:gd name="connsiteX4" fmla="*/ 35906 w 140784"/>
              <a:gd name="connsiteY4" fmla="*/ 93126 h 119319"/>
              <a:gd name="connsiteX5" fmla="*/ 50194 w 140784"/>
              <a:gd name="connsiteY5" fmla="*/ 88363 h 119319"/>
              <a:gd name="connsiteX6" fmla="*/ 62100 w 140784"/>
              <a:gd name="connsiteY6" fmla="*/ 76457 h 119319"/>
              <a:gd name="connsiteX7" fmla="*/ 64481 w 140784"/>
              <a:gd name="connsiteY7" fmla="*/ 69313 h 119319"/>
              <a:gd name="connsiteX8" fmla="*/ 71625 w 140784"/>
              <a:gd name="connsiteY8" fmla="*/ 66932 h 119319"/>
              <a:gd name="connsiteX9" fmla="*/ 78769 w 140784"/>
              <a:gd name="connsiteY9" fmla="*/ 69313 h 119319"/>
              <a:gd name="connsiteX10" fmla="*/ 83531 w 140784"/>
              <a:gd name="connsiteY10" fmla="*/ 76457 h 119319"/>
              <a:gd name="connsiteX11" fmla="*/ 95437 w 140784"/>
              <a:gd name="connsiteY11" fmla="*/ 74076 h 119319"/>
              <a:gd name="connsiteX12" fmla="*/ 102581 w 140784"/>
              <a:gd name="connsiteY12" fmla="*/ 71694 h 119319"/>
              <a:gd name="connsiteX13" fmla="*/ 116869 w 140784"/>
              <a:gd name="connsiteY13" fmla="*/ 62169 h 119319"/>
              <a:gd name="connsiteX14" fmla="*/ 119250 w 140784"/>
              <a:gd name="connsiteY14" fmla="*/ 55026 h 119319"/>
              <a:gd name="connsiteX15" fmla="*/ 135919 w 140784"/>
              <a:gd name="connsiteY15" fmla="*/ 45501 h 119319"/>
              <a:gd name="connsiteX16" fmla="*/ 140681 w 140784"/>
              <a:gd name="connsiteY16" fmla="*/ 38357 h 119319"/>
              <a:gd name="connsiteX17" fmla="*/ 131156 w 140784"/>
              <a:gd name="connsiteY17" fmla="*/ 14544 h 119319"/>
              <a:gd name="connsiteX18" fmla="*/ 104962 w 140784"/>
              <a:gd name="connsiteY18" fmla="*/ 257 h 119319"/>
              <a:gd name="connsiteX19" fmla="*/ 85912 w 140784"/>
              <a:gd name="connsiteY19" fmla="*/ 26451 h 119319"/>
              <a:gd name="connsiteX20" fmla="*/ 83531 w 140784"/>
              <a:gd name="connsiteY20" fmla="*/ 35976 h 119319"/>
              <a:gd name="connsiteX21" fmla="*/ 69244 w 140784"/>
              <a:gd name="connsiteY21" fmla="*/ 40738 h 119319"/>
              <a:gd name="connsiteX22" fmla="*/ 69243 w 140784"/>
              <a:gd name="connsiteY22" fmla="*/ 5020 h 119319"/>
              <a:gd name="connsiteX23" fmla="*/ 35906 w 140784"/>
              <a:gd name="connsiteY23" fmla="*/ 16926 h 119319"/>
              <a:gd name="connsiteX24" fmla="*/ 26382 w 140784"/>
              <a:gd name="connsiteY24" fmla="*/ 50263 h 119319"/>
              <a:gd name="connsiteX25" fmla="*/ 19238 w 140784"/>
              <a:gd name="connsiteY25" fmla="*/ 76457 h 119319"/>
              <a:gd name="connsiteX26" fmla="*/ 187 w 140784"/>
              <a:gd name="connsiteY26" fmla="*/ 90744 h 119319"/>
              <a:gd name="connsiteX0" fmla="*/ 187 w 140784"/>
              <a:gd name="connsiteY0" fmla="*/ 90744 h 119319"/>
              <a:gd name="connsiteX1" fmla="*/ 9712 w 140784"/>
              <a:gd name="connsiteY1" fmla="*/ 102651 h 119319"/>
              <a:gd name="connsiteX2" fmla="*/ 19237 w 140784"/>
              <a:gd name="connsiteY2" fmla="*/ 119319 h 119319"/>
              <a:gd name="connsiteX3" fmla="*/ 28762 w 140784"/>
              <a:gd name="connsiteY3" fmla="*/ 100269 h 119319"/>
              <a:gd name="connsiteX4" fmla="*/ 35906 w 140784"/>
              <a:gd name="connsiteY4" fmla="*/ 93126 h 119319"/>
              <a:gd name="connsiteX5" fmla="*/ 50194 w 140784"/>
              <a:gd name="connsiteY5" fmla="*/ 88363 h 119319"/>
              <a:gd name="connsiteX6" fmla="*/ 62100 w 140784"/>
              <a:gd name="connsiteY6" fmla="*/ 76457 h 119319"/>
              <a:gd name="connsiteX7" fmla="*/ 64481 w 140784"/>
              <a:gd name="connsiteY7" fmla="*/ 69313 h 119319"/>
              <a:gd name="connsiteX8" fmla="*/ 71625 w 140784"/>
              <a:gd name="connsiteY8" fmla="*/ 66932 h 119319"/>
              <a:gd name="connsiteX9" fmla="*/ 78769 w 140784"/>
              <a:gd name="connsiteY9" fmla="*/ 69313 h 119319"/>
              <a:gd name="connsiteX10" fmla="*/ 83531 w 140784"/>
              <a:gd name="connsiteY10" fmla="*/ 76457 h 119319"/>
              <a:gd name="connsiteX11" fmla="*/ 95437 w 140784"/>
              <a:gd name="connsiteY11" fmla="*/ 74076 h 119319"/>
              <a:gd name="connsiteX12" fmla="*/ 102581 w 140784"/>
              <a:gd name="connsiteY12" fmla="*/ 71694 h 119319"/>
              <a:gd name="connsiteX13" fmla="*/ 116869 w 140784"/>
              <a:gd name="connsiteY13" fmla="*/ 62169 h 119319"/>
              <a:gd name="connsiteX14" fmla="*/ 119250 w 140784"/>
              <a:gd name="connsiteY14" fmla="*/ 55026 h 119319"/>
              <a:gd name="connsiteX15" fmla="*/ 135919 w 140784"/>
              <a:gd name="connsiteY15" fmla="*/ 45501 h 119319"/>
              <a:gd name="connsiteX16" fmla="*/ 140681 w 140784"/>
              <a:gd name="connsiteY16" fmla="*/ 38357 h 119319"/>
              <a:gd name="connsiteX17" fmla="*/ 131156 w 140784"/>
              <a:gd name="connsiteY17" fmla="*/ 14544 h 119319"/>
              <a:gd name="connsiteX18" fmla="*/ 104962 w 140784"/>
              <a:gd name="connsiteY18" fmla="*/ 257 h 119319"/>
              <a:gd name="connsiteX19" fmla="*/ 85912 w 140784"/>
              <a:gd name="connsiteY19" fmla="*/ 26451 h 119319"/>
              <a:gd name="connsiteX20" fmla="*/ 69244 w 140784"/>
              <a:gd name="connsiteY20" fmla="*/ 40738 h 119319"/>
              <a:gd name="connsiteX21" fmla="*/ 69243 w 140784"/>
              <a:gd name="connsiteY21" fmla="*/ 5020 h 119319"/>
              <a:gd name="connsiteX22" fmla="*/ 35906 w 140784"/>
              <a:gd name="connsiteY22" fmla="*/ 16926 h 119319"/>
              <a:gd name="connsiteX23" fmla="*/ 26382 w 140784"/>
              <a:gd name="connsiteY23" fmla="*/ 50263 h 119319"/>
              <a:gd name="connsiteX24" fmla="*/ 19238 w 140784"/>
              <a:gd name="connsiteY24" fmla="*/ 76457 h 119319"/>
              <a:gd name="connsiteX25" fmla="*/ 187 w 140784"/>
              <a:gd name="connsiteY25" fmla="*/ 90744 h 119319"/>
              <a:gd name="connsiteX0" fmla="*/ 187 w 140784"/>
              <a:gd name="connsiteY0" fmla="*/ 91403 h 119978"/>
              <a:gd name="connsiteX1" fmla="*/ 9712 w 140784"/>
              <a:gd name="connsiteY1" fmla="*/ 103310 h 119978"/>
              <a:gd name="connsiteX2" fmla="*/ 19237 w 140784"/>
              <a:gd name="connsiteY2" fmla="*/ 119978 h 119978"/>
              <a:gd name="connsiteX3" fmla="*/ 28762 w 140784"/>
              <a:gd name="connsiteY3" fmla="*/ 100928 h 119978"/>
              <a:gd name="connsiteX4" fmla="*/ 35906 w 140784"/>
              <a:gd name="connsiteY4" fmla="*/ 93785 h 119978"/>
              <a:gd name="connsiteX5" fmla="*/ 50194 w 140784"/>
              <a:gd name="connsiteY5" fmla="*/ 89022 h 119978"/>
              <a:gd name="connsiteX6" fmla="*/ 62100 w 140784"/>
              <a:gd name="connsiteY6" fmla="*/ 77116 h 119978"/>
              <a:gd name="connsiteX7" fmla="*/ 64481 w 140784"/>
              <a:gd name="connsiteY7" fmla="*/ 69972 h 119978"/>
              <a:gd name="connsiteX8" fmla="*/ 71625 w 140784"/>
              <a:gd name="connsiteY8" fmla="*/ 67591 h 119978"/>
              <a:gd name="connsiteX9" fmla="*/ 78769 w 140784"/>
              <a:gd name="connsiteY9" fmla="*/ 69972 h 119978"/>
              <a:gd name="connsiteX10" fmla="*/ 83531 w 140784"/>
              <a:gd name="connsiteY10" fmla="*/ 77116 h 119978"/>
              <a:gd name="connsiteX11" fmla="*/ 95437 w 140784"/>
              <a:gd name="connsiteY11" fmla="*/ 74735 h 119978"/>
              <a:gd name="connsiteX12" fmla="*/ 102581 w 140784"/>
              <a:gd name="connsiteY12" fmla="*/ 72353 h 119978"/>
              <a:gd name="connsiteX13" fmla="*/ 116869 w 140784"/>
              <a:gd name="connsiteY13" fmla="*/ 62828 h 119978"/>
              <a:gd name="connsiteX14" fmla="*/ 119250 w 140784"/>
              <a:gd name="connsiteY14" fmla="*/ 55685 h 119978"/>
              <a:gd name="connsiteX15" fmla="*/ 135919 w 140784"/>
              <a:gd name="connsiteY15" fmla="*/ 46160 h 119978"/>
              <a:gd name="connsiteX16" fmla="*/ 140681 w 140784"/>
              <a:gd name="connsiteY16" fmla="*/ 39016 h 119978"/>
              <a:gd name="connsiteX17" fmla="*/ 131156 w 140784"/>
              <a:gd name="connsiteY17" fmla="*/ 15203 h 119978"/>
              <a:gd name="connsiteX18" fmla="*/ 104962 w 140784"/>
              <a:gd name="connsiteY18" fmla="*/ 916 h 119978"/>
              <a:gd name="connsiteX19" fmla="*/ 69244 w 140784"/>
              <a:gd name="connsiteY19" fmla="*/ 41397 h 119978"/>
              <a:gd name="connsiteX20" fmla="*/ 69243 w 140784"/>
              <a:gd name="connsiteY20" fmla="*/ 5679 h 119978"/>
              <a:gd name="connsiteX21" fmla="*/ 35906 w 140784"/>
              <a:gd name="connsiteY21" fmla="*/ 17585 h 119978"/>
              <a:gd name="connsiteX22" fmla="*/ 26382 w 140784"/>
              <a:gd name="connsiteY22" fmla="*/ 50922 h 119978"/>
              <a:gd name="connsiteX23" fmla="*/ 19238 w 140784"/>
              <a:gd name="connsiteY23" fmla="*/ 77116 h 119978"/>
              <a:gd name="connsiteX24" fmla="*/ 187 w 140784"/>
              <a:gd name="connsiteY24" fmla="*/ 91403 h 119978"/>
              <a:gd name="connsiteX0" fmla="*/ 187 w 140784"/>
              <a:gd name="connsiteY0" fmla="*/ 90663 h 119238"/>
              <a:gd name="connsiteX1" fmla="*/ 9712 w 140784"/>
              <a:gd name="connsiteY1" fmla="*/ 102570 h 119238"/>
              <a:gd name="connsiteX2" fmla="*/ 19237 w 140784"/>
              <a:gd name="connsiteY2" fmla="*/ 119238 h 119238"/>
              <a:gd name="connsiteX3" fmla="*/ 28762 w 140784"/>
              <a:gd name="connsiteY3" fmla="*/ 100188 h 119238"/>
              <a:gd name="connsiteX4" fmla="*/ 35906 w 140784"/>
              <a:gd name="connsiteY4" fmla="*/ 93045 h 119238"/>
              <a:gd name="connsiteX5" fmla="*/ 50194 w 140784"/>
              <a:gd name="connsiteY5" fmla="*/ 88282 h 119238"/>
              <a:gd name="connsiteX6" fmla="*/ 62100 w 140784"/>
              <a:gd name="connsiteY6" fmla="*/ 76376 h 119238"/>
              <a:gd name="connsiteX7" fmla="*/ 64481 w 140784"/>
              <a:gd name="connsiteY7" fmla="*/ 69232 h 119238"/>
              <a:gd name="connsiteX8" fmla="*/ 71625 w 140784"/>
              <a:gd name="connsiteY8" fmla="*/ 66851 h 119238"/>
              <a:gd name="connsiteX9" fmla="*/ 78769 w 140784"/>
              <a:gd name="connsiteY9" fmla="*/ 69232 h 119238"/>
              <a:gd name="connsiteX10" fmla="*/ 83531 w 140784"/>
              <a:gd name="connsiteY10" fmla="*/ 76376 h 119238"/>
              <a:gd name="connsiteX11" fmla="*/ 95437 w 140784"/>
              <a:gd name="connsiteY11" fmla="*/ 73995 h 119238"/>
              <a:gd name="connsiteX12" fmla="*/ 102581 w 140784"/>
              <a:gd name="connsiteY12" fmla="*/ 71613 h 119238"/>
              <a:gd name="connsiteX13" fmla="*/ 116869 w 140784"/>
              <a:gd name="connsiteY13" fmla="*/ 62088 h 119238"/>
              <a:gd name="connsiteX14" fmla="*/ 119250 w 140784"/>
              <a:gd name="connsiteY14" fmla="*/ 54945 h 119238"/>
              <a:gd name="connsiteX15" fmla="*/ 135919 w 140784"/>
              <a:gd name="connsiteY15" fmla="*/ 45420 h 119238"/>
              <a:gd name="connsiteX16" fmla="*/ 140681 w 140784"/>
              <a:gd name="connsiteY16" fmla="*/ 38276 h 119238"/>
              <a:gd name="connsiteX17" fmla="*/ 131156 w 140784"/>
              <a:gd name="connsiteY17" fmla="*/ 14463 h 119238"/>
              <a:gd name="connsiteX18" fmla="*/ 104962 w 140784"/>
              <a:gd name="connsiteY18" fmla="*/ 176 h 119238"/>
              <a:gd name="connsiteX19" fmla="*/ 88294 w 140784"/>
              <a:gd name="connsiteY19" fmla="*/ 23988 h 119238"/>
              <a:gd name="connsiteX20" fmla="*/ 69243 w 140784"/>
              <a:gd name="connsiteY20" fmla="*/ 4939 h 119238"/>
              <a:gd name="connsiteX21" fmla="*/ 35906 w 140784"/>
              <a:gd name="connsiteY21" fmla="*/ 16845 h 119238"/>
              <a:gd name="connsiteX22" fmla="*/ 26382 w 140784"/>
              <a:gd name="connsiteY22" fmla="*/ 50182 h 119238"/>
              <a:gd name="connsiteX23" fmla="*/ 19238 w 140784"/>
              <a:gd name="connsiteY23" fmla="*/ 76376 h 119238"/>
              <a:gd name="connsiteX24" fmla="*/ 187 w 140784"/>
              <a:gd name="connsiteY24" fmla="*/ 90663 h 119238"/>
              <a:gd name="connsiteX0" fmla="*/ 187 w 140784"/>
              <a:gd name="connsiteY0" fmla="*/ 93549 h 122124"/>
              <a:gd name="connsiteX1" fmla="*/ 9712 w 140784"/>
              <a:gd name="connsiteY1" fmla="*/ 105456 h 122124"/>
              <a:gd name="connsiteX2" fmla="*/ 19237 w 140784"/>
              <a:gd name="connsiteY2" fmla="*/ 122124 h 122124"/>
              <a:gd name="connsiteX3" fmla="*/ 28762 w 140784"/>
              <a:gd name="connsiteY3" fmla="*/ 103074 h 122124"/>
              <a:gd name="connsiteX4" fmla="*/ 35906 w 140784"/>
              <a:gd name="connsiteY4" fmla="*/ 95931 h 122124"/>
              <a:gd name="connsiteX5" fmla="*/ 50194 w 140784"/>
              <a:gd name="connsiteY5" fmla="*/ 91168 h 122124"/>
              <a:gd name="connsiteX6" fmla="*/ 62100 w 140784"/>
              <a:gd name="connsiteY6" fmla="*/ 79262 h 122124"/>
              <a:gd name="connsiteX7" fmla="*/ 64481 w 140784"/>
              <a:gd name="connsiteY7" fmla="*/ 72118 h 122124"/>
              <a:gd name="connsiteX8" fmla="*/ 71625 w 140784"/>
              <a:gd name="connsiteY8" fmla="*/ 69737 h 122124"/>
              <a:gd name="connsiteX9" fmla="*/ 78769 w 140784"/>
              <a:gd name="connsiteY9" fmla="*/ 72118 h 122124"/>
              <a:gd name="connsiteX10" fmla="*/ 83531 w 140784"/>
              <a:gd name="connsiteY10" fmla="*/ 79262 h 122124"/>
              <a:gd name="connsiteX11" fmla="*/ 95437 w 140784"/>
              <a:gd name="connsiteY11" fmla="*/ 76881 h 122124"/>
              <a:gd name="connsiteX12" fmla="*/ 102581 w 140784"/>
              <a:gd name="connsiteY12" fmla="*/ 74499 h 122124"/>
              <a:gd name="connsiteX13" fmla="*/ 116869 w 140784"/>
              <a:gd name="connsiteY13" fmla="*/ 64974 h 122124"/>
              <a:gd name="connsiteX14" fmla="*/ 119250 w 140784"/>
              <a:gd name="connsiteY14" fmla="*/ 57831 h 122124"/>
              <a:gd name="connsiteX15" fmla="*/ 135919 w 140784"/>
              <a:gd name="connsiteY15" fmla="*/ 48306 h 122124"/>
              <a:gd name="connsiteX16" fmla="*/ 140681 w 140784"/>
              <a:gd name="connsiteY16" fmla="*/ 41162 h 122124"/>
              <a:gd name="connsiteX17" fmla="*/ 131156 w 140784"/>
              <a:gd name="connsiteY17" fmla="*/ 17349 h 122124"/>
              <a:gd name="connsiteX18" fmla="*/ 104962 w 140784"/>
              <a:gd name="connsiteY18" fmla="*/ 3062 h 122124"/>
              <a:gd name="connsiteX19" fmla="*/ 88294 w 140784"/>
              <a:gd name="connsiteY19" fmla="*/ 26874 h 122124"/>
              <a:gd name="connsiteX20" fmla="*/ 81149 w 140784"/>
              <a:gd name="connsiteY20" fmla="*/ 681 h 122124"/>
              <a:gd name="connsiteX21" fmla="*/ 35906 w 140784"/>
              <a:gd name="connsiteY21" fmla="*/ 19731 h 122124"/>
              <a:gd name="connsiteX22" fmla="*/ 26382 w 140784"/>
              <a:gd name="connsiteY22" fmla="*/ 53068 h 122124"/>
              <a:gd name="connsiteX23" fmla="*/ 19238 w 140784"/>
              <a:gd name="connsiteY23" fmla="*/ 79262 h 122124"/>
              <a:gd name="connsiteX24" fmla="*/ 187 w 140784"/>
              <a:gd name="connsiteY24" fmla="*/ 93549 h 122124"/>
              <a:gd name="connsiteX0" fmla="*/ 187 w 140784"/>
              <a:gd name="connsiteY0" fmla="*/ 95862 h 124437"/>
              <a:gd name="connsiteX1" fmla="*/ 9712 w 140784"/>
              <a:gd name="connsiteY1" fmla="*/ 107769 h 124437"/>
              <a:gd name="connsiteX2" fmla="*/ 19237 w 140784"/>
              <a:gd name="connsiteY2" fmla="*/ 124437 h 124437"/>
              <a:gd name="connsiteX3" fmla="*/ 28762 w 140784"/>
              <a:gd name="connsiteY3" fmla="*/ 105387 h 124437"/>
              <a:gd name="connsiteX4" fmla="*/ 35906 w 140784"/>
              <a:gd name="connsiteY4" fmla="*/ 98244 h 124437"/>
              <a:gd name="connsiteX5" fmla="*/ 50194 w 140784"/>
              <a:gd name="connsiteY5" fmla="*/ 93481 h 124437"/>
              <a:gd name="connsiteX6" fmla="*/ 62100 w 140784"/>
              <a:gd name="connsiteY6" fmla="*/ 81575 h 124437"/>
              <a:gd name="connsiteX7" fmla="*/ 64481 w 140784"/>
              <a:gd name="connsiteY7" fmla="*/ 74431 h 124437"/>
              <a:gd name="connsiteX8" fmla="*/ 71625 w 140784"/>
              <a:gd name="connsiteY8" fmla="*/ 72050 h 124437"/>
              <a:gd name="connsiteX9" fmla="*/ 78769 w 140784"/>
              <a:gd name="connsiteY9" fmla="*/ 74431 h 124437"/>
              <a:gd name="connsiteX10" fmla="*/ 83531 w 140784"/>
              <a:gd name="connsiteY10" fmla="*/ 81575 h 124437"/>
              <a:gd name="connsiteX11" fmla="*/ 95437 w 140784"/>
              <a:gd name="connsiteY11" fmla="*/ 79194 h 124437"/>
              <a:gd name="connsiteX12" fmla="*/ 102581 w 140784"/>
              <a:gd name="connsiteY12" fmla="*/ 76812 h 124437"/>
              <a:gd name="connsiteX13" fmla="*/ 116869 w 140784"/>
              <a:gd name="connsiteY13" fmla="*/ 67287 h 124437"/>
              <a:gd name="connsiteX14" fmla="*/ 119250 w 140784"/>
              <a:gd name="connsiteY14" fmla="*/ 60144 h 124437"/>
              <a:gd name="connsiteX15" fmla="*/ 135919 w 140784"/>
              <a:gd name="connsiteY15" fmla="*/ 50619 h 124437"/>
              <a:gd name="connsiteX16" fmla="*/ 140681 w 140784"/>
              <a:gd name="connsiteY16" fmla="*/ 43475 h 124437"/>
              <a:gd name="connsiteX17" fmla="*/ 131156 w 140784"/>
              <a:gd name="connsiteY17" fmla="*/ 19662 h 124437"/>
              <a:gd name="connsiteX18" fmla="*/ 104962 w 140784"/>
              <a:gd name="connsiteY18" fmla="*/ 5375 h 124437"/>
              <a:gd name="connsiteX19" fmla="*/ 88294 w 140784"/>
              <a:gd name="connsiteY19" fmla="*/ 29187 h 124437"/>
              <a:gd name="connsiteX20" fmla="*/ 69243 w 140784"/>
              <a:gd name="connsiteY20" fmla="*/ 612 h 124437"/>
              <a:gd name="connsiteX21" fmla="*/ 35906 w 140784"/>
              <a:gd name="connsiteY21" fmla="*/ 22044 h 124437"/>
              <a:gd name="connsiteX22" fmla="*/ 26382 w 140784"/>
              <a:gd name="connsiteY22" fmla="*/ 55381 h 124437"/>
              <a:gd name="connsiteX23" fmla="*/ 19238 w 140784"/>
              <a:gd name="connsiteY23" fmla="*/ 81575 h 124437"/>
              <a:gd name="connsiteX24" fmla="*/ 187 w 140784"/>
              <a:gd name="connsiteY24" fmla="*/ 95862 h 124437"/>
              <a:gd name="connsiteX0" fmla="*/ 187 w 140784"/>
              <a:gd name="connsiteY0" fmla="*/ 96055 h 124630"/>
              <a:gd name="connsiteX1" fmla="*/ 9712 w 140784"/>
              <a:gd name="connsiteY1" fmla="*/ 107962 h 124630"/>
              <a:gd name="connsiteX2" fmla="*/ 19237 w 140784"/>
              <a:gd name="connsiteY2" fmla="*/ 124630 h 124630"/>
              <a:gd name="connsiteX3" fmla="*/ 28762 w 140784"/>
              <a:gd name="connsiteY3" fmla="*/ 105580 h 124630"/>
              <a:gd name="connsiteX4" fmla="*/ 35906 w 140784"/>
              <a:gd name="connsiteY4" fmla="*/ 98437 h 124630"/>
              <a:gd name="connsiteX5" fmla="*/ 50194 w 140784"/>
              <a:gd name="connsiteY5" fmla="*/ 93674 h 124630"/>
              <a:gd name="connsiteX6" fmla="*/ 62100 w 140784"/>
              <a:gd name="connsiteY6" fmla="*/ 81768 h 124630"/>
              <a:gd name="connsiteX7" fmla="*/ 64481 w 140784"/>
              <a:gd name="connsiteY7" fmla="*/ 74624 h 124630"/>
              <a:gd name="connsiteX8" fmla="*/ 71625 w 140784"/>
              <a:gd name="connsiteY8" fmla="*/ 72243 h 124630"/>
              <a:gd name="connsiteX9" fmla="*/ 78769 w 140784"/>
              <a:gd name="connsiteY9" fmla="*/ 74624 h 124630"/>
              <a:gd name="connsiteX10" fmla="*/ 83531 w 140784"/>
              <a:gd name="connsiteY10" fmla="*/ 81768 h 124630"/>
              <a:gd name="connsiteX11" fmla="*/ 95437 w 140784"/>
              <a:gd name="connsiteY11" fmla="*/ 79387 h 124630"/>
              <a:gd name="connsiteX12" fmla="*/ 102581 w 140784"/>
              <a:gd name="connsiteY12" fmla="*/ 77005 h 124630"/>
              <a:gd name="connsiteX13" fmla="*/ 116869 w 140784"/>
              <a:gd name="connsiteY13" fmla="*/ 67480 h 124630"/>
              <a:gd name="connsiteX14" fmla="*/ 119250 w 140784"/>
              <a:gd name="connsiteY14" fmla="*/ 60337 h 124630"/>
              <a:gd name="connsiteX15" fmla="*/ 135919 w 140784"/>
              <a:gd name="connsiteY15" fmla="*/ 50812 h 124630"/>
              <a:gd name="connsiteX16" fmla="*/ 140681 w 140784"/>
              <a:gd name="connsiteY16" fmla="*/ 43668 h 124630"/>
              <a:gd name="connsiteX17" fmla="*/ 131156 w 140784"/>
              <a:gd name="connsiteY17" fmla="*/ 19855 h 124630"/>
              <a:gd name="connsiteX18" fmla="*/ 104962 w 140784"/>
              <a:gd name="connsiteY18" fmla="*/ 5568 h 124630"/>
              <a:gd name="connsiteX19" fmla="*/ 88294 w 140784"/>
              <a:gd name="connsiteY19" fmla="*/ 29380 h 124630"/>
              <a:gd name="connsiteX20" fmla="*/ 69243 w 140784"/>
              <a:gd name="connsiteY20" fmla="*/ 805 h 124630"/>
              <a:gd name="connsiteX21" fmla="*/ 45431 w 140784"/>
              <a:gd name="connsiteY21" fmla="*/ 17474 h 124630"/>
              <a:gd name="connsiteX22" fmla="*/ 26382 w 140784"/>
              <a:gd name="connsiteY22" fmla="*/ 55574 h 124630"/>
              <a:gd name="connsiteX23" fmla="*/ 19238 w 140784"/>
              <a:gd name="connsiteY23" fmla="*/ 81768 h 124630"/>
              <a:gd name="connsiteX24" fmla="*/ 187 w 140784"/>
              <a:gd name="connsiteY24" fmla="*/ 96055 h 124630"/>
              <a:gd name="connsiteX0" fmla="*/ 187 w 140784"/>
              <a:gd name="connsiteY0" fmla="*/ 96000 h 124575"/>
              <a:gd name="connsiteX1" fmla="*/ 9712 w 140784"/>
              <a:gd name="connsiteY1" fmla="*/ 107907 h 124575"/>
              <a:gd name="connsiteX2" fmla="*/ 19237 w 140784"/>
              <a:gd name="connsiteY2" fmla="*/ 124575 h 124575"/>
              <a:gd name="connsiteX3" fmla="*/ 28762 w 140784"/>
              <a:gd name="connsiteY3" fmla="*/ 105525 h 124575"/>
              <a:gd name="connsiteX4" fmla="*/ 35906 w 140784"/>
              <a:gd name="connsiteY4" fmla="*/ 98382 h 124575"/>
              <a:gd name="connsiteX5" fmla="*/ 50194 w 140784"/>
              <a:gd name="connsiteY5" fmla="*/ 93619 h 124575"/>
              <a:gd name="connsiteX6" fmla="*/ 62100 w 140784"/>
              <a:gd name="connsiteY6" fmla="*/ 81713 h 124575"/>
              <a:gd name="connsiteX7" fmla="*/ 64481 w 140784"/>
              <a:gd name="connsiteY7" fmla="*/ 74569 h 124575"/>
              <a:gd name="connsiteX8" fmla="*/ 71625 w 140784"/>
              <a:gd name="connsiteY8" fmla="*/ 72188 h 124575"/>
              <a:gd name="connsiteX9" fmla="*/ 78769 w 140784"/>
              <a:gd name="connsiteY9" fmla="*/ 74569 h 124575"/>
              <a:gd name="connsiteX10" fmla="*/ 83531 w 140784"/>
              <a:gd name="connsiteY10" fmla="*/ 81713 h 124575"/>
              <a:gd name="connsiteX11" fmla="*/ 95437 w 140784"/>
              <a:gd name="connsiteY11" fmla="*/ 79332 h 124575"/>
              <a:gd name="connsiteX12" fmla="*/ 102581 w 140784"/>
              <a:gd name="connsiteY12" fmla="*/ 76950 h 124575"/>
              <a:gd name="connsiteX13" fmla="*/ 116869 w 140784"/>
              <a:gd name="connsiteY13" fmla="*/ 67425 h 124575"/>
              <a:gd name="connsiteX14" fmla="*/ 119250 w 140784"/>
              <a:gd name="connsiteY14" fmla="*/ 60282 h 124575"/>
              <a:gd name="connsiteX15" fmla="*/ 135919 w 140784"/>
              <a:gd name="connsiteY15" fmla="*/ 50757 h 124575"/>
              <a:gd name="connsiteX16" fmla="*/ 140681 w 140784"/>
              <a:gd name="connsiteY16" fmla="*/ 43613 h 124575"/>
              <a:gd name="connsiteX17" fmla="*/ 131156 w 140784"/>
              <a:gd name="connsiteY17" fmla="*/ 19800 h 124575"/>
              <a:gd name="connsiteX18" fmla="*/ 104962 w 140784"/>
              <a:gd name="connsiteY18" fmla="*/ 5513 h 124575"/>
              <a:gd name="connsiteX19" fmla="*/ 88294 w 140784"/>
              <a:gd name="connsiteY19" fmla="*/ 29325 h 124575"/>
              <a:gd name="connsiteX20" fmla="*/ 69243 w 140784"/>
              <a:gd name="connsiteY20" fmla="*/ 750 h 124575"/>
              <a:gd name="connsiteX21" fmla="*/ 45431 w 140784"/>
              <a:gd name="connsiteY21" fmla="*/ 17419 h 124575"/>
              <a:gd name="connsiteX22" fmla="*/ 45432 w 140784"/>
              <a:gd name="connsiteY22" fmla="*/ 48375 h 124575"/>
              <a:gd name="connsiteX23" fmla="*/ 19238 w 140784"/>
              <a:gd name="connsiteY23" fmla="*/ 81713 h 124575"/>
              <a:gd name="connsiteX24" fmla="*/ 187 w 140784"/>
              <a:gd name="connsiteY24" fmla="*/ 96000 h 124575"/>
              <a:gd name="connsiteX0" fmla="*/ 187 w 140784"/>
              <a:gd name="connsiteY0" fmla="*/ 95881 h 124456"/>
              <a:gd name="connsiteX1" fmla="*/ 9712 w 140784"/>
              <a:gd name="connsiteY1" fmla="*/ 107788 h 124456"/>
              <a:gd name="connsiteX2" fmla="*/ 19237 w 140784"/>
              <a:gd name="connsiteY2" fmla="*/ 124456 h 124456"/>
              <a:gd name="connsiteX3" fmla="*/ 28762 w 140784"/>
              <a:gd name="connsiteY3" fmla="*/ 105406 h 124456"/>
              <a:gd name="connsiteX4" fmla="*/ 35906 w 140784"/>
              <a:gd name="connsiteY4" fmla="*/ 98263 h 124456"/>
              <a:gd name="connsiteX5" fmla="*/ 50194 w 140784"/>
              <a:gd name="connsiteY5" fmla="*/ 93500 h 124456"/>
              <a:gd name="connsiteX6" fmla="*/ 62100 w 140784"/>
              <a:gd name="connsiteY6" fmla="*/ 81594 h 124456"/>
              <a:gd name="connsiteX7" fmla="*/ 64481 w 140784"/>
              <a:gd name="connsiteY7" fmla="*/ 74450 h 124456"/>
              <a:gd name="connsiteX8" fmla="*/ 71625 w 140784"/>
              <a:gd name="connsiteY8" fmla="*/ 72069 h 124456"/>
              <a:gd name="connsiteX9" fmla="*/ 78769 w 140784"/>
              <a:gd name="connsiteY9" fmla="*/ 74450 h 124456"/>
              <a:gd name="connsiteX10" fmla="*/ 83531 w 140784"/>
              <a:gd name="connsiteY10" fmla="*/ 81594 h 124456"/>
              <a:gd name="connsiteX11" fmla="*/ 95437 w 140784"/>
              <a:gd name="connsiteY11" fmla="*/ 79213 h 124456"/>
              <a:gd name="connsiteX12" fmla="*/ 102581 w 140784"/>
              <a:gd name="connsiteY12" fmla="*/ 76831 h 124456"/>
              <a:gd name="connsiteX13" fmla="*/ 116869 w 140784"/>
              <a:gd name="connsiteY13" fmla="*/ 67306 h 124456"/>
              <a:gd name="connsiteX14" fmla="*/ 119250 w 140784"/>
              <a:gd name="connsiteY14" fmla="*/ 60163 h 124456"/>
              <a:gd name="connsiteX15" fmla="*/ 135919 w 140784"/>
              <a:gd name="connsiteY15" fmla="*/ 50638 h 124456"/>
              <a:gd name="connsiteX16" fmla="*/ 140681 w 140784"/>
              <a:gd name="connsiteY16" fmla="*/ 43494 h 124456"/>
              <a:gd name="connsiteX17" fmla="*/ 131156 w 140784"/>
              <a:gd name="connsiteY17" fmla="*/ 19681 h 124456"/>
              <a:gd name="connsiteX18" fmla="*/ 104962 w 140784"/>
              <a:gd name="connsiteY18" fmla="*/ 5394 h 124456"/>
              <a:gd name="connsiteX19" fmla="*/ 88294 w 140784"/>
              <a:gd name="connsiteY19" fmla="*/ 29206 h 124456"/>
              <a:gd name="connsiteX20" fmla="*/ 69243 w 140784"/>
              <a:gd name="connsiteY20" fmla="*/ 631 h 124456"/>
              <a:gd name="connsiteX21" fmla="*/ 45431 w 140784"/>
              <a:gd name="connsiteY21" fmla="*/ 17300 h 124456"/>
              <a:gd name="connsiteX22" fmla="*/ 47810 w 140784"/>
              <a:gd name="connsiteY22" fmla="*/ 29208 h 124456"/>
              <a:gd name="connsiteX23" fmla="*/ 45432 w 140784"/>
              <a:gd name="connsiteY23" fmla="*/ 48256 h 124456"/>
              <a:gd name="connsiteX24" fmla="*/ 19238 w 140784"/>
              <a:gd name="connsiteY24" fmla="*/ 81594 h 124456"/>
              <a:gd name="connsiteX25" fmla="*/ 187 w 140784"/>
              <a:gd name="connsiteY25" fmla="*/ 95881 h 124456"/>
              <a:gd name="connsiteX0" fmla="*/ 187 w 140784"/>
              <a:gd name="connsiteY0" fmla="*/ 95893 h 124468"/>
              <a:gd name="connsiteX1" fmla="*/ 9712 w 140784"/>
              <a:gd name="connsiteY1" fmla="*/ 107800 h 124468"/>
              <a:gd name="connsiteX2" fmla="*/ 19237 w 140784"/>
              <a:gd name="connsiteY2" fmla="*/ 124468 h 124468"/>
              <a:gd name="connsiteX3" fmla="*/ 28762 w 140784"/>
              <a:gd name="connsiteY3" fmla="*/ 105418 h 124468"/>
              <a:gd name="connsiteX4" fmla="*/ 35906 w 140784"/>
              <a:gd name="connsiteY4" fmla="*/ 98275 h 124468"/>
              <a:gd name="connsiteX5" fmla="*/ 50194 w 140784"/>
              <a:gd name="connsiteY5" fmla="*/ 93512 h 124468"/>
              <a:gd name="connsiteX6" fmla="*/ 62100 w 140784"/>
              <a:gd name="connsiteY6" fmla="*/ 81606 h 124468"/>
              <a:gd name="connsiteX7" fmla="*/ 64481 w 140784"/>
              <a:gd name="connsiteY7" fmla="*/ 74462 h 124468"/>
              <a:gd name="connsiteX8" fmla="*/ 71625 w 140784"/>
              <a:gd name="connsiteY8" fmla="*/ 72081 h 124468"/>
              <a:gd name="connsiteX9" fmla="*/ 78769 w 140784"/>
              <a:gd name="connsiteY9" fmla="*/ 74462 h 124468"/>
              <a:gd name="connsiteX10" fmla="*/ 83531 w 140784"/>
              <a:gd name="connsiteY10" fmla="*/ 81606 h 124468"/>
              <a:gd name="connsiteX11" fmla="*/ 95437 w 140784"/>
              <a:gd name="connsiteY11" fmla="*/ 79225 h 124468"/>
              <a:gd name="connsiteX12" fmla="*/ 102581 w 140784"/>
              <a:gd name="connsiteY12" fmla="*/ 76843 h 124468"/>
              <a:gd name="connsiteX13" fmla="*/ 116869 w 140784"/>
              <a:gd name="connsiteY13" fmla="*/ 67318 h 124468"/>
              <a:gd name="connsiteX14" fmla="*/ 119250 w 140784"/>
              <a:gd name="connsiteY14" fmla="*/ 60175 h 124468"/>
              <a:gd name="connsiteX15" fmla="*/ 135919 w 140784"/>
              <a:gd name="connsiteY15" fmla="*/ 50650 h 124468"/>
              <a:gd name="connsiteX16" fmla="*/ 140681 w 140784"/>
              <a:gd name="connsiteY16" fmla="*/ 43506 h 124468"/>
              <a:gd name="connsiteX17" fmla="*/ 131156 w 140784"/>
              <a:gd name="connsiteY17" fmla="*/ 19693 h 124468"/>
              <a:gd name="connsiteX18" fmla="*/ 104962 w 140784"/>
              <a:gd name="connsiteY18" fmla="*/ 5406 h 124468"/>
              <a:gd name="connsiteX19" fmla="*/ 88294 w 140784"/>
              <a:gd name="connsiteY19" fmla="*/ 29218 h 124468"/>
              <a:gd name="connsiteX20" fmla="*/ 69243 w 140784"/>
              <a:gd name="connsiteY20" fmla="*/ 643 h 124468"/>
              <a:gd name="connsiteX21" fmla="*/ 45431 w 140784"/>
              <a:gd name="connsiteY21" fmla="*/ 17312 h 124468"/>
              <a:gd name="connsiteX22" fmla="*/ 35903 w 140784"/>
              <a:gd name="connsiteY22" fmla="*/ 31601 h 124468"/>
              <a:gd name="connsiteX23" fmla="*/ 45432 w 140784"/>
              <a:gd name="connsiteY23" fmla="*/ 48268 h 124468"/>
              <a:gd name="connsiteX24" fmla="*/ 19238 w 140784"/>
              <a:gd name="connsiteY24" fmla="*/ 81606 h 124468"/>
              <a:gd name="connsiteX25" fmla="*/ 187 w 140784"/>
              <a:gd name="connsiteY25" fmla="*/ 95893 h 124468"/>
              <a:gd name="connsiteX0" fmla="*/ 187 w 140784"/>
              <a:gd name="connsiteY0" fmla="*/ 95893 h 124468"/>
              <a:gd name="connsiteX1" fmla="*/ 9712 w 140784"/>
              <a:gd name="connsiteY1" fmla="*/ 107800 h 124468"/>
              <a:gd name="connsiteX2" fmla="*/ 19237 w 140784"/>
              <a:gd name="connsiteY2" fmla="*/ 124468 h 124468"/>
              <a:gd name="connsiteX3" fmla="*/ 28762 w 140784"/>
              <a:gd name="connsiteY3" fmla="*/ 105418 h 124468"/>
              <a:gd name="connsiteX4" fmla="*/ 35906 w 140784"/>
              <a:gd name="connsiteY4" fmla="*/ 98275 h 124468"/>
              <a:gd name="connsiteX5" fmla="*/ 50194 w 140784"/>
              <a:gd name="connsiteY5" fmla="*/ 93512 h 124468"/>
              <a:gd name="connsiteX6" fmla="*/ 62100 w 140784"/>
              <a:gd name="connsiteY6" fmla="*/ 81606 h 124468"/>
              <a:gd name="connsiteX7" fmla="*/ 64481 w 140784"/>
              <a:gd name="connsiteY7" fmla="*/ 74462 h 124468"/>
              <a:gd name="connsiteX8" fmla="*/ 71625 w 140784"/>
              <a:gd name="connsiteY8" fmla="*/ 72081 h 124468"/>
              <a:gd name="connsiteX9" fmla="*/ 78769 w 140784"/>
              <a:gd name="connsiteY9" fmla="*/ 74462 h 124468"/>
              <a:gd name="connsiteX10" fmla="*/ 83531 w 140784"/>
              <a:gd name="connsiteY10" fmla="*/ 81606 h 124468"/>
              <a:gd name="connsiteX11" fmla="*/ 95437 w 140784"/>
              <a:gd name="connsiteY11" fmla="*/ 79225 h 124468"/>
              <a:gd name="connsiteX12" fmla="*/ 102581 w 140784"/>
              <a:gd name="connsiteY12" fmla="*/ 76843 h 124468"/>
              <a:gd name="connsiteX13" fmla="*/ 116869 w 140784"/>
              <a:gd name="connsiteY13" fmla="*/ 67318 h 124468"/>
              <a:gd name="connsiteX14" fmla="*/ 119250 w 140784"/>
              <a:gd name="connsiteY14" fmla="*/ 60175 h 124468"/>
              <a:gd name="connsiteX15" fmla="*/ 135919 w 140784"/>
              <a:gd name="connsiteY15" fmla="*/ 50650 h 124468"/>
              <a:gd name="connsiteX16" fmla="*/ 140681 w 140784"/>
              <a:gd name="connsiteY16" fmla="*/ 43506 h 124468"/>
              <a:gd name="connsiteX17" fmla="*/ 131156 w 140784"/>
              <a:gd name="connsiteY17" fmla="*/ 19693 h 124468"/>
              <a:gd name="connsiteX18" fmla="*/ 104962 w 140784"/>
              <a:gd name="connsiteY18" fmla="*/ 5406 h 124468"/>
              <a:gd name="connsiteX19" fmla="*/ 88294 w 140784"/>
              <a:gd name="connsiteY19" fmla="*/ 29218 h 124468"/>
              <a:gd name="connsiteX20" fmla="*/ 69243 w 140784"/>
              <a:gd name="connsiteY20" fmla="*/ 643 h 124468"/>
              <a:gd name="connsiteX21" fmla="*/ 45431 w 140784"/>
              <a:gd name="connsiteY21" fmla="*/ 17312 h 124468"/>
              <a:gd name="connsiteX22" fmla="*/ 35903 w 140784"/>
              <a:gd name="connsiteY22" fmla="*/ 31601 h 124468"/>
              <a:gd name="connsiteX23" fmla="*/ 33526 w 140784"/>
              <a:gd name="connsiteY23" fmla="*/ 55411 h 124468"/>
              <a:gd name="connsiteX24" fmla="*/ 19238 w 140784"/>
              <a:gd name="connsiteY24" fmla="*/ 81606 h 124468"/>
              <a:gd name="connsiteX25" fmla="*/ 187 w 140784"/>
              <a:gd name="connsiteY25" fmla="*/ 95893 h 124468"/>
              <a:gd name="connsiteX0" fmla="*/ 187 w 140784"/>
              <a:gd name="connsiteY0" fmla="*/ 95668 h 124243"/>
              <a:gd name="connsiteX1" fmla="*/ 9712 w 140784"/>
              <a:gd name="connsiteY1" fmla="*/ 107575 h 124243"/>
              <a:gd name="connsiteX2" fmla="*/ 19237 w 140784"/>
              <a:gd name="connsiteY2" fmla="*/ 124243 h 124243"/>
              <a:gd name="connsiteX3" fmla="*/ 28762 w 140784"/>
              <a:gd name="connsiteY3" fmla="*/ 105193 h 124243"/>
              <a:gd name="connsiteX4" fmla="*/ 35906 w 140784"/>
              <a:gd name="connsiteY4" fmla="*/ 98050 h 124243"/>
              <a:gd name="connsiteX5" fmla="*/ 50194 w 140784"/>
              <a:gd name="connsiteY5" fmla="*/ 93287 h 124243"/>
              <a:gd name="connsiteX6" fmla="*/ 62100 w 140784"/>
              <a:gd name="connsiteY6" fmla="*/ 81381 h 124243"/>
              <a:gd name="connsiteX7" fmla="*/ 64481 w 140784"/>
              <a:gd name="connsiteY7" fmla="*/ 74237 h 124243"/>
              <a:gd name="connsiteX8" fmla="*/ 71625 w 140784"/>
              <a:gd name="connsiteY8" fmla="*/ 71856 h 124243"/>
              <a:gd name="connsiteX9" fmla="*/ 78769 w 140784"/>
              <a:gd name="connsiteY9" fmla="*/ 74237 h 124243"/>
              <a:gd name="connsiteX10" fmla="*/ 83531 w 140784"/>
              <a:gd name="connsiteY10" fmla="*/ 81381 h 124243"/>
              <a:gd name="connsiteX11" fmla="*/ 95437 w 140784"/>
              <a:gd name="connsiteY11" fmla="*/ 79000 h 124243"/>
              <a:gd name="connsiteX12" fmla="*/ 102581 w 140784"/>
              <a:gd name="connsiteY12" fmla="*/ 76618 h 124243"/>
              <a:gd name="connsiteX13" fmla="*/ 116869 w 140784"/>
              <a:gd name="connsiteY13" fmla="*/ 67093 h 124243"/>
              <a:gd name="connsiteX14" fmla="*/ 119250 w 140784"/>
              <a:gd name="connsiteY14" fmla="*/ 59950 h 124243"/>
              <a:gd name="connsiteX15" fmla="*/ 135919 w 140784"/>
              <a:gd name="connsiteY15" fmla="*/ 50425 h 124243"/>
              <a:gd name="connsiteX16" fmla="*/ 140681 w 140784"/>
              <a:gd name="connsiteY16" fmla="*/ 43281 h 124243"/>
              <a:gd name="connsiteX17" fmla="*/ 131156 w 140784"/>
              <a:gd name="connsiteY17" fmla="*/ 19468 h 124243"/>
              <a:gd name="connsiteX18" fmla="*/ 104962 w 140784"/>
              <a:gd name="connsiteY18" fmla="*/ 5181 h 124243"/>
              <a:gd name="connsiteX19" fmla="*/ 88294 w 140784"/>
              <a:gd name="connsiteY19" fmla="*/ 28993 h 124243"/>
              <a:gd name="connsiteX20" fmla="*/ 69243 w 140784"/>
              <a:gd name="connsiteY20" fmla="*/ 418 h 124243"/>
              <a:gd name="connsiteX21" fmla="*/ 78767 w 140784"/>
              <a:gd name="connsiteY21" fmla="*/ 12326 h 124243"/>
              <a:gd name="connsiteX22" fmla="*/ 45431 w 140784"/>
              <a:gd name="connsiteY22" fmla="*/ 17087 h 124243"/>
              <a:gd name="connsiteX23" fmla="*/ 35903 w 140784"/>
              <a:gd name="connsiteY23" fmla="*/ 31376 h 124243"/>
              <a:gd name="connsiteX24" fmla="*/ 33526 w 140784"/>
              <a:gd name="connsiteY24" fmla="*/ 55186 h 124243"/>
              <a:gd name="connsiteX25" fmla="*/ 19238 w 140784"/>
              <a:gd name="connsiteY25" fmla="*/ 81381 h 124243"/>
              <a:gd name="connsiteX26" fmla="*/ 187 w 140784"/>
              <a:gd name="connsiteY26" fmla="*/ 95668 h 124243"/>
              <a:gd name="connsiteX0" fmla="*/ 187 w 140784"/>
              <a:gd name="connsiteY0" fmla="*/ 96090 h 124665"/>
              <a:gd name="connsiteX1" fmla="*/ 9712 w 140784"/>
              <a:gd name="connsiteY1" fmla="*/ 107997 h 124665"/>
              <a:gd name="connsiteX2" fmla="*/ 19237 w 140784"/>
              <a:gd name="connsiteY2" fmla="*/ 124665 h 124665"/>
              <a:gd name="connsiteX3" fmla="*/ 28762 w 140784"/>
              <a:gd name="connsiteY3" fmla="*/ 105615 h 124665"/>
              <a:gd name="connsiteX4" fmla="*/ 35906 w 140784"/>
              <a:gd name="connsiteY4" fmla="*/ 98472 h 124665"/>
              <a:gd name="connsiteX5" fmla="*/ 50194 w 140784"/>
              <a:gd name="connsiteY5" fmla="*/ 93709 h 124665"/>
              <a:gd name="connsiteX6" fmla="*/ 62100 w 140784"/>
              <a:gd name="connsiteY6" fmla="*/ 81803 h 124665"/>
              <a:gd name="connsiteX7" fmla="*/ 64481 w 140784"/>
              <a:gd name="connsiteY7" fmla="*/ 74659 h 124665"/>
              <a:gd name="connsiteX8" fmla="*/ 71625 w 140784"/>
              <a:gd name="connsiteY8" fmla="*/ 72278 h 124665"/>
              <a:gd name="connsiteX9" fmla="*/ 78769 w 140784"/>
              <a:gd name="connsiteY9" fmla="*/ 74659 h 124665"/>
              <a:gd name="connsiteX10" fmla="*/ 83531 w 140784"/>
              <a:gd name="connsiteY10" fmla="*/ 81803 h 124665"/>
              <a:gd name="connsiteX11" fmla="*/ 95437 w 140784"/>
              <a:gd name="connsiteY11" fmla="*/ 79422 h 124665"/>
              <a:gd name="connsiteX12" fmla="*/ 102581 w 140784"/>
              <a:gd name="connsiteY12" fmla="*/ 77040 h 124665"/>
              <a:gd name="connsiteX13" fmla="*/ 116869 w 140784"/>
              <a:gd name="connsiteY13" fmla="*/ 67515 h 124665"/>
              <a:gd name="connsiteX14" fmla="*/ 119250 w 140784"/>
              <a:gd name="connsiteY14" fmla="*/ 60372 h 124665"/>
              <a:gd name="connsiteX15" fmla="*/ 135919 w 140784"/>
              <a:gd name="connsiteY15" fmla="*/ 50847 h 124665"/>
              <a:gd name="connsiteX16" fmla="*/ 140681 w 140784"/>
              <a:gd name="connsiteY16" fmla="*/ 43703 h 124665"/>
              <a:gd name="connsiteX17" fmla="*/ 131156 w 140784"/>
              <a:gd name="connsiteY17" fmla="*/ 19890 h 124665"/>
              <a:gd name="connsiteX18" fmla="*/ 104962 w 140784"/>
              <a:gd name="connsiteY18" fmla="*/ 5603 h 124665"/>
              <a:gd name="connsiteX19" fmla="*/ 88294 w 140784"/>
              <a:gd name="connsiteY19" fmla="*/ 29415 h 124665"/>
              <a:gd name="connsiteX20" fmla="*/ 69243 w 140784"/>
              <a:gd name="connsiteY20" fmla="*/ 840 h 124665"/>
              <a:gd name="connsiteX21" fmla="*/ 69242 w 140784"/>
              <a:gd name="connsiteY21" fmla="*/ 5604 h 124665"/>
              <a:gd name="connsiteX22" fmla="*/ 45431 w 140784"/>
              <a:gd name="connsiteY22" fmla="*/ 17509 h 124665"/>
              <a:gd name="connsiteX23" fmla="*/ 35903 w 140784"/>
              <a:gd name="connsiteY23" fmla="*/ 31798 h 124665"/>
              <a:gd name="connsiteX24" fmla="*/ 33526 w 140784"/>
              <a:gd name="connsiteY24" fmla="*/ 55608 h 124665"/>
              <a:gd name="connsiteX25" fmla="*/ 19238 w 140784"/>
              <a:gd name="connsiteY25" fmla="*/ 81803 h 124665"/>
              <a:gd name="connsiteX26" fmla="*/ 187 w 140784"/>
              <a:gd name="connsiteY26" fmla="*/ 96090 h 124665"/>
              <a:gd name="connsiteX0" fmla="*/ 187 w 140784"/>
              <a:gd name="connsiteY0" fmla="*/ 96487 h 125062"/>
              <a:gd name="connsiteX1" fmla="*/ 9712 w 140784"/>
              <a:gd name="connsiteY1" fmla="*/ 108394 h 125062"/>
              <a:gd name="connsiteX2" fmla="*/ 19237 w 140784"/>
              <a:gd name="connsiteY2" fmla="*/ 125062 h 125062"/>
              <a:gd name="connsiteX3" fmla="*/ 28762 w 140784"/>
              <a:gd name="connsiteY3" fmla="*/ 106012 h 125062"/>
              <a:gd name="connsiteX4" fmla="*/ 35906 w 140784"/>
              <a:gd name="connsiteY4" fmla="*/ 98869 h 125062"/>
              <a:gd name="connsiteX5" fmla="*/ 50194 w 140784"/>
              <a:gd name="connsiteY5" fmla="*/ 94106 h 125062"/>
              <a:gd name="connsiteX6" fmla="*/ 62100 w 140784"/>
              <a:gd name="connsiteY6" fmla="*/ 82200 h 125062"/>
              <a:gd name="connsiteX7" fmla="*/ 64481 w 140784"/>
              <a:gd name="connsiteY7" fmla="*/ 75056 h 125062"/>
              <a:gd name="connsiteX8" fmla="*/ 71625 w 140784"/>
              <a:gd name="connsiteY8" fmla="*/ 72675 h 125062"/>
              <a:gd name="connsiteX9" fmla="*/ 78769 w 140784"/>
              <a:gd name="connsiteY9" fmla="*/ 75056 h 125062"/>
              <a:gd name="connsiteX10" fmla="*/ 83531 w 140784"/>
              <a:gd name="connsiteY10" fmla="*/ 82200 h 125062"/>
              <a:gd name="connsiteX11" fmla="*/ 95437 w 140784"/>
              <a:gd name="connsiteY11" fmla="*/ 79819 h 125062"/>
              <a:gd name="connsiteX12" fmla="*/ 102581 w 140784"/>
              <a:gd name="connsiteY12" fmla="*/ 77437 h 125062"/>
              <a:gd name="connsiteX13" fmla="*/ 116869 w 140784"/>
              <a:gd name="connsiteY13" fmla="*/ 67912 h 125062"/>
              <a:gd name="connsiteX14" fmla="*/ 119250 w 140784"/>
              <a:gd name="connsiteY14" fmla="*/ 60769 h 125062"/>
              <a:gd name="connsiteX15" fmla="*/ 135919 w 140784"/>
              <a:gd name="connsiteY15" fmla="*/ 51244 h 125062"/>
              <a:gd name="connsiteX16" fmla="*/ 140681 w 140784"/>
              <a:gd name="connsiteY16" fmla="*/ 44100 h 125062"/>
              <a:gd name="connsiteX17" fmla="*/ 131156 w 140784"/>
              <a:gd name="connsiteY17" fmla="*/ 20287 h 125062"/>
              <a:gd name="connsiteX18" fmla="*/ 104962 w 140784"/>
              <a:gd name="connsiteY18" fmla="*/ 6000 h 125062"/>
              <a:gd name="connsiteX19" fmla="*/ 88294 w 140784"/>
              <a:gd name="connsiteY19" fmla="*/ 29812 h 125062"/>
              <a:gd name="connsiteX20" fmla="*/ 69243 w 140784"/>
              <a:gd name="connsiteY20" fmla="*/ 1237 h 125062"/>
              <a:gd name="connsiteX21" fmla="*/ 78767 w 140784"/>
              <a:gd name="connsiteY21" fmla="*/ 3620 h 125062"/>
              <a:gd name="connsiteX22" fmla="*/ 45431 w 140784"/>
              <a:gd name="connsiteY22" fmla="*/ 17906 h 125062"/>
              <a:gd name="connsiteX23" fmla="*/ 35903 w 140784"/>
              <a:gd name="connsiteY23" fmla="*/ 32195 h 125062"/>
              <a:gd name="connsiteX24" fmla="*/ 33526 w 140784"/>
              <a:gd name="connsiteY24" fmla="*/ 56005 h 125062"/>
              <a:gd name="connsiteX25" fmla="*/ 19238 w 140784"/>
              <a:gd name="connsiteY25" fmla="*/ 82200 h 125062"/>
              <a:gd name="connsiteX26" fmla="*/ 187 w 140784"/>
              <a:gd name="connsiteY26" fmla="*/ 96487 h 125062"/>
              <a:gd name="connsiteX0" fmla="*/ 187 w 140784"/>
              <a:gd name="connsiteY0" fmla="*/ 98868 h 127443"/>
              <a:gd name="connsiteX1" fmla="*/ 9712 w 140784"/>
              <a:gd name="connsiteY1" fmla="*/ 110775 h 127443"/>
              <a:gd name="connsiteX2" fmla="*/ 19237 w 140784"/>
              <a:gd name="connsiteY2" fmla="*/ 127443 h 127443"/>
              <a:gd name="connsiteX3" fmla="*/ 28762 w 140784"/>
              <a:gd name="connsiteY3" fmla="*/ 108393 h 127443"/>
              <a:gd name="connsiteX4" fmla="*/ 35906 w 140784"/>
              <a:gd name="connsiteY4" fmla="*/ 101250 h 127443"/>
              <a:gd name="connsiteX5" fmla="*/ 50194 w 140784"/>
              <a:gd name="connsiteY5" fmla="*/ 96487 h 127443"/>
              <a:gd name="connsiteX6" fmla="*/ 62100 w 140784"/>
              <a:gd name="connsiteY6" fmla="*/ 84581 h 127443"/>
              <a:gd name="connsiteX7" fmla="*/ 64481 w 140784"/>
              <a:gd name="connsiteY7" fmla="*/ 77437 h 127443"/>
              <a:gd name="connsiteX8" fmla="*/ 71625 w 140784"/>
              <a:gd name="connsiteY8" fmla="*/ 75056 h 127443"/>
              <a:gd name="connsiteX9" fmla="*/ 78769 w 140784"/>
              <a:gd name="connsiteY9" fmla="*/ 77437 h 127443"/>
              <a:gd name="connsiteX10" fmla="*/ 83531 w 140784"/>
              <a:gd name="connsiteY10" fmla="*/ 84581 h 127443"/>
              <a:gd name="connsiteX11" fmla="*/ 95437 w 140784"/>
              <a:gd name="connsiteY11" fmla="*/ 82200 h 127443"/>
              <a:gd name="connsiteX12" fmla="*/ 102581 w 140784"/>
              <a:gd name="connsiteY12" fmla="*/ 79818 h 127443"/>
              <a:gd name="connsiteX13" fmla="*/ 116869 w 140784"/>
              <a:gd name="connsiteY13" fmla="*/ 70293 h 127443"/>
              <a:gd name="connsiteX14" fmla="*/ 119250 w 140784"/>
              <a:gd name="connsiteY14" fmla="*/ 63150 h 127443"/>
              <a:gd name="connsiteX15" fmla="*/ 135919 w 140784"/>
              <a:gd name="connsiteY15" fmla="*/ 53625 h 127443"/>
              <a:gd name="connsiteX16" fmla="*/ 140681 w 140784"/>
              <a:gd name="connsiteY16" fmla="*/ 46481 h 127443"/>
              <a:gd name="connsiteX17" fmla="*/ 131156 w 140784"/>
              <a:gd name="connsiteY17" fmla="*/ 22668 h 127443"/>
              <a:gd name="connsiteX18" fmla="*/ 104962 w 140784"/>
              <a:gd name="connsiteY18" fmla="*/ 8381 h 127443"/>
              <a:gd name="connsiteX19" fmla="*/ 88294 w 140784"/>
              <a:gd name="connsiteY19" fmla="*/ 32193 h 127443"/>
              <a:gd name="connsiteX20" fmla="*/ 69243 w 140784"/>
              <a:gd name="connsiteY20" fmla="*/ 3618 h 127443"/>
              <a:gd name="connsiteX21" fmla="*/ 64479 w 140784"/>
              <a:gd name="connsiteY21" fmla="*/ 1238 h 127443"/>
              <a:gd name="connsiteX22" fmla="*/ 45431 w 140784"/>
              <a:gd name="connsiteY22" fmla="*/ 20287 h 127443"/>
              <a:gd name="connsiteX23" fmla="*/ 35903 w 140784"/>
              <a:gd name="connsiteY23" fmla="*/ 34576 h 127443"/>
              <a:gd name="connsiteX24" fmla="*/ 33526 w 140784"/>
              <a:gd name="connsiteY24" fmla="*/ 58386 h 127443"/>
              <a:gd name="connsiteX25" fmla="*/ 19238 w 140784"/>
              <a:gd name="connsiteY25" fmla="*/ 84581 h 127443"/>
              <a:gd name="connsiteX26" fmla="*/ 187 w 140784"/>
              <a:gd name="connsiteY26" fmla="*/ 98868 h 127443"/>
              <a:gd name="connsiteX0" fmla="*/ 187 w 140784"/>
              <a:gd name="connsiteY0" fmla="*/ 107572 h 136147"/>
              <a:gd name="connsiteX1" fmla="*/ 9712 w 140784"/>
              <a:gd name="connsiteY1" fmla="*/ 119479 h 136147"/>
              <a:gd name="connsiteX2" fmla="*/ 19237 w 140784"/>
              <a:gd name="connsiteY2" fmla="*/ 136147 h 136147"/>
              <a:gd name="connsiteX3" fmla="*/ 28762 w 140784"/>
              <a:gd name="connsiteY3" fmla="*/ 117097 h 136147"/>
              <a:gd name="connsiteX4" fmla="*/ 35906 w 140784"/>
              <a:gd name="connsiteY4" fmla="*/ 109954 h 136147"/>
              <a:gd name="connsiteX5" fmla="*/ 50194 w 140784"/>
              <a:gd name="connsiteY5" fmla="*/ 105191 h 136147"/>
              <a:gd name="connsiteX6" fmla="*/ 62100 w 140784"/>
              <a:gd name="connsiteY6" fmla="*/ 93285 h 136147"/>
              <a:gd name="connsiteX7" fmla="*/ 64481 w 140784"/>
              <a:gd name="connsiteY7" fmla="*/ 86141 h 136147"/>
              <a:gd name="connsiteX8" fmla="*/ 71625 w 140784"/>
              <a:gd name="connsiteY8" fmla="*/ 83760 h 136147"/>
              <a:gd name="connsiteX9" fmla="*/ 78769 w 140784"/>
              <a:gd name="connsiteY9" fmla="*/ 86141 h 136147"/>
              <a:gd name="connsiteX10" fmla="*/ 83531 w 140784"/>
              <a:gd name="connsiteY10" fmla="*/ 93285 h 136147"/>
              <a:gd name="connsiteX11" fmla="*/ 95437 w 140784"/>
              <a:gd name="connsiteY11" fmla="*/ 90904 h 136147"/>
              <a:gd name="connsiteX12" fmla="*/ 102581 w 140784"/>
              <a:gd name="connsiteY12" fmla="*/ 88522 h 136147"/>
              <a:gd name="connsiteX13" fmla="*/ 116869 w 140784"/>
              <a:gd name="connsiteY13" fmla="*/ 78997 h 136147"/>
              <a:gd name="connsiteX14" fmla="*/ 119250 w 140784"/>
              <a:gd name="connsiteY14" fmla="*/ 71854 h 136147"/>
              <a:gd name="connsiteX15" fmla="*/ 135919 w 140784"/>
              <a:gd name="connsiteY15" fmla="*/ 62329 h 136147"/>
              <a:gd name="connsiteX16" fmla="*/ 140681 w 140784"/>
              <a:gd name="connsiteY16" fmla="*/ 55185 h 136147"/>
              <a:gd name="connsiteX17" fmla="*/ 131156 w 140784"/>
              <a:gd name="connsiteY17" fmla="*/ 31372 h 136147"/>
              <a:gd name="connsiteX18" fmla="*/ 104962 w 140784"/>
              <a:gd name="connsiteY18" fmla="*/ 17085 h 136147"/>
              <a:gd name="connsiteX19" fmla="*/ 88294 w 140784"/>
              <a:gd name="connsiteY19" fmla="*/ 40897 h 136147"/>
              <a:gd name="connsiteX20" fmla="*/ 69243 w 140784"/>
              <a:gd name="connsiteY20" fmla="*/ 12322 h 136147"/>
              <a:gd name="connsiteX21" fmla="*/ 90672 w 140784"/>
              <a:gd name="connsiteY21" fmla="*/ 417 h 136147"/>
              <a:gd name="connsiteX22" fmla="*/ 45431 w 140784"/>
              <a:gd name="connsiteY22" fmla="*/ 28991 h 136147"/>
              <a:gd name="connsiteX23" fmla="*/ 35903 w 140784"/>
              <a:gd name="connsiteY23" fmla="*/ 43280 h 136147"/>
              <a:gd name="connsiteX24" fmla="*/ 33526 w 140784"/>
              <a:gd name="connsiteY24" fmla="*/ 67090 h 136147"/>
              <a:gd name="connsiteX25" fmla="*/ 19238 w 140784"/>
              <a:gd name="connsiteY25" fmla="*/ 93285 h 136147"/>
              <a:gd name="connsiteX26" fmla="*/ 187 w 140784"/>
              <a:gd name="connsiteY26" fmla="*/ 107572 h 136147"/>
              <a:gd name="connsiteX0" fmla="*/ 187 w 140784"/>
              <a:gd name="connsiteY0" fmla="*/ 124013 h 152588"/>
              <a:gd name="connsiteX1" fmla="*/ 9712 w 140784"/>
              <a:gd name="connsiteY1" fmla="*/ 135920 h 152588"/>
              <a:gd name="connsiteX2" fmla="*/ 19237 w 140784"/>
              <a:gd name="connsiteY2" fmla="*/ 152588 h 152588"/>
              <a:gd name="connsiteX3" fmla="*/ 28762 w 140784"/>
              <a:gd name="connsiteY3" fmla="*/ 133538 h 152588"/>
              <a:gd name="connsiteX4" fmla="*/ 35906 w 140784"/>
              <a:gd name="connsiteY4" fmla="*/ 126395 h 152588"/>
              <a:gd name="connsiteX5" fmla="*/ 50194 w 140784"/>
              <a:gd name="connsiteY5" fmla="*/ 121632 h 152588"/>
              <a:gd name="connsiteX6" fmla="*/ 62100 w 140784"/>
              <a:gd name="connsiteY6" fmla="*/ 109726 h 152588"/>
              <a:gd name="connsiteX7" fmla="*/ 64481 w 140784"/>
              <a:gd name="connsiteY7" fmla="*/ 102582 h 152588"/>
              <a:gd name="connsiteX8" fmla="*/ 71625 w 140784"/>
              <a:gd name="connsiteY8" fmla="*/ 100201 h 152588"/>
              <a:gd name="connsiteX9" fmla="*/ 78769 w 140784"/>
              <a:gd name="connsiteY9" fmla="*/ 102582 h 152588"/>
              <a:gd name="connsiteX10" fmla="*/ 83531 w 140784"/>
              <a:gd name="connsiteY10" fmla="*/ 109726 h 152588"/>
              <a:gd name="connsiteX11" fmla="*/ 95437 w 140784"/>
              <a:gd name="connsiteY11" fmla="*/ 107345 h 152588"/>
              <a:gd name="connsiteX12" fmla="*/ 102581 w 140784"/>
              <a:gd name="connsiteY12" fmla="*/ 104963 h 152588"/>
              <a:gd name="connsiteX13" fmla="*/ 116869 w 140784"/>
              <a:gd name="connsiteY13" fmla="*/ 95438 h 152588"/>
              <a:gd name="connsiteX14" fmla="*/ 119250 w 140784"/>
              <a:gd name="connsiteY14" fmla="*/ 88295 h 152588"/>
              <a:gd name="connsiteX15" fmla="*/ 135919 w 140784"/>
              <a:gd name="connsiteY15" fmla="*/ 78770 h 152588"/>
              <a:gd name="connsiteX16" fmla="*/ 140681 w 140784"/>
              <a:gd name="connsiteY16" fmla="*/ 71626 h 152588"/>
              <a:gd name="connsiteX17" fmla="*/ 131156 w 140784"/>
              <a:gd name="connsiteY17" fmla="*/ 47813 h 152588"/>
              <a:gd name="connsiteX18" fmla="*/ 104962 w 140784"/>
              <a:gd name="connsiteY18" fmla="*/ 33526 h 152588"/>
              <a:gd name="connsiteX19" fmla="*/ 88294 w 140784"/>
              <a:gd name="connsiteY19" fmla="*/ 57338 h 152588"/>
              <a:gd name="connsiteX20" fmla="*/ 69243 w 140784"/>
              <a:gd name="connsiteY20" fmla="*/ 28763 h 152588"/>
              <a:gd name="connsiteX21" fmla="*/ 59716 w 140784"/>
              <a:gd name="connsiteY21" fmla="*/ 189 h 152588"/>
              <a:gd name="connsiteX22" fmla="*/ 45431 w 140784"/>
              <a:gd name="connsiteY22" fmla="*/ 45432 h 152588"/>
              <a:gd name="connsiteX23" fmla="*/ 35903 w 140784"/>
              <a:gd name="connsiteY23" fmla="*/ 59721 h 152588"/>
              <a:gd name="connsiteX24" fmla="*/ 33526 w 140784"/>
              <a:gd name="connsiteY24" fmla="*/ 83531 h 152588"/>
              <a:gd name="connsiteX25" fmla="*/ 19238 w 140784"/>
              <a:gd name="connsiteY25" fmla="*/ 109726 h 152588"/>
              <a:gd name="connsiteX26" fmla="*/ 187 w 140784"/>
              <a:gd name="connsiteY26" fmla="*/ 124013 h 152588"/>
              <a:gd name="connsiteX0" fmla="*/ 187 w 140784"/>
              <a:gd name="connsiteY0" fmla="*/ 97334 h 125909"/>
              <a:gd name="connsiteX1" fmla="*/ 9712 w 140784"/>
              <a:gd name="connsiteY1" fmla="*/ 109241 h 125909"/>
              <a:gd name="connsiteX2" fmla="*/ 19237 w 140784"/>
              <a:gd name="connsiteY2" fmla="*/ 125909 h 125909"/>
              <a:gd name="connsiteX3" fmla="*/ 28762 w 140784"/>
              <a:gd name="connsiteY3" fmla="*/ 106859 h 125909"/>
              <a:gd name="connsiteX4" fmla="*/ 35906 w 140784"/>
              <a:gd name="connsiteY4" fmla="*/ 99716 h 125909"/>
              <a:gd name="connsiteX5" fmla="*/ 50194 w 140784"/>
              <a:gd name="connsiteY5" fmla="*/ 94953 h 125909"/>
              <a:gd name="connsiteX6" fmla="*/ 62100 w 140784"/>
              <a:gd name="connsiteY6" fmla="*/ 83047 h 125909"/>
              <a:gd name="connsiteX7" fmla="*/ 64481 w 140784"/>
              <a:gd name="connsiteY7" fmla="*/ 75903 h 125909"/>
              <a:gd name="connsiteX8" fmla="*/ 71625 w 140784"/>
              <a:gd name="connsiteY8" fmla="*/ 73522 h 125909"/>
              <a:gd name="connsiteX9" fmla="*/ 78769 w 140784"/>
              <a:gd name="connsiteY9" fmla="*/ 75903 h 125909"/>
              <a:gd name="connsiteX10" fmla="*/ 83531 w 140784"/>
              <a:gd name="connsiteY10" fmla="*/ 83047 h 125909"/>
              <a:gd name="connsiteX11" fmla="*/ 95437 w 140784"/>
              <a:gd name="connsiteY11" fmla="*/ 80666 h 125909"/>
              <a:gd name="connsiteX12" fmla="*/ 102581 w 140784"/>
              <a:gd name="connsiteY12" fmla="*/ 78284 h 125909"/>
              <a:gd name="connsiteX13" fmla="*/ 116869 w 140784"/>
              <a:gd name="connsiteY13" fmla="*/ 68759 h 125909"/>
              <a:gd name="connsiteX14" fmla="*/ 119250 w 140784"/>
              <a:gd name="connsiteY14" fmla="*/ 61616 h 125909"/>
              <a:gd name="connsiteX15" fmla="*/ 135919 w 140784"/>
              <a:gd name="connsiteY15" fmla="*/ 52091 h 125909"/>
              <a:gd name="connsiteX16" fmla="*/ 140681 w 140784"/>
              <a:gd name="connsiteY16" fmla="*/ 44947 h 125909"/>
              <a:gd name="connsiteX17" fmla="*/ 131156 w 140784"/>
              <a:gd name="connsiteY17" fmla="*/ 21134 h 125909"/>
              <a:gd name="connsiteX18" fmla="*/ 104962 w 140784"/>
              <a:gd name="connsiteY18" fmla="*/ 6847 h 125909"/>
              <a:gd name="connsiteX19" fmla="*/ 88294 w 140784"/>
              <a:gd name="connsiteY19" fmla="*/ 30659 h 125909"/>
              <a:gd name="connsiteX20" fmla="*/ 69243 w 140784"/>
              <a:gd name="connsiteY20" fmla="*/ 2084 h 125909"/>
              <a:gd name="connsiteX21" fmla="*/ 52572 w 140784"/>
              <a:gd name="connsiteY21" fmla="*/ 2085 h 125909"/>
              <a:gd name="connsiteX22" fmla="*/ 45431 w 140784"/>
              <a:gd name="connsiteY22" fmla="*/ 18753 h 125909"/>
              <a:gd name="connsiteX23" fmla="*/ 35903 w 140784"/>
              <a:gd name="connsiteY23" fmla="*/ 33042 h 125909"/>
              <a:gd name="connsiteX24" fmla="*/ 33526 w 140784"/>
              <a:gd name="connsiteY24" fmla="*/ 56852 h 125909"/>
              <a:gd name="connsiteX25" fmla="*/ 19238 w 140784"/>
              <a:gd name="connsiteY25" fmla="*/ 83047 h 125909"/>
              <a:gd name="connsiteX26" fmla="*/ 187 w 140784"/>
              <a:gd name="connsiteY26" fmla="*/ 97334 h 125909"/>
              <a:gd name="connsiteX0" fmla="*/ 187 w 140784"/>
              <a:gd name="connsiteY0" fmla="*/ 100852 h 129427"/>
              <a:gd name="connsiteX1" fmla="*/ 9712 w 140784"/>
              <a:gd name="connsiteY1" fmla="*/ 112759 h 129427"/>
              <a:gd name="connsiteX2" fmla="*/ 19237 w 140784"/>
              <a:gd name="connsiteY2" fmla="*/ 129427 h 129427"/>
              <a:gd name="connsiteX3" fmla="*/ 28762 w 140784"/>
              <a:gd name="connsiteY3" fmla="*/ 110377 h 129427"/>
              <a:gd name="connsiteX4" fmla="*/ 35906 w 140784"/>
              <a:gd name="connsiteY4" fmla="*/ 103234 h 129427"/>
              <a:gd name="connsiteX5" fmla="*/ 50194 w 140784"/>
              <a:gd name="connsiteY5" fmla="*/ 98471 h 129427"/>
              <a:gd name="connsiteX6" fmla="*/ 62100 w 140784"/>
              <a:gd name="connsiteY6" fmla="*/ 86565 h 129427"/>
              <a:gd name="connsiteX7" fmla="*/ 64481 w 140784"/>
              <a:gd name="connsiteY7" fmla="*/ 79421 h 129427"/>
              <a:gd name="connsiteX8" fmla="*/ 71625 w 140784"/>
              <a:gd name="connsiteY8" fmla="*/ 77040 h 129427"/>
              <a:gd name="connsiteX9" fmla="*/ 78769 w 140784"/>
              <a:gd name="connsiteY9" fmla="*/ 79421 h 129427"/>
              <a:gd name="connsiteX10" fmla="*/ 83531 w 140784"/>
              <a:gd name="connsiteY10" fmla="*/ 86565 h 129427"/>
              <a:gd name="connsiteX11" fmla="*/ 95437 w 140784"/>
              <a:gd name="connsiteY11" fmla="*/ 84184 h 129427"/>
              <a:gd name="connsiteX12" fmla="*/ 102581 w 140784"/>
              <a:gd name="connsiteY12" fmla="*/ 81802 h 129427"/>
              <a:gd name="connsiteX13" fmla="*/ 116869 w 140784"/>
              <a:gd name="connsiteY13" fmla="*/ 72277 h 129427"/>
              <a:gd name="connsiteX14" fmla="*/ 119250 w 140784"/>
              <a:gd name="connsiteY14" fmla="*/ 65134 h 129427"/>
              <a:gd name="connsiteX15" fmla="*/ 135919 w 140784"/>
              <a:gd name="connsiteY15" fmla="*/ 55609 h 129427"/>
              <a:gd name="connsiteX16" fmla="*/ 140681 w 140784"/>
              <a:gd name="connsiteY16" fmla="*/ 48465 h 129427"/>
              <a:gd name="connsiteX17" fmla="*/ 131156 w 140784"/>
              <a:gd name="connsiteY17" fmla="*/ 24652 h 129427"/>
              <a:gd name="connsiteX18" fmla="*/ 104962 w 140784"/>
              <a:gd name="connsiteY18" fmla="*/ 10365 h 129427"/>
              <a:gd name="connsiteX19" fmla="*/ 88294 w 140784"/>
              <a:gd name="connsiteY19" fmla="*/ 34177 h 129427"/>
              <a:gd name="connsiteX20" fmla="*/ 83531 w 140784"/>
              <a:gd name="connsiteY20" fmla="*/ 840 h 129427"/>
              <a:gd name="connsiteX21" fmla="*/ 52572 w 140784"/>
              <a:gd name="connsiteY21" fmla="*/ 5603 h 129427"/>
              <a:gd name="connsiteX22" fmla="*/ 45431 w 140784"/>
              <a:gd name="connsiteY22" fmla="*/ 22271 h 129427"/>
              <a:gd name="connsiteX23" fmla="*/ 35903 w 140784"/>
              <a:gd name="connsiteY23" fmla="*/ 36560 h 129427"/>
              <a:gd name="connsiteX24" fmla="*/ 33526 w 140784"/>
              <a:gd name="connsiteY24" fmla="*/ 60370 h 129427"/>
              <a:gd name="connsiteX25" fmla="*/ 19238 w 140784"/>
              <a:gd name="connsiteY25" fmla="*/ 86565 h 129427"/>
              <a:gd name="connsiteX26" fmla="*/ 187 w 140784"/>
              <a:gd name="connsiteY26" fmla="*/ 100852 h 129427"/>
              <a:gd name="connsiteX0" fmla="*/ 187 w 140784"/>
              <a:gd name="connsiteY0" fmla="*/ 100852 h 129427"/>
              <a:gd name="connsiteX1" fmla="*/ 9712 w 140784"/>
              <a:gd name="connsiteY1" fmla="*/ 112759 h 129427"/>
              <a:gd name="connsiteX2" fmla="*/ 19237 w 140784"/>
              <a:gd name="connsiteY2" fmla="*/ 129427 h 129427"/>
              <a:gd name="connsiteX3" fmla="*/ 28762 w 140784"/>
              <a:gd name="connsiteY3" fmla="*/ 110377 h 129427"/>
              <a:gd name="connsiteX4" fmla="*/ 35906 w 140784"/>
              <a:gd name="connsiteY4" fmla="*/ 103234 h 129427"/>
              <a:gd name="connsiteX5" fmla="*/ 50194 w 140784"/>
              <a:gd name="connsiteY5" fmla="*/ 98471 h 129427"/>
              <a:gd name="connsiteX6" fmla="*/ 62100 w 140784"/>
              <a:gd name="connsiteY6" fmla="*/ 86565 h 129427"/>
              <a:gd name="connsiteX7" fmla="*/ 64481 w 140784"/>
              <a:gd name="connsiteY7" fmla="*/ 79421 h 129427"/>
              <a:gd name="connsiteX8" fmla="*/ 71625 w 140784"/>
              <a:gd name="connsiteY8" fmla="*/ 77040 h 129427"/>
              <a:gd name="connsiteX9" fmla="*/ 78769 w 140784"/>
              <a:gd name="connsiteY9" fmla="*/ 79421 h 129427"/>
              <a:gd name="connsiteX10" fmla="*/ 83531 w 140784"/>
              <a:gd name="connsiteY10" fmla="*/ 86565 h 129427"/>
              <a:gd name="connsiteX11" fmla="*/ 95437 w 140784"/>
              <a:gd name="connsiteY11" fmla="*/ 84184 h 129427"/>
              <a:gd name="connsiteX12" fmla="*/ 102581 w 140784"/>
              <a:gd name="connsiteY12" fmla="*/ 81802 h 129427"/>
              <a:gd name="connsiteX13" fmla="*/ 116869 w 140784"/>
              <a:gd name="connsiteY13" fmla="*/ 72277 h 129427"/>
              <a:gd name="connsiteX14" fmla="*/ 119250 w 140784"/>
              <a:gd name="connsiteY14" fmla="*/ 65134 h 129427"/>
              <a:gd name="connsiteX15" fmla="*/ 135919 w 140784"/>
              <a:gd name="connsiteY15" fmla="*/ 55609 h 129427"/>
              <a:gd name="connsiteX16" fmla="*/ 140681 w 140784"/>
              <a:gd name="connsiteY16" fmla="*/ 48465 h 129427"/>
              <a:gd name="connsiteX17" fmla="*/ 131156 w 140784"/>
              <a:gd name="connsiteY17" fmla="*/ 24652 h 129427"/>
              <a:gd name="connsiteX18" fmla="*/ 104962 w 140784"/>
              <a:gd name="connsiteY18" fmla="*/ 10365 h 129427"/>
              <a:gd name="connsiteX19" fmla="*/ 76388 w 140784"/>
              <a:gd name="connsiteY19" fmla="*/ 24652 h 129427"/>
              <a:gd name="connsiteX20" fmla="*/ 83531 w 140784"/>
              <a:gd name="connsiteY20" fmla="*/ 840 h 129427"/>
              <a:gd name="connsiteX21" fmla="*/ 52572 w 140784"/>
              <a:gd name="connsiteY21" fmla="*/ 5603 h 129427"/>
              <a:gd name="connsiteX22" fmla="*/ 45431 w 140784"/>
              <a:gd name="connsiteY22" fmla="*/ 22271 h 129427"/>
              <a:gd name="connsiteX23" fmla="*/ 35903 w 140784"/>
              <a:gd name="connsiteY23" fmla="*/ 36560 h 129427"/>
              <a:gd name="connsiteX24" fmla="*/ 33526 w 140784"/>
              <a:gd name="connsiteY24" fmla="*/ 60370 h 129427"/>
              <a:gd name="connsiteX25" fmla="*/ 19238 w 140784"/>
              <a:gd name="connsiteY25" fmla="*/ 86565 h 129427"/>
              <a:gd name="connsiteX26" fmla="*/ 187 w 140784"/>
              <a:gd name="connsiteY26" fmla="*/ 100852 h 129427"/>
              <a:gd name="connsiteX0" fmla="*/ 187 w 140784"/>
              <a:gd name="connsiteY0" fmla="*/ 100852 h 129427"/>
              <a:gd name="connsiteX1" fmla="*/ 9712 w 140784"/>
              <a:gd name="connsiteY1" fmla="*/ 112759 h 129427"/>
              <a:gd name="connsiteX2" fmla="*/ 19237 w 140784"/>
              <a:gd name="connsiteY2" fmla="*/ 129427 h 129427"/>
              <a:gd name="connsiteX3" fmla="*/ 28762 w 140784"/>
              <a:gd name="connsiteY3" fmla="*/ 110377 h 129427"/>
              <a:gd name="connsiteX4" fmla="*/ 35906 w 140784"/>
              <a:gd name="connsiteY4" fmla="*/ 103234 h 129427"/>
              <a:gd name="connsiteX5" fmla="*/ 50194 w 140784"/>
              <a:gd name="connsiteY5" fmla="*/ 98471 h 129427"/>
              <a:gd name="connsiteX6" fmla="*/ 62100 w 140784"/>
              <a:gd name="connsiteY6" fmla="*/ 86565 h 129427"/>
              <a:gd name="connsiteX7" fmla="*/ 64481 w 140784"/>
              <a:gd name="connsiteY7" fmla="*/ 79421 h 129427"/>
              <a:gd name="connsiteX8" fmla="*/ 71625 w 140784"/>
              <a:gd name="connsiteY8" fmla="*/ 77040 h 129427"/>
              <a:gd name="connsiteX9" fmla="*/ 78769 w 140784"/>
              <a:gd name="connsiteY9" fmla="*/ 79421 h 129427"/>
              <a:gd name="connsiteX10" fmla="*/ 83531 w 140784"/>
              <a:gd name="connsiteY10" fmla="*/ 86565 h 129427"/>
              <a:gd name="connsiteX11" fmla="*/ 95437 w 140784"/>
              <a:gd name="connsiteY11" fmla="*/ 84184 h 129427"/>
              <a:gd name="connsiteX12" fmla="*/ 102581 w 140784"/>
              <a:gd name="connsiteY12" fmla="*/ 81802 h 129427"/>
              <a:gd name="connsiteX13" fmla="*/ 116869 w 140784"/>
              <a:gd name="connsiteY13" fmla="*/ 72277 h 129427"/>
              <a:gd name="connsiteX14" fmla="*/ 119250 w 140784"/>
              <a:gd name="connsiteY14" fmla="*/ 65134 h 129427"/>
              <a:gd name="connsiteX15" fmla="*/ 135919 w 140784"/>
              <a:gd name="connsiteY15" fmla="*/ 55609 h 129427"/>
              <a:gd name="connsiteX16" fmla="*/ 140681 w 140784"/>
              <a:gd name="connsiteY16" fmla="*/ 48465 h 129427"/>
              <a:gd name="connsiteX17" fmla="*/ 131156 w 140784"/>
              <a:gd name="connsiteY17" fmla="*/ 15127 h 129427"/>
              <a:gd name="connsiteX18" fmla="*/ 104962 w 140784"/>
              <a:gd name="connsiteY18" fmla="*/ 10365 h 129427"/>
              <a:gd name="connsiteX19" fmla="*/ 76388 w 140784"/>
              <a:gd name="connsiteY19" fmla="*/ 24652 h 129427"/>
              <a:gd name="connsiteX20" fmla="*/ 83531 w 140784"/>
              <a:gd name="connsiteY20" fmla="*/ 840 h 129427"/>
              <a:gd name="connsiteX21" fmla="*/ 52572 w 140784"/>
              <a:gd name="connsiteY21" fmla="*/ 5603 h 129427"/>
              <a:gd name="connsiteX22" fmla="*/ 45431 w 140784"/>
              <a:gd name="connsiteY22" fmla="*/ 22271 h 129427"/>
              <a:gd name="connsiteX23" fmla="*/ 35903 w 140784"/>
              <a:gd name="connsiteY23" fmla="*/ 36560 h 129427"/>
              <a:gd name="connsiteX24" fmla="*/ 33526 w 140784"/>
              <a:gd name="connsiteY24" fmla="*/ 60370 h 129427"/>
              <a:gd name="connsiteX25" fmla="*/ 19238 w 140784"/>
              <a:gd name="connsiteY25" fmla="*/ 86565 h 129427"/>
              <a:gd name="connsiteX26" fmla="*/ 187 w 140784"/>
              <a:gd name="connsiteY26" fmla="*/ 100852 h 129427"/>
              <a:gd name="connsiteX0" fmla="*/ 187 w 140784"/>
              <a:gd name="connsiteY0" fmla="*/ 104917 h 133492"/>
              <a:gd name="connsiteX1" fmla="*/ 9712 w 140784"/>
              <a:gd name="connsiteY1" fmla="*/ 116824 h 133492"/>
              <a:gd name="connsiteX2" fmla="*/ 19237 w 140784"/>
              <a:gd name="connsiteY2" fmla="*/ 133492 h 133492"/>
              <a:gd name="connsiteX3" fmla="*/ 28762 w 140784"/>
              <a:gd name="connsiteY3" fmla="*/ 114442 h 133492"/>
              <a:gd name="connsiteX4" fmla="*/ 35906 w 140784"/>
              <a:gd name="connsiteY4" fmla="*/ 107299 h 133492"/>
              <a:gd name="connsiteX5" fmla="*/ 50194 w 140784"/>
              <a:gd name="connsiteY5" fmla="*/ 102536 h 133492"/>
              <a:gd name="connsiteX6" fmla="*/ 62100 w 140784"/>
              <a:gd name="connsiteY6" fmla="*/ 90630 h 133492"/>
              <a:gd name="connsiteX7" fmla="*/ 64481 w 140784"/>
              <a:gd name="connsiteY7" fmla="*/ 83486 h 133492"/>
              <a:gd name="connsiteX8" fmla="*/ 71625 w 140784"/>
              <a:gd name="connsiteY8" fmla="*/ 81105 h 133492"/>
              <a:gd name="connsiteX9" fmla="*/ 78769 w 140784"/>
              <a:gd name="connsiteY9" fmla="*/ 83486 h 133492"/>
              <a:gd name="connsiteX10" fmla="*/ 83531 w 140784"/>
              <a:gd name="connsiteY10" fmla="*/ 90630 h 133492"/>
              <a:gd name="connsiteX11" fmla="*/ 95437 w 140784"/>
              <a:gd name="connsiteY11" fmla="*/ 88249 h 133492"/>
              <a:gd name="connsiteX12" fmla="*/ 102581 w 140784"/>
              <a:gd name="connsiteY12" fmla="*/ 85867 h 133492"/>
              <a:gd name="connsiteX13" fmla="*/ 116869 w 140784"/>
              <a:gd name="connsiteY13" fmla="*/ 76342 h 133492"/>
              <a:gd name="connsiteX14" fmla="*/ 119250 w 140784"/>
              <a:gd name="connsiteY14" fmla="*/ 69199 h 133492"/>
              <a:gd name="connsiteX15" fmla="*/ 135919 w 140784"/>
              <a:gd name="connsiteY15" fmla="*/ 59674 h 133492"/>
              <a:gd name="connsiteX16" fmla="*/ 140681 w 140784"/>
              <a:gd name="connsiteY16" fmla="*/ 52530 h 133492"/>
              <a:gd name="connsiteX17" fmla="*/ 131156 w 140784"/>
              <a:gd name="connsiteY17" fmla="*/ 19192 h 133492"/>
              <a:gd name="connsiteX18" fmla="*/ 112106 w 140784"/>
              <a:gd name="connsiteY18" fmla="*/ 143 h 133492"/>
              <a:gd name="connsiteX19" fmla="*/ 76388 w 140784"/>
              <a:gd name="connsiteY19" fmla="*/ 28717 h 133492"/>
              <a:gd name="connsiteX20" fmla="*/ 83531 w 140784"/>
              <a:gd name="connsiteY20" fmla="*/ 4905 h 133492"/>
              <a:gd name="connsiteX21" fmla="*/ 52572 w 140784"/>
              <a:gd name="connsiteY21" fmla="*/ 9668 h 133492"/>
              <a:gd name="connsiteX22" fmla="*/ 45431 w 140784"/>
              <a:gd name="connsiteY22" fmla="*/ 26336 h 133492"/>
              <a:gd name="connsiteX23" fmla="*/ 35903 w 140784"/>
              <a:gd name="connsiteY23" fmla="*/ 40625 h 133492"/>
              <a:gd name="connsiteX24" fmla="*/ 33526 w 140784"/>
              <a:gd name="connsiteY24" fmla="*/ 64435 h 133492"/>
              <a:gd name="connsiteX25" fmla="*/ 19238 w 140784"/>
              <a:gd name="connsiteY25" fmla="*/ 90630 h 133492"/>
              <a:gd name="connsiteX26" fmla="*/ 187 w 140784"/>
              <a:gd name="connsiteY26" fmla="*/ 104917 h 133492"/>
              <a:gd name="connsiteX0" fmla="*/ 187 w 140784"/>
              <a:gd name="connsiteY0" fmla="*/ 112230 h 140805"/>
              <a:gd name="connsiteX1" fmla="*/ 9712 w 140784"/>
              <a:gd name="connsiteY1" fmla="*/ 124137 h 140805"/>
              <a:gd name="connsiteX2" fmla="*/ 19237 w 140784"/>
              <a:gd name="connsiteY2" fmla="*/ 140805 h 140805"/>
              <a:gd name="connsiteX3" fmla="*/ 28762 w 140784"/>
              <a:gd name="connsiteY3" fmla="*/ 121755 h 140805"/>
              <a:gd name="connsiteX4" fmla="*/ 35906 w 140784"/>
              <a:gd name="connsiteY4" fmla="*/ 114612 h 140805"/>
              <a:gd name="connsiteX5" fmla="*/ 50194 w 140784"/>
              <a:gd name="connsiteY5" fmla="*/ 109849 h 140805"/>
              <a:gd name="connsiteX6" fmla="*/ 62100 w 140784"/>
              <a:gd name="connsiteY6" fmla="*/ 97943 h 140805"/>
              <a:gd name="connsiteX7" fmla="*/ 64481 w 140784"/>
              <a:gd name="connsiteY7" fmla="*/ 90799 h 140805"/>
              <a:gd name="connsiteX8" fmla="*/ 71625 w 140784"/>
              <a:gd name="connsiteY8" fmla="*/ 88418 h 140805"/>
              <a:gd name="connsiteX9" fmla="*/ 78769 w 140784"/>
              <a:gd name="connsiteY9" fmla="*/ 90799 h 140805"/>
              <a:gd name="connsiteX10" fmla="*/ 83531 w 140784"/>
              <a:gd name="connsiteY10" fmla="*/ 97943 h 140805"/>
              <a:gd name="connsiteX11" fmla="*/ 95437 w 140784"/>
              <a:gd name="connsiteY11" fmla="*/ 95562 h 140805"/>
              <a:gd name="connsiteX12" fmla="*/ 102581 w 140784"/>
              <a:gd name="connsiteY12" fmla="*/ 93180 h 140805"/>
              <a:gd name="connsiteX13" fmla="*/ 116869 w 140784"/>
              <a:gd name="connsiteY13" fmla="*/ 83655 h 140805"/>
              <a:gd name="connsiteX14" fmla="*/ 119250 w 140784"/>
              <a:gd name="connsiteY14" fmla="*/ 76512 h 140805"/>
              <a:gd name="connsiteX15" fmla="*/ 135919 w 140784"/>
              <a:gd name="connsiteY15" fmla="*/ 66987 h 140805"/>
              <a:gd name="connsiteX16" fmla="*/ 140681 w 140784"/>
              <a:gd name="connsiteY16" fmla="*/ 59843 h 140805"/>
              <a:gd name="connsiteX17" fmla="*/ 131156 w 140784"/>
              <a:gd name="connsiteY17" fmla="*/ 26505 h 140805"/>
              <a:gd name="connsiteX18" fmla="*/ 112106 w 140784"/>
              <a:gd name="connsiteY18" fmla="*/ 7456 h 140805"/>
              <a:gd name="connsiteX19" fmla="*/ 76388 w 140784"/>
              <a:gd name="connsiteY19" fmla="*/ 36030 h 140805"/>
              <a:gd name="connsiteX20" fmla="*/ 88293 w 140784"/>
              <a:gd name="connsiteY20" fmla="*/ 311 h 140805"/>
              <a:gd name="connsiteX21" fmla="*/ 52572 w 140784"/>
              <a:gd name="connsiteY21" fmla="*/ 16981 h 140805"/>
              <a:gd name="connsiteX22" fmla="*/ 45431 w 140784"/>
              <a:gd name="connsiteY22" fmla="*/ 33649 h 140805"/>
              <a:gd name="connsiteX23" fmla="*/ 35903 w 140784"/>
              <a:gd name="connsiteY23" fmla="*/ 47938 h 140805"/>
              <a:gd name="connsiteX24" fmla="*/ 33526 w 140784"/>
              <a:gd name="connsiteY24" fmla="*/ 71748 h 140805"/>
              <a:gd name="connsiteX25" fmla="*/ 19238 w 140784"/>
              <a:gd name="connsiteY25" fmla="*/ 97943 h 140805"/>
              <a:gd name="connsiteX26" fmla="*/ 187 w 140784"/>
              <a:gd name="connsiteY26" fmla="*/ 112230 h 140805"/>
              <a:gd name="connsiteX0" fmla="*/ 187 w 140784"/>
              <a:gd name="connsiteY0" fmla="*/ 112336 h 140911"/>
              <a:gd name="connsiteX1" fmla="*/ 9712 w 140784"/>
              <a:gd name="connsiteY1" fmla="*/ 124243 h 140911"/>
              <a:gd name="connsiteX2" fmla="*/ 19237 w 140784"/>
              <a:gd name="connsiteY2" fmla="*/ 140911 h 140911"/>
              <a:gd name="connsiteX3" fmla="*/ 28762 w 140784"/>
              <a:gd name="connsiteY3" fmla="*/ 121861 h 140911"/>
              <a:gd name="connsiteX4" fmla="*/ 35906 w 140784"/>
              <a:gd name="connsiteY4" fmla="*/ 114718 h 140911"/>
              <a:gd name="connsiteX5" fmla="*/ 50194 w 140784"/>
              <a:gd name="connsiteY5" fmla="*/ 109955 h 140911"/>
              <a:gd name="connsiteX6" fmla="*/ 62100 w 140784"/>
              <a:gd name="connsiteY6" fmla="*/ 98049 h 140911"/>
              <a:gd name="connsiteX7" fmla="*/ 64481 w 140784"/>
              <a:gd name="connsiteY7" fmla="*/ 90905 h 140911"/>
              <a:gd name="connsiteX8" fmla="*/ 71625 w 140784"/>
              <a:gd name="connsiteY8" fmla="*/ 88524 h 140911"/>
              <a:gd name="connsiteX9" fmla="*/ 78769 w 140784"/>
              <a:gd name="connsiteY9" fmla="*/ 90905 h 140911"/>
              <a:gd name="connsiteX10" fmla="*/ 83531 w 140784"/>
              <a:gd name="connsiteY10" fmla="*/ 98049 h 140911"/>
              <a:gd name="connsiteX11" fmla="*/ 95437 w 140784"/>
              <a:gd name="connsiteY11" fmla="*/ 95668 h 140911"/>
              <a:gd name="connsiteX12" fmla="*/ 102581 w 140784"/>
              <a:gd name="connsiteY12" fmla="*/ 93286 h 140911"/>
              <a:gd name="connsiteX13" fmla="*/ 116869 w 140784"/>
              <a:gd name="connsiteY13" fmla="*/ 83761 h 140911"/>
              <a:gd name="connsiteX14" fmla="*/ 119250 w 140784"/>
              <a:gd name="connsiteY14" fmla="*/ 76618 h 140911"/>
              <a:gd name="connsiteX15" fmla="*/ 135919 w 140784"/>
              <a:gd name="connsiteY15" fmla="*/ 67093 h 140911"/>
              <a:gd name="connsiteX16" fmla="*/ 140681 w 140784"/>
              <a:gd name="connsiteY16" fmla="*/ 59949 h 140911"/>
              <a:gd name="connsiteX17" fmla="*/ 131156 w 140784"/>
              <a:gd name="connsiteY17" fmla="*/ 26611 h 140911"/>
              <a:gd name="connsiteX18" fmla="*/ 112106 w 140784"/>
              <a:gd name="connsiteY18" fmla="*/ 7562 h 140911"/>
              <a:gd name="connsiteX19" fmla="*/ 76388 w 140784"/>
              <a:gd name="connsiteY19" fmla="*/ 36136 h 140911"/>
              <a:gd name="connsiteX20" fmla="*/ 88293 w 140784"/>
              <a:gd name="connsiteY20" fmla="*/ 417 h 140911"/>
              <a:gd name="connsiteX21" fmla="*/ 50191 w 140784"/>
              <a:gd name="connsiteY21" fmla="*/ 12324 h 140911"/>
              <a:gd name="connsiteX22" fmla="*/ 45431 w 140784"/>
              <a:gd name="connsiteY22" fmla="*/ 33755 h 140911"/>
              <a:gd name="connsiteX23" fmla="*/ 35903 w 140784"/>
              <a:gd name="connsiteY23" fmla="*/ 48044 h 140911"/>
              <a:gd name="connsiteX24" fmla="*/ 33526 w 140784"/>
              <a:gd name="connsiteY24" fmla="*/ 71854 h 140911"/>
              <a:gd name="connsiteX25" fmla="*/ 19238 w 140784"/>
              <a:gd name="connsiteY25" fmla="*/ 98049 h 140911"/>
              <a:gd name="connsiteX26" fmla="*/ 187 w 140784"/>
              <a:gd name="connsiteY26" fmla="*/ 112336 h 140911"/>
              <a:gd name="connsiteX0" fmla="*/ 187 w 140784"/>
              <a:gd name="connsiteY0" fmla="*/ 112336 h 140911"/>
              <a:gd name="connsiteX1" fmla="*/ 9712 w 140784"/>
              <a:gd name="connsiteY1" fmla="*/ 124243 h 140911"/>
              <a:gd name="connsiteX2" fmla="*/ 19237 w 140784"/>
              <a:gd name="connsiteY2" fmla="*/ 140911 h 140911"/>
              <a:gd name="connsiteX3" fmla="*/ 28762 w 140784"/>
              <a:gd name="connsiteY3" fmla="*/ 121861 h 140911"/>
              <a:gd name="connsiteX4" fmla="*/ 35906 w 140784"/>
              <a:gd name="connsiteY4" fmla="*/ 114718 h 140911"/>
              <a:gd name="connsiteX5" fmla="*/ 50194 w 140784"/>
              <a:gd name="connsiteY5" fmla="*/ 109955 h 140911"/>
              <a:gd name="connsiteX6" fmla="*/ 62100 w 140784"/>
              <a:gd name="connsiteY6" fmla="*/ 98049 h 140911"/>
              <a:gd name="connsiteX7" fmla="*/ 64481 w 140784"/>
              <a:gd name="connsiteY7" fmla="*/ 90905 h 140911"/>
              <a:gd name="connsiteX8" fmla="*/ 71625 w 140784"/>
              <a:gd name="connsiteY8" fmla="*/ 88524 h 140911"/>
              <a:gd name="connsiteX9" fmla="*/ 78769 w 140784"/>
              <a:gd name="connsiteY9" fmla="*/ 90905 h 140911"/>
              <a:gd name="connsiteX10" fmla="*/ 83531 w 140784"/>
              <a:gd name="connsiteY10" fmla="*/ 98049 h 140911"/>
              <a:gd name="connsiteX11" fmla="*/ 95437 w 140784"/>
              <a:gd name="connsiteY11" fmla="*/ 95668 h 140911"/>
              <a:gd name="connsiteX12" fmla="*/ 102581 w 140784"/>
              <a:gd name="connsiteY12" fmla="*/ 93286 h 140911"/>
              <a:gd name="connsiteX13" fmla="*/ 116869 w 140784"/>
              <a:gd name="connsiteY13" fmla="*/ 83761 h 140911"/>
              <a:gd name="connsiteX14" fmla="*/ 119250 w 140784"/>
              <a:gd name="connsiteY14" fmla="*/ 76618 h 140911"/>
              <a:gd name="connsiteX15" fmla="*/ 135919 w 140784"/>
              <a:gd name="connsiteY15" fmla="*/ 67093 h 140911"/>
              <a:gd name="connsiteX16" fmla="*/ 140681 w 140784"/>
              <a:gd name="connsiteY16" fmla="*/ 59949 h 140911"/>
              <a:gd name="connsiteX17" fmla="*/ 131156 w 140784"/>
              <a:gd name="connsiteY17" fmla="*/ 26611 h 140911"/>
              <a:gd name="connsiteX18" fmla="*/ 112106 w 140784"/>
              <a:gd name="connsiteY18" fmla="*/ 7562 h 140911"/>
              <a:gd name="connsiteX19" fmla="*/ 81151 w 140784"/>
              <a:gd name="connsiteY19" fmla="*/ 26611 h 140911"/>
              <a:gd name="connsiteX20" fmla="*/ 88293 w 140784"/>
              <a:gd name="connsiteY20" fmla="*/ 417 h 140911"/>
              <a:gd name="connsiteX21" fmla="*/ 50191 w 140784"/>
              <a:gd name="connsiteY21" fmla="*/ 12324 h 140911"/>
              <a:gd name="connsiteX22" fmla="*/ 45431 w 140784"/>
              <a:gd name="connsiteY22" fmla="*/ 33755 h 140911"/>
              <a:gd name="connsiteX23" fmla="*/ 35903 w 140784"/>
              <a:gd name="connsiteY23" fmla="*/ 48044 h 140911"/>
              <a:gd name="connsiteX24" fmla="*/ 33526 w 140784"/>
              <a:gd name="connsiteY24" fmla="*/ 71854 h 140911"/>
              <a:gd name="connsiteX25" fmla="*/ 19238 w 140784"/>
              <a:gd name="connsiteY25" fmla="*/ 98049 h 140911"/>
              <a:gd name="connsiteX26" fmla="*/ 187 w 140784"/>
              <a:gd name="connsiteY26" fmla="*/ 112336 h 140911"/>
              <a:gd name="connsiteX0" fmla="*/ 113 w 140710"/>
              <a:gd name="connsiteY0" fmla="*/ 112336 h 140911"/>
              <a:gd name="connsiteX1" fmla="*/ 9638 w 140710"/>
              <a:gd name="connsiteY1" fmla="*/ 124243 h 140911"/>
              <a:gd name="connsiteX2" fmla="*/ 19163 w 140710"/>
              <a:gd name="connsiteY2" fmla="*/ 140911 h 140911"/>
              <a:gd name="connsiteX3" fmla="*/ 28688 w 140710"/>
              <a:gd name="connsiteY3" fmla="*/ 121861 h 140911"/>
              <a:gd name="connsiteX4" fmla="*/ 35832 w 140710"/>
              <a:gd name="connsiteY4" fmla="*/ 114718 h 140911"/>
              <a:gd name="connsiteX5" fmla="*/ 50120 w 140710"/>
              <a:gd name="connsiteY5" fmla="*/ 109955 h 140911"/>
              <a:gd name="connsiteX6" fmla="*/ 62026 w 140710"/>
              <a:gd name="connsiteY6" fmla="*/ 98049 h 140911"/>
              <a:gd name="connsiteX7" fmla="*/ 64407 w 140710"/>
              <a:gd name="connsiteY7" fmla="*/ 90905 h 140911"/>
              <a:gd name="connsiteX8" fmla="*/ 71551 w 140710"/>
              <a:gd name="connsiteY8" fmla="*/ 88524 h 140911"/>
              <a:gd name="connsiteX9" fmla="*/ 78695 w 140710"/>
              <a:gd name="connsiteY9" fmla="*/ 90905 h 140911"/>
              <a:gd name="connsiteX10" fmla="*/ 83457 w 140710"/>
              <a:gd name="connsiteY10" fmla="*/ 98049 h 140911"/>
              <a:gd name="connsiteX11" fmla="*/ 95363 w 140710"/>
              <a:gd name="connsiteY11" fmla="*/ 95668 h 140911"/>
              <a:gd name="connsiteX12" fmla="*/ 102507 w 140710"/>
              <a:gd name="connsiteY12" fmla="*/ 93286 h 140911"/>
              <a:gd name="connsiteX13" fmla="*/ 116795 w 140710"/>
              <a:gd name="connsiteY13" fmla="*/ 83761 h 140911"/>
              <a:gd name="connsiteX14" fmla="*/ 119176 w 140710"/>
              <a:gd name="connsiteY14" fmla="*/ 76618 h 140911"/>
              <a:gd name="connsiteX15" fmla="*/ 135845 w 140710"/>
              <a:gd name="connsiteY15" fmla="*/ 67093 h 140911"/>
              <a:gd name="connsiteX16" fmla="*/ 140607 w 140710"/>
              <a:gd name="connsiteY16" fmla="*/ 59949 h 140911"/>
              <a:gd name="connsiteX17" fmla="*/ 131082 w 140710"/>
              <a:gd name="connsiteY17" fmla="*/ 26611 h 140911"/>
              <a:gd name="connsiteX18" fmla="*/ 112032 w 140710"/>
              <a:gd name="connsiteY18" fmla="*/ 7562 h 140911"/>
              <a:gd name="connsiteX19" fmla="*/ 81077 w 140710"/>
              <a:gd name="connsiteY19" fmla="*/ 26611 h 140911"/>
              <a:gd name="connsiteX20" fmla="*/ 88219 w 140710"/>
              <a:gd name="connsiteY20" fmla="*/ 417 h 140911"/>
              <a:gd name="connsiteX21" fmla="*/ 50117 w 140710"/>
              <a:gd name="connsiteY21" fmla="*/ 12324 h 140911"/>
              <a:gd name="connsiteX22" fmla="*/ 45357 w 140710"/>
              <a:gd name="connsiteY22" fmla="*/ 33755 h 140911"/>
              <a:gd name="connsiteX23" fmla="*/ 35829 w 140710"/>
              <a:gd name="connsiteY23" fmla="*/ 48044 h 140911"/>
              <a:gd name="connsiteX24" fmla="*/ 33452 w 140710"/>
              <a:gd name="connsiteY24" fmla="*/ 71854 h 140911"/>
              <a:gd name="connsiteX25" fmla="*/ 16783 w 140710"/>
              <a:gd name="connsiteY25" fmla="*/ 93286 h 140911"/>
              <a:gd name="connsiteX26" fmla="*/ 113 w 140710"/>
              <a:gd name="connsiteY26" fmla="*/ 112336 h 140911"/>
              <a:gd name="connsiteX0" fmla="*/ 113 w 140710"/>
              <a:gd name="connsiteY0" fmla="*/ 112336 h 140911"/>
              <a:gd name="connsiteX1" fmla="*/ 9638 w 140710"/>
              <a:gd name="connsiteY1" fmla="*/ 124243 h 140911"/>
              <a:gd name="connsiteX2" fmla="*/ 19163 w 140710"/>
              <a:gd name="connsiteY2" fmla="*/ 140911 h 140911"/>
              <a:gd name="connsiteX3" fmla="*/ 28688 w 140710"/>
              <a:gd name="connsiteY3" fmla="*/ 121861 h 140911"/>
              <a:gd name="connsiteX4" fmla="*/ 35832 w 140710"/>
              <a:gd name="connsiteY4" fmla="*/ 114718 h 140911"/>
              <a:gd name="connsiteX5" fmla="*/ 50120 w 140710"/>
              <a:gd name="connsiteY5" fmla="*/ 109955 h 140911"/>
              <a:gd name="connsiteX6" fmla="*/ 62026 w 140710"/>
              <a:gd name="connsiteY6" fmla="*/ 98049 h 140911"/>
              <a:gd name="connsiteX7" fmla="*/ 64407 w 140710"/>
              <a:gd name="connsiteY7" fmla="*/ 90905 h 140911"/>
              <a:gd name="connsiteX8" fmla="*/ 71551 w 140710"/>
              <a:gd name="connsiteY8" fmla="*/ 88524 h 140911"/>
              <a:gd name="connsiteX9" fmla="*/ 78695 w 140710"/>
              <a:gd name="connsiteY9" fmla="*/ 90905 h 140911"/>
              <a:gd name="connsiteX10" fmla="*/ 83457 w 140710"/>
              <a:gd name="connsiteY10" fmla="*/ 98049 h 140911"/>
              <a:gd name="connsiteX11" fmla="*/ 95363 w 140710"/>
              <a:gd name="connsiteY11" fmla="*/ 95668 h 140911"/>
              <a:gd name="connsiteX12" fmla="*/ 102507 w 140710"/>
              <a:gd name="connsiteY12" fmla="*/ 93286 h 140911"/>
              <a:gd name="connsiteX13" fmla="*/ 116795 w 140710"/>
              <a:gd name="connsiteY13" fmla="*/ 83761 h 140911"/>
              <a:gd name="connsiteX14" fmla="*/ 119176 w 140710"/>
              <a:gd name="connsiteY14" fmla="*/ 76618 h 140911"/>
              <a:gd name="connsiteX15" fmla="*/ 135845 w 140710"/>
              <a:gd name="connsiteY15" fmla="*/ 67093 h 140911"/>
              <a:gd name="connsiteX16" fmla="*/ 140607 w 140710"/>
              <a:gd name="connsiteY16" fmla="*/ 59949 h 140911"/>
              <a:gd name="connsiteX17" fmla="*/ 131082 w 140710"/>
              <a:gd name="connsiteY17" fmla="*/ 26611 h 140911"/>
              <a:gd name="connsiteX18" fmla="*/ 112032 w 140710"/>
              <a:gd name="connsiteY18" fmla="*/ 7562 h 140911"/>
              <a:gd name="connsiteX19" fmla="*/ 81077 w 140710"/>
              <a:gd name="connsiteY19" fmla="*/ 26611 h 140911"/>
              <a:gd name="connsiteX20" fmla="*/ 88219 w 140710"/>
              <a:gd name="connsiteY20" fmla="*/ 417 h 140911"/>
              <a:gd name="connsiteX21" fmla="*/ 50117 w 140710"/>
              <a:gd name="connsiteY21" fmla="*/ 12324 h 140911"/>
              <a:gd name="connsiteX22" fmla="*/ 45357 w 140710"/>
              <a:gd name="connsiteY22" fmla="*/ 33755 h 140911"/>
              <a:gd name="connsiteX23" fmla="*/ 35829 w 140710"/>
              <a:gd name="connsiteY23" fmla="*/ 48044 h 140911"/>
              <a:gd name="connsiteX24" fmla="*/ 31071 w 140710"/>
              <a:gd name="connsiteY24" fmla="*/ 69473 h 140911"/>
              <a:gd name="connsiteX25" fmla="*/ 16783 w 140710"/>
              <a:gd name="connsiteY25" fmla="*/ 93286 h 140911"/>
              <a:gd name="connsiteX26" fmla="*/ 113 w 140710"/>
              <a:gd name="connsiteY26" fmla="*/ 112336 h 140911"/>
              <a:gd name="connsiteX0" fmla="*/ 113 w 140710"/>
              <a:gd name="connsiteY0" fmla="*/ 105616 h 134191"/>
              <a:gd name="connsiteX1" fmla="*/ 9638 w 140710"/>
              <a:gd name="connsiteY1" fmla="*/ 117523 h 134191"/>
              <a:gd name="connsiteX2" fmla="*/ 19163 w 140710"/>
              <a:gd name="connsiteY2" fmla="*/ 134191 h 134191"/>
              <a:gd name="connsiteX3" fmla="*/ 28688 w 140710"/>
              <a:gd name="connsiteY3" fmla="*/ 115141 h 134191"/>
              <a:gd name="connsiteX4" fmla="*/ 35832 w 140710"/>
              <a:gd name="connsiteY4" fmla="*/ 107998 h 134191"/>
              <a:gd name="connsiteX5" fmla="*/ 50120 w 140710"/>
              <a:gd name="connsiteY5" fmla="*/ 103235 h 134191"/>
              <a:gd name="connsiteX6" fmla="*/ 62026 w 140710"/>
              <a:gd name="connsiteY6" fmla="*/ 91329 h 134191"/>
              <a:gd name="connsiteX7" fmla="*/ 64407 w 140710"/>
              <a:gd name="connsiteY7" fmla="*/ 84185 h 134191"/>
              <a:gd name="connsiteX8" fmla="*/ 71551 w 140710"/>
              <a:gd name="connsiteY8" fmla="*/ 81804 h 134191"/>
              <a:gd name="connsiteX9" fmla="*/ 78695 w 140710"/>
              <a:gd name="connsiteY9" fmla="*/ 84185 h 134191"/>
              <a:gd name="connsiteX10" fmla="*/ 83457 w 140710"/>
              <a:gd name="connsiteY10" fmla="*/ 91329 h 134191"/>
              <a:gd name="connsiteX11" fmla="*/ 95363 w 140710"/>
              <a:gd name="connsiteY11" fmla="*/ 88948 h 134191"/>
              <a:gd name="connsiteX12" fmla="*/ 102507 w 140710"/>
              <a:gd name="connsiteY12" fmla="*/ 86566 h 134191"/>
              <a:gd name="connsiteX13" fmla="*/ 116795 w 140710"/>
              <a:gd name="connsiteY13" fmla="*/ 77041 h 134191"/>
              <a:gd name="connsiteX14" fmla="*/ 119176 w 140710"/>
              <a:gd name="connsiteY14" fmla="*/ 69898 h 134191"/>
              <a:gd name="connsiteX15" fmla="*/ 135845 w 140710"/>
              <a:gd name="connsiteY15" fmla="*/ 60373 h 134191"/>
              <a:gd name="connsiteX16" fmla="*/ 140607 w 140710"/>
              <a:gd name="connsiteY16" fmla="*/ 53229 h 134191"/>
              <a:gd name="connsiteX17" fmla="*/ 131082 w 140710"/>
              <a:gd name="connsiteY17" fmla="*/ 19891 h 134191"/>
              <a:gd name="connsiteX18" fmla="*/ 112032 w 140710"/>
              <a:gd name="connsiteY18" fmla="*/ 842 h 134191"/>
              <a:gd name="connsiteX19" fmla="*/ 81077 w 140710"/>
              <a:gd name="connsiteY19" fmla="*/ 19891 h 134191"/>
              <a:gd name="connsiteX20" fmla="*/ 73931 w 140710"/>
              <a:gd name="connsiteY20" fmla="*/ 841 h 134191"/>
              <a:gd name="connsiteX21" fmla="*/ 50117 w 140710"/>
              <a:gd name="connsiteY21" fmla="*/ 5604 h 134191"/>
              <a:gd name="connsiteX22" fmla="*/ 45357 w 140710"/>
              <a:gd name="connsiteY22" fmla="*/ 27035 h 134191"/>
              <a:gd name="connsiteX23" fmla="*/ 35829 w 140710"/>
              <a:gd name="connsiteY23" fmla="*/ 41324 h 134191"/>
              <a:gd name="connsiteX24" fmla="*/ 31071 w 140710"/>
              <a:gd name="connsiteY24" fmla="*/ 62753 h 134191"/>
              <a:gd name="connsiteX25" fmla="*/ 16783 w 140710"/>
              <a:gd name="connsiteY25" fmla="*/ 86566 h 134191"/>
              <a:gd name="connsiteX26" fmla="*/ 113 w 140710"/>
              <a:gd name="connsiteY26" fmla="*/ 105616 h 134191"/>
              <a:gd name="connsiteX0" fmla="*/ 113 w 140710"/>
              <a:gd name="connsiteY0" fmla="*/ 105616 h 134191"/>
              <a:gd name="connsiteX1" fmla="*/ 9638 w 140710"/>
              <a:gd name="connsiteY1" fmla="*/ 117523 h 134191"/>
              <a:gd name="connsiteX2" fmla="*/ 19163 w 140710"/>
              <a:gd name="connsiteY2" fmla="*/ 134191 h 134191"/>
              <a:gd name="connsiteX3" fmla="*/ 28688 w 140710"/>
              <a:gd name="connsiteY3" fmla="*/ 115141 h 134191"/>
              <a:gd name="connsiteX4" fmla="*/ 35832 w 140710"/>
              <a:gd name="connsiteY4" fmla="*/ 107998 h 134191"/>
              <a:gd name="connsiteX5" fmla="*/ 50120 w 140710"/>
              <a:gd name="connsiteY5" fmla="*/ 103235 h 134191"/>
              <a:gd name="connsiteX6" fmla="*/ 62026 w 140710"/>
              <a:gd name="connsiteY6" fmla="*/ 91329 h 134191"/>
              <a:gd name="connsiteX7" fmla="*/ 64407 w 140710"/>
              <a:gd name="connsiteY7" fmla="*/ 84185 h 134191"/>
              <a:gd name="connsiteX8" fmla="*/ 71551 w 140710"/>
              <a:gd name="connsiteY8" fmla="*/ 81804 h 134191"/>
              <a:gd name="connsiteX9" fmla="*/ 78695 w 140710"/>
              <a:gd name="connsiteY9" fmla="*/ 84185 h 134191"/>
              <a:gd name="connsiteX10" fmla="*/ 83457 w 140710"/>
              <a:gd name="connsiteY10" fmla="*/ 91329 h 134191"/>
              <a:gd name="connsiteX11" fmla="*/ 95363 w 140710"/>
              <a:gd name="connsiteY11" fmla="*/ 88948 h 134191"/>
              <a:gd name="connsiteX12" fmla="*/ 102507 w 140710"/>
              <a:gd name="connsiteY12" fmla="*/ 86566 h 134191"/>
              <a:gd name="connsiteX13" fmla="*/ 116795 w 140710"/>
              <a:gd name="connsiteY13" fmla="*/ 77041 h 134191"/>
              <a:gd name="connsiteX14" fmla="*/ 119176 w 140710"/>
              <a:gd name="connsiteY14" fmla="*/ 69898 h 134191"/>
              <a:gd name="connsiteX15" fmla="*/ 135845 w 140710"/>
              <a:gd name="connsiteY15" fmla="*/ 60373 h 134191"/>
              <a:gd name="connsiteX16" fmla="*/ 140607 w 140710"/>
              <a:gd name="connsiteY16" fmla="*/ 53229 h 134191"/>
              <a:gd name="connsiteX17" fmla="*/ 131082 w 140710"/>
              <a:gd name="connsiteY17" fmla="*/ 19891 h 134191"/>
              <a:gd name="connsiteX18" fmla="*/ 109651 w 140710"/>
              <a:gd name="connsiteY18" fmla="*/ 7986 h 134191"/>
              <a:gd name="connsiteX19" fmla="*/ 81077 w 140710"/>
              <a:gd name="connsiteY19" fmla="*/ 19891 h 134191"/>
              <a:gd name="connsiteX20" fmla="*/ 73931 w 140710"/>
              <a:gd name="connsiteY20" fmla="*/ 841 h 134191"/>
              <a:gd name="connsiteX21" fmla="*/ 50117 w 140710"/>
              <a:gd name="connsiteY21" fmla="*/ 5604 h 134191"/>
              <a:gd name="connsiteX22" fmla="*/ 45357 w 140710"/>
              <a:gd name="connsiteY22" fmla="*/ 27035 h 134191"/>
              <a:gd name="connsiteX23" fmla="*/ 35829 w 140710"/>
              <a:gd name="connsiteY23" fmla="*/ 41324 h 134191"/>
              <a:gd name="connsiteX24" fmla="*/ 31071 w 140710"/>
              <a:gd name="connsiteY24" fmla="*/ 62753 h 134191"/>
              <a:gd name="connsiteX25" fmla="*/ 16783 w 140710"/>
              <a:gd name="connsiteY25" fmla="*/ 86566 h 134191"/>
              <a:gd name="connsiteX26" fmla="*/ 113 w 140710"/>
              <a:gd name="connsiteY26" fmla="*/ 105616 h 134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40710" h="134191">
                <a:moveTo>
                  <a:pt x="113" y="105616"/>
                </a:moveTo>
                <a:cubicBezTo>
                  <a:pt x="-1078" y="110775"/>
                  <a:pt x="7535" y="112896"/>
                  <a:pt x="9638" y="117523"/>
                </a:cubicBezTo>
                <a:cubicBezTo>
                  <a:pt x="18119" y="136181"/>
                  <a:pt x="4484" y="129298"/>
                  <a:pt x="19163" y="134191"/>
                </a:cubicBezTo>
                <a:cubicBezTo>
                  <a:pt x="34328" y="124082"/>
                  <a:pt x="19082" y="136754"/>
                  <a:pt x="28688" y="115141"/>
                </a:cubicBezTo>
                <a:cubicBezTo>
                  <a:pt x="30056" y="112064"/>
                  <a:pt x="32888" y="109633"/>
                  <a:pt x="35832" y="107998"/>
                </a:cubicBezTo>
                <a:cubicBezTo>
                  <a:pt x="40221" y="105560"/>
                  <a:pt x="50120" y="103235"/>
                  <a:pt x="50120" y="103235"/>
                </a:cubicBezTo>
                <a:cubicBezTo>
                  <a:pt x="57263" y="98473"/>
                  <a:pt x="58057" y="99266"/>
                  <a:pt x="62026" y="91329"/>
                </a:cubicBezTo>
                <a:cubicBezTo>
                  <a:pt x="63149" y="89084"/>
                  <a:pt x="62632" y="85960"/>
                  <a:pt x="64407" y="84185"/>
                </a:cubicBezTo>
                <a:cubicBezTo>
                  <a:pt x="66182" y="82410"/>
                  <a:pt x="69170" y="82598"/>
                  <a:pt x="71551" y="81804"/>
                </a:cubicBezTo>
                <a:cubicBezTo>
                  <a:pt x="73932" y="82598"/>
                  <a:pt x="76735" y="82617"/>
                  <a:pt x="78695" y="84185"/>
                </a:cubicBezTo>
                <a:cubicBezTo>
                  <a:pt x="80930" y="85973"/>
                  <a:pt x="80705" y="90543"/>
                  <a:pt x="83457" y="91329"/>
                </a:cubicBezTo>
                <a:cubicBezTo>
                  <a:pt x="87348" y="92441"/>
                  <a:pt x="91437" y="89930"/>
                  <a:pt x="95363" y="88948"/>
                </a:cubicBezTo>
                <a:cubicBezTo>
                  <a:pt x="97798" y="88339"/>
                  <a:pt x="100313" y="87785"/>
                  <a:pt x="102507" y="86566"/>
                </a:cubicBezTo>
                <a:cubicBezTo>
                  <a:pt x="107511" y="83786"/>
                  <a:pt x="116795" y="77041"/>
                  <a:pt x="116795" y="77041"/>
                </a:cubicBezTo>
                <a:cubicBezTo>
                  <a:pt x="117589" y="74660"/>
                  <a:pt x="117608" y="71858"/>
                  <a:pt x="119176" y="69898"/>
                </a:cubicBezTo>
                <a:cubicBezTo>
                  <a:pt x="121421" y="67092"/>
                  <a:pt x="133499" y="61546"/>
                  <a:pt x="135845" y="60373"/>
                </a:cubicBezTo>
                <a:cubicBezTo>
                  <a:pt x="137432" y="57992"/>
                  <a:pt x="141401" y="59976"/>
                  <a:pt x="140607" y="53229"/>
                </a:cubicBezTo>
                <a:cubicBezTo>
                  <a:pt x="139813" y="46482"/>
                  <a:pt x="136241" y="27432"/>
                  <a:pt x="131082" y="19891"/>
                </a:cubicBezTo>
                <a:cubicBezTo>
                  <a:pt x="125923" y="12350"/>
                  <a:pt x="117985" y="7986"/>
                  <a:pt x="109651" y="7986"/>
                </a:cubicBezTo>
                <a:cubicBezTo>
                  <a:pt x="101317" y="7986"/>
                  <a:pt x="87030" y="21082"/>
                  <a:pt x="81077" y="19891"/>
                </a:cubicBezTo>
                <a:cubicBezTo>
                  <a:pt x="75124" y="18700"/>
                  <a:pt x="75519" y="3619"/>
                  <a:pt x="73931" y="841"/>
                </a:cubicBezTo>
                <a:cubicBezTo>
                  <a:pt x="72343" y="-1937"/>
                  <a:pt x="54086" y="2826"/>
                  <a:pt x="50117" y="5604"/>
                </a:cubicBezTo>
                <a:cubicBezTo>
                  <a:pt x="46148" y="8382"/>
                  <a:pt x="47738" y="21082"/>
                  <a:pt x="45357" y="27035"/>
                </a:cubicBezTo>
                <a:cubicBezTo>
                  <a:pt x="42976" y="32988"/>
                  <a:pt x="35829" y="36165"/>
                  <a:pt x="35829" y="41324"/>
                </a:cubicBezTo>
                <a:cubicBezTo>
                  <a:pt x="35829" y="46483"/>
                  <a:pt x="35833" y="54022"/>
                  <a:pt x="31071" y="62753"/>
                </a:cubicBezTo>
                <a:cubicBezTo>
                  <a:pt x="29086" y="70690"/>
                  <a:pt x="21943" y="79422"/>
                  <a:pt x="16783" y="86566"/>
                </a:cubicBezTo>
                <a:cubicBezTo>
                  <a:pt x="11623" y="93710"/>
                  <a:pt x="1304" y="100457"/>
                  <a:pt x="113" y="105616"/>
                </a:cubicBezTo>
                <a:close/>
              </a:path>
            </a:pathLst>
          </a:custGeom>
          <a:solidFill>
            <a:srgbClr val="C8EDF8"/>
          </a:solidFill>
          <a:ln w="317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GB" kern="0" dirty="0" err="1">
              <a:solidFill>
                <a:prstClr val="white"/>
              </a:solidFill>
            </a:endParaRPr>
          </a:p>
        </p:txBody>
      </p:sp>
      <p:sp>
        <p:nvSpPr>
          <p:cNvPr id="50" name="Freeform 49"/>
          <p:cNvSpPr/>
          <p:nvPr/>
        </p:nvSpPr>
        <p:spPr>
          <a:xfrm>
            <a:off x="1731838" y="2318045"/>
            <a:ext cx="275307" cy="272931"/>
          </a:xfrm>
          <a:custGeom>
            <a:avLst/>
            <a:gdLst>
              <a:gd name="connsiteX0" fmla="*/ 125362 w 3436374"/>
              <a:gd name="connsiteY0" fmla="*/ 0 h 4136922"/>
              <a:gd name="connsiteX1" fmla="*/ 125362 w 3436374"/>
              <a:gd name="connsiteY1" fmla="*/ 0 h 4136922"/>
              <a:gd name="connsiteX2" fmla="*/ 258097 w 3436374"/>
              <a:gd name="connsiteY2" fmla="*/ 0 h 4136922"/>
              <a:gd name="connsiteX3" fmla="*/ 1460091 w 3436374"/>
              <a:gd name="connsiteY3" fmla="*/ 81116 h 4136922"/>
              <a:gd name="connsiteX4" fmla="*/ 1415845 w 3436374"/>
              <a:gd name="connsiteY4" fmla="*/ 1356851 h 4136922"/>
              <a:gd name="connsiteX5" fmla="*/ 3244645 w 3436374"/>
              <a:gd name="connsiteY5" fmla="*/ 3075038 h 4136922"/>
              <a:gd name="connsiteX6" fmla="*/ 3311013 w 3436374"/>
              <a:gd name="connsiteY6" fmla="*/ 3237271 h 4136922"/>
              <a:gd name="connsiteX7" fmla="*/ 3436374 w 3436374"/>
              <a:gd name="connsiteY7" fmla="*/ 3355258 h 4136922"/>
              <a:gd name="connsiteX8" fmla="*/ 3414252 w 3436374"/>
              <a:gd name="connsiteY8" fmla="*/ 3429000 h 4136922"/>
              <a:gd name="connsiteX9" fmla="*/ 3340510 w 3436374"/>
              <a:gd name="connsiteY9" fmla="*/ 3465871 h 4136922"/>
              <a:gd name="connsiteX10" fmla="*/ 3303639 w 3436374"/>
              <a:gd name="connsiteY10" fmla="*/ 3524864 h 4136922"/>
              <a:gd name="connsiteX11" fmla="*/ 3303639 w 3436374"/>
              <a:gd name="connsiteY11" fmla="*/ 3642851 h 4136922"/>
              <a:gd name="connsiteX12" fmla="*/ 3244645 w 3436374"/>
              <a:gd name="connsiteY12" fmla="*/ 3760838 h 4136922"/>
              <a:gd name="connsiteX13" fmla="*/ 3252020 w 3436374"/>
              <a:gd name="connsiteY13" fmla="*/ 3893574 h 4136922"/>
              <a:gd name="connsiteX14" fmla="*/ 3333136 w 3436374"/>
              <a:gd name="connsiteY14" fmla="*/ 3945193 h 4136922"/>
              <a:gd name="connsiteX15" fmla="*/ 3333136 w 3436374"/>
              <a:gd name="connsiteY15" fmla="*/ 3996813 h 4136922"/>
              <a:gd name="connsiteX16" fmla="*/ 3311013 w 3436374"/>
              <a:gd name="connsiteY16" fmla="*/ 4026309 h 4136922"/>
              <a:gd name="connsiteX17" fmla="*/ 2389239 w 3436374"/>
              <a:gd name="connsiteY17" fmla="*/ 4136922 h 4136922"/>
              <a:gd name="connsiteX18" fmla="*/ 2330245 w 3436374"/>
              <a:gd name="connsiteY18" fmla="*/ 4026309 h 4136922"/>
              <a:gd name="connsiteX19" fmla="*/ 2315497 w 3436374"/>
              <a:gd name="connsiteY19" fmla="*/ 3886200 h 4136922"/>
              <a:gd name="connsiteX20" fmla="*/ 2256503 w 3436374"/>
              <a:gd name="connsiteY20" fmla="*/ 3775587 h 4136922"/>
              <a:gd name="connsiteX21" fmla="*/ 2145891 w 3436374"/>
              <a:gd name="connsiteY21" fmla="*/ 3694471 h 4136922"/>
              <a:gd name="connsiteX22" fmla="*/ 2027903 w 3436374"/>
              <a:gd name="connsiteY22" fmla="*/ 3628103 h 4136922"/>
              <a:gd name="connsiteX23" fmla="*/ 1983658 w 3436374"/>
              <a:gd name="connsiteY23" fmla="*/ 3546987 h 4136922"/>
              <a:gd name="connsiteX24" fmla="*/ 1895168 w 3436374"/>
              <a:gd name="connsiteY24" fmla="*/ 3495367 h 4136922"/>
              <a:gd name="connsiteX25" fmla="*/ 1806678 w 3436374"/>
              <a:gd name="connsiteY25" fmla="*/ 3495367 h 4136922"/>
              <a:gd name="connsiteX26" fmla="*/ 1769807 w 3436374"/>
              <a:gd name="connsiteY26" fmla="*/ 3495367 h 4136922"/>
              <a:gd name="connsiteX27" fmla="*/ 1659194 w 3436374"/>
              <a:gd name="connsiteY27" fmla="*/ 3451122 h 4136922"/>
              <a:gd name="connsiteX28" fmla="*/ 1600200 w 3436374"/>
              <a:gd name="connsiteY28" fmla="*/ 3384754 h 4136922"/>
              <a:gd name="connsiteX29" fmla="*/ 1563329 w 3436374"/>
              <a:gd name="connsiteY29" fmla="*/ 3340509 h 4136922"/>
              <a:gd name="connsiteX30" fmla="*/ 1460091 w 3436374"/>
              <a:gd name="connsiteY30" fmla="*/ 3311013 h 4136922"/>
              <a:gd name="connsiteX31" fmla="*/ 1327355 w 3436374"/>
              <a:gd name="connsiteY31" fmla="*/ 3311013 h 4136922"/>
              <a:gd name="connsiteX32" fmla="*/ 1194620 w 3436374"/>
              <a:gd name="connsiteY32" fmla="*/ 3296264 h 4136922"/>
              <a:gd name="connsiteX33" fmla="*/ 1143000 w 3436374"/>
              <a:gd name="connsiteY33" fmla="*/ 3222522 h 4136922"/>
              <a:gd name="connsiteX34" fmla="*/ 1143000 w 3436374"/>
              <a:gd name="connsiteY34" fmla="*/ 3089787 h 4136922"/>
              <a:gd name="connsiteX35" fmla="*/ 1135626 w 3436374"/>
              <a:gd name="connsiteY35" fmla="*/ 2979174 h 4136922"/>
              <a:gd name="connsiteX36" fmla="*/ 1032387 w 3436374"/>
              <a:gd name="connsiteY36" fmla="*/ 2957051 h 4136922"/>
              <a:gd name="connsiteX37" fmla="*/ 1069258 w 3436374"/>
              <a:gd name="connsiteY37" fmla="*/ 2883309 h 4136922"/>
              <a:gd name="connsiteX38" fmla="*/ 1039762 w 3436374"/>
              <a:gd name="connsiteY38" fmla="*/ 2802193 h 4136922"/>
              <a:gd name="connsiteX39" fmla="*/ 943897 w 3436374"/>
              <a:gd name="connsiteY39" fmla="*/ 2772696 h 4136922"/>
              <a:gd name="connsiteX40" fmla="*/ 818536 w 3436374"/>
              <a:gd name="connsiteY40" fmla="*/ 2595716 h 4136922"/>
              <a:gd name="connsiteX41" fmla="*/ 722671 w 3436374"/>
              <a:gd name="connsiteY41" fmla="*/ 2462980 h 4136922"/>
              <a:gd name="connsiteX42" fmla="*/ 722671 w 3436374"/>
              <a:gd name="connsiteY42" fmla="*/ 2344993 h 4136922"/>
              <a:gd name="connsiteX43" fmla="*/ 759542 w 3436374"/>
              <a:gd name="connsiteY43" fmla="*/ 2330245 h 4136922"/>
              <a:gd name="connsiteX44" fmla="*/ 766916 w 3436374"/>
              <a:gd name="connsiteY44" fmla="*/ 2278625 h 4136922"/>
              <a:gd name="connsiteX45" fmla="*/ 766916 w 3436374"/>
              <a:gd name="connsiteY45" fmla="*/ 2227006 h 4136922"/>
              <a:gd name="connsiteX46" fmla="*/ 722671 w 3436374"/>
              <a:gd name="connsiteY46" fmla="*/ 2212258 h 4136922"/>
              <a:gd name="connsiteX47" fmla="*/ 656303 w 3436374"/>
              <a:gd name="connsiteY47" fmla="*/ 2212258 h 4136922"/>
              <a:gd name="connsiteX48" fmla="*/ 582562 w 3436374"/>
              <a:gd name="connsiteY48" fmla="*/ 2116393 h 4136922"/>
              <a:gd name="connsiteX49" fmla="*/ 567813 w 3436374"/>
              <a:gd name="connsiteY49" fmla="*/ 1961535 h 4136922"/>
              <a:gd name="connsiteX50" fmla="*/ 538316 w 3436374"/>
              <a:gd name="connsiteY50" fmla="*/ 1843548 h 4136922"/>
              <a:gd name="connsiteX51" fmla="*/ 457200 w 3436374"/>
              <a:gd name="connsiteY51" fmla="*/ 1769806 h 4136922"/>
              <a:gd name="connsiteX52" fmla="*/ 420329 w 3436374"/>
              <a:gd name="connsiteY52" fmla="*/ 1718187 h 4136922"/>
              <a:gd name="connsiteX53" fmla="*/ 420329 w 3436374"/>
              <a:gd name="connsiteY53" fmla="*/ 1622322 h 4136922"/>
              <a:gd name="connsiteX54" fmla="*/ 294968 w 3436374"/>
              <a:gd name="connsiteY54" fmla="*/ 1460090 h 4136922"/>
              <a:gd name="connsiteX55" fmla="*/ 169607 w 3436374"/>
              <a:gd name="connsiteY55" fmla="*/ 1327354 h 4136922"/>
              <a:gd name="connsiteX56" fmla="*/ 191729 w 3436374"/>
              <a:gd name="connsiteY56" fmla="*/ 1297858 h 4136922"/>
              <a:gd name="connsiteX57" fmla="*/ 191729 w 3436374"/>
              <a:gd name="connsiteY57" fmla="*/ 1231490 h 4136922"/>
              <a:gd name="connsiteX58" fmla="*/ 162233 w 3436374"/>
              <a:gd name="connsiteY58" fmla="*/ 1187245 h 4136922"/>
              <a:gd name="connsiteX59" fmla="*/ 162233 w 3436374"/>
              <a:gd name="connsiteY59" fmla="*/ 1113503 h 4136922"/>
              <a:gd name="connsiteX60" fmla="*/ 199103 w 3436374"/>
              <a:gd name="connsiteY60" fmla="*/ 1047135 h 4136922"/>
              <a:gd name="connsiteX61" fmla="*/ 140110 w 3436374"/>
              <a:gd name="connsiteY61" fmla="*/ 921774 h 4136922"/>
              <a:gd name="connsiteX62" fmla="*/ 0 w 3436374"/>
              <a:gd name="connsiteY62" fmla="*/ 707922 h 4136922"/>
              <a:gd name="connsiteX63" fmla="*/ 51620 w 3436374"/>
              <a:gd name="connsiteY63" fmla="*/ 582561 h 4136922"/>
              <a:gd name="connsiteX64" fmla="*/ 103239 w 3436374"/>
              <a:gd name="connsiteY64" fmla="*/ 464574 h 4136922"/>
              <a:gd name="connsiteX65" fmla="*/ 103239 w 3436374"/>
              <a:gd name="connsiteY65" fmla="*/ 368709 h 4136922"/>
              <a:gd name="connsiteX66" fmla="*/ 147484 w 3436374"/>
              <a:gd name="connsiteY66" fmla="*/ 272845 h 4136922"/>
              <a:gd name="connsiteX67" fmla="*/ 154858 w 3436374"/>
              <a:gd name="connsiteY67" fmla="*/ 184354 h 4136922"/>
              <a:gd name="connsiteX68" fmla="*/ 103239 w 3436374"/>
              <a:gd name="connsiteY68" fmla="*/ 103238 h 4136922"/>
              <a:gd name="connsiteX69" fmla="*/ 125362 w 3436374"/>
              <a:gd name="connsiteY69" fmla="*/ 0 h 4136922"/>
              <a:gd name="connsiteX0" fmla="*/ 103239 w 3436374"/>
              <a:gd name="connsiteY0" fmla="*/ 103238 h 4136922"/>
              <a:gd name="connsiteX1" fmla="*/ 125362 w 3436374"/>
              <a:gd name="connsiteY1" fmla="*/ 0 h 4136922"/>
              <a:gd name="connsiteX2" fmla="*/ 258097 w 3436374"/>
              <a:gd name="connsiteY2" fmla="*/ 0 h 4136922"/>
              <a:gd name="connsiteX3" fmla="*/ 1460091 w 3436374"/>
              <a:gd name="connsiteY3" fmla="*/ 81116 h 4136922"/>
              <a:gd name="connsiteX4" fmla="*/ 1415845 w 3436374"/>
              <a:gd name="connsiteY4" fmla="*/ 1356851 h 4136922"/>
              <a:gd name="connsiteX5" fmla="*/ 3244645 w 3436374"/>
              <a:gd name="connsiteY5" fmla="*/ 3075038 h 4136922"/>
              <a:gd name="connsiteX6" fmla="*/ 3311013 w 3436374"/>
              <a:gd name="connsiteY6" fmla="*/ 3237271 h 4136922"/>
              <a:gd name="connsiteX7" fmla="*/ 3436374 w 3436374"/>
              <a:gd name="connsiteY7" fmla="*/ 3355258 h 4136922"/>
              <a:gd name="connsiteX8" fmla="*/ 3414252 w 3436374"/>
              <a:gd name="connsiteY8" fmla="*/ 3429000 h 4136922"/>
              <a:gd name="connsiteX9" fmla="*/ 3340510 w 3436374"/>
              <a:gd name="connsiteY9" fmla="*/ 3465871 h 4136922"/>
              <a:gd name="connsiteX10" fmla="*/ 3303639 w 3436374"/>
              <a:gd name="connsiteY10" fmla="*/ 3524864 h 4136922"/>
              <a:gd name="connsiteX11" fmla="*/ 3303639 w 3436374"/>
              <a:gd name="connsiteY11" fmla="*/ 3642851 h 4136922"/>
              <a:gd name="connsiteX12" fmla="*/ 3244645 w 3436374"/>
              <a:gd name="connsiteY12" fmla="*/ 3760838 h 4136922"/>
              <a:gd name="connsiteX13" fmla="*/ 3252020 w 3436374"/>
              <a:gd name="connsiteY13" fmla="*/ 3893574 h 4136922"/>
              <a:gd name="connsiteX14" fmla="*/ 3333136 w 3436374"/>
              <a:gd name="connsiteY14" fmla="*/ 3945193 h 4136922"/>
              <a:gd name="connsiteX15" fmla="*/ 3333136 w 3436374"/>
              <a:gd name="connsiteY15" fmla="*/ 3996813 h 4136922"/>
              <a:gd name="connsiteX16" fmla="*/ 3311013 w 3436374"/>
              <a:gd name="connsiteY16" fmla="*/ 4026309 h 4136922"/>
              <a:gd name="connsiteX17" fmla="*/ 2389239 w 3436374"/>
              <a:gd name="connsiteY17" fmla="*/ 4136922 h 4136922"/>
              <a:gd name="connsiteX18" fmla="*/ 2330245 w 3436374"/>
              <a:gd name="connsiteY18" fmla="*/ 4026309 h 4136922"/>
              <a:gd name="connsiteX19" fmla="*/ 2315497 w 3436374"/>
              <a:gd name="connsiteY19" fmla="*/ 3886200 h 4136922"/>
              <a:gd name="connsiteX20" fmla="*/ 2256503 w 3436374"/>
              <a:gd name="connsiteY20" fmla="*/ 3775587 h 4136922"/>
              <a:gd name="connsiteX21" fmla="*/ 2145891 w 3436374"/>
              <a:gd name="connsiteY21" fmla="*/ 3694471 h 4136922"/>
              <a:gd name="connsiteX22" fmla="*/ 2027903 w 3436374"/>
              <a:gd name="connsiteY22" fmla="*/ 3628103 h 4136922"/>
              <a:gd name="connsiteX23" fmla="*/ 1983658 w 3436374"/>
              <a:gd name="connsiteY23" fmla="*/ 3546987 h 4136922"/>
              <a:gd name="connsiteX24" fmla="*/ 1895168 w 3436374"/>
              <a:gd name="connsiteY24" fmla="*/ 3495367 h 4136922"/>
              <a:gd name="connsiteX25" fmla="*/ 1806678 w 3436374"/>
              <a:gd name="connsiteY25" fmla="*/ 3495367 h 4136922"/>
              <a:gd name="connsiteX26" fmla="*/ 1769807 w 3436374"/>
              <a:gd name="connsiteY26" fmla="*/ 3495367 h 4136922"/>
              <a:gd name="connsiteX27" fmla="*/ 1659194 w 3436374"/>
              <a:gd name="connsiteY27" fmla="*/ 3451122 h 4136922"/>
              <a:gd name="connsiteX28" fmla="*/ 1600200 w 3436374"/>
              <a:gd name="connsiteY28" fmla="*/ 3384754 h 4136922"/>
              <a:gd name="connsiteX29" fmla="*/ 1563329 w 3436374"/>
              <a:gd name="connsiteY29" fmla="*/ 3340509 h 4136922"/>
              <a:gd name="connsiteX30" fmla="*/ 1460091 w 3436374"/>
              <a:gd name="connsiteY30" fmla="*/ 3311013 h 4136922"/>
              <a:gd name="connsiteX31" fmla="*/ 1327355 w 3436374"/>
              <a:gd name="connsiteY31" fmla="*/ 3311013 h 4136922"/>
              <a:gd name="connsiteX32" fmla="*/ 1194620 w 3436374"/>
              <a:gd name="connsiteY32" fmla="*/ 3296264 h 4136922"/>
              <a:gd name="connsiteX33" fmla="*/ 1143000 w 3436374"/>
              <a:gd name="connsiteY33" fmla="*/ 3222522 h 4136922"/>
              <a:gd name="connsiteX34" fmla="*/ 1143000 w 3436374"/>
              <a:gd name="connsiteY34" fmla="*/ 3089787 h 4136922"/>
              <a:gd name="connsiteX35" fmla="*/ 1135626 w 3436374"/>
              <a:gd name="connsiteY35" fmla="*/ 2979174 h 4136922"/>
              <a:gd name="connsiteX36" fmla="*/ 1032387 w 3436374"/>
              <a:gd name="connsiteY36" fmla="*/ 2957051 h 4136922"/>
              <a:gd name="connsiteX37" fmla="*/ 1069258 w 3436374"/>
              <a:gd name="connsiteY37" fmla="*/ 2883309 h 4136922"/>
              <a:gd name="connsiteX38" fmla="*/ 1039762 w 3436374"/>
              <a:gd name="connsiteY38" fmla="*/ 2802193 h 4136922"/>
              <a:gd name="connsiteX39" fmla="*/ 943897 w 3436374"/>
              <a:gd name="connsiteY39" fmla="*/ 2772696 h 4136922"/>
              <a:gd name="connsiteX40" fmla="*/ 818536 w 3436374"/>
              <a:gd name="connsiteY40" fmla="*/ 2595716 h 4136922"/>
              <a:gd name="connsiteX41" fmla="*/ 722671 w 3436374"/>
              <a:gd name="connsiteY41" fmla="*/ 2462980 h 4136922"/>
              <a:gd name="connsiteX42" fmla="*/ 722671 w 3436374"/>
              <a:gd name="connsiteY42" fmla="*/ 2344993 h 4136922"/>
              <a:gd name="connsiteX43" fmla="*/ 759542 w 3436374"/>
              <a:gd name="connsiteY43" fmla="*/ 2330245 h 4136922"/>
              <a:gd name="connsiteX44" fmla="*/ 766916 w 3436374"/>
              <a:gd name="connsiteY44" fmla="*/ 2278625 h 4136922"/>
              <a:gd name="connsiteX45" fmla="*/ 766916 w 3436374"/>
              <a:gd name="connsiteY45" fmla="*/ 2227006 h 4136922"/>
              <a:gd name="connsiteX46" fmla="*/ 722671 w 3436374"/>
              <a:gd name="connsiteY46" fmla="*/ 2212258 h 4136922"/>
              <a:gd name="connsiteX47" fmla="*/ 656303 w 3436374"/>
              <a:gd name="connsiteY47" fmla="*/ 2212258 h 4136922"/>
              <a:gd name="connsiteX48" fmla="*/ 582562 w 3436374"/>
              <a:gd name="connsiteY48" fmla="*/ 2116393 h 4136922"/>
              <a:gd name="connsiteX49" fmla="*/ 567813 w 3436374"/>
              <a:gd name="connsiteY49" fmla="*/ 1961535 h 4136922"/>
              <a:gd name="connsiteX50" fmla="*/ 538316 w 3436374"/>
              <a:gd name="connsiteY50" fmla="*/ 1843548 h 4136922"/>
              <a:gd name="connsiteX51" fmla="*/ 457200 w 3436374"/>
              <a:gd name="connsiteY51" fmla="*/ 1769806 h 4136922"/>
              <a:gd name="connsiteX52" fmla="*/ 420329 w 3436374"/>
              <a:gd name="connsiteY52" fmla="*/ 1718187 h 4136922"/>
              <a:gd name="connsiteX53" fmla="*/ 420329 w 3436374"/>
              <a:gd name="connsiteY53" fmla="*/ 1622322 h 4136922"/>
              <a:gd name="connsiteX54" fmla="*/ 294968 w 3436374"/>
              <a:gd name="connsiteY54" fmla="*/ 1460090 h 4136922"/>
              <a:gd name="connsiteX55" fmla="*/ 169607 w 3436374"/>
              <a:gd name="connsiteY55" fmla="*/ 1327354 h 4136922"/>
              <a:gd name="connsiteX56" fmla="*/ 191729 w 3436374"/>
              <a:gd name="connsiteY56" fmla="*/ 1297858 h 4136922"/>
              <a:gd name="connsiteX57" fmla="*/ 191729 w 3436374"/>
              <a:gd name="connsiteY57" fmla="*/ 1231490 h 4136922"/>
              <a:gd name="connsiteX58" fmla="*/ 162233 w 3436374"/>
              <a:gd name="connsiteY58" fmla="*/ 1187245 h 4136922"/>
              <a:gd name="connsiteX59" fmla="*/ 162233 w 3436374"/>
              <a:gd name="connsiteY59" fmla="*/ 1113503 h 4136922"/>
              <a:gd name="connsiteX60" fmla="*/ 199103 w 3436374"/>
              <a:gd name="connsiteY60" fmla="*/ 1047135 h 4136922"/>
              <a:gd name="connsiteX61" fmla="*/ 140110 w 3436374"/>
              <a:gd name="connsiteY61" fmla="*/ 921774 h 4136922"/>
              <a:gd name="connsiteX62" fmla="*/ 0 w 3436374"/>
              <a:gd name="connsiteY62" fmla="*/ 707922 h 4136922"/>
              <a:gd name="connsiteX63" fmla="*/ 51620 w 3436374"/>
              <a:gd name="connsiteY63" fmla="*/ 582561 h 4136922"/>
              <a:gd name="connsiteX64" fmla="*/ 103239 w 3436374"/>
              <a:gd name="connsiteY64" fmla="*/ 464574 h 4136922"/>
              <a:gd name="connsiteX65" fmla="*/ 103239 w 3436374"/>
              <a:gd name="connsiteY65" fmla="*/ 368709 h 4136922"/>
              <a:gd name="connsiteX66" fmla="*/ 147484 w 3436374"/>
              <a:gd name="connsiteY66" fmla="*/ 272845 h 4136922"/>
              <a:gd name="connsiteX67" fmla="*/ 154858 w 3436374"/>
              <a:gd name="connsiteY67" fmla="*/ 184354 h 4136922"/>
              <a:gd name="connsiteX68" fmla="*/ 103239 w 3436374"/>
              <a:gd name="connsiteY68" fmla="*/ 103238 h 4136922"/>
              <a:gd name="connsiteX0" fmla="*/ 154858 w 3436374"/>
              <a:gd name="connsiteY0" fmla="*/ 184354 h 4136922"/>
              <a:gd name="connsiteX1" fmla="*/ 125362 w 3436374"/>
              <a:gd name="connsiteY1" fmla="*/ 0 h 4136922"/>
              <a:gd name="connsiteX2" fmla="*/ 258097 w 3436374"/>
              <a:gd name="connsiteY2" fmla="*/ 0 h 4136922"/>
              <a:gd name="connsiteX3" fmla="*/ 1460091 w 3436374"/>
              <a:gd name="connsiteY3" fmla="*/ 81116 h 4136922"/>
              <a:gd name="connsiteX4" fmla="*/ 1415845 w 3436374"/>
              <a:gd name="connsiteY4" fmla="*/ 1356851 h 4136922"/>
              <a:gd name="connsiteX5" fmla="*/ 3244645 w 3436374"/>
              <a:gd name="connsiteY5" fmla="*/ 3075038 h 4136922"/>
              <a:gd name="connsiteX6" fmla="*/ 3311013 w 3436374"/>
              <a:gd name="connsiteY6" fmla="*/ 3237271 h 4136922"/>
              <a:gd name="connsiteX7" fmla="*/ 3436374 w 3436374"/>
              <a:gd name="connsiteY7" fmla="*/ 3355258 h 4136922"/>
              <a:gd name="connsiteX8" fmla="*/ 3414252 w 3436374"/>
              <a:gd name="connsiteY8" fmla="*/ 3429000 h 4136922"/>
              <a:gd name="connsiteX9" fmla="*/ 3340510 w 3436374"/>
              <a:gd name="connsiteY9" fmla="*/ 3465871 h 4136922"/>
              <a:gd name="connsiteX10" fmla="*/ 3303639 w 3436374"/>
              <a:gd name="connsiteY10" fmla="*/ 3524864 h 4136922"/>
              <a:gd name="connsiteX11" fmla="*/ 3303639 w 3436374"/>
              <a:gd name="connsiteY11" fmla="*/ 3642851 h 4136922"/>
              <a:gd name="connsiteX12" fmla="*/ 3244645 w 3436374"/>
              <a:gd name="connsiteY12" fmla="*/ 3760838 h 4136922"/>
              <a:gd name="connsiteX13" fmla="*/ 3252020 w 3436374"/>
              <a:gd name="connsiteY13" fmla="*/ 3893574 h 4136922"/>
              <a:gd name="connsiteX14" fmla="*/ 3333136 w 3436374"/>
              <a:gd name="connsiteY14" fmla="*/ 3945193 h 4136922"/>
              <a:gd name="connsiteX15" fmla="*/ 3333136 w 3436374"/>
              <a:gd name="connsiteY15" fmla="*/ 3996813 h 4136922"/>
              <a:gd name="connsiteX16" fmla="*/ 3311013 w 3436374"/>
              <a:gd name="connsiteY16" fmla="*/ 4026309 h 4136922"/>
              <a:gd name="connsiteX17" fmla="*/ 2389239 w 3436374"/>
              <a:gd name="connsiteY17" fmla="*/ 4136922 h 4136922"/>
              <a:gd name="connsiteX18" fmla="*/ 2330245 w 3436374"/>
              <a:gd name="connsiteY18" fmla="*/ 4026309 h 4136922"/>
              <a:gd name="connsiteX19" fmla="*/ 2315497 w 3436374"/>
              <a:gd name="connsiteY19" fmla="*/ 3886200 h 4136922"/>
              <a:gd name="connsiteX20" fmla="*/ 2256503 w 3436374"/>
              <a:gd name="connsiteY20" fmla="*/ 3775587 h 4136922"/>
              <a:gd name="connsiteX21" fmla="*/ 2145891 w 3436374"/>
              <a:gd name="connsiteY21" fmla="*/ 3694471 h 4136922"/>
              <a:gd name="connsiteX22" fmla="*/ 2027903 w 3436374"/>
              <a:gd name="connsiteY22" fmla="*/ 3628103 h 4136922"/>
              <a:gd name="connsiteX23" fmla="*/ 1983658 w 3436374"/>
              <a:gd name="connsiteY23" fmla="*/ 3546987 h 4136922"/>
              <a:gd name="connsiteX24" fmla="*/ 1895168 w 3436374"/>
              <a:gd name="connsiteY24" fmla="*/ 3495367 h 4136922"/>
              <a:gd name="connsiteX25" fmla="*/ 1806678 w 3436374"/>
              <a:gd name="connsiteY25" fmla="*/ 3495367 h 4136922"/>
              <a:gd name="connsiteX26" fmla="*/ 1769807 w 3436374"/>
              <a:gd name="connsiteY26" fmla="*/ 3495367 h 4136922"/>
              <a:gd name="connsiteX27" fmla="*/ 1659194 w 3436374"/>
              <a:gd name="connsiteY27" fmla="*/ 3451122 h 4136922"/>
              <a:gd name="connsiteX28" fmla="*/ 1600200 w 3436374"/>
              <a:gd name="connsiteY28" fmla="*/ 3384754 h 4136922"/>
              <a:gd name="connsiteX29" fmla="*/ 1563329 w 3436374"/>
              <a:gd name="connsiteY29" fmla="*/ 3340509 h 4136922"/>
              <a:gd name="connsiteX30" fmla="*/ 1460091 w 3436374"/>
              <a:gd name="connsiteY30" fmla="*/ 3311013 h 4136922"/>
              <a:gd name="connsiteX31" fmla="*/ 1327355 w 3436374"/>
              <a:gd name="connsiteY31" fmla="*/ 3311013 h 4136922"/>
              <a:gd name="connsiteX32" fmla="*/ 1194620 w 3436374"/>
              <a:gd name="connsiteY32" fmla="*/ 3296264 h 4136922"/>
              <a:gd name="connsiteX33" fmla="*/ 1143000 w 3436374"/>
              <a:gd name="connsiteY33" fmla="*/ 3222522 h 4136922"/>
              <a:gd name="connsiteX34" fmla="*/ 1143000 w 3436374"/>
              <a:gd name="connsiteY34" fmla="*/ 3089787 h 4136922"/>
              <a:gd name="connsiteX35" fmla="*/ 1135626 w 3436374"/>
              <a:gd name="connsiteY35" fmla="*/ 2979174 h 4136922"/>
              <a:gd name="connsiteX36" fmla="*/ 1032387 w 3436374"/>
              <a:gd name="connsiteY36" fmla="*/ 2957051 h 4136922"/>
              <a:gd name="connsiteX37" fmla="*/ 1069258 w 3436374"/>
              <a:gd name="connsiteY37" fmla="*/ 2883309 h 4136922"/>
              <a:gd name="connsiteX38" fmla="*/ 1039762 w 3436374"/>
              <a:gd name="connsiteY38" fmla="*/ 2802193 h 4136922"/>
              <a:gd name="connsiteX39" fmla="*/ 943897 w 3436374"/>
              <a:gd name="connsiteY39" fmla="*/ 2772696 h 4136922"/>
              <a:gd name="connsiteX40" fmla="*/ 818536 w 3436374"/>
              <a:gd name="connsiteY40" fmla="*/ 2595716 h 4136922"/>
              <a:gd name="connsiteX41" fmla="*/ 722671 w 3436374"/>
              <a:gd name="connsiteY41" fmla="*/ 2462980 h 4136922"/>
              <a:gd name="connsiteX42" fmla="*/ 722671 w 3436374"/>
              <a:gd name="connsiteY42" fmla="*/ 2344993 h 4136922"/>
              <a:gd name="connsiteX43" fmla="*/ 759542 w 3436374"/>
              <a:gd name="connsiteY43" fmla="*/ 2330245 h 4136922"/>
              <a:gd name="connsiteX44" fmla="*/ 766916 w 3436374"/>
              <a:gd name="connsiteY44" fmla="*/ 2278625 h 4136922"/>
              <a:gd name="connsiteX45" fmla="*/ 766916 w 3436374"/>
              <a:gd name="connsiteY45" fmla="*/ 2227006 h 4136922"/>
              <a:gd name="connsiteX46" fmla="*/ 722671 w 3436374"/>
              <a:gd name="connsiteY46" fmla="*/ 2212258 h 4136922"/>
              <a:gd name="connsiteX47" fmla="*/ 656303 w 3436374"/>
              <a:gd name="connsiteY47" fmla="*/ 2212258 h 4136922"/>
              <a:gd name="connsiteX48" fmla="*/ 582562 w 3436374"/>
              <a:gd name="connsiteY48" fmla="*/ 2116393 h 4136922"/>
              <a:gd name="connsiteX49" fmla="*/ 567813 w 3436374"/>
              <a:gd name="connsiteY49" fmla="*/ 1961535 h 4136922"/>
              <a:gd name="connsiteX50" fmla="*/ 538316 w 3436374"/>
              <a:gd name="connsiteY50" fmla="*/ 1843548 h 4136922"/>
              <a:gd name="connsiteX51" fmla="*/ 457200 w 3436374"/>
              <a:gd name="connsiteY51" fmla="*/ 1769806 h 4136922"/>
              <a:gd name="connsiteX52" fmla="*/ 420329 w 3436374"/>
              <a:gd name="connsiteY52" fmla="*/ 1718187 h 4136922"/>
              <a:gd name="connsiteX53" fmla="*/ 420329 w 3436374"/>
              <a:gd name="connsiteY53" fmla="*/ 1622322 h 4136922"/>
              <a:gd name="connsiteX54" fmla="*/ 294968 w 3436374"/>
              <a:gd name="connsiteY54" fmla="*/ 1460090 h 4136922"/>
              <a:gd name="connsiteX55" fmla="*/ 169607 w 3436374"/>
              <a:gd name="connsiteY55" fmla="*/ 1327354 h 4136922"/>
              <a:gd name="connsiteX56" fmla="*/ 191729 w 3436374"/>
              <a:gd name="connsiteY56" fmla="*/ 1297858 h 4136922"/>
              <a:gd name="connsiteX57" fmla="*/ 191729 w 3436374"/>
              <a:gd name="connsiteY57" fmla="*/ 1231490 h 4136922"/>
              <a:gd name="connsiteX58" fmla="*/ 162233 w 3436374"/>
              <a:gd name="connsiteY58" fmla="*/ 1187245 h 4136922"/>
              <a:gd name="connsiteX59" fmla="*/ 162233 w 3436374"/>
              <a:gd name="connsiteY59" fmla="*/ 1113503 h 4136922"/>
              <a:gd name="connsiteX60" fmla="*/ 199103 w 3436374"/>
              <a:gd name="connsiteY60" fmla="*/ 1047135 h 4136922"/>
              <a:gd name="connsiteX61" fmla="*/ 140110 w 3436374"/>
              <a:gd name="connsiteY61" fmla="*/ 921774 h 4136922"/>
              <a:gd name="connsiteX62" fmla="*/ 0 w 3436374"/>
              <a:gd name="connsiteY62" fmla="*/ 707922 h 4136922"/>
              <a:gd name="connsiteX63" fmla="*/ 51620 w 3436374"/>
              <a:gd name="connsiteY63" fmla="*/ 582561 h 4136922"/>
              <a:gd name="connsiteX64" fmla="*/ 103239 w 3436374"/>
              <a:gd name="connsiteY64" fmla="*/ 464574 h 4136922"/>
              <a:gd name="connsiteX65" fmla="*/ 103239 w 3436374"/>
              <a:gd name="connsiteY65" fmla="*/ 368709 h 4136922"/>
              <a:gd name="connsiteX66" fmla="*/ 147484 w 3436374"/>
              <a:gd name="connsiteY66" fmla="*/ 272845 h 4136922"/>
              <a:gd name="connsiteX67" fmla="*/ 154858 w 3436374"/>
              <a:gd name="connsiteY67" fmla="*/ 184354 h 4136922"/>
              <a:gd name="connsiteX0" fmla="*/ 147484 w 3436374"/>
              <a:gd name="connsiteY0" fmla="*/ 272845 h 4136922"/>
              <a:gd name="connsiteX1" fmla="*/ 125362 w 3436374"/>
              <a:gd name="connsiteY1" fmla="*/ 0 h 4136922"/>
              <a:gd name="connsiteX2" fmla="*/ 258097 w 3436374"/>
              <a:gd name="connsiteY2" fmla="*/ 0 h 4136922"/>
              <a:gd name="connsiteX3" fmla="*/ 1460091 w 3436374"/>
              <a:gd name="connsiteY3" fmla="*/ 81116 h 4136922"/>
              <a:gd name="connsiteX4" fmla="*/ 1415845 w 3436374"/>
              <a:gd name="connsiteY4" fmla="*/ 1356851 h 4136922"/>
              <a:gd name="connsiteX5" fmla="*/ 3244645 w 3436374"/>
              <a:gd name="connsiteY5" fmla="*/ 3075038 h 4136922"/>
              <a:gd name="connsiteX6" fmla="*/ 3311013 w 3436374"/>
              <a:gd name="connsiteY6" fmla="*/ 3237271 h 4136922"/>
              <a:gd name="connsiteX7" fmla="*/ 3436374 w 3436374"/>
              <a:gd name="connsiteY7" fmla="*/ 3355258 h 4136922"/>
              <a:gd name="connsiteX8" fmla="*/ 3414252 w 3436374"/>
              <a:gd name="connsiteY8" fmla="*/ 3429000 h 4136922"/>
              <a:gd name="connsiteX9" fmla="*/ 3340510 w 3436374"/>
              <a:gd name="connsiteY9" fmla="*/ 3465871 h 4136922"/>
              <a:gd name="connsiteX10" fmla="*/ 3303639 w 3436374"/>
              <a:gd name="connsiteY10" fmla="*/ 3524864 h 4136922"/>
              <a:gd name="connsiteX11" fmla="*/ 3303639 w 3436374"/>
              <a:gd name="connsiteY11" fmla="*/ 3642851 h 4136922"/>
              <a:gd name="connsiteX12" fmla="*/ 3244645 w 3436374"/>
              <a:gd name="connsiteY12" fmla="*/ 3760838 h 4136922"/>
              <a:gd name="connsiteX13" fmla="*/ 3252020 w 3436374"/>
              <a:gd name="connsiteY13" fmla="*/ 3893574 h 4136922"/>
              <a:gd name="connsiteX14" fmla="*/ 3333136 w 3436374"/>
              <a:gd name="connsiteY14" fmla="*/ 3945193 h 4136922"/>
              <a:gd name="connsiteX15" fmla="*/ 3333136 w 3436374"/>
              <a:gd name="connsiteY15" fmla="*/ 3996813 h 4136922"/>
              <a:gd name="connsiteX16" fmla="*/ 3311013 w 3436374"/>
              <a:gd name="connsiteY16" fmla="*/ 4026309 h 4136922"/>
              <a:gd name="connsiteX17" fmla="*/ 2389239 w 3436374"/>
              <a:gd name="connsiteY17" fmla="*/ 4136922 h 4136922"/>
              <a:gd name="connsiteX18" fmla="*/ 2330245 w 3436374"/>
              <a:gd name="connsiteY18" fmla="*/ 4026309 h 4136922"/>
              <a:gd name="connsiteX19" fmla="*/ 2315497 w 3436374"/>
              <a:gd name="connsiteY19" fmla="*/ 3886200 h 4136922"/>
              <a:gd name="connsiteX20" fmla="*/ 2256503 w 3436374"/>
              <a:gd name="connsiteY20" fmla="*/ 3775587 h 4136922"/>
              <a:gd name="connsiteX21" fmla="*/ 2145891 w 3436374"/>
              <a:gd name="connsiteY21" fmla="*/ 3694471 h 4136922"/>
              <a:gd name="connsiteX22" fmla="*/ 2027903 w 3436374"/>
              <a:gd name="connsiteY22" fmla="*/ 3628103 h 4136922"/>
              <a:gd name="connsiteX23" fmla="*/ 1983658 w 3436374"/>
              <a:gd name="connsiteY23" fmla="*/ 3546987 h 4136922"/>
              <a:gd name="connsiteX24" fmla="*/ 1895168 w 3436374"/>
              <a:gd name="connsiteY24" fmla="*/ 3495367 h 4136922"/>
              <a:gd name="connsiteX25" fmla="*/ 1806678 w 3436374"/>
              <a:gd name="connsiteY25" fmla="*/ 3495367 h 4136922"/>
              <a:gd name="connsiteX26" fmla="*/ 1769807 w 3436374"/>
              <a:gd name="connsiteY26" fmla="*/ 3495367 h 4136922"/>
              <a:gd name="connsiteX27" fmla="*/ 1659194 w 3436374"/>
              <a:gd name="connsiteY27" fmla="*/ 3451122 h 4136922"/>
              <a:gd name="connsiteX28" fmla="*/ 1600200 w 3436374"/>
              <a:gd name="connsiteY28" fmla="*/ 3384754 h 4136922"/>
              <a:gd name="connsiteX29" fmla="*/ 1563329 w 3436374"/>
              <a:gd name="connsiteY29" fmla="*/ 3340509 h 4136922"/>
              <a:gd name="connsiteX30" fmla="*/ 1460091 w 3436374"/>
              <a:gd name="connsiteY30" fmla="*/ 3311013 h 4136922"/>
              <a:gd name="connsiteX31" fmla="*/ 1327355 w 3436374"/>
              <a:gd name="connsiteY31" fmla="*/ 3311013 h 4136922"/>
              <a:gd name="connsiteX32" fmla="*/ 1194620 w 3436374"/>
              <a:gd name="connsiteY32" fmla="*/ 3296264 h 4136922"/>
              <a:gd name="connsiteX33" fmla="*/ 1143000 w 3436374"/>
              <a:gd name="connsiteY33" fmla="*/ 3222522 h 4136922"/>
              <a:gd name="connsiteX34" fmla="*/ 1143000 w 3436374"/>
              <a:gd name="connsiteY34" fmla="*/ 3089787 h 4136922"/>
              <a:gd name="connsiteX35" fmla="*/ 1135626 w 3436374"/>
              <a:gd name="connsiteY35" fmla="*/ 2979174 h 4136922"/>
              <a:gd name="connsiteX36" fmla="*/ 1032387 w 3436374"/>
              <a:gd name="connsiteY36" fmla="*/ 2957051 h 4136922"/>
              <a:gd name="connsiteX37" fmla="*/ 1069258 w 3436374"/>
              <a:gd name="connsiteY37" fmla="*/ 2883309 h 4136922"/>
              <a:gd name="connsiteX38" fmla="*/ 1039762 w 3436374"/>
              <a:gd name="connsiteY38" fmla="*/ 2802193 h 4136922"/>
              <a:gd name="connsiteX39" fmla="*/ 943897 w 3436374"/>
              <a:gd name="connsiteY39" fmla="*/ 2772696 h 4136922"/>
              <a:gd name="connsiteX40" fmla="*/ 818536 w 3436374"/>
              <a:gd name="connsiteY40" fmla="*/ 2595716 h 4136922"/>
              <a:gd name="connsiteX41" fmla="*/ 722671 w 3436374"/>
              <a:gd name="connsiteY41" fmla="*/ 2462980 h 4136922"/>
              <a:gd name="connsiteX42" fmla="*/ 722671 w 3436374"/>
              <a:gd name="connsiteY42" fmla="*/ 2344993 h 4136922"/>
              <a:gd name="connsiteX43" fmla="*/ 759542 w 3436374"/>
              <a:gd name="connsiteY43" fmla="*/ 2330245 h 4136922"/>
              <a:gd name="connsiteX44" fmla="*/ 766916 w 3436374"/>
              <a:gd name="connsiteY44" fmla="*/ 2278625 h 4136922"/>
              <a:gd name="connsiteX45" fmla="*/ 766916 w 3436374"/>
              <a:gd name="connsiteY45" fmla="*/ 2227006 h 4136922"/>
              <a:gd name="connsiteX46" fmla="*/ 722671 w 3436374"/>
              <a:gd name="connsiteY46" fmla="*/ 2212258 h 4136922"/>
              <a:gd name="connsiteX47" fmla="*/ 656303 w 3436374"/>
              <a:gd name="connsiteY47" fmla="*/ 2212258 h 4136922"/>
              <a:gd name="connsiteX48" fmla="*/ 582562 w 3436374"/>
              <a:gd name="connsiteY48" fmla="*/ 2116393 h 4136922"/>
              <a:gd name="connsiteX49" fmla="*/ 567813 w 3436374"/>
              <a:gd name="connsiteY49" fmla="*/ 1961535 h 4136922"/>
              <a:gd name="connsiteX50" fmla="*/ 538316 w 3436374"/>
              <a:gd name="connsiteY50" fmla="*/ 1843548 h 4136922"/>
              <a:gd name="connsiteX51" fmla="*/ 457200 w 3436374"/>
              <a:gd name="connsiteY51" fmla="*/ 1769806 h 4136922"/>
              <a:gd name="connsiteX52" fmla="*/ 420329 w 3436374"/>
              <a:gd name="connsiteY52" fmla="*/ 1718187 h 4136922"/>
              <a:gd name="connsiteX53" fmla="*/ 420329 w 3436374"/>
              <a:gd name="connsiteY53" fmla="*/ 1622322 h 4136922"/>
              <a:gd name="connsiteX54" fmla="*/ 294968 w 3436374"/>
              <a:gd name="connsiteY54" fmla="*/ 1460090 h 4136922"/>
              <a:gd name="connsiteX55" fmla="*/ 169607 w 3436374"/>
              <a:gd name="connsiteY55" fmla="*/ 1327354 h 4136922"/>
              <a:gd name="connsiteX56" fmla="*/ 191729 w 3436374"/>
              <a:gd name="connsiteY56" fmla="*/ 1297858 h 4136922"/>
              <a:gd name="connsiteX57" fmla="*/ 191729 w 3436374"/>
              <a:gd name="connsiteY57" fmla="*/ 1231490 h 4136922"/>
              <a:gd name="connsiteX58" fmla="*/ 162233 w 3436374"/>
              <a:gd name="connsiteY58" fmla="*/ 1187245 h 4136922"/>
              <a:gd name="connsiteX59" fmla="*/ 162233 w 3436374"/>
              <a:gd name="connsiteY59" fmla="*/ 1113503 h 4136922"/>
              <a:gd name="connsiteX60" fmla="*/ 199103 w 3436374"/>
              <a:gd name="connsiteY60" fmla="*/ 1047135 h 4136922"/>
              <a:gd name="connsiteX61" fmla="*/ 140110 w 3436374"/>
              <a:gd name="connsiteY61" fmla="*/ 921774 h 4136922"/>
              <a:gd name="connsiteX62" fmla="*/ 0 w 3436374"/>
              <a:gd name="connsiteY62" fmla="*/ 707922 h 4136922"/>
              <a:gd name="connsiteX63" fmla="*/ 51620 w 3436374"/>
              <a:gd name="connsiteY63" fmla="*/ 582561 h 4136922"/>
              <a:gd name="connsiteX64" fmla="*/ 103239 w 3436374"/>
              <a:gd name="connsiteY64" fmla="*/ 464574 h 4136922"/>
              <a:gd name="connsiteX65" fmla="*/ 103239 w 3436374"/>
              <a:gd name="connsiteY65" fmla="*/ 368709 h 4136922"/>
              <a:gd name="connsiteX66" fmla="*/ 147484 w 3436374"/>
              <a:gd name="connsiteY66" fmla="*/ 272845 h 4136922"/>
              <a:gd name="connsiteX0" fmla="*/ 103239 w 3436374"/>
              <a:gd name="connsiteY0" fmla="*/ 368709 h 4136922"/>
              <a:gd name="connsiteX1" fmla="*/ 125362 w 3436374"/>
              <a:gd name="connsiteY1" fmla="*/ 0 h 4136922"/>
              <a:gd name="connsiteX2" fmla="*/ 258097 w 3436374"/>
              <a:gd name="connsiteY2" fmla="*/ 0 h 4136922"/>
              <a:gd name="connsiteX3" fmla="*/ 1460091 w 3436374"/>
              <a:gd name="connsiteY3" fmla="*/ 81116 h 4136922"/>
              <a:gd name="connsiteX4" fmla="*/ 1415845 w 3436374"/>
              <a:gd name="connsiteY4" fmla="*/ 1356851 h 4136922"/>
              <a:gd name="connsiteX5" fmla="*/ 3244645 w 3436374"/>
              <a:gd name="connsiteY5" fmla="*/ 3075038 h 4136922"/>
              <a:gd name="connsiteX6" fmla="*/ 3311013 w 3436374"/>
              <a:gd name="connsiteY6" fmla="*/ 3237271 h 4136922"/>
              <a:gd name="connsiteX7" fmla="*/ 3436374 w 3436374"/>
              <a:gd name="connsiteY7" fmla="*/ 3355258 h 4136922"/>
              <a:gd name="connsiteX8" fmla="*/ 3414252 w 3436374"/>
              <a:gd name="connsiteY8" fmla="*/ 3429000 h 4136922"/>
              <a:gd name="connsiteX9" fmla="*/ 3340510 w 3436374"/>
              <a:gd name="connsiteY9" fmla="*/ 3465871 h 4136922"/>
              <a:gd name="connsiteX10" fmla="*/ 3303639 w 3436374"/>
              <a:gd name="connsiteY10" fmla="*/ 3524864 h 4136922"/>
              <a:gd name="connsiteX11" fmla="*/ 3303639 w 3436374"/>
              <a:gd name="connsiteY11" fmla="*/ 3642851 h 4136922"/>
              <a:gd name="connsiteX12" fmla="*/ 3244645 w 3436374"/>
              <a:gd name="connsiteY12" fmla="*/ 3760838 h 4136922"/>
              <a:gd name="connsiteX13" fmla="*/ 3252020 w 3436374"/>
              <a:gd name="connsiteY13" fmla="*/ 3893574 h 4136922"/>
              <a:gd name="connsiteX14" fmla="*/ 3333136 w 3436374"/>
              <a:gd name="connsiteY14" fmla="*/ 3945193 h 4136922"/>
              <a:gd name="connsiteX15" fmla="*/ 3333136 w 3436374"/>
              <a:gd name="connsiteY15" fmla="*/ 3996813 h 4136922"/>
              <a:gd name="connsiteX16" fmla="*/ 3311013 w 3436374"/>
              <a:gd name="connsiteY16" fmla="*/ 4026309 h 4136922"/>
              <a:gd name="connsiteX17" fmla="*/ 2389239 w 3436374"/>
              <a:gd name="connsiteY17" fmla="*/ 4136922 h 4136922"/>
              <a:gd name="connsiteX18" fmla="*/ 2330245 w 3436374"/>
              <a:gd name="connsiteY18" fmla="*/ 4026309 h 4136922"/>
              <a:gd name="connsiteX19" fmla="*/ 2315497 w 3436374"/>
              <a:gd name="connsiteY19" fmla="*/ 3886200 h 4136922"/>
              <a:gd name="connsiteX20" fmla="*/ 2256503 w 3436374"/>
              <a:gd name="connsiteY20" fmla="*/ 3775587 h 4136922"/>
              <a:gd name="connsiteX21" fmla="*/ 2145891 w 3436374"/>
              <a:gd name="connsiteY21" fmla="*/ 3694471 h 4136922"/>
              <a:gd name="connsiteX22" fmla="*/ 2027903 w 3436374"/>
              <a:gd name="connsiteY22" fmla="*/ 3628103 h 4136922"/>
              <a:gd name="connsiteX23" fmla="*/ 1983658 w 3436374"/>
              <a:gd name="connsiteY23" fmla="*/ 3546987 h 4136922"/>
              <a:gd name="connsiteX24" fmla="*/ 1895168 w 3436374"/>
              <a:gd name="connsiteY24" fmla="*/ 3495367 h 4136922"/>
              <a:gd name="connsiteX25" fmla="*/ 1806678 w 3436374"/>
              <a:gd name="connsiteY25" fmla="*/ 3495367 h 4136922"/>
              <a:gd name="connsiteX26" fmla="*/ 1769807 w 3436374"/>
              <a:gd name="connsiteY26" fmla="*/ 3495367 h 4136922"/>
              <a:gd name="connsiteX27" fmla="*/ 1659194 w 3436374"/>
              <a:gd name="connsiteY27" fmla="*/ 3451122 h 4136922"/>
              <a:gd name="connsiteX28" fmla="*/ 1600200 w 3436374"/>
              <a:gd name="connsiteY28" fmla="*/ 3384754 h 4136922"/>
              <a:gd name="connsiteX29" fmla="*/ 1563329 w 3436374"/>
              <a:gd name="connsiteY29" fmla="*/ 3340509 h 4136922"/>
              <a:gd name="connsiteX30" fmla="*/ 1460091 w 3436374"/>
              <a:gd name="connsiteY30" fmla="*/ 3311013 h 4136922"/>
              <a:gd name="connsiteX31" fmla="*/ 1327355 w 3436374"/>
              <a:gd name="connsiteY31" fmla="*/ 3311013 h 4136922"/>
              <a:gd name="connsiteX32" fmla="*/ 1194620 w 3436374"/>
              <a:gd name="connsiteY32" fmla="*/ 3296264 h 4136922"/>
              <a:gd name="connsiteX33" fmla="*/ 1143000 w 3436374"/>
              <a:gd name="connsiteY33" fmla="*/ 3222522 h 4136922"/>
              <a:gd name="connsiteX34" fmla="*/ 1143000 w 3436374"/>
              <a:gd name="connsiteY34" fmla="*/ 3089787 h 4136922"/>
              <a:gd name="connsiteX35" fmla="*/ 1135626 w 3436374"/>
              <a:gd name="connsiteY35" fmla="*/ 2979174 h 4136922"/>
              <a:gd name="connsiteX36" fmla="*/ 1032387 w 3436374"/>
              <a:gd name="connsiteY36" fmla="*/ 2957051 h 4136922"/>
              <a:gd name="connsiteX37" fmla="*/ 1069258 w 3436374"/>
              <a:gd name="connsiteY37" fmla="*/ 2883309 h 4136922"/>
              <a:gd name="connsiteX38" fmla="*/ 1039762 w 3436374"/>
              <a:gd name="connsiteY38" fmla="*/ 2802193 h 4136922"/>
              <a:gd name="connsiteX39" fmla="*/ 943897 w 3436374"/>
              <a:gd name="connsiteY39" fmla="*/ 2772696 h 4136922"/>
              <a:gd name="connsiteX40" fmla="*/ 818536 w 3436374"/>
              <a:gd name="connsiteY40" fmla="*/ 2595716 h 4136922"/>
              <a:gd name="connsiteX41" fmla="*/ 722671 w 3436374"/>
              <a:gd name="connsiteY41" fmla="*/ 2462980 h 4136922"/>
              <a:gd name="connsiteX42" fmla="*/ 722671 w 3436374"/>
              <a:gd name="connsiteY42" fmla="*/ 2344993 h 4136922"/>
              <a:gd name="connsiteX43" fmla="*/ 759542 w 3436374"/>
              <a:gd name="connsiteY43" fmla="*/ 2330245 h 4136922"/>
              <a:gd name="connsiteX44" fmla="*/ 766916 w 3436374"/>
              <a:gd name="connsiteY44" fmla="*/ 2278625 h 4136922"/>
              <a:gd name="connsiteX45" fmla="*/ 766916 w 3436374"/>
              <a:gd name="connsiteY45" fmla="*/ 2227006 h 4136922"/>
              <a:gd name="connsiteX46" fmla="*/ 722671 w 3436374"/>
              <a:gd name="connsiteY46" fmla="*/ 2212258 h 4136922"/>
              <a:gd name="connsiteX47" fmla="*/ 656303 w 3436374"/>
              <a:gd name="connsiteY47" fmla="*/ 2212258 h 4136922"/>
              <a:gd name="connsiteX48" fmla="*/ 582562 w 3436374"/>
              <a:gd name="connsiteY48" fmla="*/ 2116393 h 4136922"/>
              <a:gd name="connsiteX49" fmla="*/ 567813 w 3436374"/>
              <a:gd name="connsiteY49" fmla="*/ 1961535 h 4136922"/>
              <a:gd name="connsiteX50" fmla="*/ 538316 w 3436374"/>
              <a:gd name="connsiteY50" fmla="*/ 1843548 h 4136922"/>
              <a:gd name="connsiteX51" fmla="*/ 457200 w 3436374"/>
              <a:gd name="connsiteY51" fmla="*/ 1769806 h 4136922"/>
              <a:gd name="connsiteX52" fmla="*/ 420329 w 3436374"/>
              <a:gd name="connsiteY52" fmla="*/ 1718187 h 4136922"/>
              <a:gd name="connsiteX53" fmla="*/ 420329 w 3436374"/>
              <a:gd name="connsiteY53" fmla="*/ 1622322 h 4136922"/>
              <a:gd name="connsiteX54" fmla="*/ 294968 w 3436374"/>
              <a:gd name="connsiteY54" fmla="*/ 1460090 h 4136922"/>
              <a:gd name="connsiteX55" fmla="*/ 169607 w 3436374"/>
              <a:gd name="connsiteY55" fmla="*/ 1327354 h 4136922"/>
              <a:gd name="connsiteX56" fmla="*/ 191729 w 3436374"/>
              <a:gd name="connsiteY56" fmla="*/ 1297858 h 4136922"/>
              <a:gd name="connsiteX57" fmla="*/ 191729 w 3436374"/>
              <a:gd name="connsiteY57" fmla="*/ 1231490 h 4136922"/>
              <a:gd name="connsiteX58" fmla="*/ 162233 w 3436374"/>
              <a:gd name="connsiteY58" fmla="*/ 1187245 h 4136922"/>
              <a:gd name="connsiteX59" fmla="*/ 162233 w 3436374"/>
              <a:gd name="connsiteY59" fmla="*/ 1113503 h 4136922"/>
              <a:gd name="connsiteX60" fmla="*/ 199103 w 3436374"/>
              <a:gd name="connsiteY60" fmla="*/ 1047135 h 4136922"/>
              <a:gd name="connsiteX61" fmla="*/ 140110 w 3436374"/>
              <a:gd name="connsiteY61" fmla="*/ 921774 h 4136922"/>
              <a:gd name="connsiteX62" fmla="*/ 0 w 3436374"/>
              <a:gd name="connsiteY62" fmla="*/ 707922 h 4136922"/>
              <a:gd name="connsiteX63" fmla="*/ 51620 w 3436374"/>
              <a:gd name="connsiteY63" fmla="*/ 582561 h 4136922"/>
              <a:gd name="connsiteX64" fmla="*/ 103239 w 3436374"/>
              <a:gd name="connsiteY64" fmla="*/ 464574 h 4136922"/>
              <a:gd name="connsiteX65" fmla="*/ 103239 w 3436374"/>
              <a:gd name="connsiteY65" fmla="*/ 368709 h 4136922"/>
              <a:gd name="connsiteX0" fmla="*/ 103239 w 3436374"/>
              <a:gd name="connsiteY0" fmla="*/ 368709 h 4136922"/>
              <a:gd name="connsiteX1" fmla="*/ 125362 w 3436374"/>
              <a:gd name="connsiteY1" fmla="*/ 0 h 4136922"/>
              <a:gd name="connsiteX2" fmla="*/ 1460091 w 3436374"/>
              <a:gd name="connsiteY2" fmla="*/ 81116 h 4136922"/>
              <a:gd name="connsiteX3" fmla="*/ 1415845 w 3436374"/>
              <a:gd name="connsiteY3" fmla="*/ 1356851 h 4136922"/>
              <a:gd name="connsiteX4" fmla="*/ 3244645 w 3436374"/>
              <a:gd name="connsiteY4" fmla="*/ 3075038 h 4136922"/>
              <a:gd name="connsiteX5" fmla="*/ 3311013 w 3436374"/>
              <a:gd name="connsiteY5" fmla="*/ 3237271 h 4136922"/>
              <a:gd name="connsiteX6" fmla="*/ 3436374 w 3436374"/>
              <a:gd name="connsiteY6" fmla="*/ 3355258 h 4136922"/>
              <a:gd name="connsiteX7" fmla="*/ 3414252 w 3436374"/>
              <a:gd name="connsiteY7" fmla="*/ 3429000 h 4136922"/>
              <a:gd name="connsiteX8" fmla="*/ 3340510 w 3436374"/>
              <a:gd name="connsiteY8" fmla="*/ 3465871 h 4136922"/>
              <a:gd name="connsiteX9" fmla="*/ 3303639 w 3436374"/>
              <a:gd name="connsiteY9" fmla="*/ 3524864 h 4136922"/>
              <a:gd name="connsiteX10" fmla="*/ 3303639 w 3436374"/>
              <a:gd name="connsiteY10" fmla="*/ 3642851 h 4136922"/>
              <a:gd name="connsiteX11" fmla="*/ 3244645 w 3436374"/>
              <a:gd name="connsiteY11" fmla="*/ 3760838 h 4136922"/>
              <a:gd name="connsiteX12" fmla="*/ 3252020 w 3436374"/>
              <a:gd name="connsiteY12" fmla="*/ 3893574 h 4136922"/>
              <a:gd name="connsiteX13" fmla="*/ 3333136 w 3436374"/>
              <a:gd name="connsiteY13" fmla="*/ 3945193 h 4136922"/>
              <a:gd name="connsiteX14" fmla="*/ 3333136 w 3436374"/>
              <a:gd name="connsiteY14" fmla="*/ 3996813 h 4136922"/>
              <a:gd name="connsiteX15" fmla="*/ 3311013 w 3436374"/>
              <a:gd name="connsiteY15" fmla="*/ 4026309 h 4136922"/>
              <a:gd name="connsiteX16" fmla="*/ 2389239 w 3436374"/>
              <a:gd name="connsiteY16" fmla="*/ 4136922 h 4136922"/>
              <a:gd name="connsiteX17" fmla="*/ 2330245 w 3436374"/>
              <a:gd name="connsiteY17" fmla="*/ 4026309 h 4136922"/>
              <a:gd name="connsiteX18" fmla="*/ 2315497 w 3436374"/>
              <a:gd name="connsiteY18" fmla="*/ 3886200 h 4136922"/>
              <a:gd name="connsiteX19" fmla="*/ 2256503 w 3436374"/>
              <a:gd name="connsiteY19" fmla="*/ 3775587 h 4136922"/>
              <a:gd name="connsiteX20" fmla="*/ 2145891 w 3436374"/>
              <a:gd name="connsiteY20" fmla="*/ 3694471 h 4136922"/>
              <a:gd name="connsiteX21" fmla="*/ 2027903 w 3436374"/>
              <a:gd name="connsiteY21" fmla="*/ 3628103 h 4136922"/>
              <a:gd name="connsiteX22" fmla="*/ 1983658 w 3436374"/>
              <a:gd name="connsiteY22" fmla="*/ 3546987 h 4136922"/>
              <a:gd name="connsiteX23" fmla="*/ 1895168 w 3436374"/>
              <a:gd name="connsiteY23" fmla="*/ 3495367 h 4136922"/>
              <a:gd name="connsiteX24" fmla="*/ 1806678 w 3436374"/>
              <a:gd name="connsiteY24" fmla="*/ 3495367 h 4136922"/>
              <a:gd name="connsiteX25" fmla="*/ 1769807 w 3436374"/>
              <a:gd name="connsiteY25" fmla="*/ 3495367 h 4136922"/>
              <a:gd name="connsiteX26" fmla="*/ 1659194 w 3436374"/>
              <a:gd name="connsiteY26" fmla="*/ 3451122 h 4136922"/>
              <a:gd name="connsiteX27" fmla="*/ 1600200 w 3436374"/>
              <a:gd name="connsiteY27" fmla="*/ 3384754 h 4136922"/>
              <a:gd name="connsiteX28" fmla="*/ 1563329 w 3436374"/>
              <a:gd name="connsiteY28" fmla="*/ 3340509 h 4136922"/>
              <a:gd name="connsiteX29" fmla="*/ 1460091 w 3436374"/>
              <a:gd name="connsiteY29" fmla="*/ 3311013 h 4136922"/>
              <a:gd name="connsiteX30" fmla="*/ 1327355 w 3436374"/>
              <a:gd name="connsiteY30" fmla="*/ 3311013 h 4136922"/>
              <a:gd name="connsiteX31" fmla="*/ 1194620 w 3436374"/>
              <a:gd name="connsiteY31" fmla="*/ 3296264 h 4136922"/>
              <a:gd name="connsiteX32" fmla="*/ 1143000 w 3436374"/>
              <a:gd name="connsiteY32" fmla="*/ 3222522 h 4136922"/>
              <a:gd name="connsiteX33" fmla="*/ 1143000 w 3436374"/>
              <a:gd name="connsiteY33" fmla="*/ 3089787 h 4136922"/>
              <a:gd name="connsiteX34" fmla="*/ 1135626 w 3436374"/>
              <a:gd name="connsiteY34" fmla="*/ 2979174 h 4136922"/>
              <a:gd name="connsiteX35" fmla="*/ 1032387 w 3436374"/>
              <a:gd name="connsiteY35" fmla="*/ 2957051 h 4136922"/>
              <a:gd name="connsiteX36" fmla="*/ 1069258 w 3436374"/>
              <a:gd name="connsiteY36" fmla="*/ 2883309 h 4136922"/>
              <a:gd name="connsiteX37" fmla="*/ 1039762 w 3436374"/>
              <a:gd name="connsiteY37" fmla="*/ 2802193 h 4136922"/>
              <a:gd name="connsiteX38" fmla="*/ 943897 w 3436374"/>
              <a:gd name="connsiteY38" fmla="*/ 2772696 h 4136922"/>
              <a:gd name="connsiteX39" fmla="*/ 818536 w 3436374"/>
              <a:gd name="connsiteY39" fmla="*/ 2595716 h 4136922"/>
              <a:gd name="connsiteX40" fmla="*/ 722671 w 3436374"/>
              <a:gd name="connsiteY40" fmla="*/ 2462980 h 4136922"/>
              <a:gd name="connsiteX41" fmla="*/ 722671 w 3436374"/>
              <a:gd name="connsiteY41" fmla="*/ 2344993 h 4136922"/>
              <a:gd name="connsiteX42" fmla="*/ 759542 w 3436374"/>
              <a:gd name="connsiteY42" fmla="*/ 2330245 h 4136922"/>
              <a:gd name="connsiteX43" fmla="*/ 766916 w 3436374"/>
              <a:gd name="connsiteY43" fmla="*/ 2278625 h 4136922"/>
              <a:gd name="connsiteX44" fmla="*/ 766916 w 3436374"/>
              <a:gd name="connsiteY44" fmla="*/ 2227006 h 4136922"/>
              <a:gd name="connsiteX45" fmla="*/ 722671 w 3436374"/>
              <a:gd name="connsiteY45" fmla="*/ 2212258 h 4136922"/>
              <a:gd name="connsiteX46" fmla="*/ 656303 w 3436374"/>
              <a:gd name="connsiteY46" fmla="*/ 2212258 h 4136922"/>
              <a:gd name="connsiteX47" fmla="*/ 582562 w 3436374"/>
              <a:gd name="connsiteY47" fmla="*/ 2116393 h 4136922"/>
              <a:gd name="connsiteX48" fmla="*/ 567813 w 3436374"/>
              <a:gd name="connsiteY48" fmla="*/ 1961535 h 4136922"/>
              <a:gd name="connsiteX49" fmla="*/ 538316 w 3436374"/>
              <a:gd name="connsiteY49" fmla="*/ 1843548 h 4136922"/>
              <a:gd name="connsiteX50" fmla="*/ 457200 w 3436374"/>
              <a:gd name="connsiteY50" fmla="*/ 1769806 h 4136922"/>
              <a:gd name="connsiteX51" fmla="*/ 420329 w 3436374"/>
              <a:gd name="connsiteY51" fmla="*/ 1718187 h 4136922"/>
              <a:gd name="connsiteX52" fmla="*/ 420329 w 3436374"/>
              <a:gd name="connsiteY52" fmla="*/ 1622322 h 4136922"/>
              <a:gd name="connsiteX53" fmla="*/ 294968 w 3436374"/>
              <a:gd name="connsiteY53" fmla="*/ 1460090 h 4136922"/>
              <a:gd name="connsiteX54" fmla="*/ 169607 w 3436374"/>
              <a:gd name="connsiteY54" fmla="*/ 1327354 h 4136922"/>
              <a:gd name="connsiteX55" fmla="*/ 191729 w 3436374"/>
              <a:gd name="connsiteY55" fmla="*/ 1297858 h 4136922"/>
              <a:gd name="connsiteX56" fmla="*/ 191729 w 3436374"/>
              <a:gd name="connsiteY56" fmla="*/ 1231490 h 4136922"/>
              <a:gd name="connsiteX57" fmla="*/ 162233 w 3436374"/>
              <a:gd name="connsiteY57" fmla="*/ 1187245 h 4136922"/>
              <a:gd name="connsiteX58" fmla="*/ 162233 w 3436374"/>
              <a:gd name="connsiteY58" fmla="*/ 1113503 h 4136922"/>
              <a:gd name="connsiteX59" fmla="*/ 199103 w 3436374"/>
              <a:gd name="connsiteY59" fmla="*/ 1047135 h 4136922"/>
              <a:gd name="connsiteX60" fmla="*/ 140110 w 3436374"/>
              <a:gd name="connsiteY60" fmla="*/ 921774 h 4136922"/>
              <a:gd name="connsiteX61" fmla="*/ 0 w 3436374"/>
              <a:gd name="connsiteY61" fmla="*/ 707922 h 4136922"/>
              <a:gd name="connsiteX62" fmla="*/ 51620 w 3436374"/>
              <a:gd name="connsiteY62" fmla="*/ 582561 h 4136922"/>
              <a:gd name="connsiteX63" fmla="*/ 103239 w 3436374"/>
              <a:gd name="connsiteY63" fmla="*/ 464574 h 4136922"/>
              <a:gd name="connsiteX64" fmla="*/ 103239 w 3436374"/>
              <a:gd name="connsiteY64" fmla="*/ 368709 h 4136922"/>
              <a:gd name="connsiteX0" fmla="*/ 614779 w 3947914"/>
              <a:gd name="connsiteY0" fmla="*/ 368709 h 4136922"/>
              <a:gd name="connsiteX1" fmla="*/ 0 w 3947914"/>
              <a:gd name="connsiteY1" fmla="*/ 0 h 4136922"/>
              <a:gd name="connsiteX2" fmla="*/ 1971631 w 3947914"/>
              <a:gd name="connsiteY2" fmla="*/ 81116 h 4136922"/>
              <a:gd name="connsiteX3" fmla="*/ 1927385 w 3947914"/>
              <a:gd name="connsiteY3" fmla="*/ 1356851 h 4136922"/>
              <a:gd name="connsiteX4" fmla="*/ 3756185 w 3947914"/>
              <a:gd name="connsiteY4" fmla="*/ 3075038 h 4136922"/>
              <a:gd name="connsiteX5" fmla="*/ 3822553 w 3947914"/>
              <a:gd name="connsiteY5" fmla="*/ 3237271 h 4136922"/>
              <a:gd name="connsiteX6" fmla="*/ 3947914 w 3947914"/>
              <a:gd name="connsiteY6" fmla="*/ 3355258 h 4136922"/>
              <a:gd name="connsiteX7" fmla="*/ 3925792 w 3947914"/>
              <a:gd name="connsiteY7" fmla="*/ 3429000 h 4136922"/>
              <a:gd name="connsiteX8" fmla="*/ 3852050 w 3947914"/>
              <a:gd name="connsiteY8" fmla="*/ 3465871 h 4136922"/>
              <a:gd name="connsiteX9" fmla="*/ 3815179 w 3947914"/>
              <a:gd name="connsiteY9" fmla="*/ 3524864 h 4136922"/>
              <a:gd name="connsiteX10" fmla="*/ 3815179 w 3947914"/>
              <a:gd name="connsiteY10" fmla="*/ 3642851 h 4136922"/>
              <a:gd name="connsiteX11" fmla="*/ 3756185 w 3947914"/>
              <a:gd name="connsiteY11" fmla="*/ 3760838 h 4136922"/>
              <a:gd name="connsiteX12" fmla="*/ 3763560 w 3947914"/>
              <a:gd name="connsiteY12" fmla="*/ 3893574 h 4136922"/>
              <a:gd name="connsiteX13" fmla="*/ 3844676 w 3947914"/>
              <a:gd name="connsiteY13" fmla="*/ 3945193 h 4136922"/>
              <a:gd name="connsiteX14" fmla="*/ 3844676 w 3947914"/>
              <a:gd name="connsiteY14" fmla="*/ 3996813 h 4136922"/>
              <a:gd name="connsiteX15" fmla="*/ 3822553 w 3947914"/>
              <a:gd name="connsiteY15" fmla="*/ 4026309 h 4136922"/>
              <a:gd name="connsiteX16" fmla="*/ 2900779 w 3947914"/>
              <a:gd name="connsiteY16" fmla="*/ 4136922 h 4136922"/>
              <a:gd name="connsiteX17" fmla="*/ 2841785 w 3947914"/>
              <a:gd name="connsiteY17" fmla="*/ 4026309 h 4136922"/>
              <a:gd name="connsiteX18" fmla="*/ 2827037 w 3947914"/>
              <a:gd name="connsiteY18" fmla="*/ 3886200 h 4136922"/>
              <a:gd name="connsiteX19" fmla="*/ 2768043 w 3947914"/>
              <a:gd name="connsiteY19" fmla="*/ 3775587 h 4136922"/>
              <a:gd name="connsiteX20" fmla="*/ 2657431 w 3947914"/>
              <a:gd name="connsiteY20" fmla="*/ 3694471 h 4136922"/>
              <a:gd name="connsiteX21" fmla="*/ 2539443 w 3947914"/>
              <a:gd name="connsiteY21" fmla="*/ 3628103 h 4136922"/>
              <a:gd name="connsiteX22" fmla="*/ 2495198 w 3947914"/>
              <a:gd name="connsiteY22" fmla="*/ 3546987 h 4136922"/>
              <a:gd name="connsiteX23" fmla="*/ 2406708 w 3947914"/>
              <a:gd name="connsiteY23" fmla="*/ 3495367 h 4136922"/>
              <a:gd name="connsiteX24" fmla="*/ 2318218 w 3947914"/>
              <a:gd name="connsiteY24" fmla="*/ 3495367 h 4136922"/>
              <a:gd name="connsiteX25" fmla="*/ 2281347 w 3947914"/>
              <a:gd name="connsiteY25" fmla="*/ 3495367 h 4136922"/>
              <a:gd name="connsiteX26" fmla="*/ 2170734 w 3947914"/>
              <a:gd name="connsiteY26" fmla="*/ 3451122 h 4136922"/>
              <a:gd name="connsiteX27" fmla="*/ 2111740 w 3947914"/>
              <a:gd name="connsiteY27" fmla="*/ 3384754 h 4136922"/>
              <a:gd name="connsiteX28" fmla="*/ 2074869 w 3947914"/>
              <a:gd name="connsiteY28" fmla="*/ 3340509 h 4136922"/>
              <a:gd name="connsiteX29" fmla="*/ 1971631 w 3947914"/>
              <a:gd name="connsiteY29" fmla="*/ 3311013 h 4136922"/>
              <a:gd name="connsiteX30" fmla="*/ 1838895 w 3947914"/>
              <a:gd name="connsiteY30" fmla="*/ 3311013 h 4136922"/>
              <a:gd name="connsiteX31" fmla="*/ 1706160 w 3947914"/>
              <a:gd name="connsiteY31" fmla="*/ 3296264 h 4136922"/>
              <a:gd name="connsiteX32" fmla="*/ 1654540 w 3947914"/>
              <a:gd name="connsiteY32" fmla="*/ 3222522 h 4136922"/>
              <a:gd name="connsiteX33" fmla="*/ 1654540 w 3947914"/>
              <a:gd name="connsiteY33" fmla="*/ 3089787 h 4136922"/>
              <a:gd name="connsiteX34" fmla="*/ 1647166 w 3947914"/>
              <a:gd name="connsiteY34" fmla="*/ 2979174 h 4136922"/>
              <a:gd name="connsiteX35" fmla="*/ 1543927 w 3947914"/>
              <a:gd name="connsiteY35" fmla="*/ 2957051 h 4136922"/>
              <a:gd name="connsiteX36" fmla="*/ 1580798 w 3947914"/>
              <a:gd name="connsiteY36" fmla="*/ 2883309 h 4136922"/>
              <a:gd name="connsiteX37" fmla="*/ 1551302 w 3947914"/>
              <a:gd name="connsiteY37" fmla="*/ 2802193 h 4136922"/>
              <a:gd name="connsiteX38" fmla="*/ 1455437 w 3947914"/>
              <a:gd name="connsiteY38" fmla="*/ 2772696 h 4136922"/>
              <a:gd name="connsiteX39" fmla="*/ 1330076 w 3947914"/>
              <a:gd name="connsiteY39" fmla="*/ 2595716 h 4136922"/>
              <a:gd name="connsiteX40" fmla="*/ 1234211 w 3947914"/>
              <a:gd name="connsiteY40" fmla="*/ 2462980 h 4136922"/>
              <a:gd name="connsiteX41" fmla="*/ 1234211 w 3947914"/>
              <a:gd name="connsiteY41" fmla="*/ 2344993 h 4136922"/>
              <a:gd name="connsiteX42" fmla="*/ 1271082 w 3947914"/>
              <a:gd name="connsiteY42" fmla="*/ 2330245 h 4136922"/>
              <a:gd name="connsiteX43" fmla="*/ 1278456 w 3947914"/>
              <a:gd name="connsiteY43" fmla="*/ 2278625 h 4136922"/>
              <a:gd name="connsiteX44" fmla="*/ 1278456 w 3947914"/>
              <a:gd name="connsiteY44" fmla="*/ 2227006 h 4136922"/>
              <a:gd name="connsiteX45" fmla="*/ 1234211 w 3947914"/>
              <a:gd name="connsiteY45" fmla="*/ 2212258 h 4136922"/>
              <a:gd name="connsiteX46" fmla="*/ 1167843 w 3947914"/>
              <a:gd name="connsiteY46" fmla="*/ 2212258 h 4136922"/>
              <a:gd name="connsiteX47" fmla="*/ 1094102 w 3947914"/>
              <a:gd name="connsiteY47" fmla="*/ 2116393 h 4136922"/>
              <a:gd name="connsiteX48" fmla="*/ 1079353 w 3947914"/>
              <a:gd name="connsiteY48" fmla="*/ 1961535 h 4136922"/>
              <a:gd name="connsiteX49" fmla="*/ 1049856 w 3947914"/>
              <a:gd name="connsiteY49" fmla="*/ 1843548 h 4136922"/>
              <a:gd name="connsiteX50" fmla="*/ 968740 w 3947914"/>
              <a:gd name="connsiteY50" fmla="*/ 1769806 h 4136922"/>
              <a:gd name="connsiteX51" fmla="*/ 931869 w 3947914"/>
              <a:gd name="connsiteY51" fmla="*/ 1718187 h 4136922"/>
              <a:gd name="connsiteX52" fmla="*/ 931869 w 3947914"/>
              <a:gd name="connsiteY52" fmla="*/ 1622322 h 4136922"/>
              <a:gd name="connsiteX53" fmla="*/ 806508 w 3947914"/>
              <a:gd name="connsiteY53" fmla="*/ 1460090 h 4136922"/>
              <a:gd name="connsiteX54" fmla="*/ 681147 w 3947914"/>
              <a:gd name="connsiteY54" fmla="*/ 1327354 h 4136922"/>
              <a:gd name="connsiteX55" fmla="*/ 703269 w 3947914"/>
              <a:gd name="connsiteY55" fmla="*/ 1297858 h 4136922"/>
              <a:gd name="connsiteX56" fmla="*/ 703269 w 3947914"/>
              <a:gd name="connsiteY56" fmla="*/ 1231490 h 4136922"/>
              <a:gd name="connsiteX57" fmla="*/ 673773 w 3947914"/>
              <a:gd name="connsiteY57" fmla="*/ 1187245 h 4136922"/>
              <a:gd name="connsiteX58" fmla="*/ 673773 w 3947914"/>
              <a:gd name="connsiteY58" fmla="*/ 1113503 h 4136922"/>
              <a:gd name="connsiteX59" fmla="*/ 710643 w 3947914"/>
              <a:gd name="connsiteY59" fmla="*/ 1047135 h 4136922"/>
              <a:gd name="connsiteX60" fmla="*/ 651650 w 3947914"/>
              <a:gd name="connsiteY60" fmla="*/ 921774 h 4136922"/>
              <a:gd name="connsiteX61" fmla="*/ 511540 w 3947914"/>
              <a:gd name="connsiteY61" fmla="*/ 707922 h 4136922"/>
              <a:gd name="connsiteX62" fmla="*/ 563160 w 3947914"/>
              <a:gd name="connsiteY62" fmla="*/ 582561 h 4136922"/>
              <a:gd name="connsiteX63" fmla="*/ 614779 w 3947914"/>
              <a:gd name="connsiteY63" fmla="*/ 464574 h 4136922"/>
              <a:gd name="connsiteX64" fmla="*/ 614779 w 3947914"/>
              <a:gd name="connsiteY64" fmla="*/ 368709 h 4136922"/>
              <a:gd name="connsiteX0" fmla="*/ 103239 w 3436374"/>
              <a:gd name="connsiteY0" fmla="*/ 287603 h 4055816"/>
              <a:gd name="connsiteX1" fmla="*/ 1460091 w 3436374"/>
              <a:gd name="connsiteY1" fmla="*/ 10 h 4055816"/>
              <a:gd name="connsiteX2" fmla="*/ 1415845 w 3436374"/>
              <a:gd name="connsiteY2" fmla="*/ 1275745 h 4055816"/>
              <a:gd name="connsiteX3" fmla="*/ 3244645 w 3436374"/>
              <a:gd name="connsiteY3" fmla="*/ 2993932 h 4055816"/>
              <a:gd name="connsiteX4" fmla="*/ 3311013 w 3436374"/>
              <a:gd name="connsiteY4" fmla="*/ 3156165 h 4055816"/>
              <a:gd name="connsiteX5" fmla="*/ 3436374 w 3436374"/>
              <a:gd name="connsiteY5" fmla="*/ 3274152 h 4055816"/>
              <a:gd name="connsiteX6" fmla="*/ 3414252 w 3436374"/>
              <a:gd name="connsiteY6" fmla="*/ 3347894 h 4055816"/>
              <a:gd name="connsiteX7" fmla="*/ 3340510 w 3436374"/>
              <a:gd name="connsiteY7" fmla="*/ 3384765 h 4055816"/>
              <a:gd name="connsiteX8" fmla="*/ 3303639 w 3436374"/>
              <a:gd name="connsiteY8" fmla="*/ 3443758 h 4055816"/>
              <a:gd name="connsiteX9" fmla="*/ 3303639 w 3436374"/>
              <a:gd name="connsiteY9" fmla="*/ 3561745 h 4055816"/>
              <a:gd name="connsiteX10" fmla="*/ 3244645 w 3436374"/>
              <a:gd name="connsiteY10" fmla="*/ 3679732 h 4055816"/>
              <a:gd name="connsiteX11" fmla="*/ 3252020 w 3436374"/>
              <a:gd name="connsiteY11" fmla="*/ 3812468 h 4055816"/>
              <a:gd name="connsiteX12" fmla="*/ 3333136 w 3436374"/>
              <a:gd name="connsiteY12" fmla="*/ 3864087 h 4055816"/>
              <a:gd name="connsiteX13" fmla="*/ 3333136 w 3436374"/>
              <a:gd name="connsiteY13" fmla="*/ 3915707 h 4055816"/>
              <a:gd name="connsiteX14" fmla="*/ 3311013 w 3436374"/>
              <a:gd name="connsiteY14" fmla="*/ 3945203 h 4055816"/>
              <a:gd name="connsiteX15" fmla="*/ 2389239 w 3436374"/>
              <a:gd name="connsiteY15" fmla="*/ 4055816 h 4055816"/>
              <a:gd name="connsiteX16" fmla="*/ 2330245 w 3436374"/>
              <a:gd name="connsiteY16" fmla="*/ 3945203 h 4055816"/>
              <a:gd name="connsiteX17" fmla="*/ 2315497 w 3436374"/>
              <a:gd name="connsiteY17" fmla="*/ 3805094 h 4055816"/>
              <a:gd name="connsiteX18" fmla="*/ 2256503 w 3436374"/>
              <a:gd name="connsiteY18" fmla="*/ 3694481 h 4055816"/>
              <a:gd name="connsiteX19" fmla="*/ 2145891 w 3436374"/>
              <a:gd name="connsiteY19" fmla="*/ 3613365 h 4055816"/>
              <a:gd name="connsiteX20" fmla="*/ 2027903 w 3436374"/>
              <a:gd name="connsiteY20" fmla="*/ 3546997 h 4055816"/>
              <a:gd name="connsiteX21" fmla="*/ 1983658 w 3436374"/>
              <a:gd name="connsiteY21" fmla="*/ 3465881 h 4055816"/>
              <a:gd name="connsiteX22" fmla="*/ 1895168 w 3436374"/>
              <a:gd name="connsiteY22" fmla="*/ 3414261 h 4055816"/>
              <a:gd name="connsiteX23" fmla="*/ 1806678 w 3436374"/>
              <a:gd name="connsiteY23" fmla="*/ 3414261 h 4055816"/>
              <a:gd name="connsiteX24" fmla="*/ 1769807 w 3436374"/>
              <a:gd name="connsiteY24" fmla="*/ 3414261 h 4055816"/>
              <a:gd name="connsiteX25" fmla="*/ 1659194 w 3436374"/>
              <a:gd name="connsiteY25" fmla="*/ 3370016 h 4055816"/>
              <a:gd name="connsiteX26" fmla="*/ 1600200 w 3436374"/>
              <a:gd name="connsiteY26" fmla="*/ 3303648 h 4055816"/>
              <a:gd name="connsiteX27" fmla="*/ 1563329 w 3436374"/>
              <a:gd name="connsiteY27" fmla="*/ 3259403 h 4055816"/>
              <a:gd name="connsiteX28" fmla="*/ 1460091 w 3436374"/>
              <a:gd name="connsiteY28" fmla="*/ 3229907 h 4055816"/>
              <a:gd name="connsiteX29" fmla="*/ 1327355 w 3436374"/>
              <a:gd name="connsiteY29" fmla="*/ 3229907 h 4055816"/>
              <a:gd name="connsiteX30" fmla="*/ 1194620 w 3436374"/>
              <a:gd name="connsiteY30" fmla="*/ 3215158 h 4055816"/>
              <a:gd name="connsiteX31" fmla="*/ 1143000 w 3436374"/>
              <a:gd name="connsiteY31" fmla="*/ 3141416 h 4055816"/>
              <a:gd name="connsiteX32" fmla="*/ 1143000 w 3436374"/>
              <a:gd name="connsiteY32" fmla="*/ 3008681 h 4055816"/>
              <a:gd name="connsiteX33" fmla="*/ 1135626 w 3436374"/>
              <a:gd name="connsiteY33" fmla="*/ 2898068 h 4055816"/>
              <a:gd name="connsiteX34" fmla="*/ 1032387 w 3436374"/>
              <a:gd name="connsiteY34" fmla="*/ 2875945 h 4055816"/>
              <a:gd name="connsiteX35" fmla="*/ 1069258 w 3436374"/>
              <a:gd name="connsiteY35" fmla="*/ 2802203 h 4055816"/>
              <a:gd name="connsiteX36" fmla="*/ 1039762 w 3436374"/>
              <a:gd name="connsiteY36" fmla="*/ 2721087 h 4055816"/>
              <a:gd name="connsiteX37" fmla="*/ 943897 w 3436374"/>
              <a:gd name="connsiteY37" fmla="*/ 2691590 h 4055816"/>
              <a:gd name="connsiteX38" fmla="*/ 818536 w 3436374"/>
              <a:gd name="connsiteY38" fmla="*/ 2514610 h 4055816"/>
              <a:gd name="connsiteX39" fmla="*/ 722671 w 3436374"/>
              <a:gd name="connsiteY39" fmla="*/ 2381874 h 4055816"/>
              <a:gd name="connsiteX40" fmla="*/ 722671 w 3436374"/>
              <a:gd name="connsiteY40" fmla="*/ 2263887 h 4055816"/>
              <a:gd name="connsiteX41" fmla="*/ 759542 w 3436374"/>
              <a:gd name="connsiteY41" fmla="*/ 2249139 h 4055816"/>
              <a:gd name="connsiteX42" fmla="*/ 766916 w 3436374"/>
              <a:gd name="connsiteY42" fmla="*/ 2197519 h 4055816"/>
              <a:gd name="connsiteX43" fmla="*/ 766916 w 3436374"/>
              <a:gd name="connsiteY43" fmla="*/ 2145900 h 4055816"/>
              <a:gd name="connsiteX44" fmla="*/ 722671 w 3436374"/>
              <a:gd name="connsiteY44" fmla="*/ 2131152 h 4055816"/>
              <a:gd name="connsiteX45" fmla="*/ 656303 w 3436374"/>
              <a:gd name="connsiteY45" fmla="*/ 2131152 h 4055816"/>
              <a:gd name="connsiteX46" fmla="*/ 582562 w 3436374"/>
              <a:gd name="connsiteY46" fmla="*/ 2035287 h 4055816"/>
              <a:gd name="connsiteX47" fmla="*/ 567813 w 3436374"/>
              <a:gd name="connsiteY47" fmla="*/ 1880429 h 4055816"/>
              <a:gd name="connsiteX48" fmla="*/ 538316 w 3436374"/>
              <a:gd name="connsiteY48" fmla="*/ 1762442 h 4055816"/>
              <a:gd name="connsiteX49" fmla="*/ 457200 w 3436374"/>
              <a:gd name="connsiteY49" fmla="*/ 1688700 h 4055816"/>
              <a:gd name="connsiteX50" fmla="*/ 420329 w 3436374"/>
              <a:gd name="connsiteY50" fmla="*/ 1637081 h 4055816"/>
              <a:gd name="connsiteX51" fmla="*/ 420329 w 3436374"/>
              <a:gd name="connsiteY51" fmla="*/ 1541216 h 4055816"/>
              <a:gd name="connsiteX52" fmla="*/ 294968 w 3436374"/>
              <a:gd name="connsiteY52" fmla="*/ 1378984 h 4055816"/>
              <a:gd name="connsiteX53" fmla="*/ 169607 w 3436374"/>
              <a:gd name="connsiteY53" fmla="*/ 1246248 h 4055816"/>
              <a:gd name="connsiteX54" fmla="*/ 191729 w 3436374"/>
              <a:gd name="connsiteY54" fmla="*/ 1216752 h 4055816"/>
              <a:gd name="connsiteX55" fmla="*/ 191729 w 3436374"/>
              <a:gd name="connsiteY55" fmla="*/ 1150384 h 4055816"/>
              <a:gd name="connsiteX56" fmla="*/ 162233 w 3436374"/>
              <a:gd name="connsiteY56" fmla="*/ 1106139 h 4055816"/>
              <a:gd name="connsiteX57" fmla="*/ 162233 w 3436374"/>
              <a:gd name="connsiteY57" fmla="*/ 1032397 h 4055816"/>
              <a:gd name="connsiteX58" fmla="*/ 199103 w 3436374"/>
              <a:gd name="connsiteY58" fmla="*/ 966029 h 4055816"/>
              <a:gd name="connsiteX59" fmla="*/ 140110 w 3436374"/>
              <a:gd name="connsiteY59" fmla="*/ 840668 h 4055816"/>
              <a:gd name="connsiteX60" fmla="*/ 0 w 3436374"/>
              <a:gd name="connsiteY60" fmla="*/ 626816 h 4055816"/>
              <a:gd name="connsiteX61" fmla="*/ 51620 w 3436374"/>
              <a:gd name="connsiteY61" fmla="*/ 501455 h 4055816"/>
              <a:gd name="connsiteX62" fmla="*/ 103239 w 3436374"/>
              <a:gd name="connsiteY62" fmla="*/ 383468 h 4055816"/>
              <a:gd name="connsiteX63" fmla="*/ 103239 w 3436374"/>
              <a:gd name="connsiteY63" fmla="*/ 287603 h 4055816"/>
              <a:gd name="connsiteX0" fmla="*/ 0 w 3796334"/>
              <a:gd name="connsiteY0" fmla="*/ 0 h 4065736"/>
              <a:gd name="connsiteX1" fmla="*/ 1820051 w 3796334"/>
              <a:gd name="connsiteY1" fmla="*/ 9930 h 4065736"/>
              <a:gd name="connsiteX2" fmla="*/ 1775805 w 3796334"/>
              <a:gd name="connsiteY2" fmla="*/ 1285665 h 4065736"/>
              <a:gd name="connsiteX3" fmla="*/ 3604605 w 3796334"/>
              <a:gd name="connsiteY3" fmla="*/ 3003852 h 4065736"/>
              <a:gd name="connsiteX4" fmla="*/ 3670973 w 3796334"/>
              <a:gd name="connsiteY4" fmla="*/ 3166085 h 4065736"/>
              <a:gd name="connsiteX5" fmla="*/ 3796334 w 3796334"/>
              <a:gd name="connsiteY5" fmla="*/ 3284072 h 4065736"/>
              <a:gd name="connsiteX6" fmla="*/ 3774212 w 3796334"/>
              <a:gd name="connsiteY6" fmla="*/ 3357814 h 4065736"/>
              <a:gd name="connsiteX7" fmla="*/ 3700470 w 3796334"/>
              <a:gd name="connsiteY7" fmla="*/ 3394685 h 4065736"/>
              <a:gd name="connsiteX8" fmla="*/ 3663599 w 3796334"/>
              <a:gd name="connsiteY8" fmla="*/ 3453678 h 4065736"/>
              <a:gd name="connsiteX9" fmla="*/ 3663599 w 3796334"/>
              <a:gd name="connsiteY9" fmla="*/ 3571665 h 4065736"/>
              <a:gd name="connsiteX10" fmla="*/ 3604605 w 3796334"/>
              <a:gd name="connsiteY10" fmla="*/ 3689652 h 4065736"/>
              <a:gd name="connsiteX11" fmla="*/ 3611980 w 3796334"/>
              <a:gd name="connsiteY11" fmla="*/ 3822388 h 4065736"/>
              <a:gd name="connsiteX12" fmla="*/ 3693096 w 3796334"/>
              <a:gd name="connsiteY12" fmla="*/ 3874007 h 4065736"/>
              <a:gd name="connsiteX13" fmla="*/ 3693096 w 3796334"/>
              <a:gd name="connsiteY13" fmla="*/ 3925627 h 4065736"/>
              <a:gd name="connsiteX14" fmla="*/ 3670973 w 3796334"/>
              <a:gd name="connsiteY14" fmla="*/ 3955123 h 4065736"/>
              <a:gd name="connsiteX15" fmla="*/ 2749199 w 3796334"/>
              <a:gd name="connsiteY15" fmla="*/ 4065736 h 4065736"/>
              <a:gd name="connsiteX16" fmla="*/ 2690205 w 3796334"/>
              <a:gd name="connsiteY16" fmla="*/ 3955123 h 4065736"/>
              <a:gd name="connsiteX17" fmla="*/ 2675457 w 3796334"/>
              <a:gd name="connsiteY17" fmla="*/ 3815014 h 4065736"/>
              <a:gd name="connsiteX18" fmla="*/ 2616463 w 3796334"/>
              <a:gd name="connsiteY18" fmla="*/ 3704401 h 4065736"/>
              <a:gd name="connsiteX19" fmla="*/ 2505851 w 3796334"/>
              <a:gd name="connsiteY19" fmla="*/ 3623285 h 4065736"/>
              <a:gd name="connsiteX20" fmla="*/ 2387863 w 3796334"/>
              <a:gd name="connsiteY20" fmla="*/ 3556917 h 4065736"/>
              <a:gd name="connsiteX21" fmla="*/ 2343618 w 3796334"/>
              <a:gd name="connsiteY21" fmla="*/ 3475801 h 4065736"/>
              <a:gd name="connsiteX22" fmla="*/ 2255128 w 3796334"/>
              <a:gd name="connsiteY22" fmla="*/ 3424181 h 4065736"/>
              <a:gd name="connsiteX23" fmla="*/ 2166638 w 3796334"/>
              <a:gd name="connsiteY23" fmla="*/ 3424181 h 4065736"/>
              <a:gd name="connsiteX24" fmla="*/ 2129767 w 3796334"/>
              <a:gd name="connsiteY24" fmla="*/ 3424181 h 4065736"/>
              <a:gd name="connsiteX25" fmla="*/ 2019154 w 3796334"/>
              <a:gd name="connsiteY25" fmla="*/ 3379936 h 4065736"/>
              <a:gd name="connsiteX26" fmla="*/ 1960160 w 3796334"/>
              <a:gd name="connsiteY26" fmla="*/ 3313568 h 4065736"/>
              <a:gd name="connsiteX27" fmla="*/ 1923289 w 3796334"/>
              <a:gd name="connsiteY27" fmla="*/ 3269323 h 4065736"/>
              <a:gd name="connsiteX28" fmla="*/ 1820051 w 3796334"/>
              <a:gd name="connsiteY28" fmla="*/ 3239827 h 4065736"/>
              <a:gd name="connsiteX29" fmla="*/ 1687315 w 3796334"/>
              <a:gd name="connsiteY29" fmla="*/ 3239827 h 4065736"/>
              <a:gd name="connsiteX30" fmla="*/ 1554580 w 3796334"/>
              <a:gd name="connsiteY30" fmla="*/ 3225078 h 4065736"/>
              <a:gd name="connsiteX31" fmla="*/ 1502960 w 3796334"/>
              <a:gd name="connsiteY31" fmla="*/ 3151336 h 4065736"/>
              <a:gd name="connsiteX32" fmla="*/ 1502960 w 3796334"/>
              <a:gd name="connsiteY32" fmla="*/ 3018601 h 4065736"/>
              <a:gd name="connsiteX33" fmla="*/ 1495586 w 3796334"/>
              <a:gd name="connsiteY33" fmla="*/ 2907988 h 4065736"/>
              <a:gd name="connsiteX34" fmla="*/ 1392347 w 3796334"/>
              <a:gd name="connsiteY34" fmla="*/ 2885865 h 4065736"/>
              <a:gd name="connsiteX35" fmla="*/ 1429218 w 3796334"/>
              <a:gd name="connsiteY35" fmla="*/ 2812123 h 4065736"/>
              <a:gd name="connsiteX36" fmla="*/ 1399722 w 3796334"/>
              <a:gd name="connsiteY36" fmla="*/ 2731007 h 4065736"/>
              <a:gd name="connsiteX37" fmla="*/ 1303857 w 3796334"/>
              <a:gd name="connsiteY37" fmla="*/ 2701510 h 4065736"/>
              <a:gd name="connsiteX38" fmla="*/ 1178496 w 3796334"/>
              <a:gd name="connsiteY38" fmla="*/ 2524530 h 4065736"/>
              <a:gd name="connsiteX39" fmla="*/ 1082631 w 3796334"/>
              <a:gd name="connsiteY39" fmla="*/ 2391794 h 4065736"/>
              <a:gd name="connsiteX40" fmla="*/ 1082631 w 3796334"/>
              <a:gd name="connsiteY40" fmla="*/ 2273807 h 4065736"/>
              <a:gd name="connsiteX41" fmla="*/ 1119502 w 3796334"/>
              <a:gd name="connsiteY41" fmla="*/ 2259059 h 4065736"/>
              <a:gd name="connsiteX42" fmla="*/ 1126876 w 3796334"/>
              <a:gd name="connsiteY42" fmla="*/ 2207439 h 4065736"/>
              <a:gd name="connsiteX43" fmla="*/ 1126876 w 3796334"/>
              <a:gd name="connsiteY43" fmla="*/ 2155820 h 4065736"/>
              <a:gd name="connsiteX44" fmla="*/ 1082631 w 3796334"/>
              <a:gd name="connsiteY44" fmla="*/ 2141072 h 4065736"/>
              <a:gd name="connsiteX45" fmla="*/ 1016263 w 3796334"/>
              <a:gd name="connsiteY45" fmla="*/ 2141072 h 4065736"/>
              <a:gd name="connsiteX46" fmla="*/ 942522 w 3796334"/>
              <a:gd name="connsiteY46" fmla="*/ 2045207 h 4065736"/>
              <a:gd name="connsiteX47" fmla="*/ 927773 w 3796334"/>
              <a:gd name="connsiteY47" fmla="*/ 1890349 h 4065736"/>
              <a:gd name="connsiteX48" fmla="*/ 898276 w 3796334"/>
              <a:gd name="connsiteY48" fmla="*/ 1772362 h 4065736"/>
              <a:gd name="connsiteX49" fmla="*/ 817160 w 3796334"/>
              <a:gd name="connsiteY49" fmla="*/ 1698620 h 4065736"/>
              <a:gd name="connsiteX50" fmla="*/ 780289 w 3796334"/>
              <a:gd name="connsiteY50" fmla="*/ 1647001 h 4065736"/>
              <a:gd name="connsiteX51" fmla="*/ 780289 w 3796334"/>
              <a:gd name="connsiteY51" fmla="*/ 1551136 h 4065736"/>
              <a:gd name="connsiteX52" fmla="*/ 654928 w 3796334"/>
              <a:gd name="connsiteY52" fmla="*/ 1388904 h 4065736"/>
              <a:gd name="connsiteX53" fmla="*/ 529567 w 3796334"/>
              <a:gd name="connsiteY53" fmla="*/ 1256168 h 4065736"/>
              <a:gd name="connsiteX54" fmla="*/ 551689 w 3796334"/>
              <a:gd name="connsiteY54" fmla="*/ 1226672 h 4065736"/>
              <a:gd name="connsiteX55" fmla="*/ 551689 w 3796334"/>
              <a:gd name="connsiteY55" fmla="*/ 1160304 h 4065736"/>
              <a:gd name="connsiteX56" fmla="*/ 522193 w 3796334"/>
              <a:gd name="connsiteY56" fmla="*/ 1116059 h 4065736"/>
              <a:gd name="connsiteX57" fmla="*/ 522193 w 3796334"/>
              <a:gd name="connsiteY57" fmla="*/ 1042317 h 4065736"/>
              <a:gd name="connsiteX58" fmla="*/ 559063 w 3796334"/>
              <a:gd name="connsiteY58" fmla="*/ 975949 h 4065736"/>
              <a:gd name="connsiteX59" fmla="*/ 500070 w 3796334"/>
              <a:gd name="connsiteY59" fmla="*/ 850588 h 4065736"/>
              <a:gd name="connsiteX60" fmla="*/ 359960 w 3796334"/>
              <a:gd name="connsiteY60" fmla="*/ 636736 h 4065736"/>
              <a:gd name="connsiteX61" fmla="*/ 411580 w 3796334"/>
              <a:gd name="connsiteY61" fmla="*/ 511375 h 4065736"/>
              <a:gd name="connsiteX62" fmla="*/ 463199 w 3796334"/>
              <a:gd name="connsiteY62" fmla="*/ 393388 h 4065736"/>
              <a:gd name="connsiteX63" fmla="*/ 0 w 3796334"/>
              <a:gd name="connsiteY63" fmla="*/ 0 h 4065736"/>
              <a:gd name="connsiteX0" fmla="*/ 0 w 3796334"/>
              <a:gd name="connsiteY0" fmla="*/ 0 h 4065736"/>
              <a:gd name="connsiteX1" fmla="*/ 1820051 w 3796334"/>
              <a:gd name="connsiteY1" fmla="*/ 9930 h 4065736"/>
              <a:gd name="connsiteX2" fmla="*/ 1775805 w 3796334"/>
              <a:gd name="connsiteY2" fmla="*/ 1285665 h 4065736"/>
              <a:gd name="connsiteX3" fmla="*/ 3604605 w 3796334"/>
              <a:gd name="connsiteY3" fmla="*/ 3003852 h 4065736"/>
              <a:gd name="connsiteX4" fmla="*/ 3670973 w 3796334"/>
              <a:gd name="connsiteY4" fmla="*/ 3166085 h 4065736"/>
              <a:gd name="connsiteX5" fmla="*/ 3796334 w 3796334"/>
              <a:gd name="connsiteY5" fmla="*/ 3284072 h 4065736"/>
              <a:gd name="connsiteX6" fmla="*/ 3774212 w 3796334"/>
              <a:gd name="connsiteY6" fmla="*/ 3357814 h 4065736"/>
              <a:gd name="connsiteX7" fmla="*/ 3700470 w 3796334"/>
              <a:gd name="connsiteY7" fmla="*/ 3394685 h 4065736"/>
              <a:gd name="connsiteX8" fmla="*/ 3663599 w 3796334"/>
              <a:gd name="connsiteY8" fmla="*/ 3453678 h 4065736"/>
              <a:gd name="connsiteX9" fmla="*/ 3663599 w 3796334"/>
              <a:gd name="connsiteY9" fmla="*/ 3571665 h 4065736"/>
              <a:gd name="connsiteX10" fmla="*/ 3604605 w 3796334"/>
              <a:gd name="connsiteY10" fmla="*/ 3689652 h 4065736"/>
              <a:gd name="connsiteX11" fmla="*/ 3611980 w 3796334"/>
              <a:gd name="connsiteY11" fmla="*/ 3822388 h 4065736"/>
              <a:gd name="connsiteX12" fmla="*/ 3693096 w 3796334"/>
              <a:gd name="connsiteY12" fmla="*/ 3874007 h 4065736"/>
              <a:gd name="connsiteX13" fmla="*/ 3693096 w 3796334"/>
              <a:gd name="connsiteY13" fmla="*/ 3925627 h 4065736"/>
              <a:gd name="connsiteX14" fmla="*/ 3670973 w 3796334"/>
              <a:gd name="connsiteY14" fmla="*/ 3955123 h 4065736"/>
              <a:gd name="connsiteX15" fmla="*/ 2749199 w 3796334"/>
              <a:gd name="connsiteY15" fmla="*/ 4065736 h 4065736"/>
              <a:gd name="connsiteX16" fmla="*/ 2690205 w 3796334"/>
              <a:gd name="connsiteY16" fmla="*/ 3955123 h 4065736"/>
              <a:gd name="connsiteX17" fmla="*/ 2675457 w 3796334"/>
              <a:gd name="connsiteY17" fmla="*/ 3815014 h 4065736"/>
              <a:gd name="connsiteX18" fmla="*/ 2616463 w 3796334"/>
              <a:gd name="connsiteY18" fmla="*/ 3704401 h 4065736"/>
              <a:gd name="connsiteX19" fmla="*/ 2505851 w 3796334"/>
              <a:gd name="connsiteY19" fmla="*/ 3623285 h 4065736"/>
              <a:gd name="connsiteX20" fmla="*/ 2387863 w 3796334"/>
              <a:gd name="connsiteY20" fmla="*/ 3556917 h 4065736"/>
              <a:gd name="connsiteX21" fmla="*/ 2343618 w 3796334"/>
              <a:gd name="connsiteY21" fmla="*/ 3475801 h 4065736"/>
              <a:gd name="connsiteX22" fmla="*/ 2255128 w 3796334"/>
              <a:gd name="connsiteY22" fmla="*/ 3424181 h 4065736"/>
              <a:gd name="connsiteX23" fmla="*/ 2166638 w 3796334"/>
              <a:gd name="connsiteY23" fmla="*/ 3424181 h 4065736"/>
              <a:gd name="connsiteX24" fmla="*/ 2129767 w 3796334"/>
              <a:gd name="connsiteY24" fmla="*/ 3424181 h 4065736"/>
              <a:gd name="connsiteX25" fmla="*/ 2019154 w 3796334"/>
              <a:gd name="connsiteY25" fmla="*/ 3379936 h 4065736"/>
              <a:gd name="connsiteX26" fmla="*/ 1960160 w 3796334"/>
              <a:gd name="connsiteY26" fmla="*/ 3313568 h 4065736"/>
              <a:gd name="connsiteX27" fmla="*/ 1923289 w 3796334"/>
              <a:gd name="connsiteY27" fmla="*/ 3269323 h 4065736"/>
              <a:gd name="connsiteX28" fmla="*/ 1820051 w 3796334"/>
              <a:gd name="connsiteY28" fmla="*/ 3239827 h 4065736"/>
              <a:gd name="connsiteX29" fmla="*/ 1687315 w 3796334"/>
              <a:gd name="connsiteY29" fmla="*/ 3239827 h 4065736"/>
              <a:gd name="connsiteX30" fmla="*/ 1554580 w 3796334"/>
              <a:gd name="connsiteY30" fmla="*/ 3225078 h 4065736"/>
              <a:gd name="connsiteX31" fmla="*/ 1502960 w 3796334"/>
              <a:gd name="connsiteY31" fmla="*/ 3151336 h 4065736"/>
              <a:gd name="connsiteX32" fmla="*/ 1502960 w 3796334"/>
              <a:gd name="connsiteY32" fmla="*/ 3018601 h 4065736"/>
              <a:gd name="connsiteX33" fmla="*/ 1495586 w 3796334"/>
              <a:gd name="connsiteY33" fmla="*/ 2907988 h 4065736"/>
              <a:gd name="connsiteX34" fmla="*/ 1392347 w 3796334"/>
              <a:gd name="connsiteY34" fmla="*/ 2885865 h 4065736"/>
              <a:gd name="connsiteX35" fmla="*/ 1429218 w 3796334"/>
              <a:gd name="connsiteY35" fmla="*/ 2812123 h 4065736"/>
              <a:gd name="connsiteX36" fmla="*/ 1399722 w 3796334"/>
              <a:gd name="connsiteY36" fmla="*/ 2731007 h 4065736"/>
              <a:gd name="connsiteX37" fmla="*/ 1303857 w 3796334"/>
              <a:gd name="connsiteY37" fmla="*/ 2701510 h 4065736"/>
              <a:gd name="connsiteX38" fmla="*/ 1178496 w 3796334"/>
              <a:gd name="connsiteY38" fmla="*/ 2524530 h 4065736"/>
              <a:gd name="connsiteX39" fmla="*/ 1082631 w 3796334"/>
              <a:gd name="connsiteY39" fmla="*/ 2391794 h 4065736"/>
              <a:gd name="connsiteX40" fmla="*/ 1082631 w 3796334"/>
              <a:gd name="connsiteY40" fmla="*/ 2273807 h 4065736"/>
              <a:gd name="connsiteX41" fmla="*/ 1119502 w 3796334"/>
              <a:gd name="connsiteY41" fmla="*/ 2259059 h 4065736"/>
              <a:gd name="connsiteX42" fmla="*/ 1126876 w 3796334"/>
              <a:gd name="connsiteY42" fmla="*/ 2207439 h 4065736"/>
              <a:gd name="connsiteX43" fmla="*/ 1126876 w 3796334"/>
              <a:gd name="connsiteY43" fmla="*/ 2155820 h 4065736"/>
              <a:gd name="connsiteX44" fmla="*/ 1082631 w 3796334"/>
              <a:gd name="connsiteY44" fmla="*/ 2141072 h 4065736"/>
              <a:gd name="connsiteX45" fmla="*/ 1016263 w 3796334"/>
              <a:gd name="connsiteY45" fmla="*/ 2141072 h 4065736"/>
              <a:gd name="connsiteX46" fmla="*/ 942522 w 3796334"/>
              <a:gd name="connsiteY46" fmla="*/ 2045207 h 4065736"/>
              <a:gd name="connsiteX47" fmla="*/ 927773 w 3796334"/>
              <a:gd name="connsiteY47" fmla="*/ 1890349 h 4065736"/>
              <a:gd name="connsiteX48" fmla="*/ 898276 w 3796334"/>
              <a:gd name="connsiteY48" fmla="*/ 1772362 h 4065736"/>
              <a:gd name="connsiteX49" fmla="*/ 817160 w 3796334"/>
              <a:gd name="connsiteY49" fmla="*/ 1698620 h 4065736"/>
              <a:gd name="connsiteX50" fmla="*/ 780289 w 3796334"/>
              <a:gd name="connsiteY50" fmla="*/ 1647001 h 4065736"/>
              <a:gd name="connsiteX51" fmla="*/ 780289 w 3796334"/>
              <a:gd name="connsiteY51" fmla="*/ 1551136 h 4065736"/>
              <a:gd name="connsiteX52" fmla="*/ 654928 w 3796334"/>
              <a:gd name="connsiteY52" fmla="*/ 1388904 h 4065736"/>
              <a:gd name="connsiteX53" fmla="*/ 529567 w 3796334"/>
              <a:gd name="connsiteY53" fmla="*/ 1256168 h 4065736"/>
              <a:gd name="connsiteX54" fmla="*/ 551689 w 3796334"/>
              <a:gd name="connsiteY54" fmla="*/ 1226672 h 4065736"/>
              <a:gd name="connsiteX55" fmla="*/ 551689 w 3796334"/>
              <a:gd name="connsiteY55" fmla="*/ 1160304 h 4065736"/>
              <a:gd name="connsiteX56" fmla="*/ 522193 w 3796334"/>
              <a:gd name="connsiteY56" fmla="*/ 1116059 h 4065736"/>
              <a:gd name="connsiteX57" fmla="*/ 522193 w 3796334"/>
              <a:gd name="connsiteY57" fmla="*/ 1042317 h 4065736"/>
              <a:gd name="connsiteX58" fmla="*/ 559063 w 3796334"/>
              <a:gd name="connsiteY58" fmla="*/ 975949 h 4065736"/>
              <a:gd name="connsiteX59" fmla="*/ 500070 w 3796334"/>
              <a:gd name="connsiteY59" fmla="*/ 850588 h 4065736"/>
              <a:gd name="connsiteX60" fmla="*/ 359960 w 3796334"/>
              <a:gd name="connsiteY60" fmla="*/ 636736 h 4065736"/>
              <a:gd name="connsiteX61" fmla="*/ 411580 w 3796334"/>
              <a:gd name="connsiteY61" fmla="*/ 511375 h 4065736"/>
              <a:gd name="connsiteX62" fmla="*/ 0 w 3796334"/>
              <a:gd name="connsiteY62" fmla="*/ 0 h 4065736"/>
              <a:gd name="connsiteX0" fmla="*/ 0 w 3796334"/>
              <a:gd name="connsiteY0" fmla="*/ 0 h 4065736"/>
              <a:gd name="connsiteX1" fmla="*/ 1820051 w 3796334"/>
              <a:gd name="connsiteY1" fmla="*/ 9930 h 4065736"/>
              <a:gd name="connsiteX2" fmla="*/ 1775805 w 3796334"/>
              <a:gd name="connsiteY2" fmla="*/ 1285665 h 4065736"/>
              <a:gd name="connsiteX3" fmla="*/ 3604605 w 3796334"/>
              <a:gd name="connsiteY3" fmla="*/ 3003852 h 4065736"/>
              <a:gd name="connsiteX4" fmla="*/ 3670973 w 3796334"/>
              <a:gd name="connsiteY4" fmla="*/ 3166085 h 4065736"/>
              <a:gd name="connsiteX5" fmla="*/ 3796334 w 3796334"/>
              <a:gd name="connsiteY5" fmla="*/ 3284072 h 4065736"/>
              <a:gd name="connsiteX6" fmla="*/ 3774212 w 3796334"/>
              <a:gd name="connsiteY6" fmla="*/ 3357814 h 4065736"/>
              <a:gd name="connsiteX7" fmla="*/ 3700470 w 3796334"/>
              <a:gd name="connsiteY7" fmla="*/ 3394685 h 4065736"/>
              <a:gd name="connsiteX8" fmla="*/ 3663599 w 3796334"/>
              <a:gd name="connsiteY8" fmla="*/ 3453678 h 4065736"/>
              <a:gd name="connsiteX9" fmla="*/ 3663599 w 3796334"/>
              <a:gd name="connsiteY9" fmla="*/ 3571665 h 4065736"/>
              <a:gd name="connsiteX10" fmla="*/ 3604605 w 3796334"/>
              <a:gd name="connsiteY10" fmla="*/ 3689652 h 4065736"/>
              <a:gd name="connsiteX11" fmla="*/ 3611980 w 3796334"/>
              <a:gd name="connsiteY11" fmla="*/ 3822388 h 4065736"/>
              <a:gd name="connsiteX12" fmla="*/ 3693096 w 3796334"/>
              <a:gd name="connsiteY12" fmla="*/ 3874007 h 4065736"/>
              <a:gd name="connsiteX13" fmla="*/ 3693096 w 3796334"/>
              <a:gd name="connsiteY13" fmla="*/ 3925627 h 4065736"/>
              <a:gd name="connsiteX14" fmla="*/ 3670973 w 3796334"/>
              <a:gd name="connsiteY14" fmla="*/ 3955123 h 4065736"/>
              <a:gd name="connsiteX15" fmla="*/ 2749199 w 3796334"/>
              <a:gd name="connsiteY15" fmla="*/ 4065736 h 4065736"/>
              <a:gd name="connsiteX16" fmla="*/ 2690205 w 3796334"/>
              <a:gd name="connsiteY16" fmla="*/ 3955123 h 4065736"/>
              <a:gd name="connsiteX17" fmla="*/ 2675457 w 3796334"/>
              <a:gd name="connsiteY17" fmla="*/ 3815014 h 4065736"/>
              <a:gd name="connsiteX18" fmla="*/ 2616463 w 3796334"/>
              <a:gd name="connsiteY18" fmla="*/ 3704401 h 4065736"/>
              <a:gd name="connsiteX19" fmla="*/ 2505851 w 3796334"/>
              <a:gd name="connsiteY19" fmla="*/ 3623285 h 4065736"/>
              <a:gd name="connsiteX20" fmla="*/ 2387863 w 3796334"/>
              <a:gd name="connsiteY20" fmla="*/ 3556917 h 4065736"/>
              <a:gd name="connsiteX21" fmla="*/ 2343618 w 3796334"/>
              <a:gd name="connsiteY21" fmla="*/ 3475801 h 4065736"/>
              <a:gd name="connsiteX22" fmla="*/ 2255128 w 3796334"/>
              <a:gd name="connsiteY22" fmla="*/ 3424181 h 4065736"/>
              <a:gd name="connsiteX23" fmla="*/ 2166638 w 3796334"/>
              <a:gd name="connsiteY23" fmla="*/ 3424181 h 4065736"/>
              <a:gd name="connsiteX24" fmla="*/ 2129767 w 3796334"/>
              <a:gd name="connsiteY24" fmla="*/ 3424181 h 4065736"/>
              <a:gd name="connsiteX25" fmla="*/ 2019154 w 3796334"/>
              <a:gd name="connsiteY25" fmla="*/ 3379936 h 4065736"/>
              <a:gd name="connsiteX26" fmla="*/ 1960160 w 3796334"/>
              <a:gd name="connsiteY26" fmla="*/ 3313568 h 4065736"/>
              <a:gd name="connsiteX27" fmla="*/ 1923289 w 3796334"/>
              <a:gd name="connsiteY27" fmla="*/ 3269323 h 4065736"/>
              <a:gd name="connsiteX28" fmla="*/ 1820051 w 3796334"/>
              <a:gd name="connsiteY28" fmla="*/ 3239827 h 4065736"/>
              <a:gd name="connsiteX29" fmla="*/ 1687315 w 3796334"/>
              <a:gd name="connsiteY29" fmla="*/ 3239827 h 4065736"/>
              <a:gd name="connsiteX30" fmla="*/ 1554580 w 3796334"/>
              <a:gd name="connsiteY30" fmla="*/ 3225078 h 4065736"/>
              <a:gd name="connsiteX31" fmla="*/ 1502960 w 3796334"/>
              <a:gd name="connsiteY31" fmla="*/ 3151336 h 4065736"/>
              <a:gd name="connsiteX32" fmla="*/ 1502960 w 3796334"/>
              <a:gd name="connsiteY32" fmla="*/ 3018601 h 4065736"/>
              <a:gd name="connsiteX33" fmla="*/ 1495586 w 3796334"/>
              <a:gd name="connsiteY33" fmla="*/ 2907988 h 4065736"/>
              <a:gd name="connsiteX34" fmla="*/ 1392347 w 3796334"/>
              <a:gd name="connsiteY34" fmla="*/ 2885865 h 4065736"/>
              <a:gd name="connsiteX35" fmla="*/ 1429218 w 3796334"/>
              <a:gd name="connsiteY35" fmla="*/ 2812123 h 4065736"/>
              <a:gd name="connsiteX36" fmla="*/ 1399722 w 3796334"/>
              <a:gd name="connsiteY36" fmla="*/ 2731007 h 4065736"/>
              <a:gd name="connsiteX37" fmla="*/ 1303857 w 3796334"/>
              <a:gd name="connsiteY37" fmla="*/ 2701510 h 4065736"/>
              <a:gd name="connsiteX38" fmla="*/ 1178496 w 3796334"/>
              <a:gd name="connsiteY38" fmla="*/ 2524530 h 4065736"/>
              <a:gd name="connsiteX39" fmla="*/ 1082631 w 3796334"/>
              <a:gd name="connsiteY39" fmla="*/ 2391794 h 4065736"/>
              <a:gd name="connsiteX40" fmla="*/ 1082631 w 3796334"/>
              <a:gd name="connsiteY40" fmla="*/ 2273807 h 4065736"/>
              <a:gd name="connsiteX41" fmla="*/ 1119502 w 3796334"/>
              <a:gd name="connsiteY41" fmla="*/ 2259059 h 4065736"/>
              <a:gd name="connsiteX42" fmla="*/ 1126876 w 3796334"/>
              <a:gd name="connsiteY42" fmla="*/ 2207439 h 4065736"/>
              <a:gd name="connsiteX43" fmla="*/ 1126876 w 3796334"/>
              <a:gd name="connsiteY43" fmla="*/ 2155820 h 4065736"/>
              <a:gd name="connsiteX44" fmla="*/ 1082631 w 3796334"/>
              <a:gd name="connsiteY44" fmla="*/ 2141072 h 4065736"/>
              <a:gd name="connsiteX45" fmla="*/ 1016263 w 3796334"/>
              <a:gd name="connsiteY45" fmla="*/ 2141072 h 4065736"/>
              <a:gd name="connsiteX46" fmla="*/ 942522 w 3796334"/>
              <a:gd name="connsiteY46" fmla="*/ 2045207 h 4065736"/>
              <a:gd name="connsiteX47" fmla="*/ 927773 w 3796334"/>
              <a:gd name="connsiteY47" fmla="*/ 1890349 h 4065736"/>
              <a:gd name="connsiteX48" fmla="*/ 898276 w 3796334"/>
              <a:gd name="connsiteY48" fmla="*/ 1772362 h 4065736"/>
              <a:gd name="connsiteX49" fmla="*/ 817160 w 3796334"/>
              <a:gd name="connsiteY49" fmla="*/ 1698620 h 4065736"/>
              <a:gd name="connsiteX50" fmla="*/ 780289 w 3796334"/>
              <a:gd name="connsiteY50" fmla="*/ 1647001 h 4065736"/>
              <a:gd name="connsiteX51" fmla="*/ 780289 w 3796334"/>
              <a:gd name="connsiteY51" fmla="*/ 1551136 h 4065736"/>
              <a:gd name="connsiteX52" fmla="*/ 654928 w 3796334"/>
              <a:gd name="connsiteY52" fmla="*/ 1388904 h 4065736"/>
              <a:gd name="connsiteX53" fmla="*/ 529567 w 3796334"/>
              <a:gd name="connsiteY53" fmla="*/ 1256168 h 4065736"/>
              <a:gd name="connsiteX54" fmla="*/ 551689 w 3796334"/>
              <a:gd name="connsiteY54" fmla="*/ 1226672 h 4065736"/>
              <a:gd name="connsiteX55" fmla="*/ 551689 w 3796334"/>
              <a:gd name="connsiteY55" fmla="*/ 1160304 h 4065736"/>
              <a:gd name="connsiteX56" fmla="*/ 522193 w 3796334"/>
              <a:gd name="connsiteY56" fmla="*/ 1116059 h 4065736"/>
              <a:gd name="connsiteX57" fmla="*/ 522193 w 3796334"/>
              <a:gd name="connsiteY57" fmla="*/ 1042317 h 4065736"/>
              <a:gd name="connsiteX58" fmla="*/ 559063 w 3796334"/>
              <a:gd name="connsiteY58" fmla="*/ 975949 h 4065736"/>
              <a:gd name="connsiteX59" fmla="*/ 500070 w 3796334"/>
              <a:gd name="connsiteY59" fmla="*/ 850588 h 4065736"/>
              <a:gd name="connsiteX60" fmla="*/ 359960 w 3796334"/>
              <a:gd name="connsiteY60" fmla="*/ 636736 h 4065736"/>
              <a:gd name="connsiteX61" fmla="*/ 0 w 3796334"/>
              <a:gd name="connsiteY61" fmla="*/ 0 h 4065736"/>
              <a:gd name="connsiteX0" fmla="*/ 0 w 3796334"/>
              <a:gd name="connsiteY0" fmla="*/ 0 h 4065736"/>
              <a:gd name="connsiteX1" fmla="*/ 1820051 w 3796334"/>
              <a:gd name="connsiteY1" fmla="*/ 9930 h 4065736"/>
              <a:gd name="connsiteX2" fmla="*/ 1775805 w 3796334"/>
              <a:gd name="connsiteY2" fmla="*/ 1285665 h 4065736"/>
              <a:gd name="connsiteX3" fmla="*/ 3604605 w 3796334"/>
              <a:gd name="connsiteY3" fmla="*/ 3003852 h 4065736"/>
              <a:gd name="connsiteX4" fmla="*/ 3670973 w 3796334"/>
              <a:gd name="connsiteY4" fmla="*/ 3166085 h 4065736"/>
              <a:gd name="connsiteX5" fmla="*/ 3796334 w 3796334"/>
              <a:gd name="connsiteY5" fmla="*/ 3284072 h 4065736"/>
              <a:gd name="connsiteX6" fmla="*/ 3774212 w 3796334"/>
              <a:gd name="connsiteY6" fmla="*/ 3357814 h 4065736"/>
              <a:gd name="connsiteX7" fmla="*/ 3700470 w 3796334"/>
              <a:gd name="connsiteY7" fmla="*/ 3394685 h 4065736"/>
              <a:gd name="connsiteX8" fmla="*/ 3663599 w 3796334"/>
              <a:gd name="connsiteY8" fmla="*/ 3453678 h 4065736"/>
              <a:gd name="connsiteX9" fmla="*/ 3663599 w 3796334"/>
              <a:gd name="connsiteY9" fmla="*/ 3571665 h 4065736"/>
              <a:gd name="connsiteX10" fmla="*/ 3604605 w 3796334"/>
              <a:gd name="connsiteY10" fmla="*/ 3689652 h 4065736"/>
              <a:gd name="connsiteX11" fmla="*/ 3611980 w 3796334"/>
              <a:gd name="connsiteY11" fmla="*/ 3822388 h 4065736"/>
              <a:gd name="connsiteX12" fmla="*/ 3693096 w 3796334"/>
              <a:gd name="connsiteY12" fmla="*/ 3874007 h 4065736"/>
              <a:gd name="connsiteX13" fmla="*/ 3693096 w 3796334"/>
              <a:gd name="connsiteY13" fmla="*/ 3925627 h 4065736"/>
              <a:gd name="connsiteX14" fmla="*/ 3670973 w 3796334"/>
              <a:gd name="connsiteY14" fmla="*/ 3955123 h 4065736"/>
              <a:gd name="connsiteX15" fmla="*/ 2749199 w 3796334"/>
              <a:gd name="connsiteY15" fmla="*/ 4065736 h 4065736"/>
              <a:gd name="connsiteX16" fmla="*/ 2690205 w 3796334"/>
              <a:gd name="connsiteY16" fmla="*/ 3955123 h 4065736"/>
              <a:gd name="connsiteX17" fmla="*/ 2675457 w 3796334"/>
              <a:gd name="connsiteY17" fmla="*/ 3815014 h 4065736"/>
              <a:gd name="connsiteX18" fmla="*/ 2616463 w 3796334"/>
              <a:gd name="connsiteY18" fmla="*/ 3704401 h 4065736"/>
              <a:gd name="connsiteX19" fmla="*/ 2505851 w 3796334"/>
              <a:gd name="connsiteY19" fmla="*/ 3623285 h 4065736"/>
              <a:gd name="connsiteX20" fmla="*/ 2387863 w 3796334"/>
              <a:gd name="connsiteY20" fmla="*/ 3556917 h 4065736"/>
              <a:gd name="connsiteX21" fmla="*/ 2343618 w 3796334"/>
              <a:gd name="connsiteY21" fmla="*/ 3475801 h 4065736"/>
              <a:gd name="connsiteX22" fmla="*/ 2255128 w 3796334"/>
              <a:gd name="connsiteY22" fmla="*/ 3424181 h 4065736"/>
              <a:gd name="connsiteX23" fmla="*/ 2166638 w 3796334"/>
              <a:gd name="connsiteY23" fmla="*/ 3424181 h 4065736"/>
              <a:gd name="connsiteX24" fmla="*/ 2129767 w 3796334"/>
              <a:gd name="connsiteY24" fmla="*/ 3424181 h 4065736"/>
              <a:gd name="connsiteX25" fmla="*/ 2019154 w 3796334"/>
              <a:gd name="connsiteY25" fmla="*/ 3379936 h 4065736"/>
              <a:gd name="connsiteX26" fmla="*/ 1960160 w 3796334"/>
              <a:gd name="connsiteY26" fmla="*/ 3313568 h 4065736"/>
              <a:gd name="connsiteX27" fmla="*/ 1923289 w 3796334"/>
              <a:gd name="connsiteY27" fmla="*/ 3269323 h 4065736"/>
              <a:gd name="connsiteX28" fmla="*/ 1820051 w 3796334"/>
              <a:gd name="connsiteY28" fmla="*/ 3239827 h 4065736"/>
              <a:gd name="connsiteX29" fmla="*/ 1687315 w 3796334"/>
              <a:gd name="connsiteY29" fmla="*/ 3239827 h 4065736"/>
              <a:gd name="connsiteX30" fmla="*/ 1554580 w 3796334"/>
              <a:gd name="connsiteY30" fmla="*/ 3225078 h 4065736"/>
              <a:gd name="connsiteX31" fmla="*/ 1502960 w 3796334"/>
              <a:gd name="connsiteY31" fmla="*/ 3151336 h 4065736"/>
              <a:gd name="connsiteX32" fmla="*/ 1502960 w 3796334"/>
              <a:gd name="connsiteY32" fmla="*/ 3018601 h 4065736"/>
              <a:gd name="connsiteX33" fmla="*/ 1495586 w 3796334"/>
              <a:gd name="connsiteY33" fmla="*/ 2907988 h 4065736"/>
              <a:gd name="connsiteX34" fmla="*/ 1392347 w 3796334"/>
              <a:gd name="connsiteY34" fmla="*/ 2885865 h 4065736"/>
              <a:gd name="connsiteX35" fmla="*/ 1429218 w 3796334"/>
              <a:gd name="connsiteY35" fmla="*/ 2812123 h 4065736"/>
              <a:gd name="connsiteX36" fmla="*/ 1399722 w 3796334"/>
              <a:gd name="connsiteY36" fmla="*/ 2731007 h 4065736"/>
              <a:gd name="connsiteX37" fmla="*/ 1303857 w 3796334"/>
              <a:gd name="connsiteY37" fmla="*/ 2701510 h 4065736"/>
              <a:gd name="connsiteX38" fmla="*/ 1178496 w 3796334"/>
              <a:gd name="connsiteY38" fmla="*/ 2524530 h 4065736"/>
              <a:gd name="connsiteX39" fmla="*/ 1082631 w 3796334"/>
              <a:gd name="connsiteY39" fmla="*/ 2391794 h 4065736"/>
              <a:gd name="connsiteX40" fmla="*/ 1082631 w 3796334"/>
              <a:gd name="connsiteY40" fmla="*/ 2273807 h 4065736"/>
              <a:gd name="connsiteX41" fmla="*/ 1119502 w 3796334"/>
              <a:gd name="connsiteY41" fmla="*/ 2259059 h 4065736"/>
              <a:gd name="connsiteX42" fmla="*/ 1126876 w 3796334"/>
              <a:gd name="connsiteY42" fmla="*/ 2207439 h 4065736"/>
              <a:gd name="connsiteX43" fmla="*/ 1126876 w 3796334"/>
              <a:gd name="connsiteY43" fmla="*/ 2155820 h 4065736"/>
              <a:gd name="connsiteX44" fmla="*/ 1082631 w 3796334"/>
              <a:gd name="connsiteY44" fmla="*/ 2141072 h 4065736"/>
              <a:gd name="connsiteX45" fmla="*/ 1016263 w 3796334"/>
              <a:gd name="connsiteY45" fmla="*/ 2141072 h 4065736"/>
              <a:gd name="connsiteX46" fmla="*/ 942522 w 3796334"/>
              <a:gd name="connsiteY46" fmla="*/ 2045207 h 4065736"/>
              <a:gd name="connsiteX47" fmla="*/ 927773 w 3796334"/>
              <a:gd name="connsiteY47" fmla="*/ 1890349 h 4065736"/>
              <a:gd name="connsiteX48" fmla="*/ 898276 w 3796334"/>
              <a:gd name="connsiteY48" fmla="*/ 1772362 h 4065736"/>
              <a:gd name="connsiteX49" fmla="*/ 817160 w 3796334"/>
              <a:gd name="connsiteY49" fmla="*/ 1698620 h 4065736"/>
              <a:gd name="connsiteX50" fmla="*/ 780289 w 3796334"/>
              <a:gd name="connsiteY50" fmla="*/ 1647001 h 4065736"/>
              <a:gd name="connsiteX51" fmla="*/ 780289 w 3796334"/>
              <a:gd name="connsiteY51" fmla="*/ 1551136 h 4065736"/>
              <a:gd name="connsiteX52" fmla="*/ 654928 w 3796334"/>
              <a:gd name="connsiteY52" fmla="*/ 1388904 h 4065736"/>
              <a:gd name="connsiteX53" fmla="*/ 529567 w 3796334"/>
              <a:gd name="connsiteY53" fmla="*/ 1256168 h 4065736"/>
              <a:gd name="connsiteX54" fmla="*/ 551689 w 3796334"/>
              <a:gd name="connsiteY54" fmla="*/ 1226672 h 4065736"/>
              <a:gd name="connsiteX55" fmla="*/ 551689 w 3796334"/>
              <a:gd name="connsiteY55" fmla="*/ 1160304 h 4065736"/>
              <a:gd name="connsiteX56" fmla="*/ 522193 w 3796334"/>
              <a:gd name="connsiteY56" fmla="*/ 1116059 h 4065736"/>
              <a:gd name="connsiteX57" fmla="*/ 522193 w 3796334"/>
              <a:gd name="connsiteY57" fmla="*/ 1042317 h 4065736"/>
              <a:gd name="connsiteX58" fmla="*/ 559063 w 3796334"/>
              <a:gd name="connsiteY58" fmla="*/ 975949 h 4065736"/>
              <a:gd name="connsiteX59" fmla="*/ 500070 w 3796334"/>
              <a:gd name="connsiteY59" fmla="*/ 850588 h 4065736"/>
              <a:gd name="connsiteX60" fmla="*/ 302066 w 3796334"/>
              <a:gd name="connsiteY60" fmla="*/ 517746 h 4065736"/>
              <a:gd name="connsiteX61" fmla="*/ 0 w 3796334"/>
              <a:gd name="connsiteY61" fmla="*/ 0 h 4065736"/>
              <a:gd name="connsiteX0" fmla="*/ 0 w 3796334"/>
              <a:gd name="connsiteY0" fmla="*/ 0 h 4065736"/>
              <a:gd name="connsiteX1" fmla="*/ 1820051 w 3796334"/>
              <a:gd name="connsiteY1" fmla="*/ 9930 h 4065736"/>
              <a:gd name="connsiteX2" fmla="*/ 1775805 w 3796334"/>
              <a:gd name="connsiteY2" fmla="*/ 1285665 h 4065736"/>
              <a:gd name="connsiteX3" fmla="*/ 3604605 w 3796334"/>
              <a:gd name="connsiteY3" fmla="*/ 3003852 h 4065736"/>
              <a:gd name="connsiteX4" fmla="*/ 3670973 w 3796334"/>
              <a:gd name="connsiteY4" fmla="*/ 3166085 h 4065736"/>
              <a:gd name="connsiteX5" fmla="*/ 3796334 w 3796334"/>
              <a:gd name="connsiteY5" fmla="*/ 3284072 h 4065736"/>
              <a:gd name="connsiteX6" fmla="*/ 3774212 w 3796334"/>
              <a:gd name="connsiteY6" fmla="*/ 3357814 h 4065736"/>
              <a:gd name="connsiteX7" fmla="*/ 3700470 w 3796334"/>
              <a:gd name="connsiteY7" fmla="*/ 3394685 h 4065736"/>
              <a:gd name="connsiteX8" fmla="*/ 3663599 w 3796334"/>
              <a:gd name="connsiteY8" fmla="*/ 3453678 h 4065736"/>
              <a:gd name="connsiteX9" fmla="*/ 3663599 w 3796334"/>
              <a:gd name="connsiteY9" fmla="*/ 3571665 h 4065736"/>
              <a:gd name="connsiteX10" fmla="*/ 3604605 w 3796334"/>
              <a:gd name="connsiteY10" fmla="*/ 3689652 h 4065736"/>
              <a:gd name="connsiteX11" fmla="*/ 3611980 w 3796334"/>
              <a:gd name="connsiteY11" fmla="*/ 3822388 h 4065736"/>
              <a:gd name="connsiteX12" fmla="*/ 3693096 w 3796334"/>
              <a:gd name="connsiteY12" fmla="*/ 3874007 h 4065736"/>
              <a:gd name="connsiteX13" fmla="*/ 3693096 w 3796334"/>
              <a:gd name="connsiteY13" fmla="*/ 3925627 h 4065736"/>
              <a:gd name="connsiteX14" fmla="*/ 3670973 w 3796334"/>
              <a:gd name="connsiteY14" fmla="*/ 3955123 h 4065736"/>
              <a:gd name="connsiteX15" fmla="*/ 2749199 w 3796334"/>
              <a:gd name="connsiteY15" fmla="*/ 4065736 h 4065736"/>
              <a:gd name="connsiteX16" fmla="*/ 2690205 w 3796334"/>
              <a:gd name="connsiteY16" fmla="*/ 3955123 h 4065736"/>
              <a:gd name="connsiteX17" fmla="*/ 2675457 w 3796334"/>
              <a:gd name="connsiteY17" fmla="*/ 3815014 h 4065736"/>
              <a:gd name="connsiteX18" fmla="*/ 2616463 w 3796334"/>
              <a:gd name="connsiteY18" fmla="*/ 3704401 h 4065736"/>
              <a:gd name="connsiteX19" fmla="*/ 2505851 w 3796334"/>
              <a:gd name="connsiteY19" fmla="*/ 3623285 h 4065736"/>
              <a:gd name="connsiteX20" fmla="*/ 2387863 w 3796334"/>
              <a:gd name="connsiteY20" fmla="*/ 3556917 h 4065736"/>
              <a:gd name="connsiteX21" fmla="*/ 2343618 w 3796334"/>
              <a:gd name="connsiteY21" fmla="*/ 3475801 h 4065736"/>
              <a:gd name="connsiteX22" fmla="*/ 2255128 w 3796334"/>
              <a:gd name="connsiteY22" fmla="*/ 3424181 h 4065736"/>
              <a:gd name="connsiteX23" fmla="*/ 2166638 w 3796334"/>
              <a:gd name="connsiteY23" fmla="*/ 3424181 h 4065736"/>
              <a:gd name="connsiteX24" fmla="*/ 2129767 w 3796334"/>
              <a:gd name="connsiteY24" fmla="*/ 3424181 h 4065736"/>
              <a:gd name="connsiteX25" fmla="*/ 2019154 w 3796334"/>
              <a:gd name="connsiteY25" fmla="*/ 3379936 h 4065736"/>
              <a:gd name="connsiteX26" fmla="*/ 1960160 w 3796334"/>
              <a:gd name="connsiteY26" fmla="*/ 3313568 h 4065736"/>
              <a:gd name="connsiteX27" fmla="*/ 1923289 w 3796334"/>
              <a:gd name="connsiteY27" fmla="*/ 3269323 h 4065736"/>
              <a:gd name="connsiteX28" fmla="*/ 1820051 w 3796334"/>
              <a:gd name="connsiteY28" fmla="*/ 3239827 h 4065736"/>
              <a:gd name="connsiteX29" fmla="*/ 1687315 w 3796334"/>
              <a:gd name="connsiteY29" fmla="*/ 3239827 h 4065736"/>
              <a:gd name="connsiteX30" fmla="*/ 1554580 w 3796334"/>
              <a:gd name="connsiteY30" fmla="*/ 3225078 h 4065736"/>
              <a:gd name="connsiteX31" fmla="*/ 1502960 w 3796334"/>
              <a:gd name="connsiteY31" fmla="*/ 3151336 h 4065736"/>
              <a:gd name="connsiteX32" fmla="*/ 1502960 w 3796334"/>
              <a:gd name="connsiteY32" fmla="*/ 3018601 h 4065736"/>
              <a:gd name="connsiteX33" fmla="*/ 1495586 w 3796334"/>
              <a:gd name="connsiteY33" fmla="*/ 2907988 h 4065736"/>
              <a:gd name="connsiteX34" fmla="*/ 1392347 w 3796334"/>
              <a:gd name="connsiteY34" fmla="*/ 2885865 h 4065736"/>
              <a:gd name="connsiteX35" fmla="*/ 1429218 w 3796334"/>
              <a:gd name="connsiteY35" fmla="*/ 2812123 h 4065736"/>
              <a:gd name="connsiteX36" fmla="*/ 1399722 w 3796334"/>
              <a:gd name="connsiteY36" fmla="*/ 2731007 h 4065736"/>
              <a:gd name="connsiteX37" fmla="*/ 1303857 w 3796334"/>
              <a:gd name="connsiteY37" fmla="*/ 2701510 h 4065736"/>
              <a:gd name="connsiteX38" fmla="*/ 1178496 w 3796334"/>
              <a:gd name="connsiteY38" fmla="*/ 2524530 h 4065736"/>
              <a:gd name="connsiteX39" fmla="*/ 1082631 w 3796334"/>
              <a:gd name="connsiteY39" fmla="*/ 2391794 h 4065736"/>
              <a:gd name="connsiteX40" fmla="*/ 1082631 w 3796334"/>
              <a:gd name="connsiteY40" fmla="*/ 2273807 h 4065736"/>
              <a:gd name="connsiteX41" fmla="*/ 1119502 w 3796334"/>
              <a:gd name="connsiteY41" fmla="*/ 2259059 h 4065736"/>
              <a:gd name="connsiteX42" fmla="*/ 1126876 w 3796334"/>
              <a:gd name="connsiteY42" fmla="*/ 2207439 h 4065736"/>
              <a:gd name="connsiteX43" fmla="*/ 1126876 w 3796334"/>
              <a:gd name="connsiteY43" fmla="*/ 2155820 h 4065736"/>
              <a:gd name="connsiteX44" fmla="*/ 1082631 w 3796334"/>
              <a:gd name="connsiteY44" fmla="*/ 2141072 h 4065736"/>
              <a:gd name="connsiteX45" fmla="*/ 1016263 w 3796334"/>
              <a:gd name="connsiteY45" fmla="*/ 2141072 h 4065736"/>
              <a:gd name="connsiteX46" fmla="*/ 942522 w 3796334"/>
              <a:gd name="connsiteY46" fmla="*/ 2045207 h 4065736"/>
              <a:gd name="connsiteX47" fmla="*/ 927773 w 3796334"/>
              <a:gd name="connsiteY47" fmla="*/ 1890349 h 4065736"/>
              <a:gd name="connsiteX48" fmla="*/ 898276 w 3796334"/>
              <a:gd name="connsiteY48" fmla="*/ 1772362 h 4065736"/>
              <a:gd name="connsiteX49" fmla="*/ 817160 w 3796334"/>
              <a:gd name="connsiteY49" fmla="*/ 1698620 h 4065736"/>
              <a:gd name="connsiteX50" fmla="*/ 780289 w 3796334"/>
              <a:gd name="connsiteY50" fmla="*/ 1647001 h 4065736"/>
              <a:gd name="connsiteX51" fmla="*/ 780289 w 3796334"/>
              <a:gd name="connsiteY51" fmla="*/ 1551136 h 4065736"/>
              <a:gd name="connsiteX52" fmla="*/ 654928 w 3796334"/>
              <a:gd name="connsiteY52" fmla="*/ 1388904 h 4065736"/>
              <a:gd name="connsiteX53" fmla="*/ 529567 w 3796334"/>
              <a:gd name="connsiteY53" fmla="*/ 1256168 h 4065736"/>
              <a:gd name="connsiteX54" fmla="*/ 551689 w 3796334"/>
              <a:gd name="connsiteY54" fmla="*/ 1226672 h 4065736"/>
              <a:gd name="connsiteX55" fmla="*/ 551689 w 3796334"/>
              <a:gd name="connsiteY55" fmla="*/ 1160304 h 4065736"/>
              <a:gd name="connsiteX56" fmla="*/ 522193 w 3796334"/>
              <a:gd name="connsiteY56" fmla="*/ 1116059 h 4065736"/>
              <a:gd name="connsiteX57" fmla="*/ 522193 w 3796334"/>
              <a:gd name="connsiteY57" fmla="*/ 1042317 h 4065736"/>
              <a:gd name="connsiteX58" fmla="*/ 559063 w 3796334"/>
              <a:gd name="connsiteY58" fmla="*/ 975949 h 4065736"/>
              <a:gd name="connsiteX59" fmla="*/ 500070 w 3796334"/>
              <a:gd name="connsiteY59" fmla="*/ 850588 h 4065736"/>
              <a:gd name="connsiteX60" fmla="*/ 186278 w 3796334"/>
              <a:gd name="connsiteY60" fmla="*/ 636757 h 4065736"/>
              <a:gd name="connsiteX61" fmla="*/ 0 w 3796334"/>
              <a:gd name="connsiteY61" fmla="*/ 0 h 4065736"/>
              <a:gd name="connsiteX0" fmla="*/ 0 w 3796334"/>
              <a:gd name="connsiteY0" fmla="*/ 0 h 4065736"/>
              <a:gd name="connsiteX1" fmla="*/ 1626726 w 3796334"/>
              <a:gd name="connsiteY1" fmla="*/ 9920 h 4065736"/>
              <a:gd name="connsiteX2" fmla="*/ 1775805 w 3796334"/>
              <a:gd name="connsiteY2" fmla="*/ 1285665 h 4065736"/>
              <a:gd name="connsiteX3" fmla="*/ 3604605 w 3796334"/>
              <a:gd name="connsiteY3" fmla="*/ 3003852 h 4065736"/>
              <a:gd name="connsiteX4" fmla="*/ 3670973 w 3796334"/>
              <a:gd name="connsiteY4" fmla="*/ 3166085 h 4065736"/>
              <a:gd name="connsiteX5" fmla="*/ 3796334 w 3796334"/>
              <a:gd name="connsiteY5" fmla="*/ 3284072 h 4065736"/>
              <a:gd name="connsiteX6" fmla="*/ 3774212 w 3796334"/>
              <a:gd name="connsiteY6" fmla="*/ 3357814 h 4065736"/>
              <a:gd name="connsiteX7" fmla="*/ 3700470 w 3796334"/>
              <a:gd name="connsiteY7" fmla="*/ 3394685 h 4065736"/>
              <a:gd name="connsiteX8" fmla="*/ 3663599 w 3796334"/>
              <a:gd name="connsiteY8" fmla="*/ 3453678 h 4065736"/>
              <a:gd name="connsiteX9" fmla="*/ 3663599 w 3796334"/>
              <a:gd name="connsiteY9" fmla="*/ 3571665 h 4065736"/>
              <a:gd name="connsiteX10" fmla="*/ 3604605 w 3796334"/>
              <a:gd name="connsiteY10" fmla="*/ 3689652 h 4065736"/>
              <a:gd name="connsiteX11" fmla="*/ 3611980 w 3796334"/>
              <a:gd name="connsiteY11" fmla="*/ 3822388 h 4065736"/>
              <a:gd name="connsiteX12" fmla="*/ 3693096 w 3796334"/>
              <a:gd name="connsiteY12" fmla="*/ 3874007 h 4065736"/>
              <a:gd name="connsiteX13" fmla="*/ 3693096 w 3796334"/>
              <a:gd name="connsiteY13" fmla="*/ 3925627 h 4065736"/>
              <a:gd name="connsiteX14" fmla="*/ 3670973 w 3796334"/>
              <a:gd name="connsiteY14" fmla="*/ 3955123 h 4065736"/>
              <a:gd name="connsiteX15" fmla="*/ 2749199 w 3796334"/>
              <a:gd name="connsiteY15" fmla="*/ 4065736 h 4065736"/>
              <a:gd name="connsiteX16" fmla="*/ 2690205 w 3796334"/>
              <a:gd name="connsiteY16" fmla="*/ 3955123 h 4065736"/>
              <a:gd name="connsiteX17" fmla="*/ 2675457 w 3796334"/>
              <a:gd name="connsiteY17" fmla="*/ 3815014 h 4065736"/>
              <a:gd name="connsiteX18" fmla="*/ 2616463 w 3796334"/>
              <a:gd name="connsiteY18" fmla="*/ 3704401 h 4065736"/>
              <a:gd name="connsiteX19" fmla="*/ 2505851 w 3796334"/>
              <a:gd name="connsiteY19" fmla="*/ 3623285 h 4065736"/>
              <a:gd name="connsiteX20" fmla="*/ 2387863 w 3796334"/>
              <a:gd name="connsiteY20" fmla="*/ 3556917 h 4065736"/>
              <a:gd name="connsiteX21" fmla="*/ 2343618 w 3796334"/>
              <a:gd name="connsiteY21" fmla="*/ 3475801 h 4065736"/>
              <a:gd name="connsiteX22" fmla="*/ 2255128 w 3796334"/>
              <a:gd name="connsiteY22" fmla="*/ 3424181 h 4065736"/>
              <a:gd name="connsiteX23" fmla="*/ 2166638 w 3796334"/>
              <a:gd name="connsiteY23" fmla="*/ 3424181 h 4065736"/>
              <a:gd name="connsiteX24" fmla="*/ 2129767 w 3796334"/>
              <a:gd name="connsiteY24" fmla="*/ 3424181 h 4065736"/>
              <a:gd name="connsiteX25" fmla="*/ 2019154 w 3796334"/>
              <a:gd name="connsiteY25" fmla="*/ 3379936 h 4065736"/>
              <a:gd name="connsiteX26" fmla="*/ 1960160 w 3796334"/>
              <a:gd name="connsiteY26" fmla="*/ 3313568 h 4065736"/>
              <a:gd name="connsiteX27" fmla="*/ 1923289 w 3796334"/>
              <a:gd name="connsiteY27" fmla="*/ 3269323 h 4065736"/>
              <a:gd name="connsiteX28" fmla="*/ 1820051 w 3796334"/>
              <a:gd name="connsiteY28" fmla="*/ 3239827 h 4065736"/>
              <a:gd name="connsiteX29" fmla="*/ 1687315 w 3796334"/>
              <a:gd name="connsiteY29" fmla="*/ 3239827 h 4065736"/>
              <a:gd name="connsiteX30" fmla="*/ 1554580 w 3796334"/>
              <a:gd name="connsiteY30" fmla="*/ 3225078 h 4065736"/>
              <a:gd name="connsiteX31" fmla="*/ 1502960 w 3796334"/>
              <a:gd name="connsiteY31" fmla="*/ 3151336 h 4065736"/>
              <a:gd name="connsiteX32" fmla="*/ 1502960 w 3796334"/>
              <a:gd name="connsiteY32" fmla="*/ 3018601 h 4065736"/>
              <a:gd name="connsiteX33" fmla="*/ 1495586 w 3796334"/>
              <a:gd name="connsiteY33" fmla="*/ 2907988 h 4065736"/>
              <a:gd name="connsiteX34" fmla="*/ 1392347 w 3796334"/>
              <a:gd name="connsiteY34" fmla="*/ 2885865 h 4065736"/>
              <a:gd name="connsiteX35" fmla="*/ 1429218 w 3796334"/>
              <a:gd name="connsiteY35" fmla="*/ 2812123 h 4065736"/>
              <a:gd name="connsiteX36" fmla="*/ 1399722 w 3796334"/>
              <a:gd name="connsiteY36" fmla="*/ 2731007 h 4065736"/>
              <a:gd name="connsiteX37" fmla="*/ 1303857 w 3796334"/>
              <a:gd name="connsiteY37" fmla="*/ 2701510 h 4065736"/>
              <a:gd name="connsiteX38" fmla="*/ 1178496 w 3796334"/>
              <a:gd name="connsiteY38" fmla="*/ 2524530 h 4065736"/>
              <a:gd name="connsiteX39" fmla="*/ 1082631 w 3796334"/>
              <a:gd name="connsiteY39" fmla="*/ 2391794 h 4065736"/>
              <a:gd name="connsiteX40" fmla="*/ 1082631 w 3796334"/>
              <a:gd name="connsiteY40" fmla="*/ 2273807 h 4065736"/>
              <a:gd name="connsiteX41" fmla="*/ 1119502 w 3796334"/>
              <a:gd name="connsiteY41" fmla="*/ 2259059 h 4065736"/>
              <a:gd name="connsiteX42" fmla="*/ 1126876 w 3796334"/>
              <a:gd name="connsiteY42" fmla="*/ 2207439 h 4065736"/>
              <a:gd name="connsiteX43" fmla="*/ 1126876 w 3796334"/>
              <a:gd name="connsiteY43" fmla="*/ 2155820 h 4065736"/>
              <a:gd name="connsiteX44" fmla="*/ 1082631 w 3796334"/>
              <a:gd name="connsiteY44" fmla="*/ 2141072 h 4065736"/>
              <a:gd name="connsiteX45" fmla="*/ 1016263 w 3796334"/>
              <a:gd name="connsiteY45" fmla="*/ 2141072 h 4065736"/>
              <a:gd name="connsiteX46" fmla="*/ 942522 w 3796334"/>
              <a:gd name="connsiteY46" fmla="*/ 2045207 h 4065736"/>
              <a:gd name="connsiteX47" fmla="*/ 927773 w 3796334"/>
              <a:gd name="connsiteY47" fmla="*/ 1890349 h 4065736"/>
              <a:gd name="connsiteX48" fmla="*/ 898276 w 3796334"/>
              <a:gd name="connsiteY48" fmla="*/ 1772362 h 4065736"/>
              <a:gd name="connsiteX49" fmla="*/ 817160 w 3796334"/>
              <a:gd name="connsiteY49" fmla="*/ 1698620 h 4065736"/>
              <a:gd name="connsiteX50" fmla="*/ 780289 w 3796334"/>
              <a:gd name="connsiteY50" fmla="*/ 1647001 h 4065736"/>
              <a:gd name="connsiteX51" fmla="*/ 780289 w 3796334"/>
              <a:gd name="connsiteY51" fmla="*/ 1551136 h 4065736"/>
              <a:gd name="connsiteX52" fmla="*/ 654928 w 3796334"/>
              <a:gd name="connsiteY52" fmla="*/ 1388904 h 4065736"/>
              <a:gd name="connsiteX53" fmla="*/ 529567 w 3796334"/>
              <a:gd name="connsiteY53" fmla="*/ 1256168 h 4065736"/>
              <a:gd name="connsiteX54" fmla="*/ 551689 w 3796334"/>
              <a:gd name="connsiteY54" fmla="*/ 1226672 h 4065736"/>
              <a:gd name="connsiteX55" fmla="*/ 551689 w 3796334"/>
              <a:gd name="connsiteY55" fmla="*/ 1160304 h 4065736"/>
              <a:gd name="connsiteX56" fmla="*/ 522193 w 3796334"/>
              <a:gd name="connsiteY56" fmla="*/ 1116059 h 4065736"/>
              <a:gd name="connsiteX57" fmla="*/ 522193 w 3796334"/>
              <a:gd name="connsiteY57" fmla="*/ 1042317 h 4065736"/>
              <a:gd name="connsiteX58" fmla="*/ 559063 w 3796334"/>
              <a:gd name="connsiteY58" fmla="*/ 975949 h 4065736"/>
              <a:gd name="connsiteX59" fmla="*/ 500070 w 3796334"/>
              <a:gd name="connsiteY59" fmla="*/ 850588 h 4065736"/>
              <a:gd name="connsiteX60" fmla="*/ 186278 w 3796334"/>
              <a:gd name="connsiteY60" fmla="*/ 636757 h 4065736"/>
              <a:gd name="connsiteX61" fmla="*/ 0 w 3796334"/>
              <a:gd name="connsiteY61" fmla="*/ 0 h 4065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796334" h="4065736">
                <a:moveTo>
                  <a:pt x="0" y="0"/>
                </a:moveTo>
                <a:lnTo>
                  <a:pt x="1626726" y="9920"/>
                </a:lnTo>
                <a:lnTo>
                  <a:pt x="1775805" y="1285665"/>
                </a:lnTo>
                <a:lnTo>
                  <a:pt x="3604605" y="3003852"/>
                </a:lnTo>
                <a:lnTo>
                  <a:pt x="3670973" y="3166085"/>
                </a:lnTo>
                <a:lnTo>
                  <a:pt x="3796334" y="3284072"/>
                </a:lnTo>
                <a:lnTo>
                  <a:pt x="3774212" y="3357814"/>
                </a:lnTo>
                <a:lnTo>
                  <a:pt x="3700470" y="3394685"/>
                </a:lnTo>
                <a:lnTo>
                  <a:pt x="3663599" y="3453678"/>
                </a:lnTo>
                <a:lnTo>
                  <a:pt x="3663599" y="3571665"/>
                </a:lnTo>
                <a:lnTo>
                  <a:pt x="3604605" y="3689652"/>
                </a:lnTo>
                <a:lnTo>
                  <a:pt x="3611980" y="3822388"/>
                </a:lnTo>
                <a:lnTo>
                  <a:pt x="3693096" y="3874007"/>
                </a:lnTo>
                <a:lnTo>
                  <a:pt x="3693096" y="3925627"/>
                </a:lnTo>
                <a:lnTo>
                  <a:pt x="3670973" y="3955123"/>
                </a:lnTo>
                <a:lnTo>
                  <a:pt x="2749199" y="4065736"/>
                </a:lnTo>
                <a:lnTo>
                  <a:pt x="2690205" y="3955123"/>
                </a:lnTo>
                <a:lnTo>
                  <a:pt x="2675457" y="3815014"/>
                </a:lnTo>
                <a:lnTo>
                  <a:pt x="2616463" y="3704401"/>
                </a:lnTo>
                <a:lnTo>
                  <a:pt x="2505851" y="3623285"/>
                </a:lnTo>
                <a:lnTo>
                  <a:pt x="2387863" y="3556917"/>
                </a:lnTo>
                <a:lnTo>
                  <a:pt x="2343618" y="3475801"/>
                </a:lnTo>
                <a:lnTo>
                  <a:pt x="2255128" y="3424181"/>
                </a:lnTo>
                <a:lnTo>
                  <a:pt x="2166638" y="3424181"/>
                </a:lnTo>
                <a:lnTo>
                  <a:pt x="2129767" y="3424181"/>
                </a:lnTo>
                <a:lnTo>
                  <a:pt x="2019154" y="3379936"/>
                </a:lnTo>
                <a:lnTo>
                  <a:pt x="1960160" y="3313568"/>
                </a:lnTo>
                <a:lnTo>
                  <a:pt x="1923289" y="3269323"/>
                </a:lnTo>
                <a:lnTo>
                  <a:pt x="1820051" y="3239827"/>
                </a:lnTo>
                <a:lnTo>
                  <a:pt x="1687315" y="3239827"/>
                </a:lnTo>
                <a:lnTo>
                  <a:pt x="1554580" y="3225078"/>
                </a:lnTo>
                <a:lnTo>
                  <a:pt x="1502960" y="3151336"/>
                </a:lnTo>
                <a:lnTo>
                  <a:pt x="1502960" y="3018601"/>
                </a:lnTo>
                <a:lnTo>
                  <a:pt x="1495586" y="2907988"/>
                </a:lnTo>
                <a:lnTo>
                  <a:pt x="1392347" y="2885865"/>
                </a:lnTo>
                <a:lnTo>
                  <a:pt x="1429218" y="2812123"/>
                </a:lnTo>
                <a:lnTo>
                  <a:pt x="1399722" y="2731007"/>
                </a:lnTo>
                <a:lnTo>
                  <a:pt x="1303857" y="2701510"/>
                </a:lnTo>
                <a:lnTo>
                  <a:pt x="1178496" y="2524530"/>
                </a:lnTo>
                <a:lnTo>
                  <a:pt x="1082631" y="2391794"/>
                </a:lnTo>
                <a:lnTo>
                  <a:pt x="1082631" y="2273807"/>
                </a:lnTo>
                <a:lnTo>
                  <a:pt x="1119502" y="2259059"/>
                </a:lnTo>
                <a:lnTo>
                  <a:pt x="1126876" y="2207439"/>
                </a:lnTo>
                <a:lnTo>
                  <a:pt x="1126876" y="2155820"/>
                </a:lnTo>
                <a:lnTo>
                  <a:pt x="1082631" y="2141072"/>
                </a:lnTo>
                <a:lnTo>
                  <a:pt x="1016263" y="2141072"/>
                </a:lnTo>
                <a:lnTo>
                  <a:pt x="942522" y="2045207"/>
                </a:lnTo>
                <a:lnTo>
                  <a:pt x="927773" y="1890349"/>
                </a:lnTo>
                <a:lnTo>
                  <a:pt x="898276" y="1772362"/>
                </a:lnTo>
                <a:lnTo>
                  <a:pt x="817160" y="1698620"/>
                </a:lnTo>
                <a:lnTo>
                  <a:pt x="780289" y="1647001"/>
                </a:lnTo>
                <a:lnTo>
                  <a:pt x="780289" y="1551136"/>
                </a:lnTo>
                <a:lnTo>
                  <a:pt x="654928" y="1388904"/>
                </a:lnTo>
                <a:lnTo>
                  <a:pt x="529567" y="1256168"/>
                </a:lnTo>
                <a:lnTo>
                  <a:pt x="551689" y="1226672"/>
                </a:lnTo>
                <a:lnTo>
                  <a:pt x="551689" y="1160304"/>
                </a:lnTo>
                <a:lnTo>
                  <a:pt x="522193" y="1116059"/>
                </a:lnTo>
                <a:lnTo>
                  <a:pt x="522193" y="1042317"/>
                </a:lnTo>
                <a:lnTo>
                  <a:pt x="559063" y="975949"/>
                </a:lnTo>
                <a:lnTo>
                  <a:pt x="500070" y="850588"/>
                </a:lnTo>
                <a:lnTo>
                  <a:pt x="186278" y="636757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  <a:ln w="317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GB" kern="0" dirty="0" err="1">
              <a:solidFill>
                <a:prstClr val="white"/>
              </a:solidFill>
            </a:endParaRPr>
          </a:p>
        </p:txBody>
      </p:sp>
      <p:sp>
        <p:nvSpPr>
          <p:cNvPr id="1551" name="Rectangle 1550"/>
          <p:cNvSpPr/>
          <p:nvPr/>
        </p:nvSpPr>
        <p:spPr>
          <a:xfrm>
            <a:off x="4827906" y="5675776"/>
            <a:ext cx="436142" cy="212615"/>
          </a:xfrm>
          <a:prstGeom prst="rect">
            <a:avLst/>
          </a:prstGeom>
          <a:solidFill>
            <a:srgbClr val="0070C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sp>
        <p:nvSpPr>
          <p:cNvPr id="1552" name="TextBox 1551"/>
          <p:cNvSpPr txBox="1"/>
          <p:nvPr/>
        </p:nvSpPr>
        <p:spPr>
          <a:xfrm>
            <a:off x="5231904" y="5641503"/>
            <a:ext cx="34489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latin typeface="SwissReSans" pitchFamily="34" charset="0"/>
              </a:rPr>
              <a:t>Full probabilistic models for all key perils</a:t>
            </a:r>
          </a:p>
        </p:txBody>
      </p:sp>
      <p:sp>
        <p:nvSpPr>
          <p:cNvPr id="1553" name="Rectangle 1552"/>
          <p:cNvSpPr/>
          <p:nvPr/>
        </p:nvSpPr>
        <p:spPr>
          <a:xfrm>
            <a:off x="4825740" y="5995535"/>
            <a:ext cx="436142" cy="212615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sp>
        <p:nvSpPr>
          <p:cNvPr id="1554" name="TextBox 1553"/>
          <p:cNvSpPr txBox="1"/>
          <p:nvPr/>
        </p:nvSpPr>
        <p:spPr>
          <a:xfrm>
            <a:off x="5229738" y="5961262"/>
            <a:ext cx="56851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latin typeface="SwissReSans" pitchFamily="34" charset="0"/>
              </a:rPr>
              <a:t>Full probabilistic model for key peril, simplified models for side perils</a:t>
            </a:r>
          </a:p>
        </p:txBody>
      </p:sp>
      <p:sp>
        <p:nvSpPr>
          <p:cNvPr id="1555" name="Rectangle 1554"/>
          <p:cNvSpPr/>
          <p:nvPr/>
        </p:nvSpPr>
        <p:spPr>
          <a:xfrm>
            <a:off x="4829995" y="6289905"/>
            <a:ext cx="436142" cy="212615"/>
          </a:xfrm>
          <a:prstGeom prst="rect">
            <a:avLst/>
          </a:prstGeom>
          <a:solidFill>
            <a:srgbClr val="C8EDF8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sp>
        <p:nvSpPr>
          <p:cNvPr id="1556" name="TextBox 1555"/>
          <p:cNvSpPr txBox="1"/>
          <p:nvPr/>
        </p:nvSpPr>
        <p:spPr>
          <a:xfrm>
            <a:off x="5233993" y="6255632"/>
            <a:ext cx="30524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latin typeface="SwissReSans" pitchFamily="34" charset="0"/>
              </a:rPr>
              <a:t>Simplified models for relevant perils</a:t>
            </a:r>
          </a:p>
        </p:txBody>
      </p:sp>
      <p:sp>
        <p:nvSpPr>
          <p:cNvPr id="1558" name="Title 2"/>
          <p:cNvSpPr txBox="1">
            <a:spLocks/>
          </p:cNvSpPr>
          <p:nvPr/>
        </p:nvSpPr>
        <p:spPr bwMode="black">
          <a:xfrm>
            <a:off x="695325" y="692151"/>
            <a:ext cx="11017250" cy="6926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SwissReSans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F4DBC"/>
                </a:solidFill>
                <a:effectLst/>
                <a:uLnTx/>
                <a:uFillTx/>
                <a:latin typeface="SwissReSans" pitchFamily="34" charset="0"/>
                <a:ea typeface="+mj-ea"/>
                <a:cs typeface="+mj-cs"/>
              </a:rPr>
              <a:t>Our global proprietary model suite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F4DBC"/>
                </a:solidFill>
                <a:effectLst/>
                <a:uLnTx/>
                <a:uFillTx/>
                <a:latin typeface="SwissReSans" pitchFamily="34" charset="0"/>
                <a:ea typeface="+mj-ea"/>
                <a:cs typeface="+mj-cs"/>
              </a:rPr>
            </a:br>
            <a:r>
              <a:rPr lang="en-US" sz="2000" i="1" dirty="0">
                <a:solidFill>
                  <a:srgbClr val="00A9E0">
                    <a:lumMod val="75000"/>
                  </a:srgbClr>
                </a:solidFill>
              </a:rPr>
              <a:t>Unique c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A9E0">
                    <a:lumMod val="75000"/>
                  </a:srgbClr>
                </a:solidFill>
                <a:effectLst/>
                <a:uLnTx/>
                <a:uFillTx/>
                <a:latin typeface="SwissReSans" pitchFamily="34" charset="0"/>
                <a:ea typeface="+mj-ea"/>
                <a:cs typeface="+mj-cs"/>
              </a:rPr>
              <a:t>overage accessible through </a:t>
            </a:r>
            <a:r>
              <a:rPr kumimoji="0" lang="en-US" sz="2000" b="0" i="1" u="none" strike="noStrike" kern="1200" cap="none" spc="0" normalizeH="0" baseline="0" noProof="0" dirty="0" err="1">
                <a:ln>
                  <a:noFill/>
                </a:ln>
                <a:solidFill>
                  <a:srgbClr val="00A9E0">
                    <a:lumMod val="75000"/>
                  </a:srgbClr>
                </a:solidFill>
                <a:effectLst/>
                <a:uLnTx/>
                <a:uFillTx/>
                <a:latin typeface="SwissReSans" pitchFamily="34" charset="0"/>
                <a:ea typeface="+mj-ea"/>
                <a:cs typeface="+mj-cs"/>
              </a:rPr>
              <a:t>Catserver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A9E0">
                    <a:lumMod val="75000"/>
                  </a:srgbClr>
                </a:solidFill>
                <a:effectLst/>
                <a:uLnTx/>
                <a:uFillTx/>
                <a:latin typeface="SwissReSans" pitchFamily="34" charset="0"/>
                <a:ea typeface="+mj-ea"/>
                <a:cs typeface="+mj-cs"/>
              </a:rPr>
              <a:t> API</a:t>
            </a:r>
          </a:p>
        </p:txBody>
      </p:sp>
      <p:pic>
        <p:nvPicPr>
          <p:cNvPr id="1513" name="Picture 1512"/>
          <p:cNvPicPr>
            <a:picLocks noChangeAspect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53848" r="49273"/>
          <a:stretch/>
        </p:blipFill>
        <p:spPr>
          <a:xfrm>
            <a:off x="9984433" y="-27384"/>
            <a:ext cx="2232248" cy="1914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6701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84785"/>
            <a:ext cx="12192000" cy="5373215"/>
          </a:xfrm>
          <a:prstGeom prst="rect">
            <a:avLst/>
          </a:prstGeom>
        </p:spPr>
      </p:pic>
      <p:sp>
        <p:nvSpPr>
          <p:cNvPr id="57" name="Rectangle 56"/>
          <p:cNvSpPr/>
          <p:nvPr/>
        </p:nvSpPr>
        <p:spPr>
          <a:xfrm>
            <a:off x="0" y="1484785"/>
            <a:ext cx="12192000" cy="5373215"/>
          </a:xfrm>
          <a:prstGeom prst="rect">
            <a:avLst/>
          </a:prstGeom>
          <a:gradFill flip="none" rotWithShape="1">
            <a:gsLst>
              <a:gs pos="0">
                <a:schemeClr val="bg1">
                  <a:shade val="30000"/>
                  <a:satMod val="115000"/>
                  <a:alpha val="0"/>
                </a:schemeClr>
              </a:gs>
              <a:gs pos="70000">
                <a:schemeClr val="bg1">
                  <a:shade val="67500"/>
                  <a:satMod val="115000"/>
                  <a:alpha val="50000"/>
                </a:schemeClr>
              </a:gs>
              <a:gs pos="100000">
                <a:schemeClr val="bg1">
                  <a:shade val="100000"/>
                  <a:satMod val="115000"/>
                  <a:alpha val="80000"/>
                </a:schemeClr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i="1" dirty="0" err="1">
              <a:latin typeface="SwissReSans Light" panose="020B0504020202020204" pitchFamily="34" charset="0"/>
              <a:ea typeface="+mj-ea"/>
              <a:cs typeface="+mj-cs"/>
              <a:sym typeface="SwissReSans Light" panose="020B05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ur API Solution – how does it work</a:t>
            </a:r>
            <a:br>
              <a:rPr lang="en-US" b="1" dirty="0"/>
            </a:br>
            <a:r>
              <a:rPr lang="en-US" sz="2000" i="1" dirty="0">
                <a:solidFill>
                  <a:schemeClr val="accent5">
                    <a:lumMod val="75000"/>
                  </a:schemeClr>
                </a:solidFill>
              </a:rPr>
              <a:t>Example of a scoring workflo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2" name="Pentagon 11"/>
          <p:cNvSpPr/>
          <p:nvPr/>
        </p:nvSpPr>
        <p:spPr>
          <a:xfrm>
            <a:off x="2639616" y="1972301"/>
            <a:ext cx="5057769" cy="1988661"/>
          </a:xfrm>
          <a:prstGeom prst="homePlate">
            <a:avLst>
              <a:gd name="adj" fmla="val 16472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accent3">
                <a:lumMod val="75000"/>
              </a:schemeClr>
            </a:solidFill>
          </a:ln>
          <a:effectLst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lIns="0" tIns="0" rIns="0" bIns="0" rtlCol="0">
            <a:noAutofit/>
          </a:bodyPr>
          <a:lstStyle/>
          <a:p>
            <a:pPr>
              <a:spcBef>
                <a:spcPts val="1200"/>
              </a:spcBef>
              <a:buSzPct val="100000"/>
            </a:pPr>
            <a:endParaRPr lang="en-US" b="1" dirty="0">
              <a:latin typeface="SwissReSans Light" panose="020B0504020202020204" pitchFamily="34" charset="0"/>
            </a:endParaRPr>
          </a:p>
        </p:txBody>
      </p:sp>
      <p:sp>
        <p:nvSpPr>
          <p:cNvPr id="13" name="Chevron 12"/>
          <p:cNvSpPr/>
          <p:nvPr/>
        </p:nvSpPr>
        <p:spPr>
          <a:xfrm rot="10800000">
            <a:off x="2652945" y="4426633"/>
            <a:ext cx="2669762" cy="1369193"/>
          </a:xfrm>
          <a:prstGeom prst="chevron">
            <a:avLst>
              <a:gd name="adj" fmla="val 35679"/>
            </a:avLst>
          </a:prstGeom>
          <a:solidFill>
            <a:srgbClr val="002D9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wissReSans Light" panose="020B05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810197" y="1972301"/>
            <a:ext cx="3318823" cy="380855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3">
                <a:lumMod val="75000"/>
              </a:schemeClr>
            </a:solidFill>
          </a:ln>
          <a:effectLst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lIns="0" tIns="0" rIns="0" bIns="0" rtlCol="0">
            <a:noAutofit/>
          </a:bodyPr>
          <a:lstStyle/>
          <a:p>
            <a:pPr>
              <a:spcBef>
                <a:spcPts val="1200"/>
              </a:spcBef>
              <a:buSzPct val="100000"/>
            </a:pPr>
            <a:endParaRPr lang="en-US" b="1" dirty="0">
              <a:latin typeface="SwissReSans Light" panose="020B05040202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9483" y="2069646"/>
            <a:ext cx="1229398" cy="1229398"/>
          </a:xfrm>
          <a:prstGeom prst="rect">
            <a:avLst/>
          </a:prstGeom>
        </p:spPr>
      </p:pic>
      <p:pic>
        <p:nvPicPr>
          <p:cNvPr id="16" name="Picture 15"/>
          <p:cNvPicPr>
            <a:picLocks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368" y="1772816"/>
            <a:ext cx="1874520" cy="1701389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1669317" y="1995948"/>
            <a:ext cx="10256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SwissReSans Light" panose="020B0504020202020204" pitchFamily="34" charset="0"/>
              </a:rPr>
              <a:t>API Inputs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117465" y="2839078"/>
            <a:ext cx="1426588" cy="658425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9145711" y="3439097"/>
            <a:ext cx="15903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err="1">
                <a:latin typeface="SwissReSans Light" panose="020B0504020202020204" pitchFamily="34" charset="0"/>
              </a:rPr>
              <a:t>Catserver</a:t>
            </a:r>
            <a:r>
              <a:rPr lang="en-US" b="1" dirty="0">
                <a:latin typeface="SwissReSans Light" panose="020B0504020202020204" pitchFamily="34" charset="0"/>
              </a:rPr>
              <a:t> API</a:t>
            </a:r>
          </a:p>
        </p:txBody>
      </p:sp>
      <p:sp>
        <p:nvSpPr>
          <p:cNvPr id="20" name="Oval 19"/>
          <p:cNvSpPr/>
          <p:nvPr/>
        </p:nvSpPr>
        <p:spPr>
          <a:xfrm>
            <a:off x="2999656" y="5004238"/>
            <a:ext cx="274320" cy="27432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SwissReSans Light" panose="020B0504020202020204" pitchFamily="34" charset="0"/>
              </a:rPr>
              <a:t>4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259455" y="4755918"/>
            <a:ext cx="179143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wissReSans Light" panose="020B0504020202020204" pitchFamily="34" charset="0"/>
              </a:rPr>
              <a:t>Client loadings applied to derive customer premium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07368" y="4756694"/>
            <a:ext cx="2102496" cy="116955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xtLst/>
        </p:spPr>
        <p:txBody>
          <a:bodyPr wrap="square" rtlCol="0">
            <a:spAutoFit/>
          </a:bodyPr>
          <a:lstStyle/>
          <a:p>
            <a:r>
              <a:rPr lang="en-US" sz="1400" b="1" u="sng" dirty="0">
                <a:latin typeface="SwissReSans Light" panose="020B0504020202020204" pitchFamily="34" charset="0"/>
              </a:rPr>
              <a:t>Consumer Premium</a:t>
            </a:r>
          </a:p>
          <a:p>
            <a:r>
              <a:rPr lang="en-US" sz="1400" b="1" dirty="0">
                <a:latin typeface="SwissReSans Light" panose="020B0504020202020204" pitchFamily="34" charset="0"/>
              </a:rPr>
              <a:t>Storm Surge: $30</a:t>
            </a:r>
          </a:p>
          <a:p>
            <a:r>
              <a:rPr lang="en-US" sz="1400" b="1" dirty="0">
                <a:latin typeface="SwissReSans Light" panose="020B0504020202020204" pitchFamily="34" charset="0"/>
              </a:rPr>
              <a:t>River Flood: $15</a:t>
            </a:r>
          </a:p>
          <a:p>
            <a:r>
              <a:rPr lang="en-US" sz="1400" b="1" dirty="0">
                <a:latin typeface="SwissReSans Light" panose="020B0504020202020204" pitchFamily="34" charset="0"/>
              </a:rPr>
              <a:t>Windstorm: €20</a:t>
            </a:r>
          </a:p>
          <a:p>
            <a:endParaRPr lang="en-US" sz="1400" b="1" dirty="0">
              <a:latin typeface="SwissReSans Light" panose="020B0504020202020204" pitchFamily="34" charset="0"/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278808" y="2420888"/>
            <a:ext cx="1152244" cy="1146147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9816" y="4504528"/>
            <a:ext cx="436640" cy="436640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>
          <a:xfrm>
            <a:off x="8413812" y="4858243"/>
            <a:ext cx="1930157" cy="56630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Bef>
                <a:spcPct val="20000"/>
              </a:spcBef>
              <a:buClr>
                <a:srgbClr val="799B68"/>
              </a:buClr>
              <a:buSzPct val="130000"/>
            </a:pPr>
            <a:r>
              <a:rPr lang="en-US" sz="14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  <a:sym typeface="Wingdings" panose="05000000000000000000" pitchFamily="2" charset="2"/>
              </a:rPr>
              <a:t>Swiss Re Modelling results</a:t>
            </a:r>
            <a:endParaRPr lang="en-US" sz="1400" b="1" dirty="0">
              <a:solidFill>
                <a:schemeClr val="accent3">
                  <a:lumMod val="75000"/>
                </a:schemeClr>
              </a:solidFill>
              <a:latin typeface="SwissReSans Light" panose="020B0504020202020204" pitchFamily="34" charset="0"/>
            </a:endParaRPr>
          </a:p>
        </p:txBody>
      </p:sp>
      <p:pic>
        <p:nvPicPr>
          <p:cNvPr id="35" name="Picture 34"/>
          <p:cNvPicPr>
            <a:picLocks/>
          </p:cNvPicPr>
          <p:nvPr/>
        </p:nvPicPr>
        <p:blipFill rotWithShape="1"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295"/>
          <a:stretch/>
        </p:blipFill>
        <p:spPr>
          <a:xfrm>
            <a:off x="590368" y="3214857"/>
            <a:ext cx="1874520" cy="845676"/>
          </a:xfrm>
          <a:prstGeom prst="rect">
            <a:avLst/>
          </a:prstGeom>
        </p:spPr>
      </p:pic>
      <p:sp>
        <p:nvSpPr>
          <p:cNvPr id="37" name="Rectangle 36"/>
          <p:cNvSpPr/>
          <p:nvPr/>
        </p:nvSpPr>
        <p:spPr>
          <a:xfrm>
            <a:off x="719210" y="2260752"/>
            <a:ext cx="1621178" cy="153857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2713" indent="-112713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SwissReSans Light" panose="020B0504020202020204" pitchFamily="34" charset="0"/>
              </a:rPr>
              <a:t>Location</a:t>
            </a:r>
          </a:p>
          <a:p>
            <a:pPr marL="112713" indent="-112713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SwissReSans Light" panose="020B0504020202020204" pitchFamily="34" charset="0"/>
              </a:rPr>
              <a:t>Building coverage </a:t>
            </a:r>
          </a:p>
          <a:p>
            <a:pPr marL="112713" indent="-112713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SwissReSans Light" panose="020B0504020202020204" pitchFamily="34" charset="0"/>
              </a:rPr>
              <a:t>Content coverage</a:t>
            </a:r>
          </a:p>
          <a:p>
            <a:pPr marL="112713" indent="-112713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SwissReSans Light" panose="020B0504020202020204" pitchFamily="34" charset="0"/>
              </a:rPr>
              <a:t>Occupancy</a:t>
            </a:r>
          </a:p>
          <a:p>
            <a:pPr marL="112713" indent="-112713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SwissReSans Light" panose="020B0504020202020204" pitchFamily="34" charset="0"/>
              </a:rPr>
              <a:t>Number of stories</a:t>
            </a:r>
          </a:p>
          <a:p>
            <a:pPr marL="112713" indent="-112713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SwissReSans Light" panose="020B0504020202020204" pitchFamily="34" charset="0"/>
              </a:rPr>
              <a:t>Basement info</a:t>
            </a:r>
          </a:p>
          <a:p>
            <a:pPr marL="112713" indent="-112713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SwissReSans Light" panose="020B0504020202020204" pitchFamily="34" charset="0"/>
              </a:rPr>
              <a:t>First Floor elevation</a:t>
            </a:r>
          </a:p>
          <a:p>
            <a:pPr marL="112713" indent="-112713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SwissReSans Light" panose="020B0504020202020204" pitchFamily="34" charset="0"/>
              </a:rPr>
              <a:t>…</a:t>
            </a:r>
          </a:p>
        </p:txBody>
      </p:sp>
      <p:sp>
        <p:nvSpPr>
          <p:cNvPr id="38" name="Rectangle 37"/>
          <p:cNvSpPr/>
          <p:nvPr/>
        </p:nvSpPr>
        <p:spPr>
          <a:xfrm>
            <a:off x="7942123" y="6042774"/>
            <a:ext cx="446386" cy="301035"/>
          </a:xfrm>
          <a:prstGeom prst="rect">
            <a:avLst/>
          </a:prstGeom>
          <a:solidFill>
            <a:srgbClr val="002D9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wissReSans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8361878" y="6042774"/>
            <a:ext cx="12625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SwissReSans Light" panose="020B0504020202020204" pitchFamily="34" charset="0"/>
              </a:rPr>
              <a:t>Client side</a:t>
            </a:r>
          </a:p>
        </p:txBody>
      </p:sp>
      <p:sp>
        <p:nvSpPr>
          <p:cNvPr id="40" name="Rectangle 39"/>
          <p:cNvSpPr/>
          <p:nvPr/>
        </p:nvSpPr>
        <p:spPr>
          <a:xfrm>
            <a:off x="9768408" y="6042774"/>
            <a:ext cx="446400" cy="3024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wissReSans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0188163" y="6042774"/>
            <a:ext cx="12625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SwissReSans Light" panose="020B0504020202020204" pitchFamily="34" charset="0"/>
              </a:rPr>
              <a:t>Swiss Re</a:t>
            </a:r>
          </a:p>
        </p:txBody>
      </p:sp>
      <p:sp>
        <p:nvSpPr>
          <p:cNvPr id="42" name="Rectangle 41"/>
          <p:cNvSpPr/>
          <p:nvPr/>
        </p:nvSpPr>
        <p:spPr>
          <a:xfrm>
            <a:off x="3315167" y="3180950"/>
            <a:ext cx="3082161" cy="56630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Bef>
                <a:spcPct val="20000"/>
              </a:spcBef>
              <a:buClr>
                <a:srgbClr val="799B68"/>
              </a:buClr>
              <a:buSzPct val="130000"/>
            </a:pPr>
            <a:r>
              <a:rPr lang="en-US" sz="14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  <a:sym typeface="Wingdings" panose="05000000000000000000" pitchFamily="2" charset="2"/>
              </a:rPr>
              <a:t>API data transferred from Client Frontend to </a:t>
            </a:r>
            <a:r>
              <a:rPr lang="en-US" sz="1400" b="1" dirty="0" err="1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  <a:sym typeface="Wingdings" panose="05000000000000000000" pitchFamily="2" charset="2"/>
              </a:rPr>
              <a:t>Catserver</a:t>
            </a:r>
            <a:r>
              <a:rPr lang="en-US" sz="14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  <a:sym typeface="Wingdings" panose="05000000000000000000" pitchFamily="2" charset="2"/>
              </a:rPr>
              <a:t> API</a:t>
            </a:r>
          </a:p>
        </p:txBody>
      </p:sp>
      <p:sp>
        <p:nvSpPr>
          <p:cNvPr id="43" name="Oval 42"/>
          <p:cNvSpPr/>
          <p:nvPr/>
        </p:nvSpPr>
        <p:spPr>
          <a:xfrm>
            <a:off x="3156967" y="3282157"/>
            <a:ext cx="274320" cy="274320"/>
          </a:xfrm>
          <a:prstGeom prst="ellipse">
            <a:avLst/>
          </a:prstGeom>
          <a:solidFill>
            <a:srgbClr val="002D9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wissReSans Light" panose="020B0504020202020204" pitchFamily="34" charset="0"/>
              </a:rPr>
              <a:t>1</a:t>
            </a:r>
          </a:p>
        </p:txBody>
      </p:sp>
      <p:pic>
        <p:nvPicPr>
          <p:cNvPr id="46" name="Picture 45"/>
          <p:cNvPicPr>
            <a:picLocks noChangeAspect="1"/>
          </p:cNvPicPr>
          <p:nvPr/>
        </p:nvPicPr>
        <p:blipFill rotWithShape="1">
          <a:blip r:embed="rId13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53848" r="49273"/>
          <a:stretch/>
        </p:blipFill>
        <p:spPr>
          <a:xfrm>
            <a:off x="9984433" y="-27384"/>
            <a:ext cx="2232248" cy="1914276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741" y="4109491"/>
            <a:ext cx="2418038" cy="2120596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1099014" y="4418122"/>
            <a:ext cx="16126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SwissReSans Light" panose="020B0504020202020204" pitchFamily="34" charset="0"/>
              </a:rPr>
              <a:t>Premium Output</a:t>
            </a:r>
          </a:p>
        </p:txBody>
      </p:sp>
      <p:sp>
        <p:nvSpPr>
          <p:cNvPr id="8" name="Rectangle 7"/>
          <p:cNvSpPr/>
          <p:nvPr/>
        </p:nvSpPr>
        <p:spPr>
          <a:xfrm>
            <a:off x="7114796" y="4426633"/>
            <a:ext cx="827327" cy="134572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sp>
        <p:nvSpPr>
          <p:cNvPr id="45" name="Chevron 44"/>
          <p:cNvSpPr/>
          <p:nvPr/>
        </p:nvSpPr>
        <p:spPr>
          <a:xfrm rot="10800000">
            <a:off x="5140435" y="4426633"/>
            <a:ext cx="2669762" cy="1369193"/>
          </a:xfrm>
          <a:prstGeom prst="chevron">
            <a:avLst>
              <a:gd name="adj" fmla="val 35679"/>
            </a:avLst>
          </a:prstGeom>
          <a:solidFill>
            <a:srgbClr val="002D9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wissReSans Light" panose="020B0504020202020204" pitchFamily="34" charset="0"/>
            </a:endParaRPr>
          </a:p>
        </p:txBody>
      </p:sp>
      <p:pic>
        <p:nvPicPr>
          <p:cNvPr id="47" name="Content Placeholder 97"/>
          <p:cNvPicPr>
            <a:picLocks noChangeAspect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 flipH="1">
            <a:off x="6848039" y="4515655"/>
            <a:ext cx="533515" cy="426517"/>
          </a:xfrm>
          <a:prstGeom prst="rect">
            <a:avLst/>
          </a:prstGeom>
        </p:spPr>
      </p:pic>
      <p:sp>
        <p:nvSpPr>
          <p:cNvPr id="49" name="Oval 48"/>
          <p:cNvSpPr/>
          <p:nvPr/>
        </p:nvSpPr>
        <p:spPr>
          <a:xfrm>
            <a:off x="5464126" y="5004238"/>
            <a:ext cx="261924" cy="27432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SwissReSans Light" panose="020B0504020202020204" pitchFamily="34" charset="0"/>
              </a:rPr>
              <a:t>3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5791048" y="4818925"/>
            <a:ext cx="162235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wissReSans Light" panose="020B0504020202020204" pitchFamily="34" charset="0"/>
              </a:rPr>
              <a:t>Technical Premium adjustment for building specifics</a:t>
            </a:r>
          </a:p>
        </p:txBody>
      </p:sp>
      <p:sp>
        <p:nvSpPr>
          <p:cNvPr id="52" name="Oval 51"/>
          <p:cNvSpPr/>
          <p:nvPr/>
        </p:nvSpPr>
        <p:spPr>
          <a:xfrm>
            <a:off x="8256240" y="5004238"/>
            <a:ext cx="261924" cy="27432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SwissReSans Light" panose="020B0504020202020204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9443910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9" grpId="0"/>
      <p:bldP spid="20" grpId="0" animBg="1"/>
      <p:bldP spid="21" grpId="0"/>
      <p:bldP spid="23" grpId="0" animBg="1"/>
      <p:bldP spid="27" grpId="0" animBg="1"/>
      <p:bldP spid="42" grpId="0" animBg="1"/>
      <p:bldP spid="43" grpId="0" animBg="1"/>
      <p:bldP spid="24" grpId="0"/>
      <p:bldP spid="8" grpId="0" animBg="1"/>
      <p:bldP spid="45" grpId="0" animBg="1"/>
      <p:bldP spid="49" grpId="0" animBg="1"/>
      <p:bldP spid="51" grpId="0"/>
      <p:bldP spid="5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i="1" dirty="0" err="1">
              <a:latin typeface="SwissReSans Light" panose="020B0504020202020204" pitchFamily="34" charset="0"/>
              <a:ea typeface="+mj-ea"/>
              <a:cs typeface="+mj-cs"/>
              <a:sym typeface="SwissReSans Light" panose="020B0504020202020204" pitchFamily="34" charset="0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CB9DED69-BEC7-8B4B-8532-163E4C5246A7}"/>
              </a:ext>
            </a:extLst>
          </p:cNvPr>
          <p:cNvSpPr/>
          <p:nvPr/>
        </p:nvSpPr>
        <p:spPr>
          <a:xfrm>
            <a:off x="3965266" y="3004336"/>
            <a:ext cx="2988141" cy="1732160"/>
          </a:xfrm>
          <a:prstGeom prst="ellipse">
            <a:avLst/>
          </a:prstGeom>
          <a:solidFill>
            <a:srgbClr val="C8EDF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000" b="1" dirty="0">
              <a:solidFill>
                <a:prstClr val="white"/>
              </a:solidFill>
              <a:latin typeface="SwissReSans Light" panose="020B05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ur Value Proposition</a:t>
            </a:r>
            <a:br>
              <a:rPr lang="en-US" b="1" dirty="0"/>
            </a:br>
            <a:r>
              <a:rPr lang="en-US" sz="2000" i="1" dirty="0">
                <a:solidFill>
                  <a:schemeClr val="accent5">
                    <a:lumMod val="75000"/>
                  </a:schemeClr>
                </a:solidFill>
              </a:rPr>
              <a:t>Support across the entire value cha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2" name="Text Placeholder 84">
            <a:extLst>
              <a:ext uri="{FF2B5EF4-FFF2-40B4-BE49-F238E27FC236}">
                <a16:creationId xmlns:a16="http://schemas.microsoft.com/office/drawing/2014/main" id="{8A0D266E-19B9-BB44-A733-FAAA09EC9826}"/>
              </a:ext>
            </a:extLst>
          </p:cNvPr>
          <p:cNvSpPr txBox="1">
            <a:spLocks/>
          </p:cNvSpPr>
          <p:nvPr/>
        </p:nvSpPr>
        <p:spPr>
          <a:xfrm>
            <a:off x="3866630" y="2753034"/>
            <a:ext cx="1293266" cy="5319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SwissReSans" panose="020B0604020202020204" pitchFamily="34" charset="0"/>
                <a:ea typeface="+mn-ea"/>
                <a:cs typeface="+mn-cs"/>
              </a:defRPr>
            </a:lvl1pPr>
            <a:lvl2pPr marL="90488" indent="-904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bg1"/>
                </a:solidFill>
                <a:latin typeface="SwissReSans" panose="020B0604020202020204" pitchFamily="34" charset="0"/>
                <a:ea typeface="+mn-ea"/>
                <a:cs typeface="+mn-cs"/>
              </a:defRPr>
            </a:lvl2pPr>
            <a:lvl3pPr marL="180975" indent="-904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50" kern="1200">
                <a:solidFill>
                  <a:schemeClr val="bg1"/>
                </a:solidFill>
                <a:latin typeface="SwissReSans" panose="020B0604020202020204" pitchFamily="34" charset="0"/>
                <a:ea typeface="+mn-ea"/>
                <a:cs typeface="+mn-cs"/>
              </a:defRPr>
            </a:lvl3pPr>
            <a:lvl4pPr marL="271463" indent="-904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bg1"/>
                </a:solidFill>
                <a:latin typeface="SwissReSans" panose="020B0604020202020204" pitchFamily="34" charset="0"/>
                <a:ea typeface="+mn-ea"/>
                <a:cs typeface="+mn-cs"/>
              </a:defRPr>
            </a:lvl4pPr>
            <a:lvl5pPr marL="361950" indent="-904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bg1"/>
                </a:solidFill>
                <a:latin typeface="SwissReSans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rgbClr val="283E36"/>
                </a:solidFill>
                <a:latin typeface="SwissReSans Light" panose="020B0504020202020204" pitchFamily="34" charset="0"/>
              </a:rPr>
              <a:t>Education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6E29BF8-3D9E-D34D-8D11-207F0ABA8F2A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prstClr val="black"/>
              <a:srgbClr val="0070C0">
                <a:tint val="45000"/>
                <a:satMod val="400000"/>
              </a:srgbClr>
            </a:duotone>
            <a:lum bright="-40000" contrast="-40000"/>
          </a:blip>
          <a:stretch>
            <a:fillRect/>
          </a:stretch>
        </p:blipFill>
        <p:spPr>
          <a:xfrm>
            <a:off x="3938638" y="1916832"/>
            <a:ext cx="1073733" cy="808067"/>
          </a:xfrm>
          <a:prstGeom prst="rect">
            <a:avLst/>
          </a:prstGeom>
        </p:spPr>
      </p:pic>
      <p:sp>
        <p:nvSpPr>
          <p:cNvPr id="14" name="Text Placeholder 84">
            <a:extLst>
              <a:ext uri="{FF2B5EF4-FFF2-40B4-BE49-F238E27FC236}">
                <a16:creationId xmlns:a16="http://schemas.microsoft.com/office/drawing/2014/main" id="{DB03CB5C-161A-834F-8F79-522142BECB2A}"/>
              </a:ext>
            </a:extLst>
          </p:cNvPr>
          <p:cNvSpPr txBox="1">
            <a:spLocks/>
          </p:cNvSpPr>
          <p:nvPr/>
        </p:nvSpPr>
        <p:spPr>
          <a:xfrm>
            <a:off x="3509468" y="5517232"/>
            <a:ext cx="1293266" cy="5319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SwissReSans" panose="020B0604020202020204" pitchFamily="34" charset="0"/>
                <a:ea typeface="+mn-ea"/>
                <a:cs typeface="+mn-cs"/>
              </a:defRPr>
            </a:lvl1pPr>
            <a:lvl2pPr marL="90488" indent="-904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bg1"/>
                </a:solidFill>
                <a:latin typeface="SwissReSans" panose="020B0604020202020204" pitchFamily="34" charset="0"/>
                <a:ea typeface="+mn-ea"/>
                <a:cs typeface="+mn-cs"/>
              </a:defRPr>
            </a:lvl2pPr>
            <a:lvl3pPr marL="180975" indent="-904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50" kern="1200">
                <a:solidFill>
                  <a:schemeClr val="bg1"/>
                </a:solidFill>
                <a:latin typeface="SwissReSans" panose="020B0604020202020204" pitchFamily="34" charset="0"/>
                <a:ea typeface="+mn-ea"/>
                <a:cs typeface="+mn-cs"/>
              </a:defRPr>
            </a:lvl3pPr>
            <a:lvl4pPr marL="271463" indent="-904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bg1"/>
                </a:solidFill>
                <a:latin typeface="SwissReSans" panose="020B0604020202020204" pitchFamily="34" charset="0"/>
                <a:ea typeface="+mn-ea"/>
                <a:cs typeface="+mn-cs"/>
              </a:defRPr>
            </a:lvl4pPr>
            <a:lvl5pPr marL="361950" indent="-904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bg1"/>
                </a:solidFill>
                <a:latin typeface="SwissReSans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rgbClr val="283E36"/>
                </a:solidFill>
                <a:latin typeface="SwissReSans Light" panose="020B0504020202020204" pitchFamily="34" charset="0"/>
              </a:rPr>
              <a:t>Marketing</a:t>
            </a:r>
          </a:p>
        </p:txBody>
      </p:sp>
      <p:sp>
        <p:nvSpPr>
          <p:cNvPr id="15" name="Text Placeholder 84">
            <a:extLst>
              <a:ext uri="{FF2B5EF4-FFF2-40B4-BE49-F238E27FC236}">
                <a16:creationId xmlns:a16="http://schemas.microsoft.com/office/drawing/2014/main" id="{38A620C1-BB87-194A-A6FE-E87E3BBEFA1D}"/>
              </a:ext>
            </a:extLst>
          </p:cNvPr>
          <p:cNvSpPr txBox="1">
            <a:spLocks/>
          </p:cNvSpPr>
          <p:nvPr/>
        </p:nvSpPr>
        <p:spPr>
          <a:xfrm>
            <a:off x="6170886" y="5517232"/>
            <a:ext cx="1293266" cy="2650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SwissReSans" panose="020B0604020202020204" pitchFamily="34" charset="0"/>
                <a:ea typeface="+mn-ea"/>
                <a:cs typeface="+mn-cs"/>
              </a:defRPr>
            </a:lvl1pPr>
            <a:lvl2pPr marL="90488" indent="-904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bg1"/>
                </a:solidFill>
                <a:latin typeface="SwissReSans" panose="020B0604020202020204" pitchFamily="34" charset="0"/>
                <a:ea typeface="+mn-ea"/>
                <a:cs typeface="+mn-cs"/>
              </a:defRPr>
            </a:lvl2pPr>
            <a:lvl3pPr marL="180975" indent="-904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50" kern="1200">
                <a:solidFill>
                  <a:schemeClr val="bg1"/>
                </a:solidFill>
                <a:latin typeface="SwissReSans" panose="020B0604020202020204" pitchFamily="34" charset="0"/>
                <a:ea typeface="+mn-ea"/>
                <a:cs typeface="+mn-cs"/>
              </a:defRPr>
            </a:lvl3pPr>
            <a:lvl4pPr marL="271463" indent="-904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bg1"/>
                </a:solidFill>
                <a:latin typeface="SwissReSans" panose="020B0604020202020204" pitchFamily="34" charset="0"/>
                <a:ea typeface="+mn-ea"/>
                <a:cs typeface="+mn-cs"/>
              </a:defRPr>
            </a:lvl4pPr>
            <a:lvl5pPr marL="361950" indent="-904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bg1"/>
                </a:solidFill>
                <a:latin typeface="SwissReSans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rgbClr val="283E36"/>
                </a:solidFill>
                <a:latin typeface="SwissReSans Light" panose="020B0504020202020204" pitchFamily="34" charset="0"/>
              </a:rPr>
              <a:t>Claims</a:t>
            </a:r>
          </a:p>
        </p:txBody>
      </p:sp>
      <p:sp>
        <p:nvSpPr>
          <p:cNvPr id="16" name="Text Placeholder 84">
            <a:extLst>
              <a:ext uri="{FF2B5EF4-FFF2-40B4-BE49-F238E27FC236}">
                <a16:creationId xmlns:a16="http://schemas.microsoft.com/office/drawing/2014/main" id="{0FF83EE7-F60E-0540-8A76-C8DABA9B2853}"/>
              </a:ext>
            </a:extLst>
          </p:cNvPr>
          <p:cNvSpPr txBox="1">
            <a:spLocks/>
          </p:cNvSpPr>
          <p:nvPr/>
        </p:nvSpPr>
        <p:spPr>
          <a:xfrm>
            <a:off x="2354462" y="4134478"/>
            <a:ext cx="1293266" cy="2417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SwissReSans" panose="020B0604020202020204" pitchFamily="34" charset="0"/>
                <a:ea typeface="+mn-ea"/>
                <a:cs typeface="+mn-cs"/>
              </a:defRPr>
            </a:lvl1pPr>
            <a:lvl2pPr marL="90488" indent="-904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bg1"/>
                </a:solidFill>
                <a:latin typeface="SwissReSans" panose="020B0604020202020204" pitchFamily="34" charset="0"/>
                <a:ea typeface="+mn-ea"/>
                <a:cs typeface="+mn-cs"/>
              </a:defRPr>
            </a:lvl2pPr>
            <a:lvl3pPr marL="180975" indent="-904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50" kern="1200">
                <a:solidFill>
                  <a:schemeClr val="bg1"/>
                </a:solidFill>
                <a:latin typeface="SwissReSans" panose="020B0604020202020204" pitchFamily="34" charset="0"/>
                <a:ea typeface="+mn-ea"/>
                <a:cs typeface="+mn-cs"/>
              </a:defRPr>
            </a:lvl3pPr>
            <a:lvl4pPr marL="271463" indent="-904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bg1"/>
                </a:solidFill>
                <a:latin typeface="SwissReSans" panose="020B0604020202020204" pitchFamily="34" charset="0"/>
                <a:ea typeface="+mn-ea"/>
                <a:cs typeface="+mn-cs"/>
              </a:defRPr>
            </a:lvl4pPr>
            <a:lvl5pPr marL="361950" indent="-904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bg1"/>
                </a:solidFill>
                <a:latin typeface="SwissReSans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rgbClr val="283E36"/>
                </a:solidFill>
                <a:latin typeface="SwissReSans Light" panose="020B0504020202020204" pitchFamily="34" charset="0"/>
              </a:rPr>
              <a:t>Regulatory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4634EE5-5191-384D-B433-48A246965BCA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prstClr val="black"/>
              <a:schemeClr val="tx2">
                <a:tint val="45000"/>
                <a:satMod val="400000"/>
              </a:schemeClr>
            </a:duotone>
            <a:lum bright="-40000"/>
          </a:blip>
          <a:stretch>
            <a:fillRect/>
          </a:stretch>
        </p:blipFill>
        <p:spPr>
          <a:xfrm>
            <a:off x="6386910" y="4653136"/>
            <a:ext cx="880117" cy="77601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F871BA29-F14B-3846-9B2E-DD76C00F220C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20000"/>
          </a:blip>
          <a:stretch>
            <a:fillRect/>
          </a:stretch>
        </p:blipFill>
        <p:spPr>
          <a:xfrm>
            <a:off x="3722614" y="4581128"/>
            <a:ext cx="794202" cy="866402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7E0AD7F5-F52D-5D45-AFB3-6B4DDA8FFFE4}"/>
              </a:ext>
            </a:extLst>
          </p:cNvPr>
          <p:cNvSpPr txBox="1"/>
          <p:nvPr/>
        </p:nvSpPr>
        <p:spPr>
          <a:xfrm>
            <a:off x="3965266" y="3004336"/>
            <a:ext cx="2962105" cy="1719251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2600" b="1" dirty="0" err="1">
                <a:solidFill>
                  <a:srgbClr val="283E36"/>
                </a:solidFill>
                <a:latin typeface="SwissReSans Light" panose="020B0504020202020204" pitchFamily="34" charset="0"/>
              </a:rPr>
              <a:t>Catserver</a:t>
            </a:r>
            <a:r>
              <a:rPr lang="en-US" sz="2600" b="1" dirty="0">
                <a:solidFill>
                  <a:srgbClr val="283E36"/>
                </a:solidFill>
                <a:latin typeface="SwissReSans Light" panose="020B0504020202020204" pitchFamily="34" charset="0"/>
              </a:rPr>
              <a:t> API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338AADB-1247-3B41-934F-6AA5A556B19E}"/>
              </a:ext>
            </a:extLst>
          </p:cNvPr>
          <p:cNvGrpSpPr/>
          <p:nvPr/>
        </p:nvGrpSpPr>
        <p:grpSpPr>
          <a:xfrm>
            <a:off x="2498478" y="2996952"/>
            <a:ext cx="970156" cy="950597"/>
            <a:chOff x="1678259" y="2341757"/>
            <a:chExt cx="970156" cy="950597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91D3185E-B18D-1A40-B005-5D077AA7F3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698"/>
            <a:stretch/>
          </p:blipFill>
          <p:spPr>
            <a:xfrm>
              <a:off x="1678259" y="2341757"/>
              <a:ext cx="970156" cy="914876"/>
            </a:xfrm>
            <a:prstGeom prst="rect">
              <a:avLst/>
            </a:prstGeom>
          </p:spPr>
        </p:pic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1CC52D79-6D97-3B44-84BE-4D65D028A317}"/>
                </a:ext>
              </a:extLst>
            </p:cNvPr>
            <p:cNvCxnSpPr>
              <a:cxnSpLocks/>
            </p:cNvCxnSpPr>
            <p:nvPr/>
          </p:nvCxnSpPr>
          <p:spPr>
            <a:xfrm>
              <a:off x="1911928" y="3292354"/>
              <a:ext cx="163392" cy="0"/>
            </a:xfrm>
            <a:prstGeom prst="line">
              <a:avLst/>
            </a:prstGeom>
            <a:ln w="25400">
              <a:solidFill>
                <a:schemeClr val="tx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2BF6EB5F-19E1-4545-A2F4-42BE24509784}"/>
                </a:ext>
              </a:extLst>
            </p:cNvPr>
            <p:cNvCxnSpPr>
              <a:cxnSpLocks/>
            </p:cNvCxnSpPr>
            <p:nvPr/>
          </p:nvCxnSpPr>
          <p:spPr>
            <a:xfrm>
              <a:off x="2267744" y="3292354"/>
              <a:ext cx="163392" cy="0"/>
            </a:xfrm>
            <a:prstGeom prst="line">
              <a:avLst/>
            </a:prstGeom>
            <a:ln w="25400">
              <a:solidFill>
                <a:schemeClr val="tx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7ACF0C7-8721-3B48-A639-817901AA30D3}"/>
              </a:ext>
            </a:extLst>
          </p:cNvPr>
          <p:cNvGrpSpPr/>
          <p:nvPr/>
        </p:nvGrpSpPr>
        <p:grpSpPr>
          <a:xfrm>
            <a:off x="7395022" y="3501008"/>
            <a:ext cx="1293266" cy="1337679"/>
            <a:chOff x="3926435" y="1743872"/>
            <a:chExt cx="1293266" cy="1337679"/>
          </a:xfrm>
        </p:grpSpPr>
        <p:sp>
          <p:nvSpPr>
            <p:cNvPr id="27" name="Text Placeholder 84">
              <a:extLst>
                <a:ext uri="{FF2B5EF4-FFF2-40B4-BE49-F238E27FC236}">
                  <a16:creationId xmlns:a16="http://schemas.microsoft.com/office/drawing/2014/main" id="{2AFF9D8A-ED59-0346-8943-F84FF61FFB05}"/>
                </a:ext>
              </a:extLst>
            </p:cNvPr>
            <p:cNvSpPr txBox="1">
              <a:spLocks/>
            </p:cNvSpPr>
            <p:nvPr/>
          </p:nvSpPr>
          <p:spPr>
            <a:xfrm>
              <a:off x="3926435" y="2549601"/>
              <a:ext cx="1293266" cy="531950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SwissReSans" panose="020B0604020202020204" pitchFamily="34" charset="0"/>
                  <a:ea typeface="+mn-ea"/>
                  <a:cs typeface="+mn-cs"/>
                </a:defRPr>
              </a:lvl1pPr>
              <a:lvl2pPr marL="90488" indent="-90488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100" kern="1200">
                  <a:solidFill>
                    <a:schemeClr val="bg1"/>
                  </a:solidFill>
                  <a:latin typeface="SwissReSans" panose="020B0604020202020204" pitchFamily="34" charset="0"/>
                  <a:ea typeface="+mn-ea"/>
                  <a:cs typeface="+mn-cs"/>
                </a:defRPr>
              </a:lvl2pPr>
              <a:lvl3pPr marL="180975" indent="-90488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050" kern="1200">
                  <a:solidFill>
                    <a:schemeClr val="bg1"/>
                  </a:solidFill>
                  <a:latin typeface="SwissReSans" panose="020B0604020202020204" pitchFamily="34" charset="0"/>
                  <a:ea typeface="+mn-ea"/>
                  <a:cs typeface="+mn-cs"/>
                </a:defRPr>
              </a:lvl3pPr>
              <a:lvl4pPr marL="271463" indent="-90488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000" kern="1200">
                  <a:solidFill>
                    <a:schemeClr val="bg1"/>
                  </a:solidFill>
                  <a:latin typeface="SwissReSans" panose="020B0604020202020204" pitchFamily="34" charset="0"/>
                  <a:ea typeface="+mn-ea"/>
                  <a:cs typeface="+mn-cs"/>
                </a:defRPr>
              </a:lvl4pPr>
              <a:lvl5pPr marL="361950" indent="-90488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000" kern="1200">
                  <a:solidFill>
                    <a:schemeClr val="bg1"/>
                  </a:solidFill>
                  <a:latin typeface="SwissReSans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b="1" dirty="0">
                  <a:solidFill>
                    <a:srgbClr val="283E36"/>
                  </a:solidFill>
                  <a:latin typeface="SwissReSans Light" panose="020B0504020202020204" pitchFamily="34" charset="0"/>
                </a:rPr>
                <a:t>Underwriting</a:t>
              </a:r>
            </a:p>
          </p:txBody>
        </p: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645AE3AF-6021-DE48-8D91-1628E44D08B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duotone>
                <a:prstClr val="black"/>
                <a:schemeClr val="tx2">
                  <a:tint val="45000"/>
                  <a:satMod val="400000"/>
                </a:schemeClr>
              </a:duotone>
              <a:lum bright="-40000"/>
            </a:blip>
            <a:stretch>
              <a:fillRect/>
            </a:stretch>
          </p:blipFill>
          <p:spPr>
            <a:xfrm>
              <a:off x="4089400" y="1743872"/>
              <a:ext cx="965200" cy="711200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DB30F66-4CE9-3445-A468-1D6DE937AC96}"/>
              </a:ext>
            </a:extLst>
          </p:cNvPr>
          <p:cNvGrpSpPr/>
          <p:nvPr/>
        </p:nvGrpSpPr>
        <p:grpSpPr>
          <a:xfrm>
            <a:off x="6530926" y="1988840"/>
            <a:ext cx="1293266" cy="1142382"/>
            <a:chOff x="6302459" y="2521179"/>
            <a:chExt cx="1293266" cy="1142382"/>
          </a:xfrm>
        </p:grpSpPr>
        <p:sp>
          <p:nvSpPr>
            <p:cNvPr id="30" name="Text Placeholder 84">
              <a:extLst>
                <a:ext uri="{FF2B5EF4-FFF2-40B4-BE49-F238E27FC236}">
                  <a16:creationId xmlns:a16="http://schemas.microsoft.com/office/drawing/2014/main" id="{DD0DB1E7-E024-EE45-A7DF-10D849DBDC09}"/>
                </a:ext>
              </a:extLst>
            </p:cNvPr>
            <p:cNvSpPr txBox="1">
              <a:spLocks/>
            </p:cNvSpPr>
            <p:nvPr/>
          </p:nvSpPr>
          <p:spPr>
            <a:xfrm>
              <a:off x="6302459" y="3429000"/>
              <a:ext cx="1293266" cy="23456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SwissReSans" panose="020B0604020202020204" pitchFamily="34" charset="0"/>
                  <a:ea typeface="+mn-ea"/>
                  <a:cs typeface="+mn-cs"/>
                </a:defRPr>
              </a:lvl1pPr>
              <a:lvl2pPr marL="90488" indent="-90488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100" kern="1200">
                  <a:solidFill>
                    <a:schemeClr val="bg1"/>
                  </a:solidFill>
                  <a:latin typeface="SwissReSans" panose="020B0604020202020204" pitchFamily="34" charset="0"/>
                  <a:ea typeface="+mn-ea"/>
                  <a:cs typeface="+mn-cs"/>
                </a:defRPr>
              </a:lvl2pPr>
              <a:lvl3pPr marL="180975" indent="-90488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050" kern="1200">
                  <a:solidFill>
                    <a:schemeClr val="bg1"/>
                  </a:solidFill>
                  <a:latin typeface="SwissReSans" panose="020B0604020202020204" pitchFamily="34" charset="0"/>
                  <a:ea typeface="+mn-ea"/>
                  <a:cs typeface="+mn-cs"/>
                </a:defRPr>
              </a:lvl3pPr>
              <a:lvl4pPr marL="271463" indent="-90488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000" kern="1200">
                  <a:solidFill>
                    <a:schemeClr val="bg1"/>
                  </a:solidFill>
                  <a:latin typeface="SwissReSans" panose="020B0604020202020204" pitchFamily="34" charset="0"/>
                  <a:ea typeface="+mn-ea"/>
                  <a:cs typeface="+mn-cs"/>
                </a:defRPr>
              </a:lvl4pPr>
              <a:lvl5pPr marL="361950" indent="-90488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000" kern="1200">
                  <a:solidFill>
                    <a:schemeClr val="bg1"/>
                  </a:solidFill>
                  <a:latin typeface="SwissReSans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1400" b="1" dirty="0">
                  <a:solidFill>
                    <a:srgbClr val="283E36"/>
                  </a:solidFill>
                  <a:latin typeface="SwissReSans Light" panose="020B0504020202020204" pitchFamily="34" charset="0"/>
                </a:rPr>
                <a:t>Ratemaking</a:t>
              </a:r>
            </a:p>
          </p:txBody>
        </p:sp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5086043F-8057-1A41-B602-4A0E5F08497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duotone>
                <a:prstClr val="black"/>
                <a:schemeClr val="tx2">
                  <a:tint val="45000"/>
                  <a:satMod val="400000"/>
                </a:schemeClr>
              </a:duotone>
              <a:lum bright="-40000"/>
            </a:blip>
            <a:stretch>
              <a:fillRect/>
            </a:stretch>
          </p:blipFill>
          <p:spPr>
            <a:xfrm>
              <a:off x="6517292" y="2521179"/>
              <a:ext cx="863600" cy="863600"/>
            </a:xfrm>
            <a:prstGeom prst="rect">
              <a:avLst/>
            </a:prstGeom>
          </p:spPr>
        </p:pic>
      </p:grpSp>
      <p:sp>
        <p:nvSpPr>
          <p:cNvPr id="2" name="TextBox 1"/>
          <p:cNvSpPr txBox="1"/>
          <p:nvPr/>
        </p:nvSpPr>
        <p:spPr>
          <a:xfrm>
            <a:off x="8990838" y="3451259"/>
            <a:ext cx="2438442" cy="9925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sz="1400" dirty="0">
                <a:latin typeface="SwissReSans Light" panose="020B0504020202020204" pitchFamily="34" charset="0"/>
              </a:rPr>
              <a:t>Design a customized products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sz="1400" dirty="0">
                <a:latin typeface="SwissReSans Light" panose="020B0504020202020204" pitchFamily="34" charset="0"/>
              </a:rPr>
              <a:t>Risk Transparency and Portfolio Optimization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7752184" y="1739736"/>
            <a:ext cx="25806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sz="1400" dirty="0">
                <a:latin typeface="SwissReSans Light" panose="020B0504020202020204" pitchFamily="34" charset="0"/>
              </a:rPr>
              <a:t>Comprehensive Rating Solution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7032104" y="5733256"/>
            <a:ext cx="28803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sz="1400" dirty="0">
                <a:latin typeface="SwissReSans Light" panose="020B0504020202020204" pitchFamily="34" charset="0"/>
              </a:rPr>
              <a:t>Loss Consultation and Large loss process advisory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498478" y="5877272"/>
            <a:ext cx="25806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sz="1400" dirty="0">
                <a:latin typeface="SwissReSans Light" panose="020B0504020202020204" pitchFamily="34" charset="0"/>
              </a:rPr>
              <a:t>Potential customer identification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534434" y="3258101"/>
            <a:ext cx="181699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sz="1400" dirty="0">
                <a:latin typeface="SwissReSans Light" panose="020B0504020202020204" pitchFamily="34" charset="0"/>
              </a:rPr>
              <a:t>Support in filing products with regulatory authorities 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354462" y="1655222"/>
            <a:ext cx="21066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sz="1400" dirty="0">
                <a:latin typeface="SwissReSans Light" panose="020B0504020202020204" pitchFamily="34" charset="0"/>
              </a:rPr>
              <a:t>Experienced team at the ready</a:t>
            </a: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 rotWithShape="1">
          <a:blip r:embed="rId13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53848" r="49273"/>
          <a:stretch/>
        </p:blipFill>
        <p:spPr>
          <a:xfrm>
            <a:off x="9984433" y="-27384"/>
            <a:ext cx="2232248" cy="1914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11532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4" grpId="0"/>
      <p:bldP spid="15" grpId="0"/>
      <p:bldP spid="16" grpId="0"/>
      <p:bldP spid="2" grpId="0"/>
      <p:bldP spid="32" grpId="0"/>
      <p:bldP spid="33" grpId="0"/>
      <p:bldP spid="35" grpId="0"/>
      <p:bldP spid="36" grpId="0"/>
      <p:bldP spid="3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69196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Legal notic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©2019 Swiss Re. All rights reserved. You are not permitted to create any modifications </a:t>
            </a:r>
            <a:br>
              <a:rPr lang="en-GB"/>
            </a:br>
            <a:r>
              <a:rPr lang="en-GB"/>
              <a:t>or derivative works of this presentation or to use it for commercial or other public purposes </a:t>
            </a:r>
            <a:br>
              <a:rPr lang="en-GB"/>
            </a:br>
            <a:r>
              <a:rPr lang="en-GB"/>
              <a:t>without the prior written permission of Swiss Re.</a:t>
            </a:r>
          </a:p>
          <a:p>
            <a:r>
              <a:rPr lang="en-GB"/>
              <a:t>The information and opinions contained in the presentation are provided as at the date of </a:t>
            </a:r>
            <a:br>
              <a:rPr lang="en-GB"/>
            </a:br>
            <a:r>
              <a:rPr lang="en-GB"/>
              <a:t>the presentation and are subject to change without notice. Although the information used </a:t>
            </a:r>
            <a:br>
              <a:rPr lang="en-GB"/>
            </a:br>
            <a:r>
              <a:rPr lang="en-GB"/>
              <a:t>was taken from reliable sources, Swiss Re does not accept any responsibility for the accuracy </a:t>
            </a:r>
            <a:br>
              <a:rPr lang="en-GB"/>
            </a:br>
            <a:r>
              <a:rPr lang="en-GB"/>
              <a:t>or comprehensiveness of the details given. All liability for the accuracy and completeness </a:t>
            </a:r>
            <a:br>
              <a:rPr lang="en-GB"/>
            </a:br>
            <a:r>
              <a:rPr lang="en-GB"/>
              <a:t>thereof or for any damage or loss resulting from the use of the information contained in this </a:t>
            </a:r>
            <a:br>
              <a:rPr lang="en-GB"/>
            </a:br>
            <a:r>
              <a:rPr lang="en-GB"/>
              <a:t>presentation is expressly excluded. Under no circumstances shall Swiss Re or its Group </a:t>
            </a:r>
            <a:br>
              <a:rPr lang="en-GB"/>
            </a:br>
            <a:r>
              <a:rPr lang="en-GB"/>
              <a:t>companies be liable for any financial or consequential loss relating to this presentation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49387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NFO" val="SR1104"/>
  <p:tag name="LANGUAGE" val="2057"/>
  <p:tag name="PRESENTATIONSTYLE" val="0"/>
  <p:tag name="COLORPAIR" val="1"/>
  <p:tag name="COLORGRADIENTBARS" val="True"/>
  <p:tag name="CLASSIFICATION" val="0"/>
  <p:tag name="AIPLABEL" val="Internal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ID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ID" val="0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GradientBa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afHCNeT9aOIzdPBMkdQ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tqTLc1SzqG5rbQ8gm2P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tqTLc1SzqG5rbQ8gm2P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heme/theme1.xml><?xml version="1.0" encoding="utf-8"?>
<a:theme xmlns:a="http://schemas.openxmlformats.org/drawingml/2006/main" name="SwissRe">
  <a:themeElements>
    <a:clrScheme name="SR - BlueSkyCrepuscule">
      <a:dk1>
        <a:srgbClr val="283E36"/>
      </a:dk1>
      <a:lt1>
        <a:sysClr val="window" lastClr="FFFFFF"/>
      </a:lt1>
      <a:dk2>
        <a:srgbClr val="0F4DBC"/>
      </a:dk2>
      <a:lt2>
        <a:srgbClr val="0493D9"/>
      </a:lt2>
      <a:accent1>
        <a:srgbClr val="627D77"/>
      </a:accent1>
      <a:accent2>
        <a:srgbClr val="A1B1AD"/>
      </a:accent2>
      <a:accent3>
        <a:srgbClr val="0F4DBC"/>
      </a:accent3>
      <a:accent4>
        <a:srgbClr val="6F94D7"/>
      </a:accent4>
      <a:accent5>
        <a:srgbClr val="00A9E0"/>
      </a:accent5>
      <a:accent6>
        <a:srgbClr val="66CBEC"/>
      </a:accent6>
      <a:hlink>
        <a:srgbClr val="0000FF"/>
      </a:hlink>
      <a:folHlink>
        <a:srgbClr val="800080"/>
      </a:folHlink>
    </a:clrScheme>
    <a:fontScheme name="Swiss Re">
      <a:majorFont>
        <a:latin typeface="SwissReSans Light"/>
        <a:ea typeface=""/>
        <a:cs typeface=""/>
      </a:majorFont>
      <a:minorFont>
        <a:latin typeface="SwissRe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 dirty="0" err="1" smtClean="0">
            <a:latin typeface="SwissReSans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err="1" smtClean="0">
            <a:latin typeface="SwissReSans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wissRe_169.potx" id="{E2868796-B6B7-4456-B50B-68487EE1F8B0}" vid="{12D83CE0-67E2-445E-8BA9-02C228FF6D2A}"/>
    </a:ext>
  </a:extLst>
</a:theme>
</file>

<file path=ppt/theme/theme2.xml><?xml version="1.0" encoding="utf-8"?>
<a:theme xmlns:a="http://schemas.openxmlformats.org/drawingml/2006/main" name="1_SwissRe">
  <a:themeElements>
    <a:clrScheme name="SR - SunsetChilli">
      <a:dk1>
        <a:srgbClr val="283E36"/>
      </a:dk1>
      <a:lt1>
        <a:sysClr val="window" lastClr="FFFFFF"/>
      </a:lt1>
      <a:dk2>
        <a:srgbClr val="E00034"/>
      </a:dk2>
      <a:lt2>
        <a:srgbClr val="F87A30"/>
      </a:lt2>
      <a:accent1>
        <a:srgbClr val="627D77"/>
      </a:accent1>
      <a:accent2>
        <a:srgbClr val="A1B1AD"/>
      </a:accent2>
      <a:accent3>
        <a:srgbClr val="E00034"/>
      </a:accent3>
      <a:accent4>
        <a:srgbClr val="EC6685"/>
      </a:accent4>
      <a:accent5>
        <a:srgbClr val="FFA02F"/>
      </a:accent5>
      <a:accent6>
        <a:srgbClr val="FFC682"/>
      </a:accent6>
      <a:hlink>
        <a:srgbClr val="0000FF"/>
      </a:hlink>
      <a:folHlink>
        <a:srgbClr val="800080"/>
      </a:folHlink>
    </a:clrScheme>
    <a:fontScheme name="Swiss Re">
      <a:majorFont>
        <a:latin typeface="SwissReSans Light"/>
        <a:ea typeface=""/>
        <a:cs typeface=""/>
      </a:majorFont>
      <a:minorFont>
        <a:latin typeface="SwissRe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 dirty="0" err="1" smtClean="0">
            <a:latin typeface="SwissReSans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err="1" smtClean="0">
            <a:latin typeface="SwissReSans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wissRe_169.potx" id="{E2868796-B6B7-4456-B50B-68487EE1F8B0}" vid="{12D83CE0-67E2-445E-8BA9-02C228FF6D2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0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1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2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3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4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5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6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7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8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19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20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1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2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3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4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5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6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7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8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9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30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31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32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33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34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6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7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8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9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wissRe_169</Template>
  <TotalTime>0</TotalTime>
  <Words>297</Words>
  <Application>Microsoft Office PowerPoint</Application>
  <PresentationFormat>Widescreen</PresentationFormat>
  <Paragraphs>76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SwissReSans</vt:lpstr>
      <vt:lpstr>Arial</vt:lpstr>
      <vt:lpstr>Wingdings</vt:lpstr>
      <vt:lpstr>SwissReSans Light</vt:lpstr>
      <vt:lpstr>SwissRe</vt:lpstr>
      <vt:lpstr>1_SwissRe</vt:lpstr>
      <vt:lpstr>think-cell Slide</vt:lpstr>
      <vt:lpstr>Catserver API - Solutions for Growth</vt:lpstr>
      <vt:lpstr>Our Catserver API solution Enabling profitable growth through risk transparency </vt:lpstr>
      <vt:lpstr>PowerPoint Presentation</vt:lpstr>
      <vt:lpstr>Our API Solution – how does it work Example of a scoring workflow</vt:lpstr>
      <vt:lpstr>Our Value Proposition Support across the entire value chain</vt:lpstr>
      <vt:lpstr>PowerPoint Presentation</vt:lpstr>
      <vt:lpstr>Legal notice</vt:lpstr>
    </vt:vector>
  </TitlesOfParts>
  <Company>Swiss 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your presentation</dc:title>
  <dc:creator>SRGSEM</dc:creator>
  <cp:lastModifiedBy>Monika Selmeier</cp:lastModifiedBy>
  <cp:revision>46</cp:revision>
  <dcterms:created xsi:type="dcterms:W3CDTF">2019-04-30T09:16:03Z</dcterms:created>
  <dcterms:modified xsi:type="dcterms:W3CDTF">2019-05-17T09:58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0c2fedb-0da6-4717-8531-d16a1b9930f4_Enabled">
    <vt:lpwstr>True</vt:lpwstr>
  </property>
  <property fmtid="{D5CDD505-2E9C-101B-9397-08002B2CF9AE}" pid="3" name="MSIP_Label_90c2fedb-0da6-4717-8531-d16a1b9930f4_SiteId">
    <vt:lpwstr>45597f60-6e37-4be7-acfb-4c9e23b261ea</vt:lpwstr>
  </property>
  <property fmtid="{D5CDD505-2E9C-101B-9397-08002B2CF9AE}" pid="4" name="MSIP_Label_90c2fedb-0da6-4717-8531-d16a1b9930f4_Owner">
    <vt:lpwstr>Monika_Selmeier@swissre.com</vt:lpwstr>
  </property>
  <property fmtid="{D5CDD505-2E9C-101B-9397-08002B2CF9AE}" pid="5" name="MSIP_Label_90c2fedb-0da6-4717-8531-d16a1b9930f4_SetDate">
    <vt:lpwstr>2019-04-30T09:18:24.9940631Z</vt:lpwstr>
  </property>
  <property fmtid="{D5CDD505-2E9C-101B-9397-08002B2CF9AE}" pid="6" name="MSIP_Label_90c2fedb-0da6-4717-8531-d16a1b9930f4_Name">
    <vt:lpwstr>Internal</vt:lpwstr>
  </property>
  <property fmtid="{D5CDD505-2E9C-101B-9397-08002B2CF9AE}" pid="7" name="MSIP_Label_90c2fedb-0da6-4717-8531-d16a1b9930f4_Application">
    <vt:lpwstr>Microsoft Azure Information Protection</vt:lpwstr>
  </property>
  <property fmtid="{D5CDD505-2E9C-101B-9397-08002B2CF9AE}" pid="8" name="MSIP_Label_90c2fedb-0da6-4717-8531-d16a1b9930f4_Extended_MSFT_Method">
    <vt:lpwstr>Automatic</vt:lpwstr>
  </property>
  <property fmtid="{D5CDD505-2E9C-101B-9397-08002B2CF9AE}" pid="9" name="Sensitivity">
    <vt:lpwstr>Internal</vt:lpwstr>
  </property>
</Properties>
</file>